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tiff" ContentType="image/tiff"/>
  <Default Extension="vml" ContentType="application/vnd.openxmlformats-officedocument.vmlDrawing"/>
  <Default Extension="xlsx" ContentType="application/vnd.openxmlformats-officedocument.spreadsheetml.sheet"/>
  <Default Extension="jpg" ContentType="image/jpeg"/>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diagrams/data1.xml" ContentType="application/vnd.openxmlformats-officedocument.drawingml.diagramData+xml"/>
  <Override PartName="/ppt/presentation.xml" ContentType="application/vnd.openxmlformats-officedocument.presentationml.presentation.main+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slideLayouts/slideLayout86.xml" ContentType="application/vnd.openxmlformats-officedocument.presentationml.slideLayout+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slideLayouts/slideLayout85.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Layouts/slideLayout84.xml" ContentType="application/vnd.openxmlformats-officedocument.presentationml.slideLayout+xml"/>
  <Override PartName="/ppt/slideLayouts/slideLayout83.xml" ContentType="application/vnd.openxmlformats-officedocument.presentationml.slideLayout+xml"/>
  <Override PartName="/ppt/slideLayouts/slideLayout82.xml" ContentType="application/vnd.openxmlformats-officedocument.presentationml.slideLayout+xml"/>
  <Override PartName="/ppt/slideLayouts/slideLayout81.xml" ContentType="application/vnd.openxmlformats-officedocument.presentationml.slideLayout+xml"/>
  <Override PartName="/ppt/slideLayouts/slideLayout80.xml" ContentType="application/vnd.openxmlformats-officedocument.presentationml.slideLayout+xml"/>
  <Override PartName="/ppt/slideLayouts/slideLayout79.xml" ContentType="application/vnd.openxmlformats-officedocument.presentationml.slideLayout+xml"/>
  <Override PartName="/ppt/slideLayouts/slideLayout1.xml" ContentType="application/vnd.openxmlformats-officedocument.presentationml.slideLayout+xml"/>
  <Override PartName="/ppt/slideLayouts/slideLayout78.xml" ContentType="application/vnd.openxmlformats-officedocument.presentationml.slideLayout+xml"/>
  <Override PartName="/ppt/slideLayouts/slideLayout77.xml" ContentType="application/vnd.openxmlformats-officedocument.presentationml.slideLayout+xml"/>
  <Override PartName="/ppt/slideLayouts/slideLayout76.xml" ContentType="application/vnd.openxmlformats-officedocument.presentationml.slideLayout+xml"/>
  <Override PartName="/ppt/slideLayouts/slideLayout75.xml" ContentType="application/vnd.openxmlformats-officedocument.presentationml.slideLayout+xml"/>
  <Override PartName="/ppt/slideLayouts/slideLayout74.xml" ContentType="application/vnd.openxmlformats-officedocument.presentationml.slideLayout+xml"/>
  <Override PartName="/ppt/slideLayouts/slideLayout73.xml" ContentType="application/vnd.openxmlformats-officedocument.presentationml.slideLayout+xml"/>
  <Override PartName="/ppt/slideLayouts/slideLayout72.xml" ContentType="application/vnd.openxmlformats-officedocument.presentationml.slideLayout+xml"/>
  <Override PartName="/ppt/slideLayouts/slideLayout71.xml" ContentType="application/vnd.openxmlformats-officedocument.presentationml.slideLayout+xml"/>
  <Override PartName="/ppt/slideLayouts/slideLayout70.xml" ContentType="application/vnd.openxmlformats-officedocument.presentationml.slideLayout+xml"/>
  <Override PartName="/ppt/slideLayouts/slideLayout69.xml" ContentType="application/vnd.openxmlformats-officedocument.presentationml.slideLayout+xml"/>
  <Override PartName="/ppt/slideLayouts/slideLayout68.xml" ContentType="application/vnd.openxmlformats-officedocument.presentationml.slideLayout+xml"/>
  <Override PartName="/ppt/slideLayouts/slideLayout67.xml" ContentType="application/vnd.openxmlformats-officedocument.presentationml.slideLayout+xml"/>
  <Override PartName="/ppt/slideLayouts/slideLayout66.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65.xml" ContentType="application/vnd.openxmlformats-officedocument.presentationml.slideLayout+xml"/>
  <Override PartName="/ppt/slideLayouts/slideLayout64.xml" ContentType="application/vnd.openxmlformats-officedocument.presentationml.slideLayout+xml"/>
  <Override PartName="/ppt/slideLayouts/slideLayout63.xml" ContentType="application/vnd.openxmlformats-officedocument.presentationml.slideLayout+xml"/>
  <Override PartName="/ppt/slideLayouts/slideLayout62.xml" ContentType="application/vnd.openxmlformats-officedocument.presentationml.slideLayout+xml"/>
  <Override PartName="/ppt/slideLayouts/slideLayout61.xml" ContentType="application/vnd.openxmlformats-officedocument.presentationml.slideLayout+xml"/>
  <Override PartName="/ppt/slideLayouts/slideLayout60.xml" ContentType="application/vnd.openxmlformats-officedocument.presentationml.slideLayout+xml"/>
  <Override PartName="/ppt/slideLayouts/slideLayout59.xml" ContentType="application/vnd.openxmlformats-officedocument.presentationml.slideLayout+xml"/>
  <Override PartName="/ppt/slideLayouts/slideLayout58.xml" ContentType="application/vnd.openxmlformats-officedocument.presentationml.slideLayout+xml"/>
  <Override PartName="/ppt/slideLayouts/slideLayout4.xml" ContentType="application/vnd.openxmlformats-officedocument.presentationml.slideLayout+xml"/>
  <Override PartName="/ppt/slideLayouts/slideLayout57.xml" ContentType="application/vnd.openxmlformats-officedocument.presentationml.slideLayout+xml"/>
  <Override PartName="/ppt/slideLayouts/slideLayout56.xml" ContentType="application/vnd.openxmlformats-officedocument.presentationml.slideLayout+xml"/>
  <Override PartName="/ppt/slideLayouts/slideLayout55.xml" ContentType="application/vnd.openxmlformats-officedocument.presentationml.slideLayout+xml"/>
  <Override PartName="/ppt/slideLayouts/slideLayout54.xml" ContentType="application/vnd.openxmlformats-officedocument.presentationml.slideLayout+xml"/>
  <Override PartName="/ppt/slideLayouts/slideLayout53.xml" ContentType="application/vnd.openxmlformats-officedocument.presentationml.slideLayout+xml"/>
  <Override PartName="/ppt/slideLayouts/slideLayout52.xml" ContentType="application/vnd.openxmlformats-officedocument.presentationml.slideLayout+xml"/>
  <Override PartName="/ppt/slideLayouts/slideLayout5.xml" ContentType="application/vnd.openxmlformats-officedocument.presentationml.slideLayout+xml"/>
  <Override PartName="/ppt/slideLayouts/slideLayout51.xml" ContentType="application/vnd.openxmlformats-officedocument.presentationml.slideLayout+xml"/>
  <Override PartName="/ppt/slideLayouts/slideLayout50.xml" ContentType="application/vnd.openxmlformats-officedocument.presentationml.slideLayout+xml"/>
  <Override PartName="/ppt/slideLayouts/slideLayout49.xml" ContentType="application/vnd.openxmlformats-officedocument.presentationml.slideLayout+xml"/>
  <Override PartName="/ppt/slideLayouts/slideLayout48.xml" ContentType="application/vnd.openxmlformats-officedocument.presentationml.slideLayout+xml"/>
  <Override PartName="/ppt/slideLayouts/slideLayout47.xml" ContentType="application/vnd.openxmlformats-officedocument.presentationml.slideLayout+xml"/>
  <Override PartName="/ppt/slideLayouts/slideLayout46.xml" ContentType="application/vnd.openxmlformats-officedocument.presentationml.slideLayout+xml"/>
  <Override PartName="/ppt/slideLayouts/slideLayout45.xml" ContentType="application/vnd.openxmlformats-officedocument.presentationml.slideLayout+xml"/>
  <Override PartName="/ppt/slideLayouts/slideLayout44.xml" ContentType="application/vnd.openxmlformats-officedocument.presentationml.slideLayout+xml"/>
  <Override PartName="/ppt/slideLayouts/slideLayout43.xml" ContentType="application/vnd.openxmlformats-officedocument.presentationml.slideLayout+xml"/>
  <Override PartName="/ppt/slideLayouts/slideLayout42.xml" ContentType="application/vnd.openxmlformats-officedocument.presentationml.slideLayout+xml"/>
  <Override PartName="/ppt/slideLayouts/slideLayout41.xml" ContentType="application/vnd.openxmlformats-officedocument.presentationml.slideLayout+xml"/>
  <Override PartName="/ppt/slideLayouts/slideLayout40.xml" ContentType="application/vnd.openxmlformats-officedocument.presentationml.slideLayout+xml"/>
  <Override PartName="/ppt/slideLayouts/slideLayout39.xml" ContentType="application/vnd.openxmlformats-officedocument.presentationml.slideLayout+xml"/>
  <Override PartName="/ppt/slideLayouts/slideLayout6.xml" ContentType="application/vnd.openxmlformats-officedocument.presentationml.slideLayout+xml"/>
  <Override PartName="/ppt/slideLayouts/slideLayout38.xml" ContentType="application/vnd.openxmlformats-officedocument.presentationml.slideLayout+xml"/>
  <Override PartName="/ppt/slideLayouts/slideLayout37.xml" ContentType="application/vnd.openxmlformats-officedocument.presentationml.slideLayout+xml"/>
  <Override PartName="/ppt/slideLayouts/slideLayout36.xml" ContentType="application/vnd.openxmlformats-officedocument.presentationml.slideLayout+xml"/>
  <Override PartName="/ppt/slideLayouts/slideLayout35.xml" ContentType="application/vnd.openxmlformats-officedocument.presentationml.slideLayout+xml"/>
  <Override PartName="/ppt/slideLayouts/slideLayout34.xml" ContentType="application/vnd.openxmlformats-officedocument.presentationml.slideLayout+xml"/>
  <Override PartName="/ppt/slideLayouts/slideLayout33.xml" ContentType="application/vnd.openxmlformats-officedocument.presentationml.slideLayout+xml"/>
  <Override PartName="/ppt/slideLayouts/slideLayout32.xml" ContentType="application/vnd.openxmlformats-officedocument.presentationml.slideLayout+xml"/>
  <Override PartName="/ppt/slideLayouts/slideLayout31.xml" ContentType="application/vnd.openxmlformats-officedocument.presentationml.slideLayout+xml"/>
  <Override PartName="/ppt/slideLayouts/slideLayout30.xml" ContentType="application/vnd.openxmlformats-officedocument.presentationml.slideLayout+xml"/>
  <Override PartName="/ppt/slideLayouts/slideLayout29.xml" ContentType="application/vnd.openxmlformats-officedocument.presentationml.slideLayout+xml"/>
  <Override PartName="/ppt/slideLayouts/slideLayout28.xml" ContentType="application/vnd.openxmlformats-officedocument.presentationml.slideLayout+xml"/>
  <Override PartName="/ppt/slideLayouts/slideLayout27.xml" ContentType="application/vnd.openxmlformats-officedocument.presentationml.slideLayout+xml"/>
  <Override PartName="/ppt/slideLayouts/slideLayout26.xml" ContentType="application/vnd.openxmlformats-officedocument.presentationml.slideLayout+xml"/>
  <Override PartName="/ppt/slideLayouts/slideLayout25.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24.xml" ContentType="application/vnd.openxmlformats-officedocument.presentationml.slideLayout+xml"/>
  <Override PartName="/ppt/slideLayouts/slideLayout23.xml" ContentType="application/vnd.openxmlformats-officedocument.presentationml.slideLayout+xml"/>
  <Override PartName="/ppt/slideLayouts/slideLayout22.xml" ContentType="application/vnd.openxmlformats-officedocument.presentationml.slideLayout+xml"/>
  <Override PartName="/ppt/slideLayouts/slideLayout21.xml" ContentType="application/vnd.openxmlformats-officedocument.presentationml.slideLayout+xml"/>
  <Override PartName="/ppt/slideLayouts/slideLayout20.xml" ContentType="application/vnd.openxmlformats-officedocument.presentationml.slideLayout+xml"/>
  <Override PartName="/ppt/slideLayouts/slideLayout19.xml" ContentType="application/vnd.openxmlformats-officedocument.presentationml.slideLayout+xml"/>
  <Override PartName="/ppt/slideLayouts/slideLayout18.xml" ContentType="application/vnd.openxmlformats-officedocument.presentationml.slideLayout+xml"/>
  <Override PartName="/ppt/slideLayouts/slideLayout17.xml" ContentType="application/vnd.openxmlformats-officedocument.presentationml.slideLayout+xml"/>
  <Override PartName="/ppt/slideLayouts/slideLayout16.xml" ContentType="application/vnd.openxmlformats-officedocument.presentationml.slideLayout+xml"/>
  <Override PartName="/ppt/slideLayouts/slideLayout15.xml" ContentType="application/vnd.openxmlformats-officedocument.presentationml.slideLayout+xml"/>
  <Override PartName="/ppt/slideLayouts/slideLayout14.xml" ContentType="application/vnd.openxmlformats-officedocument.presentationml.slideLayout+xml"/>
  <Override PartName="/ppt/slideLayouts/slideLayout13.xml" ContentType="application/vnd.openxmlformats-officedocument.presentationml.slideLayout+xml"/>
  <Override PartName="/ppt/slideLayouts/slideLayout12.xml" ContentType="application/vnd.openxmlformats-officedocument.presentationml.slideLayout+xml"/>
  <Override PartName="/ppt/slideLayouts/slideLayout11.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heme/theme8.xml" ContentType="application/vnd.openxmlformats-officedocument.theme+xml"/>
  <Override PartName="/ppt/theme/theme1.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commentAuthors.xml" ContentType="application/vnd.openxmlformats-officedocument.presentationml.commentAuthors+xml"/>
  <Override PartName="/ppt/theme/theme11.xml" ContentType="application/vnd.openxmlformats-officedocument.theme+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theme/theme7.xml" ContentType="application/vnd.openxmlformats-officedocument.theme+xml"/>
  <Override PartName="/ppt/theme/theme12.xml" ContentType="application/vnd.openxmlformats-officedocument.theme+xml"/>
  <Override PartName="/ppt/diagrams/drawing1.xml" ContentType="application/vnd.ms-office.drawingml.diagramDrawing+xml"/>
  <Override PartName="/ppt/diagrams/colors1.xml" ContentType="application/vnd.openxmlformats-officedocument.drawingml.diagramColors+xml"/>
  <Override PartName="/ppt/diagrams/quickStyle1.xml" ContentType="application/vnd.openxmlformats-officedocument.drawingml.diagramStyle+xml"/>
  <Override PartName="/ppt/diagrams/layout1.xml" ContentType="application/vnd.openxmlformats-officedocument.drawingml.diagramLayout+xml"/>
  <Override PartName="/ppt/charts/chart2.xml" ContentType="application/vnd.openxmlformats-officedocument.drawingml.chart+xml"/>
  <Override PartName="/ppt/theme/theme13.xml" ContentType="application/vnd.openxmlformats-officedocument.theme+xml"/>
  <Override PartName="/ppt/theme/theme14.xml" ContentType="application/vnd.openxmlformats-officedocument.theme+xml"/>
  <Override PartName="/ppt/charts/chart1.xml" ContentType="application/vnd.openxmlformats-officedocument.drawingml.chart+xml"/>
  <Override PartName="/ppt/tableStyles.xml" ContentType="application/vnd.openxmlformats-officedocument.presentationml.tableStyles+xml"/>
  <Override PartName="/ppt/viewProps.xml" ContentType="application/vnd.openxmlformats-officedocument.presentationml.viewProps+xml"/>
  <Override PartName="/ppt/presProps.xml" ContentType="application/vnd.openxmlformats-officedocument.presentationml.presProps+xml"/>
  <Override PartName="/ppt/tags/tag14.xml" ContentType="application/vnd.openxmlformats-officedocument.presentationml.tags+xml"/>
  <Override PartName="/ppt/tags/tag15.xml" ContentType="application/vnd.openxmlformats-officedocument.presentationml.tags+xml"/>
  <Override PartName="/ppt/tags/tag10.xml" ContentType="application/vnd.openxmlformats-officedocument.presentationml.tags+xml"/>
  <Override PartName="/ppt/tags/tag9.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tags/tag4.xml" ContentType="application/vnd.openxmlformats-officedocument.presentationml.tags+xml"/>
  <Override PartName="/ppt/tags/tag8.xml" ContentType="application/vnd.openxmlformats-officedocument.presentationml.tags+xml"/>
  <Override PartName="/ppt/tags/tag7.xml" ContentType="application/vnd.openxmlformats-officedocument.presentationml.tags+xml"/>
  <Override PartName="/ppt/tags/tag6.xml" ContentType="application/vnd.openxmlformats-officedocument.presentationml.tags+xml"/>
  <Override PartName="/ppt/tags/tag5.xml" ContentType="application/vnd.openxmlformats-officedocument.presentationml.tags+xml"/>
  <Override PartName="/ppt/tags/tag3.xml" ContentType="application/vnd.openxmlformats-officedocument.presentationml.tags+xml"/>
  <Override PartName="/ppt/tags/tag1.xml" ContentType="application/vnd.openxmlformats-officedocument.presentationml.tags+xml"/>
  <Override PartName="/ppt/tags/tag13.xml" ContentType="application/vnd.openxmlformats-officedocument.presentationml.tags+xml"/>
  <Override PartName="/ppt/tags/tag12.xml" ContentType="application/vnd.openxmlformats-officedocument.presentationml.tags+xml"/>
  <Override PartName="/ppt/tags/tag11.xml" ContentType="application/vnd.openxmlformats-officedocument.presentationml.tags+xml"/>
  <Override PartName="/ppt/tags/tag2.xml" ContentType="application/vnd.openxmlformats-officedocument.presentationml.tags+xml"/>
  <Override PartName="/customXml/itemProps1.xml" ContentType="application/vnd.openxmlformats-officedocument.customXmlProperties+xml"/>
  <Override PartName="/customXml/itemProps2.xml" ContentType="application/vnd.openxmlformats-officedocument.customXml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4508" r:id="rId1"/>
    <p:sldMasterId id="2147484576" r:id="rId2"/>
    <p:sldMasterId id="2147484591" r:id="rId3"/>
    <p:sldMasterId id="2147484605" r:id="rId4"/>
    <p:sldMasterId id="2147484612" r:id="rId5"/>
    <p:sldMasterId id="2147484621" r:id="rId6"/>
    <p:sldMasterId id="2147484635" r:id="rId7"/>
    <p:sldMasterId id="2147484642" r:id="rId8"/>
    <p:sldMasterId id="2147484648" r:id="rId9"/>
    <p:sldMasterId id="2147484661" r:id="rId10"/>
    <p:sldMasterId id="2147484669" r:id="rId11"/>
    <p:sldMasterId id="2147484673" r:id="rId12"/>
  </p:sldMasterIdLst>
  <p:notesMasterIdLst>
    <p:notesMasterId r:id="rId136"/>
  </p:notesMasterIdLst>
  <p:handoutMasterIdLst>
    <p:handoutMasterId r:id="rId137"/>
  </p:handoutMasterIdLst>
  <p:sldIdLst>
    <p:sldId id="2147472713" r:id="rId13"/>
    <p:sldId id="2146846852" r:id="rId14"/>
    <p:sldId id="13407" r:id="rId15"/>
    <p:sldId id="2146847081" r:id="rId16"/>
    <p:sldId id="2147472718" r:id="rId17"/>
    <p:sldId id="2147472717" r:id="rId18"/>
    <p:sldId id="2147472719" r:id="rId19"/>
    <p:sldId id="2146846868" r:id="rId20"/>
    <p:sldId id="2147471278" r:id="rId21"/>
    <p:sldId id="2147471395" r:id="rId22"/>
    <p:sldId id="2147470877" r:id="rId23"/>
    <p:sldId id="2147471783" r:id="rId24"/>
    <p:sldId id="2147472728" r:id="rId25"/>
    <p:sldId id="2147471781" r:id="rId26"/>
    <p:sldId id="2147471805" r:id="rId27"/>
    <p:sldId id="7129" r:id="rId28"/>
    <p:sldId id="7126" r:id="rId29"/>
    <p:sldId id="2147471280" r:id="rId30"/>
    <p:sldId id="473" r:id="rId31"/>
    <p:sldId id="432" r:id="rId32"/>
    <p:sldId id="6821" r:id="rId33"/>
    <p:sldId id="509" r:id="rId34"/>
    <p:sldId id="499" r:id="rId35"/>
    <p:sldId id="6806" r:id="rId36"/>
    <p:sldId id="276" r:id="rId37"/>
    <p:sldId id="6807" r:id="rId38"/>
    <p:sldId id="6808" r:id="rId39"/>
    <p:sldId id="285" r:id="rId40"/>
    <p:sldId id="284" r:id="rId41"/>
    <p:sldId id="270" r:id="rId42"/>
    <p:sldId id="296" r:id="rId43"/>
    <p:sldId id="7131" r:id="rId44"/>
    <p:sldId id="287" r:id="rId45"/>
    <p:sldId id="289" r:id="rId46"/>
    <p:sldId id="292" r:id="rId47"/>
    <p:sldId id="299" r:id="rId48"/>
    <p:sldId id="295" r:id="rId49"/>
    <p:sldId id="372" r:id="rId50"/>
    <p:sldId id="412" r:id="rId51"/>
    <p:sldId id="7119" r:id="rId52"/>
    <p:sldId id="2147472732" r:id="rId53"/>
    <p:sldId id="2147472721" r:id="rId54"/>
    <p:sldId id="2147471212" r:id="rId55"/>
    <p:sldId id="2147472729" r:id="rId56"/>
    <p:sldId id="2147471799" r:id="rId57"/>
    <p:sldId id="2147471792" r:id="rId58"/>
    <p:sldId id="2147471813" r:id="rId59"/>
    <p:sldId id="256" r:id="rId60"/>
    <p:sldId id="5761" r:id="rId61"/>
    <p:sldId id="5756" r:id="rId62"/>
    <p:sldId id="5740" r:id="rId63"/>
    <p:sldId id="2147472724" r:id="rId64"/>
    <p:sldId id="323" r:id="rId65"/>
    <p:sldId id="5759" r:id="rId66"/>
    <p:sldId id="308" r:id="rId67"/>
    <p:sldId id="324" r:id="rId68"/>
    <p:sldId id="259" r:id="rId69"/>
    <p:sldId id="260" r:id="rId70"/>
    <p:sldId id="261" r:id="rId71"/>
    <p:sldId id="263" r:id="rId72"/>
    <p:sldId id="264" r:id="rId73"/>
    <p:sldId id="5764" r:id="rId74"/>
    <p:sldId id="5757" r:id="rId75"/>
    <p:sldId id="267" r:id="rId76"/>
    <p:sldId id="2147472725" r:id="rId77"/>
    <p:sldId id="5737" r:id="rId78"/>
    <p:sldId id="5762" r:id="rId79"/>
    <p:sldId id="2147472722" r:id="rId80"/>
    <p:sldId id="2147471802" r:id="rId81"/>
    <p:sldId id="2147471814" r:id="rId82"/>
    <p:sldId id="2147471779" r:id="rId83"/>
    <p:sldId id="2147471815" r:id="rId84"/>
    <p:sldId id="281" r:id="rId85"/>
    <p:sldId id="2147469089" r:id="rId86"/>
    <p:sldId id="2147469088" r:id="rId87"/>
    <p:sldId id="2147469091" r:id="rId88"/>
    <p:sldId id="2141411653" r:id="rId89"/>
    <p:sldId id="4560" r:id="rId90"/>
    <p:sldId id="2141411629" r:id="rId91"/>
    <p:sldId id="2141411632" r:id="rId92"/>
    <p:sldId id="13049" r:id="rId93"/>
    <p:sldId id="2141411683" r:id="rId94"/>
    <p:sldId id="2141411665" r:id="rId95"/>
    <p:sldId id="4632" r:id="rId96"/>
    <p:sldId id="2141411625" r:id="rId97"/>
    <p:sldId id="2141411626" r:id="rId98"/>
    <p:sldId id="4626" r:id="rId99"/>
    <p:sldId id="2141411676" r:id="rId100"/>
    <p:sldId id="4635" r:id="rId101"/>
    <p:sldId id="2141411638" r:id="rId102"/>
    <p:sldId id="2141411640" r:id="rId103"/>
    <p:sldId id="258" r:id="rId104"/>
    <p:sldId id="2141411627" r:id="rId105"/>
    <p:sldId id="2141411631" r:id="rId106"/>
    <p:sldId id="2141411672" r:id="rId107"/>
    <p:sldId id="2147472723" r:id="rId108"/>
    <p:sldId id="2147471804" r:id="rId109"/>
    <p:sldId id="2147471816" r:id="rId110"/>
    <p:sldId id="2147471817" r:id="rId111"/>
    <p:sldId id="2147471806" r:id="rId112"/>
    <p:sldId id="2147472730" r:id="rId113"/>
    <p:sldId id="2147471818" r:id="rId114"/>
    <p:sldId id="3634" r:id="rId115"/>
    <p:sldId id="2147472726" r:id="rId116"/>
    <p:sldId id="2147472727" r:id="rId117"/>
    <p:sldId id="293" r:id="rId118"/>
    <p:sldId id="2146848297" r:id="rId119"/>
    <p:sldId id="2146848295" r:id="rId120"/>
    <p:sldId id="310" r:id="rId121"/>
    <p:sldId id="2146848301" r:id="rId122"/>
    <p:sldId id="3661" r:id="rId123"/>
    <p:sldId id="420" r:id="rId124"/>
    <p:sldId id="2146848302" r:id="rId125"/>
    <p:sldId id="3643" r:id="rId126"/>
    <p:sldId id="3644" r:id="rId127"/>
    <p:sldId id="2146848294" r:id="rId128"/>
    <p:sldId id="3642" r:id="rId129"/>
    <p:sldId id="3645" r:id="rId130"/>
    <p:sldId id="2147472733" r:id="rId131"/>
    <p:sldId id="3662" r:id="rId132"/>
    <p:sldId id="3663" r:id="rId133"/>
    <p:sldId id="320" r:id="rId134"/>
    <p:sldId id="3635" r:id="rId135"/>
  </p:sldIdLst>
  <p:sldSz cx="12192000" cy="6858000"/>
  <p:notesSz cx="7772400" cy="10058400"/>
  <p:custDataLst>
    <p:tags r:id="rId138"/>
  </p:custDataLst>
  <p:defaultTextStyle>
    <a:defPPr>
      <a:defRPr lang="en-GB"/>
    </a:defPPr>
    <a:lvl1pPr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1pPr>
    <a:lvl2pPr marL="4302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2pPr>
    <a:lvl3pPr marL="6461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3pPr>
    <a:lvl4pPr marL="8620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4pPr>
    <a:lvl5pPr marL="10779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5pPr>
    <a:lvl6pPr marL="2286000" algn="l" defTabSz="457200" rtl="0" eaLnBrk="1" latinLnBrk="0" hangingPunct="1">
      <a:defRPr sz="3600" b="1" kern="1200">
        <a:solidFill>
          <a:schemeClr val="accent2"/>
        </a:solidFill>
        <a:latin typeface="Arial" pitchFamily="-72" charset="0"/>
        <a:ea typeface="MS PGothic" charset="0"/>
        <a:cs typeface="MS PGothic" charset="0"/>
      </a:defRPr>
    </a:lvl6pPr>
    <a:lvl7pPr marL="2743200" algn="l" defTabSz="457200" rtl="0" eaLnBrk="1" latinLnBrk="0" hangingPunct="1">
      <a:defRPr sz="3600" b="1" kern="1200">
        <a:solidFill>
          <a:schemeClr val="accent2"/>
        </a:solidFill>
        <a:latin typeface="Arial" pitchFamily="-72" charset="0"/>
        <a:ea typeface="MS PGothic" charset="0"/>
        <a:cs typeface="MS PGothic" charset="0"/>
      </a:defRPr>
    </a:lvl7pPr>
    <a:lvl8pPr marL="3200400" algn="l" defTabSz="457200" rtl="0" eaLnBrk="1" latinLnBrk="0" hangingPunct="1">
      <a:defRPr sz="3600" b="1" kern="1200">
        <a:solidFill>
          <a:schemeClr val="accent2"/>
        </a:solidFill>
        <a:latin typeface="Arial" pitchFamily="-72" charset="0"/>
        <a:ea typeface="MS PGothic" charset="0"/>
        <a:cs typeface="MS PGothic" charset="0"/>
      </a:defRPr>
    </a:lvl8pPr>
    <a:lvl9pPr marL="3657600" algn="l" defTabSz="457200" rtl="0" eaLnBrk="1" latinLnBrk="0" hangingPunct="1">
      <a:defRPr sz="3600" b="1" kern="1200">
        <a:solidFill>
          <a:schemeClr val="accent2"/>
        </a:solidFill>
        <a:latin typeface="Arial" pitchFamily="-72" charset="0"/>
        <a:ea typeface="MS PGothic" charset="0"/>
        <a:cs typeface="MS PGothic" charset="0"/>
      </a:defRPr>
    </a:lvl9pPr>
  </p:defaultTextStyle>
  <p:extLst>
    <p:ext uri="{EFAFB233-063F-42B5-8137-9DF3F51BA10A}">
      <p15:sldGuideLst xmlns:p15="http://schemas.microsoft.com/office/powerpoint/2012/main">
        <p15:guide id="1" orient="horz" pos="4208" userDrawn="1">
          <p15:clr>
            <a:srgbClr val="A4A3A4"/>
          </p15:clr>
        </p15:guide>
        <p15:guide id="2" pos="3719" userDrawn="1">
          <p15:clr>
            <a:srgbClr val="A4A3A4"/>
          </p15:clr>
        </p15:guide>
        <p15:guide id="3" pos="211" userDrawn="1">
          <p15:clr>
            <a:srgbClr val="A4A3A4"/>
          </p15:clr>
        </p15:guide>
        <p15:guide id="4" pos="6208" userDrawn="1">
          <p15:clr>
            <a:srgbClr val="A4A3A4"/>
          </p15:clr>
        </p15:guide>
        <p15:guide id="5" pos="332"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Rick Kaderman" initials="" lastIdx="0" clrIdx="0"/>
  <p:cmAuthor id="1" name="Porter, David" initials="DP" lastIdx="4" clrIdx="1"/>
</p:cmAuthorLst>
</file>

<file path=ppt/presProps.xml><?xml version="1.0" encoding="utf-8"?>
<p:presentationPr xmlns:a="http://schemas.openxmlformats.org/drawingml/2006/main" xmlns:r="http://schemas.openxmlformats.org/officeDocument/2006/relationships" xmlns:p="http://schemas.openxmlformats.org/presentationml/2006/main">
  <p:prnPr/>
  <p:showPr loop="1" showNarration="1">
    <p:present/>
    <p:sldAll/>
    <p:penClr>
      <a:schemeClr val="tx1"/>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432FF"/>
    <a:srgbClr val="FF40FF"/>
    <a:srgbClr val="002B4E"/>
    <a:srgbClr val="002B50"/>
    <a:srgbClr val="E2ECF1"/>
    <a:srgbClr val="E0E9F2"/>
    <a:srgbClr val="ECF4F9"/>
    <a:srgbClr val="0022E9"/>
    <a:srgbClr val="002AFA"/>
    <a:srgbClr val="9DD7E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902" autoAdjust="0"/>
    <p:restoredTop sz="94611" autoAdjust="0"/>
  </p:normalViewPr>
  <p:slideViewPr>
    <p:cSldViewPr>
      <p:cViewPr varScale="1">
        <p:scale>
          <a:sx n="105" d="100"/>
          <a:sy n="105" d="100"/>
        </p:scale>
        <p:origin x="840" y="184"/>
      </p:cViewPr>
      <p:guideLst>
        <p:guide orient="horz" pos="4208"/>
        <p:guide pos="3719"/>
        <p:guide pos="211"/>
        <p:guide pos="6208"/>
        <p:guide pos="332"/>
      </p:guideLst>
    </p:cSldViewPr>
  </p:slideViewPr>
  <p:outlineViewPr>
    <p:cViewPr varScale="1">
      <p:scale>
        <a:sx n="170" d="200"/>
        <a:sy n="170" d="200"/>
      </p:scale>
      <p:origin x="0" y="-149912"/>
    </p:cViewPr>
  </p:outlineViewPr>
  <p:notesTextViewPr>
    <p:cViewPr>
      <p:scale>
        <a:sx n="100" d="100"/>
        <a:sy n="100" d="100"/>
      </p:scale>
      <p:origin x="0" y="0"/>
    </p:cViewPr>
  </p:notesTextViewPr>
  <p:sorterViewPr>
    <p:cViewPr>
      <p:scale>
        <a:sx n="150" d="100"/>
        <a:sy n="150" d="100"/>
      </p:scale>
      <p:origin x="0" y="0"/>
    </p:cViewPr>
  </p:sorterViewPr>
  <p:notesViewPr>
    <p:cSldViewPr>
      <p:cViewPr varScale="1">
        <p:scale>
          <a:sx n="77" d="100"/>
          <a:sy n="77" d="100"/>
        </p:scale>
        <p:origin x="-2560" y="-104"/>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05.xml"/><Relationship Id="rId21" Type="http://schemas.openxmlformats.org/officeDocument/2006/relationships/slide" Target="slides/slide9.xml"/><Relationship Id="rId42" Type="http://schemas.openxmlformats.org/officeDocument/2006/relationships/slide" Target="slides/slide30.xml"/><Relationship Id="rId63" Type="http://schemas.openxmlformats.org/officeDocument/2006/relationships/slide" Target="slides/slide51.xml"/><Relationship Id="rId84" Type="http://schemas.openxmlformats.org/officeDocument/2006/relationships/slide" Target="slides/slide72.xml"/><Relationship Id="rId138" Type="http://schemas.openxmlformats.org/officeDocument/2006/relationships/tags" Target="tags/tag1.xml"/><Relationship Id="rId107" Type="http://schemas.openxmlformats.org/officeDocument/2006/relationships/slide" Target="slides/slide95.xml"/><Relationship Id="rId11" Type="http://schemas.openxmlformats.org/officeDocument/2006/relationships/slideMaster" Target="slideMasters/slideMaster11.xml"/><Relationship Id="rId32" Type="http://schemas.openxmlformats.org/officeDocument/2006/relationships/slide" Target="slides/slide20.xml"/><Relationship Id="rId53" Type="http://schemas.openxmlformats.org/officeDocument/2006/relationships/slide" Target="slides/slide41.xml"/><Relationship Id="rId74" Type="http://schemas.openxmlformats.org/officeDocument/2006/relationships/slide" Target="slides/slide62.xml"/><Relationship Id="rId128" Type="http://schemas.openxmlformats.org/officeDocument/2006/relationships/slide" Target="slides/slide116.xml"/><Relationship Id="rId5" Type="http://schemas.openxmlformats.org/officeDocument/2006/relationships/slideMaster" Target="slideMasters/slideMaster5.xml"/><Relationship Id="rId90" Type="http://schemas.openxmlformats.org/officeDocument/2006/relationships/slide" Target="slides/slide78.xml"/><Relationship Id="rId95" Type="http://schemas.openxmlformats.org/officeDocument/2006/relationships/slide" Target="slides/slide83.xml"/><Relationship Id="rId22" Type="http://schemas.openxmlformats.org/officeDocument/2006/relationships/slide" Target="slides/slide10.xml"/><Relationship Id="rId27" Type="http://schemas.openxmlformats.org/officeDocument/2006/relationships/slide" Target="slides/slide15.xml"/><Relationship Id="rId43" Type="http://schemas.openxmlformats.org/officeDocument/2006/relationships/slide" Target="slides/slide31.xml"/><Relationship Id="rId48" Type="http://schemas.openxmlformats.org/officeDocument/2006/relationships/slide" Target="slides/slide36.xml"/><Relationship Id="rId64" Type="http://schemas.openxmlformats.org/officeDocument/2006/relationships/slide" Target="slides/slide52.xml"/><Relationship Id="rId69" Type="http://schemas.openxmlformats.org/officeDocument/2006/relationships/slide" Target="slides/slide57.xml"/><Relationship Id="rId113" Type="http://schemas.openxmlformats.org/officeDocument/2006/relationships/slide" Target="slides/slide101.xml"/><Relationship Id="rId118" Type="http://schemas.openxmlformats.org/officeDocument/2006/relationships/slide" Target="slides/slide106.xml"/><Relationship Id="rId134" Type="http://schemas.openxmlformats.org/officeDocument/2006/relationships/slide" Target="slides/slide122.xml"/><Relationship Id="rId139" Type="http://schemas.openxmlformats.org/officeDocument/2006/relationships/commentAuthors" Target="commentAuthors.xml"/><Relationship Id="rId80" Type="http://schemas.openxmlformats.org/officeDocument/2006/relationships/slide" Target="slides/slide68.xml"/><Relationship Id="rId85" Type="http://schemas.openxmlformats.org/officeDocument/2006/relationships/slide" Target="slides/slide73.xml"/><Relationship Id="rId12" Type="http://schemas.openxmlformats.org/officeDocument/2006/relationships/slideMaster" Target="slideMasters/slideMaster12.xml"/><Relationship Id="rId17" Type="http://schemas.openxmlformats.org/officeDocument/2006/relationships/slide" Target="slides/slide5.xml"/><Relationship Id="rId33" Type="http://schemas.openxmlformats.org/officeDocument/2006/relationships/slide" Target="slides/slide21.xml"/><Relationship Id="rId38" Type="http://schemas.openxmlformats.org/officeDocument/2006/relationships/slide" Target="slides/slide26.xml"/><Relationship Id="rId59" Type="http://schemas.openxmlformats.org/officeDocument/2006/relationships/slide" Target="slides/slide47.xml"/><Relationship Id="rId103" Type="http://schemas.openxmlformats.org/officeDocument/2006/relationships/slide" Target="slides/slide91.xml"/><Relationship Id="rId108" Type="http://schemas.openxmlformats.org/officeDocument/2006/relationships/slide" Target="slides/slide96.xml"/><Relationship Id="rId124" Type="http://schemas.openxmlformats.org/officeDocument/2006/relationships/slide" Target="slides/slide112.xml"/><Relationship Id="rId129" Type="http://schemas.openxmlformats.org/officeDocument/2006/relationships/slide" Target="slides/slide117.xml"/><Relationship Id="rId54" Type="http://schemas.openxmlformats.org/officeDocument/2006/relationships/slide" Target="slides/slide42.xml"/><Relationship Id="rId70" Type="http://schemas.openxmlformats.org/officeDocument/2006/relationships/slide" Target="slides/slide58.xml"/><Relationship Id="rId75" Type="http://schemas.openxmlformats.org/officeDocument/2006/relationships/slide" Target="slides/slide63.xml"/><Relationship Id="rId91" Type="http://schemas.openxmlformats.org/officeDocument/2006/relationships/slide" Target="slides/slide79.xml"/><Relationship Id="rId96" Type="http://schemas.openxmlformats.org/officeDocument/2006/relationships/slide" Target="slides/slide84.xml"/><Relationship Id="rId140" Type="http://schemas.openxmlformats.org/officeDocument/2006/relationships/presProps" Target="presProps.xml"/><Relationship Id="rId145" Type="http://schemas.openxmlformats.org/officeDocument/2006/relationships/customXml" Target="../customXml/item2.xml"/><Relationship Id="rId1" Type="http://schemas.openxmlformats.org/officeDocument/2006/relationships/slideMaster" Target="slideMasters/slideMaster1.xml"/><Relationship Id="rId6" Type="http://schemas.openxmlformats.org/officeDocument/2006/relationships/slideMaster" Target="slideMasters/slideMaster6.xml"/><Relationship Id="rId23" Type="http://schemas.openxmlformats.org/officeDocument/2006/relationships/slide" Target="slides/slide11.xml"/><Relationship Id="rId28" Type="http://schemas.openxmlformats.org/officeDocument/2006/relationships/slide" Target="slides/slide16.xml"/><Relationship Id="rId49" Type="http://schemas.openxmlformats.org/officeDocument/2006/relationships/slide" Target="slides/slide37.xml"/><Relationship Id="rId114" Type="http://schemas.openxmlformats.org/officeDocument/2006/relationships/slide" Target="slides/slide102.xml"/><Relationship Id="rId119" Type="http://schemas.openxmlformats.org/officeDocument/2006/relationships/slide" Target="slides/slide107.xml"/><Relationship Id="rId44" Type="http://schemas.openxmlformats.org/officeDocument/2006/relationships/slide" Target="slides/slide32.xml"/><Relationship Id="rId60" Type="http://schemas.openxmlformats.org/officeDocument/2006/relationships/slide" Target="slides/slide48.xml"/><Relationship Id="rId65" Type="http://schemas.openxmlformats.org/officeDocument/2006/relationships/slide" Target="slides/slide53.xml"/><Relationship Id="rId81" Type="http://schemas.openxmlformats.org/officeDocument/2006/relationships/slide" Target="slides/slide69.xml"/><Relationship Id="rId86" Type="http://schemas.openxmlformats.org/officeDocument/2006/relationships/slide" Target="slides/slide74.xml"/><Relationship Id="rId130" Type="http://schemas.openxmlformats.org/officeDocument/2006/relationships/slide" Target="slides/slide118.xml"/><Relationship Id="rId135" Type="http://schemas.openxmlformats.org/officeDocument/2006/relationships/slide" Target="slides/slide123.xml"/><Relationship Id="rId13" Type="http://schemas.openxmlformats.org/officeDocument/2006/relationships/slide" Target="slides/slide1.xml"/><Relationship Id="rId18" Type="http://schemas.openxmlformats.org/officeDocument/2006/relationships/slide" Target="slides/slide6.xml"/><Relationship Id="rId39" Type="http://schemas.openxmlformats.org/officeDocument/2006/relationships/slide" Target="slides/slide27.xml"/><Relationship Id="rId109" Type="http://schemas.openxmlformats.org/officeDocument/2006/relationships/slide" Target="slides/slide97.xml"/><Relationship Id="rId34" Type="http://schemas.openxmlformats.org/officeDocument/2006/relationships/slide" Target="slides/slide22.xml"/><Relationship Id="rId50" Type="http://schemas.openxmlformats.org/officeDocument/2006/relationships/slide" Target="slides/slide38.xml"/><Relationship Id="rId55" Type="http://schemas.openxmlformats.org/officeDocument/2006/relationships/slide" Target="slides/slide43.xml"/><Relationship Id="rId76" Type="http://schemas.openxmlformats.org/officeDocument/2006/relationships/slide" Target="slides/slide64.xml"/><Relationship Id="rId97" Type="http://schemas.openxmlformats.org/officeDocument/2006/relationships/slide" Target="slides/slide85.xml"/><Relationship Id="rId104" Type="http://schemas.openxmlformats.org/officeDocument/2006/relationships/slide" Target="slides/slide92.xml"/><Relationship Id="rId120" Type="http://schemas.openxmlformats.org/officeDocument/2006/relationships/slide" Target="slides/slide108.xml"/><Relationship Id="rId125" Type="http://schemas.openxmlformats.org/officeDocument/2006/relationships/slide" Target="slides/slide113.xml"/><Relationship Id="rId141" Type="http://schemas.openxmlformats.org/officeDocument/2006/relationships/viewProps" Target="viewProps.xml"/><Relationship Id="rId7" Type="http://schemas.openxmlformats.org/officeDocument/2006/relationships/slideMaster" Target="slideMasters/slideMaster7.xml"/><Relationship Id="rId71" Type="http://schemas.openxmlformats.org/officeDocument/2006/relationships/slide" Target="slides/slide59.xml"/><Relationship Id="rId92" Type="http://schemas.openxmlformats.org/officeDocument/2006/relationships/slide" Target="slides/slide80.xml"/><Relationship Id="rId2" Type="http://schemas.openxmlformats.org/officeDocument/2006/relationships/slideMaster" Target="slideMasters/slideMaster2.xml"/><Relationship Id="rId29" Type="http://schemas.openxmlformats.org/officeDocument/2006/relationships/slide" Target="slides/slide17.xml"/><Relationship Id="rId24" Type="http://schemas.openxmlformats.org/officeDocument/2006/relationships/slide" Target="slides/slide12.xml"/><Relationship Id="rId40" Type="http://schemas.openxmlformats.org/officeDocument/2006/relationships/slide" Target="slides/slide28.xml"/><Relationship Id="rId45" Type="http://schemas.openxmlformats.org/officeDocument/2006/relationships/slide" Target="slides/slide33.xml"/><Relationship Id="rId66" Type="http://schemas.openxmlformats.org/officeDocument/2006/relationships/slide" Target="slides/slide54.xml"/><Relationship Id="rId87" Type="http://schemas.openxmlformats.org/officeDocument/2006/relationships/slide" Target="slides/slide75.xml"/><Relationship Id="rId110" Type="http://schemas.openxmlformats.org/officeDocument/2006/relationships/slide" Target="slides/slide98.xml"/><Relationship Id="rId115" Type="http://schemas.openxmlformats.org/officeDocument/2006/relationships/slide" Target="slides/slide103.xml"/><Relationship Id="rId131" Type="http://schemas.openxmlformats.org/officeDocument/2006/relationships/slide" Target="slides/slide119.xml"/><Relationship Id="rId136" Type="http://schemas.openxmlformats.org/officeDocument/2006/relationships/notesMaster" Target="notesMasters/notesMaster1.xml"/><Relationship Id="rId61" Type="http://schemas.openxmlformats.org/officeDocument/2006/relationships/slide" Target="slides/slide49.xml"/><Relationship Id="rId82" Type="http://schemas.openxmlformats.org/officeDocument/2006/relationships/slide" Target="slides/slide70.xml"/><Relationship Id="rId19" Type="http://schemas.openxmlformats.org/officeDocument/2006/relationships/slide" Target="slides/slide7.xml"/><Relationship Id="rId14" Type="http://schemas.openxmlformats.org/officeDocument/2006/relationships/slide" Target="slides/slide2.xml"/><Relationship Id="rId30" Type="http://schemas.openxmlformats.org/officeDocument/2006/relationships/slide" Target="slides/slide18.xml"/><Relationship Id="rId35" Type="http://schemas.openxmlformats.org/officeDocument/2006/relationships/slide" Target="slides/slide23.xml"/><Relationship Id="rId56" Type="http://schemas.openxmlformats.org/officeDocument/2006/relationships/slide" Target="slides/slide44.xml"/><Relationship Id="rId77" Type="http://schemas.openxmlformats.org/officeDocument/2006/relationships/slide" Target="slides/slide65.xml"/><Relationship Id="rId100" Type="http://schemas.openxmlformats.org/officeDocument/2006/relationships/slide" Target="slides/slide88.xml"/><Relationship Id="rId105" Type="http://schemas.openxmlformats.org/officeDocument/2006/relationships/slide" Target="slides/slide93.xml"/><Relationship Id="rId126" Type="http://schemas.openxmlformats.org/officeDocument/2006/relationships/slide" Target="slides/slide114.xml"/><Relationship Id="rId8" Type="http://schemas.openxmlformats.org/officeDocument/2006/relationships/slideMaster" Target="slideMasters/slideMaster8.xml"/><Relationship Id="rId51" Type="http://schemas.openxmlformats.org/officeDocument/2006/relationships/slide" Target="slides/slide39.xml"/><Relationship Id="rId72" Type="http://schemas.openxmlformats.org/officeDocument/2006/relationships/slide" Target="slides/slide60.xml"/><Relationship Id="rId93" Type="http://schemas.openxmlformats.org/officeDocument/2006/relationships/slide" Target="slides/slide81.xml"/><Relationship Id="rId98" Type="http://schemas.openxmlformats.org/officeDocument/2006/relationships/slide" Target="slides/slide86.xml"/><Relationship Id="rId121" Type="http://schemas.openxmlformats.org/officeDocument/2006/relationships/slide" Target="slides/slide109.xml"/><Relationship Id="rId142" Type="http://schemas.openxmlformats.org/officeDocument/2006/relationships/theme" Target="theme/theme1.xml"/><Relationship Id="rId3" Type="http://schemas.openxmlformats.org/officeDocument/2006/relationships/slideMaster" Target="slideMasters/slideMaster3.xml"/><Relationship Id="rId25" Type="http://schemas.openxmlformats.org/officeDocument/2006/relationships/slide" Target="slides/slide13.xml"/><Relationship Id="rId46" Type="http://schemas.openxmlformats.org/officeDocument/2006/relationships/slide" Target="slides/slide34.xml"/><Relationship Id="rId67" Type="http://schemas.openxmlformats.org/officeDocument/2006/relationships/slide" Target="slides/slide55.xml"/><Relationship Id="rId116" Type="http://schemas.openxmlformats.org/officeDocument/2006/relationships/slide" Target="slides/slide104.xml"/><Relationship Id="rId137" Type="http://schemas.openxmlformats.org/officeDocument/2006/relationships/handoutMaster" Target="handoutMasters/handoutMaster1.xml"/><Relationship Id="rId20" Type="http://schemas.openxmlformats.org/officeDocument/2006/relationships/slide" Target="slides/slide8.xml"/><Relationship Id="rId41" Type="http://schemas.openxmlformats.org/officeDocument/2006/relationships/slide" Target="slides/slide29.xml"/><Relationship Id="rId62" Type="http://schemas.openxmlformats.org/officeDocument/2006/relationships/slide" Target="slides/slide50.xml"/><Relationship Id="rId83" Type="http://schemas.openxmlformats.org/officeDocument/2006/relationships/slide" Target="slides/slide71.xml"/><Relationship Id="rId88" Type="http://schemas.openxmlformats.org/officeDocument/2006/relationships/slide" Target="slides/slide76.xml"/><Relationship Id="rId111" Type="http://schemas.openxmlformats.org/officeDocument/2006/relationships/slide" Target="slides/slide99.xml"/><Relationship Id="rId132" Type="http://schemas.openxmlformats.org/officeDocument/2006/relationships/slide" Target="slides/slide120.xml"/><Relationship Id="rId15" Type="http://schemas.openxmlformats.org/officeDocument/2006/relationships/slide" Target="slides/slide3.xml"/><Relationship Id="rId36" Type="http://schemas.openxmlformats.org/officeDocument/2006/relationships/slide" Target="slides/slide24.xml"/><Relationship Id="rId57" Type="http://schemas.openxmlformats.org/officeDocument/2006/relationships/slide" Target="slides/slide45.xml"/><Relationship Id="rId106" Type="http://schemas.openxmlformats.org/officeDocument/2006/relationships/slide" Target="slides/slide94.xml"/><Relationship Id="rId127" Type="http://schemas.openxmlformats.org/officeDocument/2006/relationships/slide" Target="slides/slide115.xml"/><Relationship Id="rId10" Type="http://schemas.openxmlformats.org/officeDocument/2006/relationships/slideMaster" Target="slideMasters/slideMaster10.xml"/><Relationship Id="rId31" Type="http://schemas.openxmlformats.org/officeDocument/2006/relationships/slide" Target="slides/slide19.xml"/><Relationship Id="rId52" Type="http://schemas.openxmlformats.org/officeDocument/2006/relationships/slide" Target="slides/slide40.xml"/><Relationship Id="rId73" Type="http://schemas.openxmlformats.org/officeDocument/2006/relationships/slide" Target="slides/slide61.xml"/><Relationship Id="rId78" Type="http://schemas.openxmlformats.org/officeDocument/2006/relationships/slide" Target="slides/slide66.xml"/><Relationship Id="rId94" Type="http://schemas.openxmlformats.org/officeDocument/2006/relationships/slide" Target="slides/slide82.xml"/><Relationship Id="rId99" Type="http://schemas.openxmlformats.org/officeDocument/2006/relationships/slide" Target="slides/slide87.xml"/><Relationship Id="rId101" Type="http://schemas.openxmlformats.org/officeDocument/2006/relationships/slide" Target="slides/slide89.xml"/><Relationship Id="rId122" Type="http://schemas.openxmlformats.org/officeDocument/2006/relationships/slide" Target="slides/slide110.xml"/><Relationship Id="rId143"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Master" Target="slideMasters/slideMaster9.xml"/><Relationship Id="rId26" Type="http://schemas.openxmlformats.org/officeDocument/2006/relationships/slide" Target="slides/slide14.xml"/><Relationship Id="rId47" Type="http://schemas.openxmlformats.org/officeDocument/2006/relationships/slide" Target="slides/slide35.xml"/><Relationship Id="rId68" Type="http://schemas.openxmlformats.org/officeDocument/2006/relationships/slide" Target="slides/slide56.xml"/><Relationship Id="rId89" Type="http://schemas.openxmlformats.org/officeDocument/2006/relationships/slide" Target="slides/slide77.xml"/><Relationship Id="rId112" Type="http://schemas.openxmlformats.org/officeDocument/2006/relationships/slide" Target="slides/slide100.xml"/><Relationship Id="rId133" Type="http://schemas.openxmlformats.org/officeDocument/2006/relationships/slide" Target="slides/slide121.xml"/><Relationship Id="rId16" Type="http://schemas.openxmlformats.org/officeDocument/2006/relationships/slide" Target="slides/slide4.xml"/><Relationship Id="rId37" Type="http://schemas.openxmlformats.org/officeDocument/2006/relationships/slide" Target="slides/slide25.xml"/><Relationship Id="rId58" Type="http://schemas.openxmlformats.org/officeDocument/2006/relationships/slide" Target="slides/slide46.xml"/><Relationship Id="rId79" Type="http://schemas.openxmlformats.org/officeDocument/2006/relationships/slide" Target="slides/slide67.xml"/><Relationship Id="rId102" Type="http://schemas.openxmlformats.org/officeDocument/2006/relationships/slide" Target="slides/slide90.xml"/><Relationship Id="rId123" Type="http://schemas.openxmlformats.org/officeDocument/2006/relationships/slide" Target="slides/slide111.xml"/><Relationship Id="rId144" Type="http://schemas.openxmlformats.org/officeDocument/2006/relationships/customXml" Target="../customXml/item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6185567010309E-2"/>
          <c:y val="5.2434456928839003E-2"/>
          <c:w val="0.96219931271477699"/>
          <c:h val="0.917602996254682"/>
        </c:manualLayout>
      </c:layout>
      <c:barChart>
        <c:barDir val="bar"/>
        <c:grouping val="stacked"/>
        <c:varyColors val="0"/>
        <c:ser>
          <c:idx val="0"/>
          <c:order val="0"/>
          <c:tx>
            <c:strRef>
              <c:f>Sheet1!$B$1</c:f>
              <c:strCache>
                <c:ptCount val="1"/>
                <c:pt idx="0">
                  <c:v>sorafenib</c:v>
                </c:pt>
              </c:strCache>
            </c:strRef>
          </c:tx>
          <c:spPr>
            <a:solidFill>
              <a:srgbClr val="EC541E"/>
            </a:solidFill>
            <a:ln>
              <a:noFill/>
            </a:ln>
          </c:spPr>
          <c:invertIfNegative val="0"/>
          <c:cat>
            <c:strRef>
              <c:f>Sheet1!$A$2:$A$19</c:f>
              <c:strCache>
                <c:ptCount val="18"/>
                <c:pt idx="0">
                  <c:v>Palmar-plantar erythrodysesthesia syndrome</c:v>
                </c:pt>
                <c:pt idx="1">
                  <c:v>Alopecia</c:v>
                </c:pt>
                <c:pt idx="2">
                  <c:v>Asthenia</c:v>
                </c:pt>
                <c:pt idx="3">
                  <c:v>Nausea</c:v>
                </c:pt>
                <c:pt idx="4">
                  <c:v>Rash</c:v>
                </c:pt>
                <c:pt idx="5">
                  <c:v>Decreased appetite</c:v>
                </c:pt>
                <c:pt idx="6">
                  <c:v>ALT increase</c:v>
                </c:pt>
                <c:pt idx="7">
                  <c:v>Diarrhoea</c:v>
                </c:pt>
                <c:pt idx="8">
                  <c:v>Infusion-related reaction</c:v>
                </c:pt>
                <c:pt idx="9">
                  <c:v>Pruritus</c:v>
                </c:pt>
                <c:pt idx="10">
                  <c:v>AST increase</c:v>
                </c:pt>
                <c:pt idx="11">
                  <c:v>Fatigue</c:v>
                </c:pt>
                <c:pt idx="12">
                  <c:v>Proteinuria</c:v>
                </c:pt>
                <c:pt idx="13">
                  <c:v>Hypertension</c:v>
                </c:pt>
                <c:pt idx="16">
                  <c:v>AEs with more than 5% difference. Atezo + Bev AEs given a neg value for tornado plot</c:v>
                </c:pt>
                <c:pt idx="17">
                  <c:v>All Aes &gt;= 10% included</c:v>
                </c:pt>
              </c:strCache>
            </c:strRef>
          </c:cat>
          <c:val>
            <c:numRef>
              <c:f>Sheet1!$B$2:$B$16</c:f>
              <c:numCache>
                <c:formatCode>General</c:formatCode>
                <c:ptCount val="15"/>
                <c:pt idx="0">
                  <c:v>8.3333333333333321</c:v>
                </c:pt>
                <c:pt idx="1">
                  <c:v>0</c:v>
                </c:pt>
                <c:pt idx="2">
                  <c:v>1.9230769230769231</c:v>
                </c:pt>
                <c:pt idx="3">
                  <c:v>0</c:v>
                </c:pt>
                <c:pt idx="4">
                  <c:v>2.5641025641025639</c:v>
                </c:pt>
                <c:pt idx="5">
                  <c:v>3.8461538461538463</c:v>
                </c:pt>
                <c:pt idx="6">
                  <c:v>0</c:v>
                </c:pt>
                <c:pt idx="7">
                  <c:v>3.8461538461538463</c:v>
                </c:pt>
                <c:pt idx="8">
                  <c:v>0</c:v>
                </c:pt>
                <c:pt idx="9">
                  <c:v>0</c:v>
                </c:pt>
                <c:pt idx="10">
                  <c:v>2.5641025641025639</c:v>
                </c:pt>
                <c:pt idx="11">
                  <c:v>3.2051282051282048</c:v>
                </c:pt>
                <c:pt idx="12">
                  <c:v>0.64102564102564097</c:v>
                </c:pt>
                <c:pt idx="13">
                  <c:v>8.9743589743589745</c:v>
                </c:pt>
                <c:pt idx="14">
                  <c:v>0</c:v>
                </c:pt>
              </c:numCache>
            </c:numRef>
          </c:val>
          <c:extLst>
            <c:ext xmlns:c16="http://schemas.microsoft.com/office/drawing/2014/chart" uri="{C3380CC4-5D6E-409C-BE32-E72D297353CC}">
              <c16:uniqueId val="{00000000-02C8-4A34-AA67-96D3E0930EFD}"/>
            </c:ext>
          </c:extLst>
        </c:ser>
        <c:ser>
          <c:idx val="1"/>
          <c:order val="1"/>
          <c:tx>
            <c:strRef>
              <c:f>Sheet1!$C$1</c:f>
              <c:strCache>
                <c:ptCount val="1"/>
                <c:pt idx="0">
                  <c:v>sorafenib2</c:v>
                </c:pt>
              </c:strCache>
            </c:strRef>
          </c:tx>
          <c:spPr>
            <a:solidFill>
              <a:srgbClr val="EF7507">
                <a:alpha val="50196"/>
              </a:srgbClr>
            </a:solidFill>
          </c:spPr>
          <c:invertIfNegative val="0"/>
          <c:cat>
            <c:strRef>
              <c:f>Sheet1!$A$2:$A$19</c:f>
              <c:strCache>
                <c:ptCount val="18"/>
                <c:pt idx="0">
                  <c:v>Palmar-plantar erythrodysesthesia syndrome</c:v>
                </c:pt>
                <c:pt idx="1">
                  <c:v>Alopecia</c:v>
                </c:pt>
                <c:pt idx="2">
                  <c:v>Asthenia</c:v>
                </c:pt>
                <c:pt idx="3">
                  <c:v>Nausea</c:v>
                </c:pt>
                <c:pt idx="4">
                  <c:v>Rash</c:v>
                </c:pt>
                <c:pt idx="5">
                  <c:v>Decreased appetite</c:v>
                </c:pt>
                <c:pt idx="6">
                  <c:v>ALT increase</c:v>
                </c:pt>
                <c:pt idx="7">
                  <c:v>Diarrhoea</c:v>
                </c:pt>
                <c:pt idx="8">
                  <c:v>Infusion-related reaction</c:v>
                </c:pt>
                <c:pt idx="9">
                  <c:v>Pruritus</c:v>
                </c:pt>
                <c:pt idx="10">
                  <c:v>AST increase</c:v>
                </c:pt>
                <c:pt idx="11">
                  <c:v>Fatigue</c:v>
                </c:pt>
                <c:pt idx="12">
                  <c:v>Proteinuria</c:v>
                </c:pt>
                <c:pt idx="13">
                  <c:v>Hypertension</c:v>
                </c:pt>
                <c:pt idx="16">
                  <c:v>AEs with more than 5% difference. Atezo + Bev AEs given a neg value for tornado plot</c:v>
                </c:pt>
                <c:pt idx="17">
                  <c:v>All Aes &gt;= 10% included</c:v>
                </c:pt>
              </c:strCache>
            </c:strRef>
          </c:cat>
          <c:val>
            <c:numRef>
              <c:f>Sheet1!$C$2:$C$16</c:f>
              <c:numCache>
                <c:formatCode>General</c:formatCode>
                <c:ptCount val="15"/>
                <c:pt idx="0">
                  <c:v>39.743589743589745</c:v>
                </c:pt>
                <c:pt idx="1">
                  <c:v>13.461538461538462</c:v>
                </c:pt>
                <c:pt idx="2">
                  <c:v>8.3333333333333321</c:v>
                </c:pt>
                <c:pt idx="3">
                  <c:v>12.820512820512819</c:v>
                </c:pt>
                <c:pt idx="4">
                  <c:v>14.102564102564102</c:v>
                </c:pt>
                <c:pt idx="5">
                  <c:v>16.025641025641026</c:v>
                </c:pt>
                <c:pt idx="6">
                  <c:v>2.5641025641025639</c:v>
                </c:pt>
                <c:pt idx="7">
                  <c:v>39.102564102564102</c:v>
                </c:pt>
                <c:pt idx="8">
                  <c:v>0</c:v>
                </c:pt>
                <c:pt idx="9">
                  <c:v>8.3333333333333321</c:v>
                </c:pt>
                <c:pt idx="10">
                  <c:v>4.4871794871794872</c:v>
                </c:pt>
                <c:pt idx="11">
                  <c:v>12.179487179487179</c:v>
                </c:pt>
                <c:pt idx="12">
                  <c:v>3.8461538461538463</c:v>
                </c:pt>
                <c:pt idx="13">
                  <c:v>10.897435897435898</c:v>
                </c:pt>
                <c:pt idx="14">
                  <c:v>0</c:v>
                </c:pt>
              </c:numCache>
            </c:numRef>
          </c:val>
          <c:extLst>
            <c:ext xmlns:c16="http://schemas.microsoft.com/office/drawing/2014/chart" uri="{C3380CC4-5D6E-409C-BE32-E72D297353CC}">
              <c16:uniqueId val="{00000001-02C8-4A34-AA67-96D3E0930EFD}"/>
            </c:ext>
          </c:extLst>
        </c:ser>
        <c:ser>
          <c:idx val="2"/>
          <c:order val="2"/>
          <c:tx>
            <c:strRef>
              <c:f>Sheet1!$D$1</c:f>
              <c:strCache>
                <c:ptCount val="1"/>
                <c:pt idx="0">
                  <c:v>Atezo + bev</c:v>
                </c:pt>
              </c:strCache>
            </c:strRef>
          </c:tx>
          <c:spPr>
            <a:solidFill>
              <a:srgbClr val="005383"/>
            </a:solidFill>
          </c:spPr>
          <c:invertIfNegative val="0"/>
          <c:cat>
            <c:strRef>
              <c:f>Sheet1!$A$2:$A$19</c:f>
              <c:strCache>
                <c:ptCount val="18"/>
                <c:pt idx="0">
                  <c:v>Palmar-plantar erythrodysesthesia syndrome</c:v>
                </c:pt>
                <c:pt idx="1">
                  <c:v>Alopecia</c:v>
                </c:pt>
                <c:pt idx="2">
                  <c:v>Asthenia</c:v>
                </c:pt>
                <c:pt idx="3">
                  <c:v>Nausea</c:v>
                </c:pt>
                <c:pt idx="4">
                  <c:v>Rash</c:v>
                </c:pt>
                <c:pt idx="5">
                  <c:v>Decreased appetite</c:v>
                </c:pt>
                <c:pt idx="6">
                  <c:v>ALT increase</c:v>
                </c:pt>
                <c:pt idx="7">
                  <c:v>Diarrhoea</c:v>
                </c:pt>
                <c:pt idx="8">
                  <c:v>Infusion-related reaction</c:v>
                </c:pt>
                <c:pt idx="9">
                  <c:v>Pruritus</c:v>
                </c:pt>
                <c:pt idx="10">
                  <c:v>AST increase</c:v>
                </c:pt>
                <c:pt idx="11">
                  <c:v>Fatigue</c:v>
                </c:pt>
                <c:pt idx="12">
                  <c:v>Proteinuria</c:v>
                </c:pt>
                <c:pt idx="13">
                  <c:v>Hypertension</c:v>
                </c:pt>
                <c:pt idx="16">
                  <c:v>AEs with more than 5% difference. Atezo + Bev AEs given a neg value for tornado plot</c:v>
                </c:pt>
                <c:pt idx="17">
                  <c:v>All Aes &gt;= 10% included</c:v>
                </c:pt>
              </c:strCache>
            </c:strRef>
          </c:cat>
          <c:val>
            <c:numRef>
              <c:f>Sheet1!$D$2:$D$16</c:f>
              <c:numCache>
                <c:formatCode>General</c:formatCode>
                <c:ptCount val="15"/>
                <c:pt idx="0">
                  <c:v>0</c:v>
                </c:pt>
                <c:pt idx="1">
                  <c:v>0</c:v>
                </c:pt>
                <c:pt idx="2">
                  <c:v>0</c:v>
                </c:pt>
                <c:pt idx="3">
                  <c:v>0</c:v>
                </c:pt>
                <c:pt idx="4">
                  <c:v>0</c:v>
                </c:pt>
                <c:pt idx="5">
                  <c:v>-0.60790273556231</c:v>
                </c:pt>
                <c:pt idx="6">
                  <c:v>-2.1276595744680851</c:v>
                </c:pt>
                <c:pt idx="7">
                  <c:v>-0.303951367781155</c:v>
                </c:pt>
                <c:pt idx="8">
                  <c:v>-2.1276595744680851</c:v>
                </c:pt>
                <c:pt idx="9">
                  <c:v>0</c:v>
                </c:pt>
                <c:pt idx="10">
                  <c:v>-4.2553191489361701</c:v>
                </c:pt>
                <c:pt idx="11">
                  <c:v>-1.5197568389057752</c:v>
                </c:pt>
                <c:pt idx="12">
                  <c:v>-2.735562310030395</c:v>
                </c:pt>
                <c:pt idx="13">
                  <c:v>-10.334346504559271</c:v>
                </c:pt>
                <c:pt idx="14">
                  <c:v>0</c:v>
                </c:pt>
              </c:numCache>
            </c:numRef>
          </c:val>
          <c:extLst>
            <c:ext xmlns:c16="http://schemas.microsoft.com/office/drawing/2014/chart" uri="{C3380CC4-5D6E-409C-BE32-E72D297353CC}">
              <c16:uniqueId val="{00000002-02C8-4A34-AA67-96D3E0930EFD}"/>
            </c:ext>
          </c:extLst>
        </c:ser>
        <c:ser>
          <c:idx val="3"/>
          <c:order val="3"/>
          <c:tx>
            <c:strRef>
              <c:f>Sheet1!$E$1</c:f>
              <c:strCache>
                <c:ptCount val="1"/>
                <c:pt idx="0">
                  <c:v>Atezo + bev2</c:v>
                </c:pt>
              </c:strCache>
            </c:strRef>
          </c:tx>
          <c:spPr>
            <a:solidFill>
              <a:srgbClr val="8BCDE3"/>
            </a:solidFill>
          </c:spPr>
          <c:invertIfNegative val="0"/>
          <c:cat>
            <c:strRef>
              <c:f>Sheet1!$A$2:$A$19</c:f>
              <c:strCache>
                <c:ptCount val="18"/>
                <c:pt idx="0">
                  <c:v>Palmar-plantar erythrodysesthesia syndrome</c:v>
                </c:pt>
                <c:pt idx="1">
                  <c:v>Alopecia</c:v>
                </c:pt>
                <c:pt idx="2">
                  <c:v>Asthenia</c:v>
                </c:pt>
                <c:pt idx="3">
                  <c:v>Nausea</c:v>
                </c:pt>
                <c:pt idx="4">
                  <c:v>Rash</c:v>
                </c:pt>
                <c:pt idx="5">
                  <c:v>Decreased appetite</c:v>
                </c:pt>
                <c:pt idx="6">
                  <c:v>ALT increase</c:v>
                </c:pt>
                <c:pt idx="7">
                  <c:v>Diarrhoea</c:v>
                </c:pt>
                <c:pt idx="8">
                  <c:v>Infusion-related reaction</c:v>
                </c:pt>
                <c:pt idx="9">
                  <c:v>Pruritus</c:v>
                </c:pt>
                <c:pt idx="10">
                  <c:v>AST increase</c:v>
                </c:pt>
                <c:pt idx="11">
                  <c:v>Fatigue</c:v>
                </c:pt>
                <c:pt idx="12">
                  <c:v>Proteinuria</c:v>
                </c:pt>
                <c:pt idx="13">
                  <c:v>Hypertension</c:v>
                </c:pt>
                <c:pt idx="16">
                  <c:v>AEs with more than 5% difference. Atezo + Bev AEs given a neg value for tornado plot</c:v>
                </c:pt>
                <c:pt idx="17">
                  <c:v>All Aes &gt;= 10% included</c:v>
                </c:pt>
              </c:strCache>
            </c:strRef>
          </c:cat>
          <c:val>
            <c:numRef>
              <c:f>Sheet1!$E$2:$E$16</c:f>
              <c:numCache>
                <c:formatCode>General</c:formatCode>
                <c:ptCount val="15"/>
                <c:pt idx="0">
                  <c:v>-0.60790273556231</c:v>
                </c:pt>
                <c:pt idx="1">
                  <c:v>-0.91185410334346495</c:v>
                </c:pt>
                <c:pt idx="2">
                  <c:v>-3.3434650455927049</c:v>
                </c:pt>
                <c:pt idx="3">
                  <c:v>-6.3829787234042552</c:v>
                </c:pt>
                <c:pt idx="4">
                  <c:v>-8.8145896656534948</c:v>
                </c:pt>
                <c:pt idx="5">
                  <c:v>-9.4224924012158056</c:v>
                </c:pt>
                <c:pt idx="6">
                  <c:v>-8.2066869300911858</c:v>
                </c:pt>
                <c:pt idx="7">
                  <c:v>-10.030395136778116</c:v>
                </c:pt>
                <c:pt idx="8">
                  <c:v>-8.8145896656534948</c:v>
                </c:pt>
                <c:pt idx="9">
                  <c:v>-13.069908814589665</c:v>
                </c:pt>
                <c:pt idx="10">
                  <c:v>-9.7264437689969601</c:v>
                </c:pt>
                <c:pt idx="11">
                  <c:v>-13.677811550151976</c:v>
                </c:pt>
                <c:pt idx="12">
                  <c:v>-16.109422492401215</c:v>
                </c:pt>
                <c:pt idx="13">
                  <c:v>-13.373860182370819</c:v>
                </c:pt>
                <c:pt idx="14">
                  <c:v>0</c:v>
                </c:pt>
              </c:numCache>
            </c:numRef>
          </c:val>
          <c:extLst>
            <c:ext xmlns:c16="http://schemas.microsoft.com/office/drawing/2014/chart" uri="{C3380CC4-5D6E-409C-BE32-E72D297353CC}">
              <c16:uniqueId val="{00000003-02C8-4A34-AA67-96D3E0930EFD}"/>
            </c:ext>
          </c:extLst>
        </c:ser>
        <c:ser>
          <c:idx val="4"/>
          <c:order val="4"/>
          <c:tx>
            <c:strRef>
              <c:f>Sheet1!$F$1</c:f>
              <c:strCache>
                <c:ptCount val="1"/>
                <c:pt idx="0">
                  <c:v>Difference</c:v>
                </c:pt>
              </c:strCache>
            </c:strRef>
          </c:tx>
          <c:invertIfNegative val="0"/>
          <c:cat>
            <c:strRef>
              <c:f>Sheet1!$A$2:$A$19</c:f>
              <c:strCache>
                <c:ptCount val="18"/>
                <c:pt idx="0">
                  <c:v>Palmar-plantar erythrodysesthesia syndrome</c:v>
                </c:pt>
                <c:pt idx="1">
                  <c:v>Alopecia</c:v>
                </c:pt>
                <c:pt idx="2">
                  <c:v>Asthenia</c:v>
                </c:pt>
                <c:pt idx="3">
                  <c:v>Nausea</c:v>
                </c:pt>
                <c:pt idx="4">
                  <c:v>Rash</c:v>
                </c:pt>
                <c:pt idx="5">
                  <c:v>Decreased appetite</c:v>
                </c:pt>
                <c:pt idx="6">
                  <c:v>ALT increase</c:v>
                </c:pt>
                <c:pt idx="7">
                  <c:v>Diarrhoea</c:v>
                </c:pt>
                <c:pt idx="8">
                  <c:v>Infusion-related reaction</c:v>
                </c:pt>
                <c:pt idx="9">
                  <c:v>Pruritus</c:v>
                </c:pt>
                <c:pt idx="10">
                  <c:v>AST increase</c:v>
                </c:pt>
                <c:pt idx="11">
                  <c:v>Fatigue</c:v>
                </c:pt>
                <c:pt idx="12">
                  <c:v>Proteinuria</c:v>
                </c:pt>
                <c:pt idx="13">
                  <c:v>Hypertension</c:v>
                </c:pt>
                <c:pt idx="16">
                  <c:v>AEs with more than 5% difference. Atezo + Bev AEs given a neg value for tornado plot</c:v>
                </c:pt>
                <c:pt idx="17">
                  <c:v>All Aes &gt;= 10% included</c:v>
                </c:pt>
              </c:strCache>
            </c:strRef>
          </c:cat>
          <c:val>
            <c:numRef>
              <c:f>Sheet1!$F$2:$F$13</c:f>
              <c:numCache>
                <c:formatCode>General</c:formatCode>
                <c:ptCount val="12"/>
              </c:numCache>
            </c:numRef>
          </c:val>
          <c:extLst>
            <c:ext xmlns:c16="http://schemas.microsoft.com/office/drawing/2014/chart" uri="{C3380CC4-5D6E-409C-BE32-E72D297353CC}">
              <c16:uniqueId val="{00000004-02C8-4A34-AA67-96D3E0930EFD}"/>
            </c:ext>
          </c:extLst>
        </c:ser>
        <c:dLbls>
          <c:showLegendKey val="0"/>
          <c:showVal val="0"/>
          <c:showCatName val="0"/>
          <c:showSerName val="0"/>
          <c:showPercent val="0"/>
          <c:showBubbleSize val="0"/>
        </c:dLbls>
        <c:gapWidth val="50"/>
        <c:overlap val="100"/>
        <c:axId val="139007104"/>
        <c:axId val="139008640"/>
      </c:barChart>
      <c:catAx>
        <c:axId val="139007104"/>
        <c:scaling>
          <c:orientation val="minMax"/>
        </c:scaling>
        <c:delete val="0"/>
        <c:axPos val="l"/>
        <c:numFmt formatCode="General" sourceLinked="1"/>
        <c:majorTickMark val="none"/>
        <c:minorTickMark val="none"/>
        <c:tickLblPos val="none"/>
        <c:spPr>
          <a:ln w="12592" cap="sq"/>
        </c:spPr>
        <c:crossAx val="139008640"/>
        <c:crossesAt val="0"/>
        <c:auto val="1"/>
        <c:lblAlgn val="ctr"/>
        <c:lblOffset val="100"/>
        <c:noMultiLvlLbl val="0"/>
      </c:catAx>
      <c:valAx>
        <c:axId val="139008640"/>
        <c:scaling>
          <c:orientation val="minMax"/>
          <c:max val="50"/>
          <c:min val="-50"/>
        </c:scaling>
        <c:delete val="0"/>
        <c:axPos val="b"/>
        <c:majorGridlines>
          <c:spPr>
            <a:ln w="12592" cap="sq">
              <a:solidFill>
                <a:schemeClr val="bg1">
                  <a:lumMod val="85000"/>
                </a:schemeClr>
              </a:solidFill>
            </a:ln>
          </c:spPr>
        </c:majorGridlines>
        <c:numFmt formatCode="General" sourceLinked="1"/>
        <c:majorTickMark val="out"/>
        <c:minorTickMark val="none"/>
        <c:tickLblPos val="none"/>
        <c:spPr>
          <a:ln w="12592" cap="sq"/>
        </c:spPr>
        <c:crossAx val="139007104"/>
        <c:crosses val="autoZero"/>
        <c:crossBetween val="between"/>
        <c:majorUnit val="10"/>
      </c:valAx>
      <c:spPr>
        <a:noFill/>
        <a:ln w="25385">
          <a:noFill/>
        </a:ln>
      </c:spPr>
    </c:plotArea>
    <c:plotVisOnly val="1"/>
    <c:dispBlanksAs val="gap"/>
    <c:showDLblsOverMax val="0"/>
  </c:chart>
  <c:txPr>
    <a:bodyPr/>
    <a:lstStyle/>
    <a:p>
      <a:pPr>
        <a:defRPr sz="1786"/>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227086168237683"/>
          <c:y val="0.14148982939632546"/>
          <c:w val="0.82017248547410693"/>
          <c:h val="0.6986619480883477"/>
        </c:manualLayout>
      </c:layout>
      <c:lineChart>
        <c:grouping val="standard"/>
        <c:varyColors val="0"/>
        <c:ser>
          <c:idx val="0"/>
          <c:order val="0"/>
          <c:tx>
            <c:strRef>
              <c:f>Sheet1!$B$1</c:f>
              <c:strCache>
                <c:ptCount val="1"/>
                <c:pt idx="0">
                  <c:v>Series 1</c:v>
                </c:pt>
              </c:strCache>
            </c:strRef>
          </c:tx>
          <c:marker>
            <c:symbol val="none"/>
          </c:marker>
          <c:cat>
            <c:numRef>
              <c:f>Sheet1!$A$2:$A$19</c:f>
              <c:numCache>
                <c:formatCode>General</c:formatCode>
                <c:ptCount val="18"/>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numCache>
            </c:numRef>
          </c:cat>
          <c:val>
            <c:numRef>
              <c:f>Sheet1!$B$2:$B$19</c:f>
              <c:numCache>
                <c:formatCode>General</c:formatCode>
                <c:ptCount val="18"/>
              </c:numCache>
            </c:numRef>
          </c:val>
          <c:smooth val="0"/>
          <c:extLst>
            <c:ext xmlns:c16="http://schemas.microsoft.com/office/drawing/2014/chart" uri="{C3380CC4-5D6E-409C-BE32-E72D297353CC}">
              <c16:uniqueId val="{00000000-BB64-894E-9EB8-2730D45B1481}"/>
            </c:ext>
          </c:extLst>
        </c:ser>
        <c:dLbls>
          <c:showLegendKey val="0"/>
          <c:showVal val="0"/>
          <c:showCatName val="0"/>
          <c:showSerName val="0"/>
          <c:showPercent val="0"/>
          <c:showBubbleSize val="0"/>
        </c:dLbls>
        <c:smooth val="0"/>
        <c:axId val="139289728"/>
        <c:axId val="139291264"/>
      </c:lineChart>
      <c:catAx>
        <c:axId val="139289728"/>
        <c:scaling>
          <c:orientation val="minMax"/>
        </c:scaling>
        <c:delete val="0"/>
        <c:axPos val="b"/>
        <c:numFmt formatCode="General" sourceLinked="1"/>
        <c:majorTickMark val="out"/>
        <c:minorTickMark val="none"/>
        <c:tickLblPos val="nextTo"/>
        <c:spPr>
          <a:ln w="19050">
            <a:solidFill>
              <a:schemeClr val="tx1"/>
            </a:solidFill>
          </a:ln>
        </c:spPr>
        <c:txPr>
          <a:bodyPr/>
          <a:lstStyle/>
          <a:p>
            <a:pPr>
              <a:defRPr sz="850">
                <a:latin typeface="Arial" panose="020B0604020202020204" pitchFamily="34" charset="0"/>
                <a:cs typeface="Arial" panose="020B0604020202020204" pitchFamily="34" charset="0"/>
              </a:defRPr>
            </a:pPr>
            <a:endParaRPr lang="en-US"/>
          </a:p>
        </c:txPr>
        <c:crossAx val="139291264"/>
        <c:crosses val="autoZero"/>
        <c:auto val="1"/>
        <c:lblAlgn val="ctr"/>
        <c:lblOffset val="100"/>
        <c:noMultiLvlLbl val="0"/>
      </c:catAx>
      <c:valAx>
        <c:axId val="139291264"/>
        <c:scaling>
          <c:orientation val="minMax"/>
          <c:max val="1"/>
          <c:min val="0"/>
        </c:scaling>
        <c:delete val="0"/>
        <c:axPos val="l"/>
        <c:numFmt formatCode="General" sourceLinked="1"/>
        <c:majorTickMark val="out"/>
        <c:minorTickMark val="none"/>
        <c:tickLblPos val="nextTo"/>
        <c:spPr>
          <a:ln w="19050">
            <a:solidFill>
              <a:schemeClr val="tx1"/>
            </a:solidFill>
          </a:ln>
        </c:spPr>
        <c:txPr>
          <a:bodyPr/>
          <a:lstStyle/>
          <a:p>
            <a:pPr>
              <a:defRPr sz="850">
                <a:latin typeface="Arial" panose="020B0604020202020204" pitchFamily="34" charset="0"/>
                <a:cs typeface="Arial" panose="020B0604020202020204" pitchFamily="34" charset="0"/>
              </a:defRPr>
            </a:pPr>
            <a:endParaRPr lang="en-US"/>
          </a:p>
        </c:txPr>
        <c:crossAx val="139289728"/>
        <c:crosses val="autoZero"/>
        <c:crossBetween val="midCat"/>
        <c:majorUnit val="0.25"/>
        <c:minorUnit val="4.0000000000000008E-2"/>
      </c:valAx>
      <c:spPr>
        <a:ln w="19050"/>
      </c:spPr>
    </c:plotArea>
    <c:plotVisOnly val="1"/>
    <c:dispBlanksAs val="gap"/>
    <c:showDLblsOverMax val="0"/>
  </c:chart>
  <c:spPr>
    <a:ln w="3175"/>
  </c:spPr>
  <c:txPr>
    <a:bodyPr/>
    <a:lstStyle/>
    <a:p>
      <a:pPr>
        <a:defRPr sz="1800"/>
      </a:pPr>
      <a:endParaRPr lang="en-US"/>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6F2EF55-D6CF-43D8-8307-F5E1A3313150}" type="doc">
      <dgm:prSet loTypeId="urn:microsoft.com/office/officeart/2005/8/layout/chevron1" loCatId="process" qsTypeId="urn:microsoft.com/office/officeart/2005/8/quickstyle/simple4" qsCatId="simple" csTypeId="urn:microsoft.com/office/officeart/2005/8/colors/colorful5" csCatId="colorful" phldr="1"/>
      <dgm:spPr/>
      <dgm:t>
        <a:bodyPr/>
        <a:lstStyle/>
        <a:p>
          <a:endParaRPr lang="en-US"/>
        </a:p>
      </dgm:t>
    </dgm:pt>
    <dgm:pt modelId="{776B6007-DE4C-4154-9D89-10E815C55D0D}">
      <dgm:prSet phldrT="[Text]"/>
      <dgm:spPr>
        <a:solidFill>
          <a:schemeClr val="accent1">
            <a:lumMod val="20000"/>
            <a:lumOff val="80000"/>
          </a:schemeClr>
        </a:solidFill>
      </dgm:spPr>
      <dgm:t>
        <a:bodyPr/>
        <a:lstStyle/>
        <a:p>
          <a:r>
            <a:rPr lang="en-US" b="1" dirty="0">
              <a:solidFill>
                <a:schemeClr val="tx2"/>
              </a:solidFill>
              <a:latin typeface="+mn-lt"/>
              <a:cs typeface="Times" panose="02020603050405020304" pitchFamily="18" charset="0"/>
            </a:rPr>
            <a:t>2009</a:t>
          </a:r>
        </a:p>
      </dgm:t>
    </dgm:pt>
    <dgm:pt modelId="{D97CFBCA-D7F6-4DFE-9C58-FB9DE9BBBAF2}" type="parTrans" cxnId="{8F52BB97-9740-4E63-B2D9-7322C6F60014}">
      <dgm:prSet/>
      <dgm:spPr/>
      <dgm:t>
        <a:bodyPr/>
        <a:lstStyle/>
        <a:p>
          <a:endParaRPr lang="en-US">
            <a:latin typeface="News Gothic MT" panose="020B0503020103020203" pitchFamily="34" charset="0"/>
            <a:cs typeface="Times" panose="02020603050405020304" pitchFamily="18" charset="0"/>
          </a:endParaRPr>
        </a:p>
      </dgm:t>
    </dgm:pt>
    <dgm:pt modelId="{B3610CC3-B817-4A51-AFAA-8DE3091C997A}" type="sibTrans" cxnId="{8F52BB97-9740-4E63-B2D9-7322C6F60014}">
      <dgm:prSet/>
      <dgm:spPr/>
      <dgm:t>
        <a:bodyPr/>
        <a:lstStyle/>
        <a:p>
          <a:endParaRPr lang="en-US">
            <a:latin typeface="News Gothic MT" panose="020B0503020103020203" pitchFamily="34" charset="0"/>
            <a:cs typeface="Times" panose="02020603050405020304" pitchFamily="18" charset="0"/>
          </a:endParaRPr>
        </a:p>
      </dgm:t>
    </dgm:pt>
    <dgm:pt modelId="{4702705D-31E1-4607-AD55-A86F968268CD}">
      <dgm:prSet phldrT="[Text]"/>
      <dgm:spPr>
        <a:solidFill>
          <a:schemeClr val="accent1">
            <a:lumMod val="20000"/>
            <a:lumOff val="80000"/>
          </a:schemeClr>
        </a:solidFill>
      </dgm:spPr>
      <dgm:t>
        <a:bodyPr/>
        <a:lstStyle/>
        <a:p>
          <a:r>
            <a:rPr lang="en-US" b="1" dirty="0">
              <a:solidFill>
                <a:schemeClr val="tx2"/>
              </a:solidFill>
              <a:latin typeface="+mn-lt"/>
              <a:cs typeface="Times" panose="02020603050405020304" pitchFamily="18" charset="0"/>
            </a:rPr>
            <a:t>2010</a:t>
          </a:r>
        </a:p>
      </dgm:t>
    </dgm:pt>
    <dgm:pt modelId="{396A9065-2C86-4622-BE11-11B765B7C77F}" type="parTrans" cxnId="{5099D002-6FA4-490B-B1F9-50711A073D72}">
      <dgm:prSet/>
      <dgm:spPr/>
      <dgm:t>
        <a:bodyPr/>
        <a:lstStyle/>
        <a:p>
          <a:endParaRPr lang="en-US">
            <a:latin typeface="News Gothic MT" panose="020B0503020103020203" pitchFamily="34" charset="0"/>
            <a:cs typeface="Times" panose="02020603050405020304" pitchFamily="18" charset="0"/>
          </a:endParaRPr>
        </a:p>
      </dgm:t>
    </dgm:pt>
    <dgm:pt modelId="{93D88A16-1FE5-423C-8AE5-CCD6D7F5137B}" type="sibTrans" cxnId="{5099D002-6FA4-490B-B1F9-50711A073D72}">
      <dgm:prSet/>
      <dgm:spPr/>
      <dgm:t>
        <a:bodyPr/>
        <a:lstStyle/>
        <a:p>
          <a:endParaRPr lang="en-US">
            <a:latin typeface="News Gothic MT" panose="020B0503020103020203" pitchFamily="34" charset="0"/>
            <a:cs typeface="Times" panose="02020603050405020304" pitchFamily="18" charset="0"/>
          </a:endParaRPr>
        </a:p>
      </dgm:t>
    </dgm:pt>
    <dgm:pt modelId="{AB6C596D-9AEE-40CE-A577-30DA56CB33AB}">
      <dgm:prSet phldrT="[Text]"/>
      <dgm:spPr>
        <a:solidFill>
          <a:schemeClr val="accent1">
            <a:lumMod val="20000"/>
            <a:lumOff val="80000"/>
          </a:schemeClr>
        </a:solidFill>
      </dgm:spPr>
      <dgm:t>
        <a:bodyPr/>
        <a:lstStyle/>
        <a:p>
          <a:r>
            <a:rPr lang="en-US" b="1" dirty="0">
              <a:solidFill>
                <a:schemeClr val="tx2"/>
              </a:solidFill>
              <a:latin typeface="+mn-lt"/>
              <a:cs typeface="Times" panose="02020603050405020304" pitchFamily="18" charset="0"/>
            </a:rPr>
            <a:t>2011</a:t>
          </a:r>
        </a:p>
      </dgm:t>
    </dgm:pt>
    <dgm:pt modelId="{A0940CF0-98E8-42CB-B4EE-AC2F19C4514F}" type="parTrans" cxnId="{9E242436-067C-46B7-8CD7-1227B8389B1A}">
      <dgm:prSet/>
      <dgm:spPr/>
      <dgm:t>
        <a:bodyPr/>
        <a:lstStyle/>
        <a:p>
          <a:endParaRPr lang="en-US">
            <a:latin typeface="News Gothic MT" panose="020B0503020103020203" pitchFamily="34" charset="0"/>
            <a:cs typeface="Times" panose="02020603050405020304" pitchFamily="18" charset="0"/>
          </a:endParaRPr>
        </a:p>
      </dgm:t>
    </dgm:pt>
    <dgm:pt modelId="{EDF167BC-59E1-4DE3-9A18-9505EEF701DE}" type="sibTrans" cxnId="{9E242436-067C-46B7-8CD7-1227B8389B1A}">
      <dgm:prSet/>
      <dgm:spPr/>
      <dgm:t>
        <a:bodyPr/>
        <a:lstStyle/>
        <a:p>
          <a:endParaRPr lang="en-US">
            <a:latin typeface="News Gothic MT" panose="020B0503020103020203" pitchFamily="34" charset="0"/>
            <a:cs typeface="Times" panose="02020603050405020304" pitchFamily="18" charset="0"/>
          </a:endParaRPr>
        </a:p>
      </dgm:t>
    </dgm:pt>
    <dgm:pt modelId="{B5489D74-C558-4C03-B1C8-112EE1868D2A}">
      <dgm:prSet phldrT="[Text]"/>
      <dgm:spPr>
        <a:solidFill>
          <a:schemeClr val="accent1">
            <a:lumMod val="20000"/>
            <a:lumOff val="80000"/>
          </a:schemeClr>
        </a:solidFill>
      </dgm:spPr>
      <dgm:t>
        <a:bodyPr/>
        <a:lstStyle/>
        <a:p>
          <a:r>
            <a:rPr lang="en-US" b="1" dirty="0">
              <a:solidFill>
                <a:schemeClr val="tx2"/>
              </a:solidFill>
              <a:latin typeface="+mn-lt"/>
              <a:cs typeface="Times" panose="02020603050405020304" pitchFamily="18" charset="0"/>
            </a:rPr>
            <a:t>2012</a:t>
          </a:r>
        </a:p>
      </dgm:t>
    </dgm:pt>
    <dgm:pt modelId="{5E5E4C19-0728-4525-A807-44A2D533C83E}" type="parTrans" cxnId="{69DAAC19-1AFC-4957-8197-D0588175518F}">
      <dgm:prSet/>
      <dgm:spPr/>
      <dgm:t>
        <a:bodyPr/>
        <a:lstStyle/>
        <a:p>
          <a:endParaRPr lang="en-US">
            <a:latin typeface="News Gothic MT" panose="020B0503020103020203" pitchFamily="34" charset="0"/>
            <a:cs typeface="Times" panose="02020603050405020304" pitchFamily="18" charset="0"/>
          </a:endParaRPr>
        </a:p>
      </dgm:t>
    </dgm:pt>
    <dgm:pt modelId="{86B45E0C-815F-4CAB-A837-38CDB36A2E94}" type="sibTrans" cxnId="{69DAAC19-1AFC-4957-8197-D0588175518F}">
      <dgm:prSet/>
      <dgm:spPr/>
      <dgm:t>
        <a:bodyPr/>
        <a:lstStyle/>
        <a:p>
          <a:endParaRPr lang="en-US">
            <a:latin typeface="News Gothic MT" panose="020B0503020103020203" pitchFamily="34" charset="0"/>
            <a:cs typeface="Times" panose="02020603050405020304" pitchFamily="18" charset="0"/>
          </a:endParaRPr>
        </a:p>
      </dgm:t>
    </dgm:pt>
    <dgm:pt modelId="{B39584D5-2C05-4707-A780-B4E2AE7B610F}">
      <dgm:prSet phldrT="[Text]"/>
      <dgm:spPr>
        <a:solidFill>
          <a:schemeClr val="accent1">
            <a:lumMod val="20000"/>
            <a:lumOff val="80000"/>
          </a:schemeClr>
        </a:solidFill>
      </dgm:spPr>
      <dgm:t>
        <a:bodyPr/>
        <a:lstStyle/>
        <a:p>
          <a:r>
            <a:rPr lang="en-US" b="1" dirty="0">
              <a:solidFill>
                <a:schemeClr val="tx2"/>
              </a:solidFill>
              <a:latin typeface="+mn-lt"/>
              <a:cs typeface="Times" panose="02020603050405020304" pitchFamily="18" charset="0"/>
            </a:rPr>
            <a:t>2013</a:t>
          </a:r>
        </a:p>
      </dgm:t>
    </dgm:pt>
    <dgm:pt modelId="{7D1C80AA-9ABB-41A7-A883-48FB2AC9A462}" type="parTrans" cxnId="{370A51A3-5F13-4D01-8DDB-E5C719415606}">
      <dgm:prSet/>
      <dgm:spPr/>
      <dgm:t>
        <a:bodyPr/>
        <a:lstStyle/>
        <a:p>
          <a:endParaRPr lang="en-US">
            <a:latin typeface="News Gothic MT" panose="020B0503020103020203" pitchFamily="34" charset="0"/>
            <a:cs typeface="Times" panose="02020603050405020304" pitchFamily="18" charset="0"/>
          </a:endParaRPr>
        </a:p>
      </dgm:t>
    </dgm:pt>
    <dgm:pt modelId="{4423C41B-FA2C-46D0-8A56-CF3BAFFD8474}" type="sibTrans" cxnId="{370A51A3-5F13-4D01-8DDB-E5C719415606}">
      <dgm:prSet/>
      <dgm:spPr/>
      <dgm:t>
        <a:bodyPr/>
        <a:lstStyle/>
        <a:p>
          <a:endParaRPr lang="en-US">
            <a:latin typeface="News Gothic MT" panose="020B0503020103020203" pitchFamily="34" charset="0"/>
            <a:cs typeface="Times" panose="02020603050405020304" pitchFamily="18" charset="0"/>
          </a:endParaRPr>
        </a:p>
      </dgm:t>
    </dgm:pt>
    <dgm:pt modelId="{08B1070B-38B8-47D5-96BA-B2821D6F13E2}">
      <dgm:prSet phldrT="[Text]"/>
      <dgm:spPr>
        <a:solidFill>
          <a:schemeClr val="accent1">
            <a:lumMod val="20000"/>
            <a:lumOff val="80000"/>
          </a:schemeClr>
        </a:solidFill>
      </dgm:spPr>
      <dgm:t>
        <a:bodyPr/>
        <a:lstStyle/>
        <a:p>
          <a:r>
            <a:rPr lang="en-US" b="1" dirty="0">
              <a:solidFill>
                <a:schemeClr val="tx2"/>
              </a:solidFill>
              <a:latin typeface="+mn-lt"/>
              <a:cs typeface="Times" panose="02020603050405020304" pitchFamily="18" charset="0"/>
            </a:rPr>
            <a:t>2014</a:t>
          </a:r>
        </a:p>
      </dgm:t>
    </dgm:pt>
    <dgm:pt modelId="{BCDF4EC4-AD74-4407-B7EE-733C1E887E89}" type="parTrans" cxnId="{15E4D4E6-E3C7-4525-A1D4-7A0DD1D35D0A}">
      <dgm:prSet/>
      <dgm:spPr/>
      <dgm:t>
        <a:bodyPr/>
        <a:lstStyle/>
        <a:p>
          <a:endParaRPr lang="en-US">
            <a:latin typeface="News Gothic MT" panose="020B0503020103020203" pitchFamily="34" charset="0"/>
            <a:cs typeface="Times" panose="02020603050405020304" pitchFamily="18" charset="0"/>
          </a:endParaRPr>
        </a:p>
      </dgm:t>
    </dgm:pt>
    <dgm:pt modelId="{FCB8CE7A-187A-4A7F-AB2C-ADAC64CA6947}" type="sibTrans" cxnId="{15E4D4E6-E3C7-4525-A1D4-7A0DD1D35D0A}">
      <dgm:prSet/>
      <dgm:spPr/>
      <dgm:t>
        <a:bodyPr/>
        <a:lstStyle/>
        <a:p>
          <a:endParaRPr lang="en-US">
            <a:latin typeface="News Gothic MT" panose="020B0503020103020203" pitchFamily="34" charset="0"/>
            <a:cs typeface="Times" panose="02020603050405020304" pitchFamily="18" charset="0"/>
          </a:endParaRPr>
        </a:p>
      </dgm:t>
    </dgm:pt>
    <dgm:pt modelId="{210923C8-B002-47BC-9663-D1D3C1B441D7}">
      <dgm:prSet phldrT="[Text]"/>
      <dgm:spPr>
        <a:solidFill>
          <a:schemeClr val="accent1">
            <a:lumMod val="20000"/>
            <a:lumOff val="80000"/>
          </a:schemeClr>
        </a:solidFill>
      </dgm:spPr>
      <dgm:t>
        <a:bodyPr/>
        <a:lstStyle/>
        <a:p>
          <a:r>
            <a:rPr lang="en-US" b="1" dirty="0">
              <a:solidFill>
                <a:schemeClr val="tx2"/>
              </a:solidFill>
              <a:latin typeface="+mn-lt"/>
              <a:cs typeface="Times" panose="02020603050405020304" pitchFamily="18" charset="0"/>
            </a:rPr>
            <a:t>2015</a:t>
          </a:r>
        </a:p>
      </dgm:t>
    </dgm:pt>
    <dgm:pt modelId="{18E5AFF4-B609-4290-B637-A7FE6136EA4A}" type="parTrans" cxnId="{C0174A84-27F3-4800-9AC0-9F9BBA21D7AB}">
      <dgm:prSet/>
      <dgm:spPr/>
      <dgm:t>
        <a:bodyPr/>
        <a:lstStyle/>
        <a:p>
          <a:endParaRPr lang="en-US">
            <a:latin typeface="News Gothic MT" panose="020B0503020103020203" pitchFamily="34" charset="0"/>
            <a:cs typeface="Times" panose="02020603050405020304" pitchFamily="18" charset="0"/>
          </a:endParaRPr>
        </a:p>
      </dgm:t>
    </dgm:pt>
    <dgm:pt modelId="{1BF23942-0BBE-46E4-AC58-8FBF3C5C2448}" type="sibTrans" cxnId="{C0174A84-27F3-4800-9AC0-9F9BBA21D7AB}">
      <dgm:prSet/>
      <dgm:spPr/>
      <dgm:t>
        <a:bodyPr/>
        <a:lstStyle/>
        <a:p>
          <a:endParaRPr lang="en-US">
            <a:latin typeface="News Gothic MT" panose="020B0503020103020203" pitchFamily="34" charset="0"/>
            <a:cs typeface="Times" panose="02020603050405020304" pitchFamily="18" charset="0"/>
          </a:endParaRPr>
        </a:p>
      </dgm:t>
    </dgm:pt>
    <dgm:pt modelId="{832B835E-68F4-4E6E-9D0B-6BCABDF32330}">
      <dgm:prSet phldrT="[Text]"/>
      <dgm:spPr>
        <a:solidFill>
          <a:schemeClr val="accent1">
            <a:lumMod val="20000"/>
            <a:lumOff val="80000"/>
          </a:schemeClr>
        </a:solidFill>
      </dgm:spPr>
      <dgm:t>
        <a:bodyPr/>
        <a:lstStyle/>
        <a:p>
          <a:r>
            <a:rPr lang="en-US" b="1" dirty="0">
              <a:solidFill>
                <a:schemeClr val="tx2"/>
              </a:solidFill>
              <a:latin typeface="+mn-lt"/>
              <a:cs typeface="Times" panose="02020603050405020304" pitchFamily="18" charset="0"/>
            </a:rPr>
            <a:t>2016</a:t>
          </a:r>
        </a:p>
      </dgm:t>
    </dgm:pt>
    <dgm:pt modelId="{76593579-C8B1-41AD-AAC5-A0CCDE52304E}" type="parTrans" cxnId="{8BFC4099-DF9D-4F01-AFCF-667BDA588023}">
      <dgm:prSet/>
      <dgm:spPr/>
      <dgm:t>
        <a:bodyPr/>
        <a:lstStyle/>
        <a:p>
          <a:endParaRPr lang="en-US">
            <a:latin typeface="News Gothic MT" panose="020B0503020103020203" pitchFamily="34" charset="0"/>
            <a:cs typeface="Times" panose="02020603050405020304" pitchFamily="18" charset="0"/>
          </a:endParaRPr>
        </a:p>
      </dgm:t>
    </dgm:pt>
    <dgm:pt modelId="{3293F0FE-1EBD-443F-A510-7AB114D87DC0}" type="sibTrans" cxnId="{8BFC4099-DF9D-4F01-AFCF-667BDA588023}">
      <dgm:prSet/>
      <dgm:spPr/>
      <dgm:t>
        <a:bodyPr/>
        <a:lstStyle/>
        <a:p>
          <a:endParaRPr lang="en-US">
            <a:latin typeface="News Gothic MT" panose="020B0503020103020203" pitchFamily="34" charset="0"/>
            <a:cs typeface="Times" panose="02020603050405020304" pitchFamily="18" charset="0"/>
          </a:endParaRPr>
        </a:p>
      </dgm:t>
    </dgm:pt>
    <dgm:pt modelId="{76A6DE56-B81A-41C3-8822-AD69F8987D11}">
      <dgm:prSet phldrT="[Text]"/>
      <dgm:spPr>
        <a:solidFill>
          <a:schemeClr val="accent1">
            <a:lumMod val="20000"/>
            <a:lumOff val="80000"/>
          </a:schemeClr>
        </a:solidFill>
      </dgm:spPr>
      <dgm:t>
        <a:bodyPr/>
        <a:lstStyle/>
        <a:p>
          <a:r>
            <a:rPr lang="en-US" b="1" dirty="0">
              <a:solidFill>
                <a:schemeClr val="tx2"/>
              </a:solidFill>
              <a:latin typeface="+mn-lt"/>
              <a:cs typeface="Times" panose="02020603050405020304" pitchFamily="18" charset="0"/>
            </a:rPr>
            <a:t>2017</a:t>
          </a:r>
        </a:p>
      </dgm:t>
    </dgm:pt>
    <dgm:pt modelId="{79E45334-19BB-4B3F-AA19-95C67498493F}" type="parTrans" cxnId="{20F2CD1A-B644-4443-AE5D-4CF018916FD8}">
      <dgm:prSet/>
      <dgm:spPr/>
      <dgm:t>
        <a:bodyPr/>
        <a:lstStyle/>
        <a:p>
          <a:endParaRPr lang="en-US">
            <a:latin typeface="News Gothic MT" panose="020B0503020103020203" pitchFamily="34" charset="0"/>
            <a:cs typeface="Times" panose="02020603050405020304" pitchFamily="18" charset="0"/>
          </a:endParaRPr>
        </a:p>
      </dgm:t>
    </dgm:pt>
    <dgm:pt modelId="{CE91BF80-71D1-4C2B-B487-6BF15C27B46E}" type="sibTrans" cxnId="{20F2CD1A-B644-4443-AE5D-4CF018916FD8}">
      <dgm:prSet/>
      <dgm:spPr/>
      <dgm:t>
        <a:bodyPr/>
        <a:lstStyle/>
        <a:p>
          <a:endParaRPr lang="en-US">
            <a:latin typeface="News Gothic MT" panose="020B0503020103020203" pitchFamily="34" charset="0"/>
            <a:cs typeface="Times" panose="02020603050405020304" pitchFamily="18" charset="0"/>
          </a:endParaRPr>
        </a:p>
      </dgm:t>
    </dgm:pt>
    <dgm:pt modelId="{06B72F0F-5D8B-4548-9688-ECF93AE4C536}">
      <dgm:prSet phldrT="[Text]"/>
      <dgm:spPr>
        <a:solidFill>
          <a:schemeClr val="accent1">
            <a:lumMod val="20000"/>
            <a:lumOff val="80000"/>
          </a:schemeClr>
        </a:solidFill>
      </dgm:spPr>
      <dgm:t>
        <a:bodyPr/>
        <a:lstStyle/>
        <a:p>
          <a:r>
            <a:rPr lang="en-US" b="1" dirty="0">
              <a:solidFill>
                <a:schemeClr val="tx2"/>
              </a:solidFill>
              <a:latin typeface="+mn-lt"/>
              <a:cs typeface="Times" panose="02020603050405020304" pitchFamily="18" charset="0"/>
            </a:rPr>
            <a:t>2018</a:t>
          </a:r>
        </a:p>
      </dgm:t>
    </dgm:pt>
    <dgm:pt modelId="{241AFB5E-0173-4B2B-B42B-007DD33022C1}" type="parTrans" cxnId="{E79DCCF8-3F10-4D31-B017-07AFC07AAA05}">
      <dgm:prSet/>
      <dgm:spPr/>
      <dgm:t>
        <a:bodyPr/>
        <a:lstStyle/>
        <a:p>
          <a:endParaRPr lang="en-US">
            <a:latin typeface="News Gothic MT" panose="020B0503020103020203" pitchFamily="34" charset="0"/>
            <a:cs typeface="Times" panose="02020603050405020304" pitchFamily="18" charset="0"/>
          </a:endParaRPr>
        </a:p>
      </dgm:t>
    </dgm:pt>
    <dgm:pt modelId="{F6B04790-F291-404E-BDA4-9340CE777657}" type="sibTrans" cxnId="{E79DCCF8-3F10-4D31-B017-07AFC07AAA05}">
      <dgm:prSet/>
      <dgm:spPr/>
      <dgm:t>
        <a:bodyPr/>
        <a:lstStyle/>
        <a:p>
          <a:endParaRPr lang="en-US">
            <a:latin typeface="News Gothic MT" panose="020B0503020103020203" pitchFamily="34" charset="0"/>
            <a:cs typeface="Times" panose="02020603050405020304" pitchFamily="18" charset="0"/>
          </a:endParaRPr>
        </a:p>
      </dgm:t>
    </dgm:pt>
    <dgm:pt modelId="{0A561C31-F208-4EB1-B94B-1FF5F18370B5}">
      <dgm:prSet phldrT="[Text]"/>
      <dgm:spPr>
        <a:solidFill>
          <a:schemeClr val="accent1">
            <a:lumMod val="20000"/>
            <a:lumOff val="80000"/>
          </a:schemeClr>
        </a:solidFill>
      </dgm:spPr>
      <dgm:t>
        <a:bodyPr/>
        <a:lstStyle/>
        <a:p>
          <a:r>
            <a:rPr lang="en-US" b="1" dirty="0">
              <a:solidFill>
                <a:schemeClr val="tx2"/>
              </a:solidFill>
              <a:latin typeface="+mn-lt"/>
              <a:cs typeface="Times" panose="02020603050405020304" pitchFamily="18" charset="0"/>
            </a:rPr>
            <a:t>2019</a:t>
          </a:r>
        </a:p>
      </dgm:t>
    </dgm:pt>
    <dgm:pt modelId="{386A3175-45CB-4051-A09E-985AA43ABEC6}" type="parTrans" cxnId="{570A69A1-B92D-4EE0-902E-6632F450D509}">
      <dgm:prSet/>
      <dgm:spPr/>
      <dgm:t>
        <a:bodyPr/>
        <a:lstStyle/>
        <a:p>
          <a:endParaRPr lang="en-US">
            <a:latin typeface="News Gothic MT" panose="020B0503020103020203" pitchFamily="34" charset="0"/>
            <a:cs typeface="Times" panose="02020603050405020304" pitchFamily="18" charset="0"/>
          </a:endParaRPr>
        </a:p>
      </dgm:t>
    </dgm:pt>
    <dgm:pt modelId="{0A4AEC5B-4C5E-4010-9053-25B84CC1206D}" type="sibTrans" cxnId="{570A69A1-B92D-4EE0-902E-6632F450D509}">
      <dgm:prSet/>
      <dgm:spPr/>
      <dgm:t>
        <a:bodyPr/>
        <a:lstStyle/>
        <a:p>
          <a:endParaRPr lang="en-US">
            <a:latin typeface="News Gothic MT" panose="020B0503020103020203" pitchFamily="34" charset="0"/>
            <a:cs typeface="Times" panose="02020603050405020304" pitchFamily="18" charset="0"/>
          </a:endParaRPr>
        </a:p>
      </dgm:t>
    </dgm:pt>
    <dgm:pt modelId="{5C608304-EC24-4F2A-9A8E-18F5C18BE09A}">
      <dgm:prSet phldrT="[Text]"/>
      <dgm:spPr>
        <a:solidFill>
          <a:schemeClr val="accent1">
            <a:lumMod val="20000"/>
            <a:lumOff val="80000"/>
          </a:schemeClr>
        </a:solidFill>
      </dgm:spPr>
      <dgm:t>
        <a:bodyPr/>
        <a:lstStyle/>
        <a:p>
          <a:r>
            <a:rPr lang="en-US" b="1" dirty="0">
              <a:solidFill>
                <a:schemeClr val="tx2"/>
              </a:solidFill>
              <a:latin typeface="+mn-lt"/>
              <a:cs typeface="Times" panose="02020603050405020304" pitchFamily="18" charset="0"/>
            </a:rPr>
            <a:t>2020</a:t>
          </a:r>
        </a:p>
      </dgm:t>
    </dgm:pt>
    <dgm:pt modelId="{7AC9EF74-569F-4D65-96F8-604371B81E8E}" type="parTrans" cxnId="{CD66BCE7-1A3B-47E6-8E31-007E76EC7C5B}">
      <dgm:prSet/>
      <dgm:spPr/>
      <dgm:t>
        <a:bodyPr/>
        <a:lstStyle/>
        <a:p>
          <a:endParaRPr lang="en-US">
            <a:latin typeface="News Gothic MT" panose="020B0503020103020203" pitchFamily="34" charset="0"/>
            <a:cs typeface="Times" panose="02020603050405020304" pitchFamily="18" charset="0"/>
          </a:endParaRPr>
        </a:p>
      </dgm:t>
    </dgm:pt>
    <dgm:pt modelId="{2ED7550E-052C-4669-A100-8603C5344BDA}" type="sibTrans" cxnId="{CD66BCE7-1A3B-47E6-8E31-007E76EC7C5B}">
      <dgm:prSet/>
      <dgm:spPr/>
      <dgm:t>
        <a:bodyPr/>
        <a:lstStyle/>
        <a:p>
          <a:endParaRPr lang="en-US">
            <a:latin typeface="News Gothic MT" panose="020B0503020103020203" pitchFamily="34" charset="0"/>
            <a:cs typeface="Times" panose="02020603050405020304" pitchFamily="18" charset="0"/>
          </a:endParaRPr>
        </a:p>
      </dgm:t>
    </dgm:pt>
    <dgm:pt modelId="{F4742837-F333-4551-B560-C854978E9382}">
      <dgm:prSet phldrT="[Text]"/>
      <dgm:spPr>
        <a:solidFill>
          <a:schemeClr val="accent1">
            <a:lumMod val="20000"/>
            <a:lumOff val="80000"/>
          </a:schemeClr>
        </a:solidFill>
      </dgm:spPr>
      <dgm:t>
        <a:bodyPr/>
        <a:lstStyle/>
        <a:p>
          <a:r>
            <a:rPr lang="en-US" b="1" dirty="0">
              <a:solidFill>
                <a:schemeClr val="tx2"/>
              </a:solidFill>
              <a:latin typeface="+mn-lt"/>
              <a:cs typeface="Times" panose="02020603050405020304" pitchFamily="18" charset="0"/>
            </a:rPr>
            <a:t>2021</a:t>
          </a:r>
        </a:p>
      </dgm:t>
    </dgm:pt>
    <dgm:pt modelId="{CFCD27C2-6C3B-4294-B438-A22C23397148}" type="parTrans" cxnId="{5188755D-57BF-4F05-BF5C-94D13EE426B2}">
      <dgm:prSet/>
      <dgm:spPr/>
      <dgm:t>
        <a:bodyPr/>
        <a:lstStyle/>
        <a:p>
          <a:endParaRPr lang="en-US">
            <a:latin typeface="News Gothic MT" panose="020B0503020103020203" pitchFamily="34" charset="0"/>
            <a:cs typeface="Times" panose="02020603050405020304" pitchFamily="18" charset="0"/>
          </a:endParaRPr>
        </a:p>
      </dgm:t>
    </dgm:pt>
    <dgm:pt modelId="{11C2130D-7006-4BF5-A9FC-9723E9499802}" type="sibTrans" cxnId="{5188755D-57BF-4F05-BF5C-94D13EE426B2}">
      <dgm:prSet/>
      <dgm:spPr/>
      <dgm:t>
        <a:bodyPr/>
        <a:lstStyle/>
        <a:p>
          <a:endParaRPr lang="en-US">
            <a:latin typeface="News Gothic MT" panose="020B0503020103020203" pitchFamily="34" charset="0"/>
            <a:cs typeface="Times" panose="02020603050405020304" pitchFamily="18" charset="0"/>
          </a:endParaRPr>
        </a:p>
      </dgm:t>
    </dgm:pt>
    <dgm:pt modelId="{73C1E804-ECCD-4AA9-B838-F9335C077DE3}">
      <dgm:prSet phldrT="[Text]"/>
      <dgm:spPr>
        <a:solidFill>
          <a:schemeClr val="accent1">
            <a:lumMod val="20000"/>
            <a:lumOff val="80000"/>
          </a:schemeClr>
        </a:solidFill>
      </dgm:spPr>
      <dgm:t>
        <a:bodyPr/>
        <a:lstStyle/>
        <a:p>
          <a:r>
            <a:rPr lang="en-US" b="1" dirty="0">
              <a:solidFill>
                <a:schemeClr val="tx2"/>
              </a:solidFill>
              <a:latin typeface="+mn-lt"/>
              <a:cs typeface="Times" panose="02020603050405020304" pitchFamily="18" charset="0"/>
            </a:rPr>
            <a:t>2022</a:t>
          </a:r>
        </a:p>
      </dgm:t>
    </dgm:pt>
    <dgm:pt modelId="{395CD9B9-174D-4A73-8EFA-2C9C098C36F5}" type="parTrans" cxnId="{FB0D0052-CA5B-4528-BCD3-6DD335B1E716}">
      <dgm:prSet/>
      <dgm:spPr/>
      <dgm:t>
        <a:bodyPr/>
        <a:lstStyle/>
        <a:p>
          <a:endParaRPr lang="en-US">
            <a:latin typeface="News Gothic MT" panose="020B0503020103020203" pitchFamily="34" charset="0"/>
            <a:cs typeface="Times" panose="02020603050405020304" pitchFamily="18" charset="0"/>
          </a:endParaRPr>
        </a:p>
      </dgm:t>
    </dgm:pt>
    <dgm:pt modelId="{5A94A905-41E0-49DD-B8E8-760FA606A4CE}" type="sibTrans" cxnId="{FB0D0052-CA5B-4528-BCD3-6DD335B1E716}">
      <dgm:prSet/>
      <dgm:spPr/>
      <dgm:t>
        <a:bodyPr/>
        <a:lstStyle/>
        <a:p>
          <a:endParaRPr lang="en-US">
            <a:latin typeface="News Gothic MT" panose="020B0503020103020203" pitchFamily="34" charset="0"/>
            <a:cs typeface="Times" panose="02020603050405020304" pitchFamily="18" charset="0"/>
          </a:endParaRPr>
        </a:p>
      </dgm:t>
    </dgm:pt>
    <dgm:pt modelId="{76BD495D-7943-404C-A94F-5877AB462FA1}">
      <dgm:prSet phldrT="[Text]"/>
      <dgm:spPr>
        <a:solidFill>
          <a:schemeClr val="accent1">
            <a:lumMod val="20000"/>
            <a:lumOff val="80000"/>
          </a:schemeClr>
        </a:solidFill>
      </dgm:spPr>
      <dgm:t>
        <a:bodyPr/>
        <a:lstStyle/>
        <a:p>
          <a:r>
            <a:rPr lang="en-US" b="1" dirty="0">
              <a:solidFill>
                <a:schemeClr val="tx2"/>
              </a:solidFill>
              <a:latin typeface="+mn-lt"/>
              <a:cs typeface="Times" panose="02020603050405020304" pitchFamily="18" charset="0"/>
            </a:rPr>
            <a:t>2023</a:t>
          </a:r>
        </a:p>
      </dgm:t>
    </dgm:pt>
    <dgm:pt modelId="{9101EFA0-21EE-435C-A516-C5A9300DF07C}" type="parTrans" cxnId="{6F3DAA45-8E01-4A8B-953B-98C6B2CD74DE}">
      <dgm:prSet/>
      <dgm:spPr/>
      <dgm:t>
        <a:bodyPr/>
        <a:lstStyle/>
        <a:p>
          <a:endParaRPr lang="en-US">
            <a:latin typeface="News Gothic MT" panose="020B0503020103020203" pitchFamily="34" charset="0"/>
            <a:cs typeface="Times" panose="02020603050405020304" pitchFamily="18" charset="0"/>
          </a:endParaRPr>
        </a:p>
      </dgm:t>
    </dgm:pt>
    <dgm:pt modelId="{7F50BFDD-03C4-4354-9CE2-5121A4E75D9B}" type="sibTrans" cxnId="{6F3DAA45-8E01-4A8B-953B-98C6B2CD74DE}">
      <dgm:prSet/>
      <dgm:spPr/>
      <dgm:t>
        <a:bodyPr/>
        <a:lstStyle/>
        <a:p>
          <a:endParaRPr lang="en-US">
            <a:latin typeface="News Gothic MT" panose="020B0503020103020203" pitchFamily="34" charset="0"/>
            <a:cs typeface="Times" panose="02020603050405020304" pitchFamily="18" charset="0"/>
          </a:endParaRPr>
        </a:p>
      </dgm:t>
    </dgm:pt>
    <dgm:pt modelId="{BA08163E-B931-4E62-BFCA-F5105D4B4F56}" type="pres">
      <dgm:prSet presAssocID="{F6F2EF55-D6CF-43D8-8307-F5E1A3313150}" presName="Name0" presStyleCnt="0">
        <dgm:presLayoutVars>
          <dgm:dir/>
          <dgm:animLvl val="lvl"/>
          <dgm:resizeHandles val="exact"/>
        </dgm:presLayoutVars>
      </dgm:prSet>
      <dgm:spPr/>
    </dgm:pt>
    <dgm:pt modelId="{1AE99E62-CFB5-490B-A347-2C2D218E08C9}" type="pres">
      <dgm:prSet presAssocID="{776B6007-DE4C-4154-9D89-10E815C55D0D}" presName="parTxOnly" presStyleLbl="node1" presStyleIdx="0" presStyleCnt="15" custLinFactNeighborY="4759">
        <dgm:presLayoutVars>
          <dgm:chMax val="0"/>
          <dgm:chPref val="0"/>
          <dgm:bulletEnabled val="1"/>
        </dgm:presLayoutVars>
      </dgm:prSet>
      <dgm:spPr/>
    </dgm:pt>
    <dgm:pt modelId="{8B714077-CDB7-425B-9F2B-96199CC63CCB}" type="pres">
      <dgm:prSet presAssocID="{B3610CC3-B817-4A51-AFAA-8DE3091C997A}" presName="parTxOnlySpace" presStyleCnt="0"/>
      <dgm:spPr/>
    </dgm:pt>
    <dgm:pt modelId="{4D8AD852-6DD9-47AD-A24F-3ECC83927AAE}" type="pres">
      <dgm:prSet presAssocID="{4702705D-31E1-4607-AD55-A86F968268CD}" presName="parTxOnly" presStyleLbl="node1" presStyleIdx="1" presStyleCnt="15" custLinFactNeighborY="4759">
        <dgm:presLayoutVars>
          <dgm:chMax val="0"/>
          <dgm:chPref val="0"/>
          <dgm:bulletEnabled val="1"/>
        </dgm:presLayoutVars>
      </dgm:prSet>
      <dgm:spPr/>
    </dgm:pt>
    <dgm:pt modelId="{9081022F-9FE4-4E61-B138-8573B0625AFA}" type="pres">
      <dgm:prSet presAssocID="{93D88A16-1FE5-423C-8AE5-CCD6D7F5137B}" presName="parTxOnlySpace" presStyleCnt="0"/>
      <dgm:spPr/>
    </dgm:pt>
    <dgm:pt modelId="{87FA564C-B97B-469A-AC35-BFF61572E574}" type="pres">
      <dgm:prSet presAssocID="{AB6C596D-9AEE-40CE-A577-30DA56CB33AB}" presName="parTxOnly" presStyleLbl="node1" presStyleIdx="2" presStyleCnt="15">
        <dgm:presLayoutVars>
          <dgm:chMax val="0"/>
          <dgm:chPref val="0"/>
          <dgm:bulletEnabled val="1"/>
        </dgm:presLayoutVars>
      </dgm:prSet>
      <dgm:spPr/>
    </dgm:pt>
    <dgm:pt modelId="{DDC31427-6EE1-4840-A0C7-472C20F6F458}" type="pres">
      <dgm:prSet presAssocID="{EDF167BC-59E1-4DE3-9A18-9505EEF701DE}" presName="parTxOnlySpace" presStyleCnt="0"/>
      <dgm:spPr/>
    </dgm:pt>
    <dgm:pt modelId="{9BB0871D-3CD6-4692-AF9B-E2FCD0AF5241}" type="pres">
      <dgm:prSet presAssocID="{B5489D74-C558-4C03-B1C8-112EE1868D2A}" presName="parTxOnly" presStyleLbl="node1" presStyleIdx="3" presStyleCnt="15">
        <dgm:presLayoutVars>
          <dgm:chMax val="0"/>
          <dgm:chPref val="0"/>
          <dgm:bulletEnabled val="1"/>
        </dgm:presLayoutVars>
      </dgm:prSet>
      <dgm:spPr/>
    </dgm:pt>
    <dgm:pt modelId="{C6FC561B-59A1-4BE5-9446-89817DF03A13}" type="pres">
      <dgm:prSet presAssocID="{86B45E0C-815F-4CAB-A837-38CDB36A2E94}" presName="parTxOnlySpace" presStyleCnt="0"/>
      <dgm:spPr/>
    </dgm:pt>
    <dgm:pt modelId="{5B7663C1-0599-49C1-9EAE-6A723CD83A30}" type="pres">
      <dgm:prSet presAssocID="{B39584D5-2C05-4707-A780-B4E2AE7B610F}" presName="parTxOnly" presStyleLbl="node1" presStyleIdx="4" presStyleCnt="15">
        <dgm:presLayoutVars>
          <dgm:chMax val="0"/>
          <dgm:chPref val="0"/>
          <dgm:bulletEnabled val="1"/>
        </dgm:presLayoutVars>
      </dgm:prSet>
      <dgm:spPr/>
    </dgm:pt>
    <dgm:pt modelId="{4E863D6D-7657-4198-8C84-EA89A421BC2B}" type="pres">
      <dgm:prSet presAssocID="{4423C41B-FA2C-46D0-8A56-CF3BAFFD8474}" presName="parTxOnlySpace" presStyleCnt="0"/>
      <dgm:spPr/>
    </dgm:pt>
    <dgm:pt modelId="{A6892572-3C63-46B1-B123-A61ED4BA6DA1}" type="pres">
      <dgm:prSet presAssocID="{08B1070B-38B8-47D5-96BA-B2821D6F13E2}" presName="parTxOnly" presStyleLbl="node1" presStyleIdx="5" presStyleCnt="15">
        <dgm:presLayoutVars>
          <dgm:chMax val="0"/>
          <dgm:chPref val="0"/>
          <dgm:bulletEnabled val="1"/>
        </dgm:presLayoutVars>
      </dgm:prSet>
      <dgm:spPr/>
    </dgm:pt>
    <dgm:pt modelId="{4101D323-214C-4F1C-8053-2FA5F4A729A5}" type="pres">
      <dgm:prSet presAssocID="{FCB8CE7A-187A-4A7F-AB2C-ADAC64CA6947}" presName="parTxOnlySpace" presStyleCnt="0"/>
      <dgm:spPr/>
    </dgm:pt>
    <dgm:pt modelId="{D61641FA-3ED9-4FB5-9243-996BC2034617}" type="pres">
      <dgm:prSet presAssocID="{210923C8-B002-47BC-9663-D1D3C1B441D7}" presName="parTxOnly" presStyleLbl="node1" presStyleIdx="6" presStyleCnt="15">
        <dgm:presLayoutVars>
          <dgm:chMax val="0"/>
          <dgm:chPref val="0"/>
          <dgm:bulletEnabled val="1"/>
        </dgm:presLayoutVars>
      </dgm:prSet>
      <dgm:spPr/>
    </dgm:pt>
    <dgm:pt modelId="{4DA9A22E-C097-4A19-BA32-62FC62194752}" type="pres">
      <dgm:prSet presAssocID="{1BF23942-0BBE-46E4-AC58-8FBF3C5C2448}" presName="parTxOnlySpace" presStyleCnt="0"/>
      <dgm:spPr/>
    </dgm:pt>
    <dgm:pt modelId="{8D00C6BA-97EE-425B-B013-1BF1756E3CAF}" type="pres">
      <dgm:prSet presAssocID="{832B835E-68F4-4E6E-9D0B-6BCABDF32330}" presName="parTxOnly" presStyleLbl="node1" presStyleIdx="7" presStyleCnt="15">
        <dgm:presLayoutVars>
          <dgm:chMax val="0"/>
          <dgm:chPref val="0"/>
          <dgm:bulletEnabled val="1"/>
        </dgm:presLayoutVars>
      </dgm:prSet>
      <dgm:spPr/>
    </dgm:pt>
    <dgm:pt modelId="{996288C2-63EC-4D16-B2F3-202A1C2F8E1B}" type="pres">
      <dgm:prSet presAssocID="{3293F0FE-1EBD-443F-A510-7AB114D87DC0}" presName="parTxOnlySpace" presStyleCnt="0"/>
      <dgm:spPr/>
    </dgm:pt>
    <dgm:pt modelId="{96E5D556-E682-420C-9068-416A84B61043}" type="pres">
      <dgm:prSet presAssocID="{76A6DE56-B81A-41C3-8822-AD69F8987D11}" presName="parTxOnly" presStyleLbl="node1" presStyleIdx="8" presStyleCnt="15">
        <dgm:presLayoutVars>
          <dgm:chMax val="0"/>
          <dgm:chPref val="0"/>
          <dgm:bulletEnabled val="1"/>
        </dgm:presLayoutVars>
      </dgm:prSet>
      <dgm:spPr/>
    </dgm:pt>
    <dgm:pt modelId="{5F49B386-1666-438D-A4AC-AE1CDB09BF16}" type="pres">
      <dgm:prSet presAssocID="{CE91BF80-71D1-4C2B-B487-6BF15C27B46E}" presName="parTxOnlySpace" presStyleCnt="0"/>
      <dgm:spPr/>
    </dgm:pt>
    <dgm:pt modelId="{36A65E31-9265-4691-B105-2A398BE0C839}" type="pres">
      <dgm:prSet presAssocID="{06B72F0F-5D8B-4548-9688-ECF93AE4C536}" presName="parTxOnly" presStyleLbl="node1" presStyleIdx="9" presStyleCnt="15">
        <dgm:presLayoutVars>
          <dgm:chMax val="0"/>
          <dgm:chPref val="0"/>
          <dgm:bulletEnabled val="1"/>
        </dgm:presLayoutVars>
      </dgm:prSet>
      <dgm:spPr/>
    </dgm:pt>
    <dgm:pt modelId="{1511487D-10F1-4DDC-A966-3BA70FE7E199}" type="pres">
      <dgm:prSet presAssocID="{F6B04790-F291-404E-BDA4-9340CE777657}" presName="parTxOnlySpace" presStyleCnt="0"/>
      <dgm:spPr/>
    </dgm:pt>
    <dgm:pt modelId="{C421441B-AEC8-4B64-A58E-19A34CA318DD}" type="pres">
      <dgm:prSet presAssocID="{0A561C31-F208-4EB1-B94B-1FF5F18370B5}" presName="parTxOnly" presStyleLbl="node1" presStyleIdx="10" presStyleCnt="15">
        <dgm:presLayoutVars>
          <dgm:chMax val="0"/>
          <dgm:chPref val="0"/>
          <dgm:bulletEnabled val="1"/>
        </dgm:presLayoutVars>
      </dgm:prSet>
      <dgm:spPr/>
    </dgm:pt>
    <dgm:pt modelId="{1FF18C61-391F-4466-9A1D-250D2144748C}" type="pres">
      <dgm:prSet presAssocID="{0A4AEC5B-4C5E-4010-9053-25B84CC1206D}" presName="parTxOnlySpace" presStyleCnt="0"/>
      <dgm:spPr/>
    </dgm:pt>
    <dgm:pt modelId="{344E3136-8579-4129-810D-3858D91F6C54}" type="pres">
      <dgm:prSet presAssocID="{5C608304-EC24-4F2A-9A8E-18F5C18BE09A}" presName="parTxOnly" presStyleLbl="node1" presStyleIdx="11" presStyleCnt="15">
        <dgm:presLayoutVars>
          <dgm:chMax val="0"/>
          <dgm:chPref val="0"/>
          <dgm:bulletEnabled val="1"/>
        </dgm:presLayoutVars>
      </dgm:prSet>
      <dgm:spPr/>
    </dgm:pt>
    <dgm:pt modelId="{5C4009B0-98FB-4889-910D-E9C149E418AF}" type="pres">
      <dgm:prSet presAssocID="{2ED7550E-052C-4669-A100-8603C5344BDA}" presName="parTxOnlySpace" presStyleCnt="0"/>
      <dgm:spPr/>
    </dgm:pt>
    <dgm:pt modelId="{F0C92F24-BF6B-4AF9-B1F5-F32275158663}" type="pres">
      <dgm:prSet presAssocID="{F4742837-F333-4551-B560-C854978E9382}" presName="parTxOnly" presStyleLbl="node1" presStyleIdx="12" presStyleCnt="15">
        <dgm:presLayoutVars>
          <dgm:chMax val="0"/>
          <dgm:chPref val="0"/>
          <dgm:bulletEnabled val="1"/>
        </dgm:presLayoutVars>
      </dgm:prSet>
      <dgm:spPr/>
    </dgm:pt>
    <dgm:pt modelId="{AD55F1F1-FB9C-4AC7-9F81-A1836304E193}" type="pres">
      <dgm:prSet presAssocID="{11C2130D-7006-4BF5-A9FC-9723E9499802}" presName="parTxOnlySpace" presStyleCnt="0"/>
      <dgm:spPr/>
    </dgm:pt>
    <dgm:pt modelId="{ED8D07A4-7A00-4F4B-84FD-9086141581F3}" type="pres">
      <dgm:prSet presAssocID="{73C1E804-ECCD-4AA9-B838-F9335C077DE3}" presName="parTxOnly" presStyleLbl="node1" presStyleIdx="13" presStyleCnt="15">
        <dgm:presLayoutVars>
          <dgm:chMax val="0"/>
          <dgm:chPref val="0"/>
          <dgm:bulletEnabled val="1"/>
        </dgm:presLayoutVars>
      </dgm:prSet>
      <dgm:spPr/>
    </dgm:pt>
    <dgm:pt modelId="{B06A0B5B-C2B8-4E74-A555-4CE1C1F7E00D}" type="pres">
      <dgm:prSet presAssocID="{5A94A905-41E0-49DD-B8E8-760FA606A4CE}" presName="parTxOnlySpace" presStyleCnt="0"/>
      <dgm:spPr/>
    </dgm:pt>
    <dgm:pt modelId="{94247066-F4C1-47C0-B855-486614CDB6C4}" type="pres">
      <dgm:prSet presAssocID="{76BD495D-7943-404C-A94F-5877AB462FA1}" presName="parTxOnly" presStyleLbl="node1" presStyleIdx="14" presStyleCnt="15">
        <dgm:presLayoutVars>
          <dgm:chMax val="0"/>
          <dgm:chPref val="0"/>
          <dgm:bulletEnabled val="1"/>
        </dgm:presLayoutVars>
      </dgm:prSet>
      <dgm:spPr/>
    </dgm:pt>
  </dgm:ptLst>
  <dgm:cxnLst>
    <dgm:cxn modelId="{41732401-E146-43BE-A3B5-BCF3BFF7BDCE}" type="presOf" srcId="{5C608304-EC24-4F2A-9A8E-18F5C18BE09A}" destId="{344E3136-8579-4129-810D-3858D91F6C54}" srcOrd="0" destOrd="0" presId="urn:microsoft.com/office/officeart/2005/8/layout/chevron1"/>
    <dgm:cxn modelId="{5099D002-6FA4-490B-B1F9-50711A073D72}" srcId="{F6F2EF55-D6CF-43D8-8307-F5E1A3313150}" destId="{4702705D-31E1-4607-AD55-A86F968268CD}" srcOrd="1" destOrd="0" parTransId="{396A9065-2C86-4622-BE11-11B765B7C77F}" sibTransId="{93D88A16-1FE5-423C-8AE5-CCD6D7F5137B}"/>
    <dgm:cxn modelId="{68A07A05-597D-48AB-B08A-BDA7D69A6326}" type="presOf" srcId="{776B6007-DE4C-4154-9D89-10E815C55D0D}" destId="{1AE99E62-CFB5-490B-A347-2C2D218E08C9}" srcOrd="0" destOrd="0" presId="urn:microsoft.com/office/officeart/2005/8/layout/chevron1"/>
    <dgm:cxn modelId="{69DAAC19-1AFC-4957-8197-D0588175518F}" srcId="{F6F2EF55-D6CF-43D8-8307-F5E1A3313150}" destId="{B5489D74-C558-4C03-B1C8-112EE1868D2A}" srcOrd="3" destOrd="0" parTransId="{5E5E4C19-0728-4525-A807-44A2D533C83E}" sibTransId="{86B45E0C-815F-4CAB-A837-38CDB36A2E94}"/>
    <dgm:cxn modelId="{20F2CD1A-B644-4443-AE5D-4CF018916FD8}" srcId="{F6F2EF55-D6CF-43D8-8307-F5E1A3313150}" destId="{76A6DE56-B81A-41C3-8822-AD69F8987D11}" srcOrd="8" destOrd="0" parTransId="{79E45334-19BB-4B3F-AA19-95C67498493F}" sibTransId="{CE91BF80-71D1-4C2B-B487-6BF15C27B46E}"/>
    <dgm:cxn modelId="{9E242436-067C-46B7-8CD7-1227B8389B1A}" srcId="{F6F2EF55-D6CF-43D8-8307-F5E1A3313150}" destId="{AB6C596D-9AEE-40CE-A577-30DA56CB33AB}" srcOrd="2" destOrd="0" parTransId="{A0940CF0-98E8-42CB-B4EE-AC2F19C4514F}" sibTransId="{EDF167BC-59E1-4DE3-9A18-9505EEF701DE}"/>
    <dgm:cxn modelId="{E34AC540-53B8-41D3-A14E-B6FAB1814106}" type="presOf" srcId="{4702705D-31E1-4607-AD55-A86F968268CD}" destId="{4D8AD852-6DD9-47AD-A24F-3ECC83927AAE}" srcOrd="0" destOrd="0" presId="urn:microsoft.com/office/officeart/2005/8/layout/chevron1"/>
    <dgm:cxn modelId="{6F3DAA45-8E01-4A8B-953B-98C6B2CD74DE}" srcId="{F6F2EF55-D6CF-43D8-8307-F5E1A3313150}" destId="{76BD495D-7943-404C-A94F-5877AB462FA1}" srcOrd="14" destOrd="0" parTransId="{9101EFA0-21EE-435C-A516-C5A9300DF07C}" sibTransId="{7F50BFDD-03C4-4354-9CE2-5121A4E75D9B}"/>
    <dgm:cxn modelId="{37BE0446-8D55-4DC5-8657-B0BAE1E993E6}" type="presOf" srcId="{08B1070B-38B8-47D5-96BA-B2821D6F13E2}" destId="{A6892572-3C63-46B1-B123-A61ED4BA6DA1}" srcOrd="0" destOrd="0" presId="urn:microsoft.com/office/officeart/2005/8/layout/chevron1"/>
    <dgm:cxn modelId="{3B0F8F51-5008-4113-AD10-6081F1C1297A}" type="presOf" srcId="{76BD495D-7943-404C-A94F-5877AB462FA1}" destId="{94247066-F4C1-47C0-B855-486614CDB6C4}" srcOrd="0" destOrd="0" presId="urn:microsoft.com/office/officeart/2005/8/layout/chevron1"/>
    <dgm:cxn modelId="{FB0D0052-CA5B-4528-BCD3-6DD335B1E716}" srcId="{F6F2EF55-D6CF-43D8-8307-F5E1A3313150}" destId="{73C1E804-ECCD-4AA9-B838-F9335C077DE3}" srcOrd="13" destOrd="0" parTransId="{395CD9B9-174D-4A73-8EFA-2C9C098C36F5}" sibTransId="{5A94A905-41E0-49DD-B8E8-760FA606A4CE}"/>
    <dgm:cxn modelId="{5188755D-57BF-4F05-BF5C-94D13EE426B2}" srcId="{F6F2EF55-D6CF-43D8-8307-F5E1A3313150}" destId="{F4742837-F333-4551-B560-C854978E9382}" srcOrd="12" destOrd="0" parTransId="{CFCD27C2-6C3B-4294-B438-A22C23397148}" sibTransId="{11C2130D-7006-4BF5-A9FC-9723E9499802}"/>
    <dgm:cxn modelId="{F4F8B865-4374-44F3-AEA1-226F34A7E1E8}" type="presOf" srcId="{832B835E-68F4-4E6E-9D0B-6BCABDF32330}" destId="{8D00C6BA-97EE-425B-B013-1BF1756E3CAF}" srcOrd="0" destOrd="0" presId="urn:microsoft.com/office/officeart/2005/8/layout/chevron1"/>
    <dgm:cxn modelId="{719D0373-5401-4031-8509-1CB315E8A856}" type="presOf" srcId="{76A6DE56-B81A-41C3-8822-AD69F8987D11}" destId="{96E5D556-E682-420C-9068-416A84B61043}" srcOrd="0" destOrd="0" presId="urn:microsoft.com/office/officeart/2005/8/layout/chevron1"/>
    <dgm:cxn modelId="{851BE47C-1DDE-4BB3-B5D8-F5F435FD2736}" type="presOf" srcId="{73C1E804-ECCD-4AA9-B838-F9335C077DE3}" destId="{ED8D07A4-7A00-4F4B-84FD-9086141581F3}" srcOrd="0" destOrd="0" presId="urn:microsoft.com/office/officeart/2005/8/layout/chevron1"/>
    <dgm:cxn modelId="{BD2A927F-07BE-4313-BC34-56FB05D2C528}" type="presOf" srcId="{210923C8-B002-47BC-9663-D1D3C1B441D7}" destId="{D61641FA-3ED9-4FB5-9243-996BC2034617}" srcOrd="0" destOrd="0" presId="urn:microsoft.com/office/officeart/2005/8/layout/chevron1"/>
    <dgm:cxn modelId="{C0174A84-27F3-4800-9AC0-9F9BBA21D7AB}" srcId="{F6F2EF55-D6CF-43D8-8307-F5E1A3313150}" destId="{210923C8-B002-47BC-9663-D1D3C1B441D7}" srcOrd="6" destOrd="0" parTransId="{18E5AFF4-B609-4290-B637-A7FE6136EA4A}" sibTransId="{1BF23942-0BBE-46E4-AC58-8FBF3C5C2448}"/>
    <dgm:cxn modelId="{8F52BB97-9740-4E63-B2D9-7322C6F60014}" srcId="{F6F2EF55-D6CF-43D8-8307-F5E1A3313150}" destId="{776B6007-DE4C-4154-9D89-10E815C55D0D}" srcOrd="0" destOrd="0" parTransId="{D97CFBCA-D7F6-4DFE-9C58-FB9DE9BBBAF2}" sibTransId="{B3610CC3-B817-4A51-AFAA-8DE3091C997A}"/>
    <dgm:cxn modelId="{8BFC4099-DF9D-4F01-AFCF-667BDA588023}" srcId="{F6F2EF55-D6CF-43D8-8307-F5E1A3313150}" destId="{832B835E-68F4-4E6E-9D0B-6BCABDF32330}" srcOrd="7" destOrd="0" parTransId="{76593579-C8B1-41AD-AAC5-A0CCDE52304E}" sibTransId="{3293F0FE-1EBD-443F-A510-7AB114D87DC0}"/>
    <dgm:cxn modelId="{570A69A1-B92D-4EE0-902E-6632F450D509}" srcId="{F6F2EF55-D6CF-43D8-8307-F5E1A3313150}" destId="{0A561C31-F208-4EB1-B94B-1FF5F18370B5}" srcOrd="10" destOrd="0" parTransId="{386A3175-45CB-4051-A09E-985AA43ABEC6}" sibTransId="{0A4AEC5B-4C5E-4010-9053-25B84CC1206D}"/>
    <dgm:cxn modelId="{370A51A3-5F13-4D01-8DDB-E5C719415606}" srcId="{F6F2EF55-D6CF-43D8-8307-F5E1A3313150}" destId="{B39584D5-2C05-4707-A780-B4E2AE7B610F}" srcOrd="4" destOrd="0" parTransId="{7D1C80AA-9ABB-41A7-A883-48FB2AC9A462}" sibTransId="{4423C41B-FA2C-46D0-8A56-CF3BAFFD8474}"/>
    <dgm:cxn modelId="{58C70FA4-1D5C-4E77-BD3F-FF163D27D0A0}" type="presOf" srcId="{B39584D5-2C05-4707-A780-B4E2AE7B610F}" destId="{5B7663C1-0599-49C1-9EAE-6A723CD83A30}" srcOrd="0" destOrd="0" presId="urn:microsoft.com/office/officeart/2005/8/layout/chevron1"/>
    <dgm:cxn modelId="{834E54B0-4D17-49F7-A8DC-A0EF39816D38}" type="presOf" srcId="{B5489D74-C558-4C03-B1C8-112EE1868D2A}" destId="{9BB0871D-3CD6-4692-AF9B-E2FCD0AF5241}" srcOrd="0" destOrd="0" presId="urn:microsoft.com/office/officeart/2005/8/layout/chevron1"/>
    <dgm:cxn modelId="{045C0DB1-3C1B-4CEF-A19D-A5788BFFABED}" type="presOf" srcId="{F4742837-F333-4551-B560-C854978E9382}" destId="{F0C92F24-BF6B-4AF9-B1F5-F32275158663}" srcOrd="0" destOrd="0" presId="urn:microsoft.com/office/officeart/2005/8/layout/chevron1"/>
    <dgm:cxn modelId="{258404C8-C183-41B7-82B7-716DE7D3F6F1}" type="presOf" srcId="{06B72F0F-5D8B-4548-9688-ECF93AE4C536}" destId="{36A65E31-9265-4691-B105-2A398BE0C839}" srcOrd="0" destOrd="0" presId="urn:microsoft.com/office/officeart/2005/8/layout/chevron1"/>
    <dgm:cxn modelId="{D1211ACA-919A-4776-AF8B-3E0B1385A4F6}" type="presOf" srcId="{0A561C31-F208-4EB1-B94B-1FF5F18370B5}" destId="{C421441B-AEC8-4B64-A58E-19A34CA318DD}" srcOrd="0" destOrd="0" presId="urn:microsoft.com/office/officeart/2005/8/layout/chevron1"/>
    <dgm:cxn modelId="{15E4D4E6-E3C7-4525-A1D4-7A0DD1D35D0A}" srcId="{F6F2EF55-D6CF-43D8-8307-F5E1A3313150}" destId="{08B1070B-38B8-47D5-96BA-B2821D6F13E2}" srcOrd="5" destOrd="0" parTransId="{BCDF4EC4-AD74-4407-B7EE-733C1E887E89}" sibTransId="{FCB8CE7A-187A-4A7F-AB2C-ADAC64CA6947}"/>
    <dgm:cxn modelId="{CD66BCE7-1A3B-47E6-8E31-007E76EC7C5B}" srcId="{F6F2EF55-D6CF-43D8-8307-F5E1A3313150}" destId="{5C608304-EC24-4F2A-9A8E-18F5C18BE09A}" srcOrd="11" destOrd="0" parTransId="{7AC9EF74-569F-4D65-96F8-604371B81E8E}" sibTransId="{2ED7550E-052C-4669-A100-8603C5344BDA}"/>
    <dgm:cxn modelId="{9AB056EE-8068-43B9-B7D1-044F3A3629B1}" type="presOf" srcId="{F6F2EF55-D6CF-43D8-8307-F5E1A3313150}" destId="{BA08163E-B931-4E62-BFCA-F5105D4B4F56}" srcOrd="0" destOrd="0" presId="urn:microsoft.com/office/officeart/2005/8/layout/chevron1"/>
    <dgm:cxn modelId="{E79DCCF8-3F10-4D31-B017-07AFC07AAA05}" srcId="{F6F2EF55-D6CF-43D8-8307-F5E1A3313150}" destId="{06B72F0F-5D8B-4548-9688-ECF93AE4C536}" srcOrd="9" destOrd="0" parTransId="{241AFB5E-0173-4B2B-B42B-007DD33022C1}" sibTransId="{F6B04790-F291-404E-BDA4-9340CE777657}"/>
    <dgm:cxn modelId="{C87BF8FE-CE58-40DA-85F9-2C602047316E}" type="presOf" srcId="{AB6C596D-9AEE-40CE-A577-30DA56CB33AB}" destId="{87FA564C-B97B-469A-AC35-BFF61572E574}" srcOrd="0" destOrd="0" presId="urn:microsoft.com/office/officeart/2005/8/layout/chevron1"/>
    <dgm:cxn modelId="{2FCC4083-0694-4BF1-8E16-CAB145F566D8}" type="presParOf" srcId="{BA08163E-B931-4E62-BFCA-F5105D4B4F56}" destId="{1AE99E62-CFB5-490B-A347-2C2D218E08C9}" srcOrd="0" destOrd="0" presId="urn:microsoft.com/office/officeart/2005/8/layout/chevron1"/>
    <dgm:cxn modelId="{2C076D17-CD8C-42F2-8BB1-BCFB917595CA}" type="presParOf" srcId="{BA08163E-B931-4E62-BFCA-F5105D4B4F56}" destId="{8B714077-CDB7-425B-9F2B-96199CC63CCB}" srcOrd="1" destOrd="0" presId="urn:microsoft.com/office/officeart/2005/8/layout/chevron1"/>
    <dgm:cxn modelId="{E67CE753-44A1-4E87-B279-9778B3D795BB}" type="presParOf" srcId="{BA08163E-B931-4E62-BFCA-F5105D4B4F56}" destId="{4D8AD852-6DD9-47AD-A24F-3ECC83927AAE}" srcOrd="2" destOrd="0" presId="urn:microsoft.com/office/officeart/2005/8/layout/chevron1"/>
    <dgm:cxn modelId="{B67229D7-EBDE-45F1-9FF7-8A4D261EB6DD}" type="presParOf" srcId="{BA08163E-B931-4E62-BFCA-F5105D4B4F56}" destId="{9081022F-9FE4-4E61-B138-8573B0625AFA}" srcOrd="3" destOrd="0" presId="urn:microsoft.com/office/officeart/2005/8/layout/chevron1"/>
    <dgm:cxn modelId="{BEC9AF6A-2547-4C7E-B8C4-515DCB5D0E37}" type="presParOf" srcId="{BA08163E-B931-4E62-BFCA-F5105D4B4F56}" destId="{87FA564C-B97B-469A-AC35-BFF61572E574}" srcOrd="4" destOrd="0" presId="urn:microsoft.com/office/officeart/2005/8/layout/chevron1"/>
    <dgm:cxn modelId="{25B0F0FF-3937-445D-907F-C6A5673DCE07}" type="presParOf" srcId="{BA08163E-B931-4E62-BFCA-F5105D4B4F56}" destId="{DDC31427-6EE1-4840-A0C7-472C20F6F458}" srcOrd="5" destOrd="0" presId="urn:microsoft.com/office/officeart/2005/8/layout/chevron1"/>
    <dgm:cxn modelId="{17B9E4E1-749F-48A1-BDA4-65649A5A8768}" type="presParOf" srcId="{BA08163E-B931-4E62-BFCA-F5105D4B4F56}" destId="{9BB0871D-3CD6-4692-AF9B-E2FCD0AF5241}" srcOrd="6" destOrd="0" presId="urn:microsoft.com/office/officeart/2005/8/layout/chevron1"/>
    <dgm:cxn modelId="{9F34B36A-AC9B-49FF-B2F7-24108E9AE9A5}" type="presParOf" srcId="{BA08163E-B931-4E62-BFCA-F5105D4B4F56}" destId="{C6FC561B-59A1-4BE5-9446-89817DF03A13}" srcOrd="7" destOrd="0" presId="urn:microsoft.com/office/officeart/2005/8/layout/chevron1"/>
    <dgm:cxn modelId="{B2A4A3C5-4D00-4D74-9C1B-15A9542EBDCD}" type="presParOf" srcId="{BA08163E-B931-4E62-BFCA-F5105D4B4F56}" destId="{5B7663C1-0599-49C1-9EAE-6A723CD83A30}" srcOrd="8" destOrd="0" presId="urn:microsoft.com/office/officeart/2005/8/layout/chevron1"/>
    <dgm:cxn modelId="{6DFEBF1C-F931-47CA-A1C8-DAAE345E13BA}" type="presParOf" srcId="{BA08163E-B931-4E62-BFCA-F5105D4B4F56}" destId="{4E863D6D-7657-4198-8C84-EA89A421BC2B}" srcOrd="9" destOrd="0" presId="urn:microsoft.com/office/officeart/2005/8/layout/chevron1"/>
    <dgm:cxn modelId="{5D4DA0FF-2023-4EE4-9D41-C57CDD2FA41A}" type="presParOf" srcId="{BA08163E-B931-4E62-BFCA-F5105D4B4F56}" destId="{A6892572-3C63-46B1-B123-A61ED4BA6DA1}" srcOrd="10" destOrd="0" presId="urn:microsoft.com/office/officeart/2005/8/layout/chevron1"/>
    <dgm:cxn modelId="{E676472E-E6A1-4B2F-A5FA-2C5A0AC3F91E}" type="presParOf" srcId="{BA08163E-B931-4E62-BFCA-F5105D4B4F56}" destId="{4101D323-214C-4F1C-8053-2FA5F4A729A5}" srcOrd="11" destOrd="0" presId="urn:microsoft.com/office/officeart/2005/8/layout/chevron1"/>
    <dgm:cxn modelId="{287728BB-8DFB-40C1-B3E4-19A4879EDC99}" type="presParOf" srcId="{BA08163E-B931-4E62-BFCA-F5105D4B4F56}" destId="{D61641FA-3ED9-4FB5-9243-996BC2034617}" srcOrd="12" destOrd="0" presId="urn:microsoft.com/office/officeart/2005/8/layout/chevron1"/>
    <dgm:cxn modelId="{E1F17B41-0716-4117-8D48-0A99522550F5}" type="presParOf" srcId="{BA08163E-B931-4E62-BFCA-F5105D4B4F56}" destId="{4DA9A22E-C097-4A19-BA32-62FC62194752}" srcOrd="13" destOrd="0" presId="urn:microsoft.com/office/officeart/2005/8/layout/chevron1"/>
    <dgm:cxn modelId="{D4103F70-0873-4F67-952A-587112FCF1B7}" type="presParOf" srcId="{BA08163E-B931-4E62-BFCA-F5105D4B4F56}" destId="{8D00C6BA-97EE-425B-B013-1BF1756E3CAF}" srcOrd="14" destOrd="0" presId="urn:microsoft.com/office/officeart/2005/8/layout/chevron1"/>
    <dgm:cxn modelId="{63CE529F-0526-4993-9541-69F99F8A0B03}" type="presParOf" srcId="{BA08163E-B931-4E62-BFCA-F5105D4B4F56}" destId="{996288C2-63EC-4D16-B2F3-202A1C2F8E1B}" srcOrd="15" destOrd="0" presId="urn:microsoft.com/office/officeart/2005/8/layout/chevron1"/>
    <dgm:cxn modelId="{9D6B2CA1-D22B-42CB-B608-5D7C62AE74CD}" type="presParOf" srcId="{BA08163E-B931-4E62-BFCA-F5105D4B4F56}" destId="{96E5D556-E682-420C-9068-416A84B61043}" srcOrd="16" destOrd="0" presId="urn:microsoft.com/office/officeart/2005/8/layout/chevron1"/>
    <dgm:cxn modelId="{DA247495-CF78-48E0-8081-30243084CFD7}" type="presParOf" srcId="{BA08163E-B931-4E62-BFCA-F5105D4B4F56}" destId="{5F49B386-1666-438D-A4AC-AE1CDB09BF16}" srcOrd="17" destOrd="0" presId="urn:microsoft.com/office/officeart/2005/8/layout/chevron1"/>
    <dgm:cxn modelId="{C550E956-83E6-4493-AA4F-77E50D4948AF}" type="presParOf" srcId="{BA08163E-B931-4E62-BFCA-F5105D4B4F56}" destId="{36A65E31-9265-4691-B105-2A398BE0C839}" srcOrd="18" destOrd="0" presId="urn:microsoft.com/office/officeart/2005/8/layout/chevron1"/>
    <dgm:cxn modelId="{08CDE030-EFC9-484F-8AF7-1A465C82C2BF}" type="presParOf" srcId="{BA08163E-B931-4E62-BFCA-F5105D4B4F56}" destId="{1511487D-10F1-4DDC-A966-3BA70FE7E199}" srcOrd="19" destOrd="0" presId="urn:microsoft.com/office/officeart/2005/8/layout/chevron1"/>
    <dgm:cxn modelId="{E39D6307-55BD-4719-AA65-925FD92BC863}" type="presParOf" srcId="{BA08163E-B931-4E62-BFCA-F5105D4B4F56}" destId="{C421441B-AEC8-4B64-A58E-19A34CA318DD}" srcOrd="20" destOrd="0" presId="urn:microsoft.com/office/officeart/2005/8/layout/chevron1"/>
    <dgm:cxn modelId="{88CBA1FB-0AA2-4FEF-B4FC-46A99058EBAF}" type="presParOf" srcId="{BA08163E-B931-4E62-BFCA-F5105D4B4F56}" destId="{1FF18C61-391F-4466-9A1D-250D2144748C}" srcOrd="21" destOrd="0" presId="urn:microsoft.com/office/officeart/2005/8/layout/chevron1"/>
    <dgm:cxn modelId="{3E07C5AF-A204-40D3-A040-EEA4628AA93F}" type="presParOf" srcId="{BA08163E-B931-4E62-BFCA-F5105D4B4F56}" destId="{344E3136-8579-4129-810D-3858D91F6C54}" srcOrd="22" destOrd="0" presId="urn:microsoft.com/office/officeart/2005/8/layout/chevron1"/>
    <dgm:cxn modelId="{45D3F6CD-2024-45A9-918C-11940F141D00}" type="presParOf" srcId="{BA08163E-B931-4E62-BFCA-F5105D4B4F56}" destId="{5C4009B0-98FB-4889-910D-E9C149E418AF}" srcOrd="23" destOrd="0" presId="urn:microsoft.com/office/officeart/2005/8/layout/chevron1"/>
    <dgm:cxn modelId="{19C69E1A-94BB-4612-88F4-087A3EA4DE7E}" type="presParOf" srcId="{BA08163E-B931-4E62-BFCA-F5105D4B4F56}" destId="{F0C92F24-BF6B-4AF9-B1F5-F32275158663}" srcOrd="24" destOrd="0" presId="urn:microsoft.com/office/officeart/2005/8/layout/chevron1"/>
    <dgm:cxn modelId="{6F9E088E-1E0B-4ABF-B44D-F0805C40FA26}" type="presParOf" srcId="{BA08163E-B931-4E62-BFCA-F5105D4B4F56}" destId="{AD55F1F1-FB9C-4AC7-9F81-A1836304E193}" srcOrd="25" destOrd="0" presId="urn:microsoft.com/office/officeart/2005/8/layout/chevron1"/>
    <dgm:cxn modelId="{065DE0AA-832C-4576-AC71-4138B7D8F8EE}" type="presParOf" srcId="{BA08163E-B931-4E62-BFCA-F5105D4B4F56}" destId="{ED8D07A4-7A00-4F4B-84FD-9086141581F3}" srcOrd="26" destOrd="0" presId="urn:microsoft.com/office/officeart/2005/8/layout/chevron1"/>
    <dgm:cxn modelId="{E16B3519-2116-47A0-A17F-BED667BFDE27}" type="presParOf" srcId="{BA08163E-B931-4E62-BFCA-F5105D4B4F56}" destId="{B06A0B5B-C2B8-4E74-A555-4CE1C1F7E00D}" srcOrd="27" destOrd="0" presId="urn:microsoft.com/office/officeart/2005/8/layout/chevron1"/>
    <dgm:cxn modelId="{50E9AF85-1E53-4D57-9232-CF77E66D6DED}" type="presParOf" srcId="{BA08163E-B931-4E62-BFCA-F5105D4B4F56}" destId="{94247066-F4C1-47C0-B855-486614CDB6C4}" srcOrd="28"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AE99E62-CFB5-490B-A347-2C2D218E08C9}">
      <dsp:nvSpPr>
        <dsp:cNvPr id="0" name=""/>
        <dsp:cNvSpPr/>
      </dsp:nvSpPr>
      <dsp:spPr>
        <a:xfrm>
          <a:off x="2634" y="196228"/>
          <a:ext cx="660907" cy="264362"/>
        </a:xfrm>
        <a:prstGeom prst="chevron">
          <a:avLst/>
        </a:prstGeom>
        <a:solidFill>
          <a:schemeClr val="accent1">
            <a:lumMod val="20000"/>
            <a:lumOff val="8000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44006" tIns="14669" rIns="14669" bIns="14669" numCol="1" spcCol="1270" anchor="ctr" anchorCtr="0">
          <a:noAutofit/>
        </a:bodyPr>
        <a:lstStyle/>
        <a:p>
          <a:pPr marL="0" lvl="0" indent="0" algn="ctr" defTabSz="488950">
            <a:lnSpc>
              <a:spcPct val="90000"/>
            </a:lnSpc>
            <a:spcBef>
              <a:spcPct val="0"/>
            </a:spcBef>
            <a:spcAft>
              <a:spcPct val="35000"/>
            </a:spcAft>
            <a:buNone/>
          </a:pPr>
          <a:r>
            <a:rPr lang="en-US" sz="1100" b="1" kern="1200" dirty="0">
              <a:solidFill>
                <a:schemeClr val="tx2"/>
              </a:solidFill>
              <a:latin typeface="+mn-lt"/>
              <a:cs typeface="Times" panose="02020603050405020304" pitchFamily="18" charset="0"/>
            </a:rPr>
            <a:t>2009</a:t>
          </a:r>
        </a:p>
      </dsp:txBody>
      <dsp:txXfrm>
        <a:off x="134815" y="196228"/>
        <a:ext cx="396545" cy="264362"/>
      </dsp:txXfrm>
    </dsp:sp>
    <dsp:sp modelId="{4D8AD852-6DD9-47AD-A24F-3ECC83927AAE}">
      <dsp:nvSpPr>
        <dsp:cNvPr id="0" name=""/>
        <dsp:cNvSpPr/>
      </dsp:nvSpPr>
      <dsp:spPr>
        <a:xfrm>
          <a:off x="597451" y="196228"/>
          <a:ext cx="660907" cy="264362"/>
        </a:xfrm>
        <a:prstGeom prst="chevron">
          <a:avLst/>
        </a:prstGeom>
        <a:solidFill>
          <a:schemeClr val="accent1">
            <a:lumMod val="20000"/>
            <a:lumOff val="8000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44006" tIns="14669" rIns="14669" bIns="14669" numCol="1" spcCol="1270" anchor="ctr" anchorCtr="0">
          <a:noAutofit/>
        </a:bodyPr>
        <a:lstStyle/>
        <a:p>
          <a:pPr marL="0" lvl="0" indent="0" algn="ctr" defTabSz="488950">
            <a:lnSpc>
              <a:spcPct val="90000"/>
            </a:lnSpc>
            <a:spcBef>
              <a:spcPct val="0"/>
            </a:spcBef>
            <a:spcAft>
              <a:spcPct val="35000"/>
            </a:spcAft>
            <a:buNone/>
          </a:pPr>
          <a:r>
            <a:rPr lang="en-US" sz="1100" b="1" kern="1200" dirty="0">
              <a:solidFill>
                <a:schemeClr val="tx2"/>
              </a:solidFill>
              <a:latin typeface="+mn-lt"/>
              <a:cs typeface="Times" panose="02020603050405020304" pitchFamily="18" charset="0"/>
            </a:rPr>
            <a:t>2010</a:t>
          </a:r>
        </a:p>
      </dsp:txBody>
      <dsp:txXfrm>
        <a:off x="729632" y="196228"/>
        <a:ext cx="396545" cy="264362"/>
      </dsp:txXfrm>
    </dsp:sp>
    <dsp:sp modelId="{87FA564C-B97B-469A-AC35-BFF61572E574}">
      <dsp:nvSpPr>
        <dsp:cNvPr id="0" name=""/>
        <dsp:cNvSpPr/>
      </dsp:nvSpPr>
      <dsp:spPr>
        <a:xfrm>
          <a:off x="1192267" y="183647"/>
          <a:ext cx="660907" cy="264362"/>
        </a:xfrm>
        <a:prstGeom prst="chevron">
          <a:avLst/>
        </a:prstGeom>
        <a:solidFill>
          <a:schemeClr val="accent1">
            <a:lumMod val="20000"/>
            <a:lumOff val="8000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44006" tIns="14669" rIns="14669" bIns="14669" numCol="1" spcCol="1270" anchor="ctr" anchorCtr="0">
          <a:noAutofit/>
        </a:bodyPr>
        <a:lstStyle/>
        <a:p>
          <a:pPr marL="0" lvl="0" indent="0" algn="ctr" defTabSz="488950">
            <a:lnSpc>
              <a:spcPct val="90000"/>
            </a:lnSpc>
            <a:spcBef>
              <a:spcPct val="0"/>
            </a:spcBef>
            <a:spcAft>
              <a:spcPct val="35000"/>
            </a:spcAft>
            <a:buNone/>
          </a:pPr>
          <a:r>
            <a:rPr lang="en-US" sz="1100" b="1" kern="1200" dirty="0">
              <a:solidFill>
                <a:schemeClr val="tx2"/>
              </a:solidFill>
              <a:latin typeface="+mn-lt"/>
              <a:cs typeface="Times" panose="02020603050405020304" pitchFamily="18" charset="0"/>
            </a:rPr>
            <a:t>2011</a:t>
          </a:r>
        </a:p>
      </dsp:txBody>
      <dsp:txXfrm>
        <a:off x="1324448" y="183647"/>
        <a:ext cx="396545" cy="264362"/>
      </dsp:txXfrm>
    </dsp:sp>
    <dsp:sp modelId="{9BB0871D-3CD6-4692-AF9B-E2FCD0AF5241}">
      <dsp:nvSpPr>
        <dsp:cNvPr id="0" name=""/>
        <dsp:cNvSpPr/>
      </dsp:nvSpPr>
      <dsp:spPr>
        <a:xfrm>
          <a:off x="1787083" y="183647"/>
          <a:ext cx="660907" cy="264362"/>
        </a:xfrm>
        <a:prstGeom prst="chevron">
          <a:avLst/>
        </a:prstGeom>
        <a:solidFill>
          <a:schemeClr val="accent1">
            <a:lumMod val="20000"/>
            <a:lumOff val="8000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44006" tIns="14669" rIns="14669" bIns="14669" numCol="1" spcCol="1270" anchor="ctr" anchorCtr="0">
          <a:noAutofit/>
        </a:bodyPr>
        <a:lstStyle/>
        <a:p>
          <a:pPr marL="0" lvl="0" indent="0" algn="ctr" defTabSz="488950">
            <a:lnSpc>
              <a:spcPct val="90000"/>
            </a:lnSpc>
            <a:spcBef>
              <a:spcPct val="0"/>
            </a:spcBef>
            <a:spcAft>
              <a:spcPct val="35000"/>
            </a:spcAft>
            <a:buNone/>
          </a:pPr>
          <a:r>
            <a:rPr lang="en-US" sz="1100" b="1" kern="1200" dirty="0">
              <a:solidFill>
                <a:schemeClr val="tx2"/>
              </a:solidFill>
              <a:latin typeface="+mn-lt"/>
              <a:cs typeface="Times" panose="02020603050405020304" pitchFamily="18" charset="0"/>
            </a:rPr>
            <a:t>2012</a:t>
          </a:r>
        </a:p>
      </dsp:txBody>
      <dsp:txXfrm>
        <a:off x="1919264" y="183647"/>
        <a:ext cx="396545" cy="264362"/>
      </dsp:txXfrm>
    </dsp:sp>
    <dsp:sp modelId="{5B7663C1-0599-49C1-9EAE-6A723CD83A30}">
      <dsp:nvSpPr>
        <dsp:cNvPr id="0" name=""/>
        <dsp:cNvSpPr/>
      </dsp:nvSpPr>
      <dsp:spPr>
        <a:xfrm>
          <a:off x="2381900" y="183647"/>
          <a:ext cx="660907" cy="264362"/>
        </a:xfrm>
        <a:prstGeom prst="chevron">
          <a:avLst/>
        </a:prstGeom>
        <a:solidFill>
          <a:schemeClr val="accent1">
            <a:lumMod val="20000"/>
            <a:lumOff val="8000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44006" tIns="14669" rIns="14669" bIns="14669" numCol="1" spcCol="1270" anchor="ctr" anchorCtr="0">
          <a:noAutofit/>
        </a:bodyPr>
        <a:lstStyle/>
        <a:p>
          <a:pPr marL="0" lvl="0" indent="0" algn="ctr" defTabSz="488950">
            <a:lnSpc>
              <a:spcPct val="90000"/>
            </a:lnSpc>
            <a:spcBef>
              <a:spcPct val="0"/>
            </a:spcBef>
            <a:spcAft>
              <a:spcPct val="35000"/>
            </a:spcAft>
            <a:buNone/>
          </a:pPr>
          <a:r>
            <a:rPr lang="en-US" sz="1100" b="1" kern="1200" dirty="0">
              <a:solidFill>
                <a:schemeClr val="tx2"/>
              </a:solidFill>
              <a:latin typeface="+mn-lt"/>
              <a:cs typeface="Times" panose="02020603050405020304" pitchFamily="18" charset="0"/>
            </a:rPr>
            <a:t>2013</a:t>
          </a:r>
        </a:p>
      </dsp:txBody>
      <dsp:txXfrm>
        <a:off x="2514081" y="183647"/>
        <a:ext cx="396545" cy="264362"/>
      </dsp:txXfrm>
    </dsp:sp>
    <dsp:sp modelId="{A6892572-3C63-46B1-B123-A61ED4BA6DA1}">
      <dsp:nvSpPr>
        <dsp:cNvPr id="0" name=""/>
        <dsp:cNvSpPr/>
      </dsp:nvSpPr>
      <dsp:spPr>
        <a:xfrm>
          <a:off x="2976716" y="183647"/>
          <a:ext cx="660907" cy="264362"/>
        </a:xfrm>
        <a:prstGeom prst="chevron">
          <a:avLst/>
        </a:prstGeom>
        <a:solidFill>
          <a:schemeClr val="accent1">
            <a:lumMod val="20000"/>
            <a:lumOff val="8000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44006" tIns="14669" rIns="14669" bIns="14669" numCol="1" spcCol="1270" anchor="ctr" anchorCtr="0">
          <a:noAutofit/>
        </a:bodyPr>
        <a:lstStyle/>
        <a:p>
          <a:pPr marL="0" lvl="0" indent="0" algn="ctr" defTabSz="488950">
            <a:lnSpc>
              <a:spcPct val="90000"/>
            </a:lnSpc>
            <a:spcBef>
              <a:spcPct val="0"/>
            </a:spcBef>
            <a:spcAft>
              <a:spcPct val="35000"/>
            </a:spcAft>
            <a:buNone/>
          </a:pPr>
          <a:r>
            <a:rPr lang="en-US" sz="1100" b="1" kern="1200" dirty="0">
              <a:solidFill>
                <a:schemeClr val="tx2"/>
              </a:solidFill>
              <a:latin typeface="+mn-lt"/>
              <a:cs typeface="Times" panose="02020603050405020304" pitchFamily="18" charset="0"/>
            </a:rPr>
            <a:t>2014</a:t>
          </a:r>
        </a:p>
      </dsp:txBody>
      <dsp:txXfrm>
        <a:off x="3108897" y="183647"/>
        <a:ext cx="396545" cy="264362"/>
      </dsp:txXfrm>
    </dsp:sp>
    <dsp:sp modelId="{D61641FA-3ED9-4FB5-9243-996BC2034617}">
      <dsp:nvSpPr>
        <dsp:cNvPr id="0" name=""/>
        <dsp:cNvSpPr/>
      </dsp:nvSpPr>
      <dsp:spPr>
        <a:xfrm>
          <a:off x="3571532" y="183647"/>
          <a:ext cx="660907" cy="264362"/>
        </a:xfrm>
        <a:prstGeom prst="chevron">
          <a:avLst/>
        </a:prstGeom>
        <a:solidFill>
          <a:schemeClr val="accent1">
            <a:lumMod val="20000"/>
            <a:lumOff val="8000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44006" tIns="14669" rIns="14669" bIns="14669" numCol="1" spcCol="1270" anchor="ctr" anchorCtr="0">
          <a:noAutofit/>
        </a:bodyPr>
        <a:lstStyle/>
        <a:p>
          <a:pPr marL="0" lvl="0" indent="0" algn="ctr" defTabSz="488950">
            <a:lnSpc>
              <a:spcPct val="90000"/>
            </a:lnSpc>
            <a:spcBef>
              <a:spcPct val="0"/>
            </a:spcBef>
            <a:spcAft>
              <a:spcPct val="35000"/>
            </a:spcAft>
            <a:buNone/>
          </a:pPr>
          <a:r>
            <a:rPr lang="en-US" sz="1100" b="1" kern="1200" dirty="0">
              <a:solidFill>
                <a:schemeClr val="tx2"/>
              </a:solidFill>
              <a:latin typeface="+mn-lt"/>
              <a:cs typeface="Times" panose="02020603050405020304" pitchFamily="18" charset="0"/>
            </a:rPr>
            <a:t>2015</a:t>
          </a:r>
        </a:p>
      </dsp:txBody>
      <dsp:txXfrm>
        <a:off x="3703713" y="183647"/>
        <a:ext cx="396545" cy="264362"/>
      </dsp:txXfrm>
    </dsp:sp>
    <dsp:sp modelId="{8D00C6BA-97EE-425B-B013-1BF1756E3CAF}">
      <dsp:nvSpPr>
        <dsp:cNvPr id="0" name=""/>
        <dsp:cNvSpPr/>
      </dsp:nvSpPr>
      <dsp:spPr>
        <a:xfrm>
          <a:off x="4166348" y="183647"/>
          <a:ext cx="660907" cy="264362"/>
        </a:xfrm>
        <a:prstGeom prst="chevron">
          <a:avLst/>
        </a:prstGeom>
        <a:solidFill>
          <a:schemeClr val="accent1">
            <a:lumMod val="20000"/>
            <a:lumOff val="8000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44006" tIns="14669" rIns="14669" bIns="14669" numCol="1" spcCol="1270" anchor="ctr" anchorCtr="0">
          <a:noAutofit/>
        </a:bodyPr>
        <a:lstStyle/>
        <a:p>
          <a:pPr marL="0" lvl="0" indent="0" algn="ctr" defTabSz="488950">
            <a:lnSpc>
              <a:spcPct val="90000"/>
            </a:lnSpc>
            <a:spcBef>
              <a:spcPct val="0"/>
            </a:spcBef>
            <a:spcAft>
              <a:spcPct val="35000"/>
            </a:spcAft>
            <a:buNone/>
          </a:pPr>
          <a:r>
            <a:rPr lang="en-US" sz="1100" b="1" kern="1200" dirty="0">
              <a:solidFill>
                <a:schemeClr val="tx2"/>
              </a:solidFill>
              <a:latin typeface="+mn-lt"/>
              <a:cs typeface="Times" panose="02020603050405020304" pitchFamily="18" charset="0"/>
            </a:rPr>
            <a:t>2016</a:t>
          </a:r>
        </a:p>
      </dsp:txBody>
      <dsp:txXfrm>
        <a:off x="4298529" y="183647"/>
        <a:ext cx="396545" cy="264362"/>
      </dsp:txXfrm>
    </dsp:sp>
    <dsp:sp modelId="{96E5D556-E682-420C-9068-416A84B61043}">
      <dsp:nvSpPr>
        <dsp:cNvPr id="0" name=""/>
        <dsp:cNvSpPr/>
      </dsp:nvSpPr>
      <dsp:spPr>
        <a:xfrm>
          <a:off x="4761165" y="183647"/>
          <a:ext cx="660907" cy="264362"/>
        </a:xfrm>
        <a:prstGeom prst="chevron">
          <a:avLst/>
        </a:prstGeom>
        <a:solidFill>
          <a:schemeClr val="accent1">
            <a:lumMod val="20000"/>
            <a:lumOff val="8000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44006" tIns="14669" rIns="14669" bIns="14669" numCol="1" spcCol="1270" anchor="ctr" anchorCtr="0">
          <a:noAutofit/>
        </a:bodyPr>
        <a:lstStyle/>
        <a:p>
          <a:pPr marL="0" lvl="0" indent="0" algn="ctr" defTabSz="488950">
            <a:lnSpc>
              <a:spcPct val="90000"/>
            </a:lnSpc>
            <a:spcBef>
              <a:spcPct val="0"/>
            </a:spcBef>
            <a:spcAft>
              <a:spcPct val="35000"/>
            </a:spcAft>
            <a:buNone/>
          </a:pPr>
          <a:r>
            <a:rPr lang="en-US" sz="1100" b="1" kern="1200" dirty="0">
              <a:solidFill>
                <a:schemeClr val="tx2"/>
              </a:solidFill>
              <a:latin typeface="+mn-lt"/>
              <a:cs typeface="Times" panose="02020603050405020304" pitchFamily="18" charset="0"/>
            </a:rPr>
            <a:t>2017</a:t>
          </a:r>
        </a:p>
      </dsp:txBody>
      <dsp:txXfrm>
        <a:off x="4893346" y="183647"/>
        <a:ext cx="396545" cy="264362"/>
      </dsp:txXfrm>
    </dsp:sp>
    <dsp:sp modelId="{36A65E31-9265-4691-B105-2A398BE0C839}">
      <dsp:nvSpPr>
        <dsp:cNvPr id="0" name=""/>
        <dsp:cNvSpPr/>
      </dsp:nvSpPr>
      <dsp:spPr>
        <a:xfrm>
          <a:off x="5355981" y="183647"/>
          <a:ext cx="660907" cy="264362"/>
        </a:xfrm>
        <a:prstGeom prst="chevron">
          <a:avLst/>
        </a:prstGeom>
        <a:solidFill>
          <a:schemeClr val="accent1">
            <a:lumMod val="20000"/>
            <a:lumOff val="8000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44006" tIns="14669" rIns="14669" bIns="14669" numCol="1" spcCol="1270" anchor="ctr" anchorCtr="0">
          <a:noAutofit/>
        </a:bodyPr>
        <a:lstStyle/>
        <a:p>
          <a:pPr marL="0" lvl="0" indent="0" algn="ctr" defTabSz="488950">
            <a:lnSpc>
              <a:spcPct val="90000"/>
            </a:lnSpc>
            <a:spcBef>
              <a:spcPct val="0"/>
            </a:spcBef>
            <a:spcAft>
              <a:spcPct val="35000"/>
            </a:spcAft>
            <a:buNone/>
          </a:pPr>
          <a:r>
            <a:rPr lang="en-US" sz="1100" b="1" kern="1200" dirty="0">
              <a:solidFill>
                <a:schemeClr val="tx2"/>
              </a:solidFill>
              <a:latin typeface="+mn-lt"/>
              <a:cs typeface="Times" panose="02020603050405020304" pitchFamily="18" charset="0"/>
            </a:rPr>
            <a:t>2018</a:t>
          </a:r>
        </a:p>
      </dsp:txBody>
      <dsp:txXfrm>
        <a:off x="5488162" y="183647"/>
        <a:ext cx="396545" cy="264362"/>
      </dsp:txXfrm>
    </dsp:sp>
    <dsp:sp modelId="{C421441B-AEC8-4B64-A58E-19A34CA318DD}">
      <dsp:nvSpPr>
        <dsp:cNvPr id="0" name=""/>
        <dsp:cNvSpPr/>
      </dsp:nvSpPr>
      <dsp:spPr>
        <a:xfrm>
          <a:off x="5950797" y="183647"/>
          <a:ext cx="660907" cy="264362"/>
        </a:xfrm>
        <a:prstGeom prst="chevron">
          <a:avLst/>
        </a:prstGeom>
        <a:solidFill>
          <a:schemeClr val="accent1">
            <a:lumMod val="20000"/>
            <a:lumOff val="8000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44006" tIns="14669" rIns="14669" bIns="14669" numCol="1" spcCol="1270" anchor="ctr" anchorCtr="0">
          <a:noAutofit/>
        </a:bodyPr>
        <a:lstStyle/>
        <a:p>
          <a:pPr marL="0" lvl="0" indent="0" algn="ctr" defTabSz="488950">
            <a:lnSpc>
              <a:spcPct val="90000"/>
            </a:lnSpc>
            <a:spcBef>
              <a:spcPct val="0"/>
            </a:spcBef>
            <a:spcAft>
              <a:spcPct val="35000"/>
            </a:spcAft>
            <a:buNone/>
          </a:pPr>
          <a:r>
            <a:rPr lang="en-US" sz="1100" b="1" kern="1200" dirty="0">
              <a:solidFill>
                <a:schemeClr val="tx2"/>
              </a:solidFill>
              <a:latin typeface="+mn-lt"/>
              <a:cs typeface="Times" panose="02020603050405020304" pitchFamily="18" charset="0"/>
            </a:rPr>
            <a:t>2019</a:t>
          </a:r>
        </a:p>
      </dsp:txBody>
      <dsp:txXfrm>
        <a:off x="6082978" y="183647"/>
        <a:ext cx="396545" cy="264362"/>
      </dsp:txXfrm>
    </dsp:sp>
    <dsp:sp modelId="{344E3136-8579-4129-810D-3858D91F6C54}">
      <dsp:nvSpPr>
        <dsp:cNvPr id="0" name=""/>
        <dsp:cNvSpPr/>
      </dsp:nvSpPr>
      <dsp:spPr>
        <a:xfrm>
          <a:off x="6545614" y="183647"/>
          <a:ext cx="660907" cy="264362"/>
        </a:xfrm>
        <a:prstGeom prst="chevron">
          <a:avLst/>
        </a:prstGeom>
        <a:solidFill>
          <a:schemeClr val="accent1">
            <a:lumMod val="20000"/>
            <a:lumOff val="8000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44006" tIns="14669" rIns="14669" bIns="14669" numCol="1" spcCol="1270" anchor="ctr" anchorCtr="0">
          <a:noAutofit/>
        </a:bodyPr>
        <a:lstStyle/>
        <a:p>
          <a:pPr marL="0" lvl="0" indent="0" algn="ctr" defTabSz="488950">
            <a:lnSpc>
              <a:spcPct val="90000"/>
            </a:lnSpc>
            <a:spcBef>
              <a:spcPct val="0"/>
            </a:spcBef>
            <a:spcAft>
              <a:spcPct val="35000"/>
            </a:spcAft>
            <a:buNone/>
          </a:pPr>
          <a:r>
            <a:rPr lang="en-US" sz="1100" b="1" kern="1200" dirty="0">
              <a:solidFill>
                <a:schemeClr val="tx2"/>
              </a:solidFill>
              <a:latin typeface="+mn-lt"/>
              <a:cs typeface="Times" panose="02020603050405020304" pitchFamily="18" charset="0"/>
            </a:rPr>
            <a:t>2020</a:t>
          </a:r>
        </a:p>
      </dsp:txBody>
      <dsp:txXfrm>
        <a:off x="6677795" y="183647"/>
        <a:ext cx="396545" cy="264362"/>
      </dsp:txXfrm>
    </dsp:sp>
    <dsp:sp modelId="{F0C92F24-BF6B-4AF9-B1F5-F32275158663}">
      <dsp:nvSpPr>
        <dsp:cNvPr id="0" name=""/>
        <dsp:cNvSpPr/>
      </dsp:nvSpPr>
      <dsp:spPr>
        <a:xfrm>
          <a:off x="7140430" y="183647"/>
          <a:ext cx="660907" cy="264362"/>
        </a:xfrm>
        <a:prstGeom prst="chevron">
          <a:avLst/>
        </a:prstGeom>
        <a:solidFill>
          <a:schemeClr val="accent1">
            <a:lumMod val="20000"/>
            <a:lumOff val="8000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44006" tIns="14669" rIns="14669" bIns="14669" numCol="1" spcCol="1270" anchor="ctr" anchorCtr="0">
          <a:noAutofit/>
        </a:bodyPr>
        <a:lstStyle/>
        <a:p>
          <a:pPr marL="0" lvl="0" indent="0" algn="ctr" defTabSz="488950">
            <a:lnSpc>
              <a:spcPct val="90000"/>
            </a:lnSpc>
            <a:spcBef>
              <a:spcPct val="0"/>
            </a:spcBef>
            <a:spcAft>
              <a:spcPct val="35000"/>
            </a:spcAft>
            <a:buNone/>
          </a:pPr>
          <a:r>
            <a:rPr lang="en-US" sz="1100" b="1" kern="1200" dirty="0">
              <a:solidFill>
                <a:schemeClr val="tx2"/>
              </a:solidFill>
              <a:latin typeface="+mn-lt"/>
              <a:cs typeface="Times" panose="02020603050405020304" pitchFamily="18" charset="0"/>
            </a:rPr>
            <a:t>2021</a:t>
          </a:r>
        </a:p>
      </dsp:txBody>
      <dsp:txXfrm>
        <a:off x="7272611" y="183647"/>
        <a:ext cx="396545" cy="264362"/>
      </dsp:txXfrm>
    </dsp:sp>
    <dsp:sp modelId="{ED8D07A4-7A00-4F4B-84FD-9086141581F3}">
      <dsp:nvSpPr>
        <dsp:cNvPr id="0" name=""/>
        <dsp:cNvSpPr/>
      </dsp:nvSpPr>
      <dsp:spPr>
        <a:xfrm>
          <a:off x="7735246" y="183647"/>
          <a:ext cx="660907" cy="264362"/>
        </a:xfrm>
        <a:prstGeom prst="chevron">
          <a:avLst/>
        </a:prstGeom>
        <a:solidFill>
          <a:schemeClr val="accent1">
            <a:lumMod val="20000"/>
            <a:lumOff val="8000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44006" tIns="14669" rIns="14669" bIns="14669" numCol="1" spcCol="1270" anchor="ctr" anchorCtr="0">
          <a:noAutofit/>
        </a:bodyPr>
        <a:lstStyle/>
        <a:p>
          <a:pPr marL="0" lvl="0" indent="0" algn="ctr" defTabSz="488950">
            <a:lnSpc>
              <a:spcPct val="90000"/>
            </a:lnSpc>
            <a:spcBef>
              <a:spcPct val="0"/>
            </a:spcBef>
            <a:spcAft>
              <a:spcPct val="35000"/>
            </a:spcAft>
            <a:buNone/>
          </a:pPr>
          <a:r>
            <a:rPr lang="en-US" sz="1100" b="1" kern="1200" dirty="0">
              <a:solidFill>
                <a:schemeClr val="tx2"/>
              </a:solidFill>
              <a:latin typeface="+mn-lt"/>
              <a:cs typeface="Times" panose="02020603050405020304" pitchFamily="18" charset="0"/>
            </a:rPr>
            <a:t>2022</a:t>
          </a:r>
        </a:p>
      </dsp:txBody>
      <dsp:txXfrm>
        <a:off x="7867427" y="183647"/>
        <a:ext cx="396545" cy="264362"/>
      </dsp:txXfrm>
    </dsp:sp>
    <dsp:sp modelId="{94247066-F4C1-47C0-B855-486614CDB6C4}">
      <dsp:nvSpPr>
        <dsp:cNvPr id="0" name=""/>
        <dsp:cNvSpPr/>
      </dsp:nvSpPr>
      <dsp:spPr>
        <a:xfrm>
          <a:off x="8330063" y="183647"/>
          <a:ext cx="660907" cy="264362"/>
        </a:xfrm>
        <a:prstGeom prst="chevron">
          <a:avLst/>
        </a:prstGeom>
        <a:solidFill>
          <a:schemeClr val="accent1">
            <a:lumMod val="20000"/>
            <a:lumOff val="8000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44006" tIns="14669" rIns="14669" bIns="14669" numCol="1" spcCol="1270" anchor="ctr" anchorCtr="0">
          <a:noAutofit/>
        </a:bodyPr>
        <a:lstStyle/>
        <a:p>
          <a:pPr marL="0" lvl="0" indent="0" algn="ctr" defTabSz="488950">
            <a:lnSpc>
              <a:spcPct val="90000"/>
            </a:lnSpc>
            <a:spcBef>
              <a:spcPct val="0"/>
            </a:spcBef>
            <a:spcAft>
              <a:spcPct val="35000"/>
            </a:spcAft>
            <a:buNone/>
          </a:pPr>
          <a:r>
            <a:rPr lang="en-US" sz="1100" b="1" kern="1200" dirty="0">
              <a:solidFill>
                <a:schemeClr val="tx2"/>
              </a:solidFill>
              <a:latin typeface="+mn-lt"/>
              <a:cs typeface="Times" panose="02020603050405020304" pitchFamily="18" charset="0"/>
            </a:rPr>
            <a:t>2023</a:t>
          </a:r>
        </a:p>
      </dsp:txBody>
      <dsp:txXfrm>
        <a:off x="8462244" y="183647"/>
        <a:ext cx="396545" cy="264362"/>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0354" name="Rectangle 2"/>
          <p:cNvSpPr>
            <a:spLocks noGrp="1" noChangeArrowheads="1"/>
          </p:cNvSpPr>
          <p:nvPr>
            <p:ph type="hdr" sz="quarter"/>
          </p:nvPr>
        </p:nvSpPr>
        <p:spPr bwMode="auto">
          <a:xfrm>
            <a:off x="0" y="0"/>
            <a:ext cx="3352800" cy="5334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eaLnBrk="0" hangingPunct="0">
              <a:lnSpc>
                <a:spcPct val="93000"/>
              </a:lnSpc>
              <a:buClr>
                <a:srgbClr val="000000"/>
              </a:buClr>
              <a:buSzPct val="45000"/>
              <a:buFont typeface="Wingdings" pitchFamily="-72" charset="2"/>
              <a:buNone/>
              <a:defRPr sz="1200">
                <a:latin typeface="Arial" pitchFamily="-72" charset="0"/>
              </a:defRPr>
            </a:lvl1pPr>
          </a:lstStyle>
          <a:p>
            <a:pPr>
              <a:defRPr/>
            </a:pPr>
            <a:endParaRPr lang="en-US"/>
          </a:p>
        </p:txBody>
      </p:sp>
      <p:sp>
        <p:nvSpPr>
          <p:cNvPr id="100355" name="Rectangle 3"/>
          <p:cNvSpPr>
            <a:spLocks noGrp="1" noChangeArrowheads="1"/>
          </p:cNvSpPr>
          <p:nvPr>
            <p:ph type="dt" sz="quarter" idx="1"/>
          </p:nvPr>
        </p:nvSpPr>
        <p:spPr bwMode="auto">
          <a:xfrm>
            <a:off x="4191000" y="0"/>
            <a:ext cx="3352800" cy="5334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r" eaLnBrk="0" hangingPunct="0">
              <a:lnSpc>
                <a:spcPct val="93000"/>
              </a:lnSpc>
              <a:buClr>
                <a:srgbClr val="000000"/>
              </a:buClr>
              <a:buSzPct val="45000"/>
              <a:buFont typeface="Wingdings" pitchFamily="96" charset="2"/>
              <a:buNone/>
              <a:defRPr sz="1200">
                <a:latin typeface="Arial" charset="0"/>
                <a:ea typeface="MS PGothic" pitchFamily="34" charset="-128"/>
                <a:cs typeface="+mn-cs"/>
              </a:defRPr>
            </a:lvl1pPr>
          </a:lstStyle>
          <a:p>
            <a:pPr>
              <a:defRPr/>
            </a:pPr>
            <a:fld id="{E2B7CC06-35E6-42FC-8B5E-42EE52A72567}" type="datetime1">
              <a:rPr lang="en-US"/>
              <a:pPr>
                <a:defRPr/>
              </a:pPr>
              <a:t>1/31/23</a:t>
            </a:fld>
            <a:endParaRPr lang="en-US"/>
          </a:p>
        </p:txBody>
      </p:sp>
      <p:sp>
        <p:nvSpPr>
          <p:cNvPr id="100356" name="Rectangle 4"/>
          <p:cNvSpPr>
            <a:spLocks noGrp="1" noChangeArrowheads="1"/>
          </p:cNvSpPr>
          <p:nvPr>
            <p:ph type="ftr" sz="quarter" idx="2"/>
          </p:nvPr>
        </p:nvSpPr>
        <p:spPr bwMode="auto">
          <a:xfrm>
            <a:off x="304800" y="9220200"/>
            <a:ext cx="3352800" cy="53340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eaLnBrk="0" hangingPunct="0">
              <a:lnSpc>
                <a:spcPct val="93000"/>
              </a:lnSpc>
              <a:buClr>
                <a:srgbClr val="000000"/>
              </a:buClr>
              <a:buSzPct val="45000"/>
              <a:buFont typeface="Wingdings" pitchFamily="-72" charset="2"/>
              <a:buNone/>
              <a:defRPr sz="1200">
                <a:latin typeface="Arial" pitchFamily="-72" charset="0"/>
              </a:defRPr>
            </a:lvl1pPr>
          </a:lstStyle>
          <a:p>
            <a:pPr>
              <a:defRPr/>
            </a:pPr>
            <a:endParaRPr lang="en-US"/>
          </a:p>
        </p:txBody>
      </p:sp>
      <p:sp>
        <p:nvSpPr>
          <p:cNvPr id="100357" name="Rectangle 5"/>
          <p:cNvSpPr>
            <a:spLocks noGrp="1" noChangeArrowheads="1"/>
          </p:cNvSpPr>
          <p:nvPr>
            <p:ph type="sldNum" sz="quarter" idx="3"/>
          </p:nvPr>
        </p:nvSpPr>
        <p:spPr bwMode="auto">
          <a:xfrm>
            <a:off x="3886200" y="9220200"/>
            <a:ext cx="3200400" cy="53340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r" eaLnBrk="0" hangingPunct="0">
              <a:lnSpc>
                <a:spcPct val="93000"/>
              </a:lnSpc>
              <a:buClr>
                <a:srgbClr val="000000"/>
              </a:buClr>
              <a:buSzPct val="45000"/>
              <a:buFont typeface="Wingdings" pitchFamily="96" charset="2"/>
              <a:buNone/>
              <a:defRPr sz="1200">
                <a:latin typeface="Arial" charset="0"/>
                <a:ea typeface="MS PGothic" pitchFamily="34" charset="-128"/>
                <a:cs typeface="+mn-cs"/>
              </a:defRPr>
            </a:lvl1pPr>
          </a:lstStyle>
          <a:p>
            <a:pPr>
              <a:defRPr/>
            </a:pPr>
            <a:fld id="{E82FF3A5-13B6-4316-814F-1F1469E14ECE}" type="slidenum">
              <a:rPr lang="en-US"/>
              <a:pPr>
                <a:defRPr/>
              </a:pPr>
              <a:t>‹#›</a:t>
            </a:fld>
            <a:endParaRPr lang="en-US"/>
          </a:p>
        </p:txBody>
      </p:sp>
    </p:spTree>
    <p:extLst>
      <p:ext uri="{BB962C8B-B14F-4D97-AF65-F5344CB8AC3E}">
        <p14:creationId xmlns:p14="http://schemas.microsoft.com/office/powerpoint/2010/main" val="290633389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1682" name="Rectangle 1"/>
          <p:cNvSpPr>
            <a:spLocks noGrp="1" noRot="1" noChangeAspect="1" noChangeArrowheads="1"/>
          </p:cNvSpPr>
          <p:nvPr>
            <p:ph type="sldImg"/>
          </p:nvPr>
        </p:nvSpPr>
        <p:spPr bwMode="auto">
          <a:xfrm>
            <a:off x="823913" y="1006475"/>
            <a:ext cx="6121400" cy="3444875"/>
          </a:xfrm>
          <a:prstGeom prst="rect">
            <a:avLst/>
          </a:prstGeom>
          <a:noFill/>
          <a:ln w="9525">
            <a:noFill/>
            <a:miter lim="800000"/>
            <a:headEnd/>
            <a:tailEnd/>
          </a:ln>
        </p:spPr>
      </p:sp>
      <p:sp>
        <p:nvSpPr>
          <p:cNvPr id="2050" name="Rectangle 2"/>
          <p:cNvSpPr>
            <a:spLocks noGrp="1" noChangeArrowheads="1"/>
          </p:cNvSpPr>
          <p:nvPr>
            <p:ph type="body"/>
          </p:nvPr>
        </p:nvSpPr>
        <p:spPr bwMode="auto">
          <a:xfrm>
            <a:off x="1185863" y="4787900"/>
            <a:ext cx="5405437" cy="3824288"/>
          </a:xfrm>
          <a:prstGeom prst="rect">
            <a:avLst/>
          </a:prstGeom>
          <a:noFill/>
          <a:ln w="9525">
            <a:noFill/>
            <a:round/>
            <a:headEnd/>
            <a:tailEnd/>
          </a:ln>
          <a:effectLst/>
        </p:spPr>
        <p:txBody>
          <a:bodyPr vert="horz" wrap="square" lIns="0" tIns="0" rIns="0" bIns="0" numCol="1" anchor="t" anchorCtr="0" compatLnSpc="1">
            <a:prstTxWarp prst="textNoShape">
              <a:avLst/>
            </a:prstTxWarp>
          </a:bodyPr>
          <a:lstStyle/>
          <a:p>
            <a:pPr lvl="0"/>
            <a:endParaRPr lang="en-US" noProof="0"/>
          </a:p>
        </p:txBody>
      </p:sp>
    </p:spTree>
    <p:extLst>
      <p:ext uri="{BB962C8B-B14F-4D97-AF65-F5344CB8AC3E}">
        <p14:creationId xmlns:p14="http://schemas.microsoft.com/office/powerpoint/2010/main" val="4088421580"/>
      </p:ext>
    </p:extLst>
  </p:cSld>
  <p:clrMap bg1="lt1" tx1="dk1" bg2="lt2" tx2="dk2" accent1="accent1" accent2="accent2" accent3="accent3" accent4="accent4" accent5="accent5" accent6="accent6" hlink="hlink" folHlink="folHlink"/>
  <p:notesStyle>
    <a:lvl1pPr algn="l" defTabSz="455613" rtl="0" eaLnBrk="0" fontAlgn="base" hangingPunct="0">
      <a:spcBef>
        <a:spcPct val="30000"/>
      </a:spcBef>
      <a:spcAft>
        <a:spcPct val="0"/>
      </a:spcAft>
      <a:buClr>
        <a:srgbClr val="000000"/>
      </a:buClr>
      <a:buSzPct val="100000"/>
      <a:buFont typeface="Times New Roman" pitchFamily="-72" charset="0"/>
      <a:defRPr sz="1200" kern="1200">
        <a:solidFill>
          <a:srgbClr val="000000"/>
        </a:solidFill>
        <a:latin typeface="Times New Roman" pitchFamily="18" charset="0"/>
        <a:ea typeface="MS PGothic" pitchFamily="34" charset="-128"/>
        <a:cs typeface="MS PGothic" charset="0"/>
      </a:defRPr>
    </a:lvl1pPr>
    <a:lvl2pPr marL="37931725" indent="-37474525" algn="l" defTabSz="455613" rtl="0" eaLnBrk="0" fontAlgn="base" hangingPunct="0">
      <a:spcBef>
        <a:spcPct val="30000"/>
      </a:spcBef>
      <a:spcAft>
        <a:spcPct val="0"/>
      </a:spcAft>
      <a:buClr>
        <a:srgbClr val="000000"/>
      </a:buClr>
      <a:buSzPct val="100000"/>
      <a:buFont typeface="Times New Roman" pitchFamily="-72" charset="0"/>
      <a:defRPr sz="1200" kern="1200">
        <a:solidFill>
          <a:srgbClr val="000000"/>
        </a:solidFill>
        <a:latin typeface="Times New Roman" pitchFamily="18" charset="0"/>
        <a:ea typeface="MS PGothic" pitchFamily="34" charset="-128"/>
        <a:cs typeface="+mn-cs"/>
      </a:defRPr>
    </a:lvl2pPr>
    <a:lvl3pPr marL="11430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ＭＳ Ｐゴシック" pitchFamily="-72" charset="-128"/>
      </a:defRPr>
    </a:lvl3pPr>
    <a:lvl4pPr marL="16002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mn-cs"/>
      </a:defRPr>
    </a:lvl4pPr>
    <a:lvl5pPr marL="20574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mn-cs"/>
      </a:defRPr>
    </a:lvl5pPr>
    <a:lvl6pPr marL="2285289" algn="l" defTabSz="914115" rtl="0" eaLnBrk="1" latinLnBrk="0" hangingPunct="1">
      <a:defRPr sz="1200" kern="1200">
        <a:solidFill>
          <a:schemeClr val="tx1"/>
        </a:solidFill>
        <a:latin typeface="+mn-lt"/>
        <a:ea typeface="+mn-ea"/>
        <a:cs typeface="+mn-cs"/>
      </a:defRPr>
    </a:lvl6pPr>
    <a:lvl7pPr marL="2742347" algn="l" defTabSz="914115" rtl="0" eaLnBrk="1" latinLnBrk="0" hangingPunct="1">
      <a:defRPr sz="1200" kern="1200">
        <a:solidFill>
          <a:schemeClr val="tx1"/>
        </a:solidFill>
        <a:latin typeface="+mn-lt"/>
        <a:ea typeface="+mn-ea"/>
        <a:cs typeface="+mn-cs"/>
      </a:defRPr>
    </a:lvl7pPr>
    <a:lvl8pPr marL="3199405" algn="l" defTabSz="914115" rtl="0" eaLnBrk="1" latinLnBrk="0" hangingPunct="1">
      <a:defRPr sz="1200" kern="1200">
        <a:solidFill>
          <a:schemeClr val="tx1"/>
        </a:solidFill>
        <a:latin typeface="+mn-lt"/>
        <a:ea typeface="+mn-ea"/>
        <a:cs typeface="+mn-cs"/>
      </a:defRPr>
    </a:lvl8pPr>
    <a:lvl9pPr marL="3656462" algn="l" defTabSz="914115"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3" name="Rectangle 7"/>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p:cNvSpPr>
            <a:spLocks noGrp="1" noRot="1" noChangeAspect="1" noChangeArrowheads="1" noTextEdit="1"/>
          </p:cNvSpPr>
          <p:nvPr>
            <p:ph type="sldImg"/>
          </p:nvPr>
        </p:nvSpPr>
        <p:spPr>
          <a:xfrm>
            <a:off x="823913" y="1006475"/>
            <a:ext cx="6121400" cy="3444875"/>
          </a:xfrm>
        </p:spPr>
      </p:sp>
      <p:sp>
        <p:nvSpPr>
          <p:cNvPr id="74755" name="Rectangle 3"/>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40346049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spcAft>
                <a:spcPts val="1200"/>
              </a:spcAft>
              <a:buFont typeface="Arial" panose="020B0604020202020204" pitchFamily="34" charset="0"/>
              <a:buChar char="•"/>
            </a:pPr>
            <a:endParaRPr lang="en-US"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4D9E9D-93A9-4E6A-8E42-DC0055A8528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32516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spcAft>
                <a:spcPts val="1200"/>
              </a:spcAft>
              <a:buFont typeface="Arial" panose="020B0604020202020204" pitchFamily="34" charset="0"/>
              <a:buChar char="•"/>
            </a:pPr>
            <a:endParaRPr lang="en-US"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4D9E9D-93A9-4E6A-8E42-DC0055A8528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5445549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spcAft>
                <a:spcPts val="1200"/>
              </a:spcAft>
              <a:buFont typeface="Arial" panose="020B0604020202020204" pitchFamily="34" charset="0"/>
              <a:buChar char="•"/>
            </a:pPr>
            <a:endParaRPr lang="en-US" sz="11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4D9E9D-93A9-4E6A-8E42-DC0055A8528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9624881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spcAft>
                <a:spcPts val="600"/>
              </a:spcAft>
              <a:buFont typeface="Arial" panose="020B0604020202020204" pitchFamily="34" charset="0"/>
              <a:buChar char="•"/>
            </a:pPr>
            <a:endParaRPr lang="en-US" sz="11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4D9E9D-93A9-4E6A-8E42-DC0055A8528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5499349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sz="11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4D9E9D-93A9-4E6A-8E42-DC0055A8528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3775340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4D9E9D-93A9-4E6A-8E42-DC0055A8528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557304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4097" name="Text Box 1"/>
          <p:cNvSpPr txBox="1">
            <a:spLocks noChangeArrowheads="1"/>
          </p:cNvSpPr>
          <p:nvPr/>
        </p:nvSpPr>
        <p:spPr bwMode="auto">
          <a:xfrm>
            <a:off x="1494118" y="960726"/>
            <a:ext cx="4325471" cy="3291320"/>
          </a:xfrm>
          <a:prstGeom prst="rect">
            <a:avLst/>
          </a:prstGeom>
          <a:solidFill>
            <a:srgbClr val="FFFFFF"/>
          </a:solidFill>
          <a:ln w="9525">
            <a:solidFill>
              <a:srgbClr val="000000"/>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lIns="86749" tIns="43375" rIns="86749" bIns="43375"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4098" name="Text Box 2"/>
          <p:cNvSpPr txBox="1">
            <a:spLocks noGrp="1" noChangeArrowheads="1"/>
          </p:cNvSpPr>
          <p:nvPr>
            <p:ph type="body"/>
          </p:nvPr>
        </p:nvSpPr>
        <p:spPr bwMode="auto">
          <a:xfrm>
            <a:off x="1116107" y="4570268"/>
            <a:ext cx="5088965" cy="3651972"/>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0" tIns="0" rIns="0" bIns="0"/>
          <a:lstStyle>
            <a:lvl1pPr marL="85725" indent="-85725">
              <a:tabLst>
                <a:tab pos="723900" algn="l"/>
                <a:tab pos="1447800" algn="l"/>
                <a:tab pos="2171700" algn="l"/>
                <a:tab pos="2895600" algn="l"/>
                <a:tab pos="3619500" algn="l"/>
                <a:tab pos="4343400" algn="l"/>
                <a:tab pos="5067300" algn="l"/>
              </a:tabLst>
              <a:defRPr sz="1200">
                <a:solidFill>
                  <a:srgbClr val="000000"/>
                </a:solidFill>
                <a:latin typeface="Times New Roman" charset="0"/>
                <a:ea typeface="ＭＳ Ｐゴシック" charset="0"/>
              </a:defRPr>
            </a:lvl1pPr>
            <a:lvl2pPr>
              <a:tabLst>
                <a:tab pos="723900" algn="l"/>
                <a:tab pos="1447800" algn="l"/>
                <a:tab pos="2171700" algn="l"/>
                <a:tab pos="2895600" algn="l"/>
                <a:tab pos="3619500" algn="l"/>
                <a:tab pos="4343400" algn="l"/>
                <a:tab pos="5067300" algn="l"/>
              </a:tabLst>
              <a:defRPr sz="1200">
                <a:solidFill>
                  <a:srgbClr val="000000"/>
                </a:solidFill>
                <a:latin typeface="Times New Roman" charset="0"/>
                <a:ea typeface="ＭＳ Ｐゴシック" charset="0"/>
              </a:defRPr>
            </a:lvl2pPr>
            <a:lvl3pPr>
              <a:tabLst>
                <a:tab pos="723900" algn="l"/>
                <a:tab pos="1447800" algn="l"/>
                <a:tab pos="2171700" algn="l"/>
                <a:tab pos="2895600" algn="l"/>
                <a:tab pos="3619500" algn="l"/>
                <a:tab pos="4343400" algn="l"/>
                <a:tab pos="5067300" algn="l"/>
              </a:tabLst>
              <a:defRPr sz="1200">
                <a:solidFill>
                  <a:srgbClr val="000000"/>
                </a:solidFill>
                <a:latin typeface="Times New Roman" charset="0"/>
                <a:ea typeface="ＭＳ Ｐゴシック" charset="0"/>
              </a:defRPr>
            </a:lvl3pPr>
            <a:lvl4pPr>
              <a:tabLst>
                <a:tab pos="723900" algn="l"/>
                <a:tab pos="1447800" algn="l"/>
                <a:tab pos="2171700" algn="l"/>
                <a:tab pos="2895600" algn="l"/>
                <a:tab pos="3619500" algn="l"/>
                <a:tab pos="4343400" algn="l"/>
                <a:tab pos="5067300" algn="l"/>
              </a:tabLst>
              <a:defRPr sz="1200">
                <a:solidFill>
                  <a:srgbClr val="000000"/>
                </a:solidFill>
                <a:latin typeface="Times New Roman" charset="0"/>
                <a:ea typeface="ＭＳ Ｐゴシック" charset="0"/>
              </a:defRPr>
            </a:lvl4pPr>
            <a:lvl5pPr>
              <a:tabLst>
                <a:tab pos="723900" algn="l"/>
                <a:tab pos="1447800" algn="l"/>
                <a:tab pos="2171700" algn="l"/>
                <a:tab pos="2895600" algn="l"/>
                <a:tab pos="3619500" algn="l"/>
                <a:tab pos="4343400" algn="l"/>
                <a:tab pos="5067300" algn="l"/>
              </a:tabLst>
              <a:defRPr sz="1200">
                <a:solidFill>
                  <a:srgbClr val="000000"/>
                </a:solidFill>
                <a:latin typeface="Times New Roman" charset="0"/>
                <a:ea typeface="ＭＳ Ｐゴシック" charset="0"/>
              </a:defRPr>
            </a:lvl5pPr>
            <a:lvl6pPr marL="2514600" indent="-228600" eaLnBrk="0" fontAlgn="base" hangingPunct="0">
              <a:spcBef>
                <a:spcPct val="30000"/>
              </a:spcBef>
              <a:spcAft>
                <a:spcPct val="0"/>
              </a:spcAft>
              <a:buClr>
                <a:srgbClr val="000000"/>
              </a:buClr>
              <a:buSzPct val="100000"/>
              <a:buFont typeface="Times New Roman" charset="0"/>
              <a:tabLst>
                <a:tab pos="723900" algn="l"/>
                <a:tab pos="1447800" algn="l"/>
                <a:tab pos="2171700" algn="l"/>
                <a:tab pos="2895600" algn="l"/>
                <a:tab pos="3619500" algn="l"/>
                <a:tab pos="4343400" algn="l"/>
                <a:tab pos="5067300" algn="l"/>
              </a:tabLst>
              <a:defRPr sz="1200">
                <a:solidFill>
                  <a:srgbClr val="000000"/>
                </a:solidFill>
                <a:latin typeface="Times New Roman" charset="0"/>
                <a:ea typeface="ＭＳ Ｐゴシック" charset="0"/>
              </a:defRPr>
            </a:lvl6pPr>
            <a:lvl7pPr marL="2971800" indent="-228600" eaLnBrk="0" fontAlgn="base" hangingPunct="0">
              <a:spcBef>
                <a:spcPct val="30000"/>
              </a:spcBef>
              <a:spcAft>
                <a:spcPct val="0"/>
              </a:spcAft>
              <a:buClr>
                <a:srgbClr val="000000"/>
              </a:buClr>
              <a:buSzPct val="100000"/>
              <a:buFont typeface="Times New Roman" charset="0"/>
              <a:tabLst>
                <a:tab pos="723900" algn="l"/>
                <a:tab pos="1447800" algn="l"/>
                <a:tab pos="2171700" algn="l"/>
                <a:tab pos="2895600" algn="l"/>
                <a:tab pos="3619500" algn="l"/>
                <a:tab pos="4343400" algn="l"/>
                <a:tab pos="5067300" algn="l"/>
              </a:tabLst>
              <a:defRPr sz="1200">
                <a:solidFill>
                  <a:srgbClr val="000000"/>
                </a:solidFill>
                <a:latin typeface="Times New Roman" charset="0"/>
                <a:ea typeface="ＭＳ Ｐゴシック" charset="0"/>
              </a:defRPr>
            </a:lvl7pPr>
            <a:lvl8pPr marL="3429000" indent="-228600" eaLnBrk="0" fontAlgn="base" hangingPunct="0">
              <a:spcBef>
                <a:spcPct val="30000"/>
              </a:spcBef>
              <a:spcAft>
                <a:spcPct val="0"/>
              </a:spcAft>
              <a:buClr>
                <a:srgbClr val="000000"/>
              </a:buClr>
              <a:buSzPct val="100000"/>
              <a:buFont typeface="Times New Roman" charset="0"/>
              <a:tabLst>
                <a:tab pos="723900" algn="l"/>
                <a:tab pos="1447800" algn="l"/>
                <a:tab pos="2171700" algn="l"/>
                <a:tab pos="2895600" algn="l"/>
                <a:tab pos="3619500" algn="l"/>
                <a:tab pos="4343400" algn="l"/>
                <a:tab pos="5067300" algn="l"/>
              </a:tabLst>
              <a:defRPr sz="1200">
                <a:solidFill>
                  <a:srgbClr val="000000"/>
                </a:solidFill>
                <a:latin typeface="Times New Roman" charset="0"/>
                <a:ea typeface="ＭＳ Ｐゴシック" charset="0"/>
              </a:defRPr>
            </a:lvl8pPr>
            <a:lvl9pPr marL="3886200" indent="-228600" eaLnBrk="0" fontAlgn="base" hangingPunct="0">
              <a:spcBef>
                <a:spcPct val="30000"/>
              </a:spcBef>
              <a:spcAft>
                <a:spcPct val="0"/>
              </a:spcAft>
              <a:buClr>
                <a:srgbClr val="000000"/>
              </a:buClr>
              <a:buSzPct val="100000"/>
              <a:buFont typeface="Times New Roman" charset="0"/>
              <a:tabLst>
                <a:tab pos="723900" algn="l"/>
                <a:tab pos="1447800" algn="l"/>
                <a:tab pos="2171700" algn="l"/>
                <a:tab pos="2895600" algn="l"/>
                <a:tab pos="3619500" algn="l"/>
                <a:tab pos="4343400" algn="l"/>
                <a:tab pos="5067300" algn="l"/>
              </a:tabLst>
              <a:defRPr sz="1200">
                <a:solidFill>
                  <a:srgbClr val="000000"/>
                </a:solidFill>
                <a:latin typeface="Times New Roman" charset="0"/>
                <a:ea typeface="ＭＳ Ｐゴシック" charset="0"/>
              </a:defRPr>
            </a:lvl9pPr>
          </a:lstStyle>
          <a:p>
            <a:pPr eaLnBrk="1">
              <a:lnSpc>
                <a:spcPct val="93000"/>
              </a:lnSpc>
              <a:spcBef>
                <a:spcPct val="0"/>
              </a:spcBef>
              <a:buSzPct val="45000"/>
              <a:buFont typeface="Wingdings" charset="0"/>
              <a:buNone/>
            </a:pPr>
            <a:endParaRPr lang="en-GB" dirty="0">
              <a:latin typeface="Arial" charset="0"/>
              <a:cs typeface="msgothic" charset="0"/>
            </a:endParaRPr>
          </a:p>
        </p:txBody>
      </p:sp>
    </p:spTree>
    <p:extLst>
      <p:ext uri="{BB962C8B-B14F-4D97-AF65-F5344CB8AC3E}">
        <p14:creationId xmlns:p14="http://schemas.microsoft.com/office/powerpoint/2010/main" val="235954431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59025" y="300038"/>
            <a:ext cx="4646613" cy="2614612"/>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600" b="0" i="1" u="none" strike="noStrike" kern="1200" cap="none" spc="0" normalizeH="0" baseline="0" noProof="0">
                <a:ln>
                  <a:noFill/>
                </a:ln>
                <a:solidFill>
                  <a:prstClr val="black"/>
                </a:solidFill>
                <a:effectLst/>
                <a:uLnTx/>
                <a:uFillTx/>
                <a:latin typeface="Arial" pitchFamily="34" charset="0"/>
                <a:ea typeface="+mn-ea"/>
                <a:cs typeface="Arial" pitchFamily="34" charset="0"/>
              </a:rPr>
              <a:t>[ADD PRESENTATION TITLE: INSERT TAB &gt; HEADER &amp; FOOTER &gt; NOTES AND HANDOUTS]</a:t>
            </a:r>
            <a:endParaRPr kumimoji="0" lang="en-US" sz="600" b="0" i="1"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
        <p:nvSpPr>
          <p:cNvPr id="5" name="Date Placeholder 4"/>
          <p:cNvSpPr>
            <a:spLocks noGrp="1"/>
          </p:cNvSpPr>
          <p:nvPr>
            <p:ph type="dt"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8D0AEB0-DB13-4380-8088-FD0F8D1458AC}" type="datetime1">
              <a:rPr kumimoji="0" lang="en-US" sz="600" b="0" i="1" u="none" strike="noStrike" kern="1200" cap="none" spc="0" normalizeH="0" baseline="0" noProof="0" smtClean="0">
                <a:ln>
                  <a:noFill/>
                </a:ln>
                <a:solidFill>
                  <a:prstClr val="black"/>
                </a:solidFill>
                <a:effectLst/>
                <a:uLnTx/>
                <a:uFillTx/>
                <a:latin typeface="Arial" pitchFamily="34" charset="0"/>
                <a:ea typeface="+mn-ea"/>
                <a:cs typeface="Arial"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31/23</a:t>
            </a:fld>
            <a:endParaRPr kumimoji="0" lang="en-US" sz="600" b="0" i="1"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
        <p:nvSpPr>
          <p:cNvPr id="6" name="Slide Number Placeholder 5"/>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11E5896-917A-4035-A860-408E1EC3CD51}" type="slidenum">
              <a:rPr kumimoji="0" lang="en-US" sz="600" b="0" i="1" u="none" strike="noStrike" kern="1200" cap="none" spc="0" normalizeH="0" baseline="0" noProof="0" smtClean="0">
                <a:ln>
                  <a:noFill/>
                </a:ln>
                <a:solidFill>
                  <a:prstClr val="black"/>
                </a:solidFill>
                <a:effectLst/>
                <a:uLnTx/>
                <a:uFillTx/>
                <a:latin typeface="Arial" pitchFamily="34" charset="0"/>
                <a:ea typeface="+mn-ea"/>
                <a:cs typeface="Arial"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3</a:t>
            </a:fld>
            <a:endParaRPr kumimoji="0" lang="en-US" sz="600" b="0" i="1"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396158216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F5A114A-2F60-476A-9B15-CCF9ECBF221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6776712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5F2FA0CA-7F48-4149-977E-B407F1CEE2AA}" type="slidenum">
              <a:rPr kumimoji="0" lang="de-DE" sz="1867" b="0" i="0" u="none" strike="noStrike" kern="0" cap="none" spc="0" normalizeH="0" baseline="0" noProof="0" smtClean="0">
                <a:ln>
                  <a:noFill/>
                </a:ln>
                <a:solidFill>
                  <a:srgbClr val="000000"/>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77</a:t>
            </a:fld>
            <a:endParaRPr kumimoji="0" lang="de-DE" sz="1867"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20931935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3197265-8A42-F241-86F3-7C379BA7C6A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6682221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021" rtl="0" eaLnBrk="1" fontAlgn="auto" latinLnBrk="0" hangingPunct="1">
              <a:lnSpc>
                <a:spcPct val="100000"/>
              </a:lnSpc>
              <a:spcBef>
                <a:spcPts val="0"/>
              </a:spcBef>
              <a:spcAft>
                <a:spcPts val="0"/>
              </a:spcAft>
              <a:buClrTx/>
              <a:buSzTx/>
              <a:buFontTx/>
              <a:buNone/>
              <a:tabLst/>
              <a:defRPr/>
            </a:pPr>
            <a:fld id="{CFFFC117-59F3-4B55-8A65-34F68A1CC760}" type="slidenum">
              <a:rPr kumimoji="0" lang="en-US" sz="1200" b="0" i="0" u="none" strike="noStrike" kern="1200" cap="none" spc="0" normalizeH="0" baseline="0" noProof="0" smtClean="0">
                <a:ln>
                  <a:noFill/>
                </a:ln>
                <a:solidFill>
                  <a:prstClr val="black"/>
                </a:solidFill>
                <a:effectLst/>
                <a:uLnTx/>
                <a:uFillTx/>
                <a:latin typeface="Calibri"/>
                <a:ea typeface="+mn-ea"/>
                <a:cs typeface="Arial"/>
                <a:sym typeface="Arial"/>
              </a:rPr>
              <a:pPr marL="0" marR="0" lvl="0" indent="0" algn="r" defTabSz="914021"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a:ln>
                <a:noFill/>
              </a:ln>
              <a:solidFill>
                <a:prstClr val="black"/>
              </a:solidFill>
              <a:effectLst/>
              <a:uLnTx/>
              <a:uFillTx/>
              <a:latin typeface="Calibri"/>
              <a:ea typeface="+mn-ea"/>
              <a:cs typeface="Arial"/>
              <a:sym typeface="Arial"/>
            </a:endParaRPr>
          </a:p>
        </p:txBody>
      </p:sp>
    </p:spTree>
    <p:extLst>
      <p:ext uri="{BB962C8B-B14F-4D97-AF65-F5344CB8AC3E}">
        <p14:creationId xmlns:p14="http://schemas.microsoft.com/office/powerpoint/2010/main" val="101323025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FFC117-59F3-4B55-8A65-34F68A1CC76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a:sym typeface="Arial"/>
            </a:endParaRPr>
          </a:p>
        </p:txBody>
      </p:sp>
    </p:spTree>
    <p:extLst>
      <p:ext uri="{BB962C8B-B14F-4D97-AF65-F5344CB8AC3E}">
        <p14:creationId xmlns:p14="http://schemas.microsoft.com/office/powerpoint/2010/main" val="285621828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8DB7B314-BA61-4D8D-B87A-4FF9FDDE51CF}" type="slidenum">
              <a:rPr kumimoji="0" lang="de-DE" sz="1867" b="0" i="0" u="none" strike="noStrike" kern="0" cap="none" spc="0" normalizeH="0" baseline="0" noProof="0" smtClean="0">
                <a:ln>
                  <a:noFill/>
                </a:ln>
                <a:solidFill>
                  <a:srgbClr val="000000"/>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80</a:t>
            </a:fld>
            <a:endParaRPr kumimoji="0" lang="de-DE" sz="1867"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27041452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pPr marL="0" indent="0">
              <a:spcAft>
                <a:spcPts val="600"/>
              </a:spcAft>
              <a:buNone/>
            </a:pPr>
            <a:endParaRPr lang="en-US" b="1" dirty="0"/>
          </a:p>
        </p:txBody>
      </p:sp>
      <p:sp>
        <p:nvSpPr>
          <p:cNvPr id="4" name="Footer Placeholder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lang="en-IN" sz="1200" b="0" i="0" u="none" strike="noStrike" kern="0" cap="none" spc="0" normalizeH="0" baseline="0" noProof="0">
              <a:ln>
                <a:noFill/>
              </a:ln>
              <a:solidFill>
                <a:srgbClr val="000000"/>
              </a:solidFill>
              <a:effectLst/>
              <a:uLnTx/>
              <a:uFillTx/>
              <a:latin typeface="Calibri"/>
              <a:cs typeface="Calibri"/>
              <a:sym typeface="Calibri"/>
            </a:endParaRPr>
          </a:p>
        </p:txBody>
      </p:sp>
      <p:sp>
        <p:nvSpPr>
          <p:cNvPr id="5" name="Slide Number Placeholder 4"/>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32489610-0EC7-4572-8C5C-AE73212C7C8B}" type="slidenum">
              <a:rPr kumimoji="0" lang="en-IN" sz="1867" b="0" i="0" u="none" strike="noStrike" kern="0" cap="none" spc="0" normalizeH="0" baseline="0" noProof="0" smtClean="0">
                <a:ln>
                  <a:noFill/>
                </a:ln>
                <a:solidFill>
                  <a:srgbClr val="000000"/>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81</a:t>
            </a:fld>
            <a:endParaRPr kumimoji="0" lang="en-IN" sz="1867" b="0" i="0" u="none" strike="noStrike" kern="0" cap="none" spc="0" normalizeH="0" baseline="0" noProof="0">
              <a:ln>
                <a:noFill/>
              </a:ln>
              <a:solidFill>
                <a:srgbClr val="000000"/>
              </a:solidFill>
              <a:effectLst/>
              <a:uLnTx/>
              <a:uFillTx/>
              <a:latin typeface="Arial"/>
              <a:cs typeface="Arial"/>
              <a:sym typeface="Arial"/>
            </a:endParaRPr>
          </a:p>
        </p:txBody>
      </p:sp>
      <p:sp>
        <p:nvSpPr>
          <p:cNvPr id="6" name="TextBox 5">
            <a:extLst>
              <a:ext uri="{FF2B5EF4-FFF2-40B4-BE49-F238E27FC236}">
                <a16:creationId xmlns:a16="http://schemas.microsoft.com/office/drawing/2014/main" id="{CCF7D214-49F5-47F3-9C2E-0FC7D4B94147}"/>
              </a:ext>
            </a:extLst>
          </p:cNvPr>
          <p:cNvSpPr txBox="1"/>
          <p:nvPr/>
        </p:nvSpPr>
        <p:spPr>
          <a:xfrm>
            <a:off x="527050" y="873121"/>
            <a:ext cx="2643672" cy="215444"/>
          </a:xfrm>
          <a:prstGeom prst="rect">
            <a:avLst/>
          </a:prstGeom>
          <a:noFill/>
          <a:ln>
            <a:solidFill>
              <a:srgbClr val="FF0000"/>
            </a:solid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a:ln>
                  <a:noFill/>
                </a:ln>
                <a:solidFill>
                  <a:srgbClr val="FF0000"/>
                </a:solidFill>
                <a:effectLst/>
                <a:uLnTx/>
                <a:uFillTx/>
                <a:latin typeface="Arial"/>
                <a:cs typeface="Arial"/>
                <a:sym typeface="Arial"/>
              </a:rPr>
              <a:t>Oh et al ASCO 2020 poster abstract 4520/col3/Fig 2A</a:t>
            </a:r>
          </a:p>
        </p:txBody>
      </p:sp>
      <p:cxnSp>
        <p:nvCxnSpPr>
          <p:cNvPr id="8" name="Straight Arrow Connector 7">
            <a:extLst>
              <a:ext uri="{FF2B5EF4-FFF2-40B4-BE49-F238E27FC236}">
                <a16:creationId xmlns:a16="http://schemas.microsoft.com/office/drawing/2014/main" id="{1008287B-A4FD-4540-8E0F-BCE610FC8655}"/>
              </a:ext>
            </a:extLst>
          </p:cNvPr>
          <p:cNvCxnSpPr>
            <a:cxnSpLocks/>
          </p:cNvCxnSpPr>
          <p:nvPr/>
        </p:nvCxnSpPr>
        <p:spPr>
          <a:xfrm>
            <a:off x="793750" y="1088565"/>
            <a:ext cx="0" cy="962485"/>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C235A981-5A39-4B1B-830F-528851E9D168}"/>
              </a:ext>
            </a:extLst>
          </p:cNvPr>
          <p:cNvSpPr txBox="1"/>
          <p:nvPr/>
        </p:nvSpPr>
        <p:spPr>
          <a:xfrm>
            <a:off x="3594100" y="873121"/>
            <a:ext cx="2736845" cy="338554"/>
          </a:xfrm>
          <a:prstGeom prst="rect">
            <a:avLst/>
          </a:prstGeom>
          <a:noFill/>
          <a:ln>
            <a:solidFill>
              <a:srgbClr val="FF0000"/>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a:ln>
                  <a:noFill/>
                </a:ln>
                <a:solidFill>
                  <a:srgbClr val="FF0000"/>
                </a:solidFill>
                <a:effectLst/>
                <a:uLnTx/>
                <a:uFillTx/>
                <a:latin typeface="Arial"/>
                <a:cs typeface="Arial"/>
                <a:sym typeface="Arial"/>
              </a:rPr>
              <a:t>Oh et al ASCO 2020 poster abstract 4520/col2- bullets 2-3/col2 –table 2/col3- bullets 1-3</a:t>
            </a:r>
          </a:p>
        </p:txBody>
      </p:sp>
      <p:cxnSp>
        <p:nvCxnSpPr>
          <p:cNvPr id="14" name="Straight Arrow Connector 13">
            <a:extLst>
              <a:ext uri="{FF2B5EF4-FFF2-40B4-BE49-F238E27FC236}">
                <a16:creationId xmlns:a16="http://schemas.microsoft.com/office/drawing/2014/main" id="{10B5C333-FB89-435B-A1C6-4865439FE753}"/>
              </a:ext>
            </a:extLst>
          </p:cNvPr>
          <p:cNvCxnSpPr>
            <a:cxnSpLocks/>
          </p:cNvCxnSpPr>
          <p:nvPr/>
        </p:nvCxnSpPr>
        <p:spPr>
          <a:xfrm>
            <a:off x="4922348" y="1088565"/>
            <a:ext cx="0" cy="617307"/>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1109193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1200" b="0" i="0" u="none" strike="noStrike" kern="0" cap="none" spc="0" normalizeH="0" baseline="0" noProof="0" smtClean="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82</a:t>
            </a:fld>
            <a:endParaRPr kumimoji="0" lang="en-US"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194204558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8DB7B314-BA61-4D8D-B87A-4FF9FDDE51CF}" type="slidenum">
              <a:rPr kumimoji="0" lang="de-DE" sz="1867" b="0" i="0" u="none" strike="noStrike" kern="0" cap="none" spc="0" normalizeH="0" baseline="0" noProof="0" smtClean="0">
                <a:ln>
                  <a:noFill/>
                </a:ln>
                <a:solidFill>
                  <a:srgbClr val="000000"/>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85</a:t>
            </a:fld>
            <a:endParaRPr kumimoji="0" lang="de-DE" sz="1867"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420720675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8DB7B314-BA61-4D8D-B87A-4FF9FDDE51CF}" type="slidenum">
              <a:rPr kumimoji="0" lang="de-DE" sz="1867" b="0" i="0" u="none" strike="noStrike" kern="0" cap="none" spc="0" normalizeH="0" baseline="0" noProof="0" smtClean="0">
                <a:ln>
                  <a:noFill/>
                </a:ln>
                <a:solidFill>
                  <a:srgbClr val="000000"/>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88</a:t>
            </a:fld>
            <a:endParaRPr kumimoji="0" lang="de-DE" sz="1867"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77864435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3C33AB86-134A-784D-8D74-A8A6314C385C}" type="slidenum">
              <a:rPr kumimoji="0" lang="de-DE" sz="1867" b="0" i="0" u="none" strike="noStrike" kern="0" cap="none" spc="0" normalizeH="0" baseline="0" noProof="0" smtClean="0">
                <a:ln>
                  <a:noFill/>
                </a:ln>
                <a:solidFill>
                  <a:srgbClr val="000000"/>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92</a:t>
            </a:fld>
            <a:endParaRPr kumimoji="0" lang="de-DE" sz="1867"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417779083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8DB7B314-BA61-4D8D-B87A-4FF9FDDE51CF}" type="slidenum">
              <a:rPr kumimoji="0" lang="de-DE" sz="1867" b="0" i="0" u="none" strike="noStrike" kern="0" cap="none" spc="0" normalizeH="0" baseline="0" noProof="0" smtClean="0">
                <a:ln>
                  <a:noFill/>
                </a:ln>
                <a:solidFill>
                  <a:srgbClr val="000000"/>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93</a:t>
            </a:fld>
            <a:endParaRPr kumimoji="0" lang="de-DE" sz="1867"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164591206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1E5896-917A-4035-A860-408E1EC3CD51}" type="slidenum">
              <a:rPr kumimoji="0" lang="en-US" sz="1200" b="0" i="0" u="none" strike="noStrike" kern="1200" cap="none" spc="0" normalizeH="0" baseline="0" noProof="0" smtClean="0">
                <a:ln>
                  <a:noFill/>
                </a:ln>
                <a:solidFill>
                  <a:srgbClr val="052049"/>
                </a:solidFill>
                <a:effectLst/>
                <a:uLnTx/>
                <a:uFillTx/>
                <a:latin typeface="Arial" pitchFamily="34" charset="0"/>
                <a:ea typeface="+mn-ea"/>
                <a:cs typeface="Arial" pitchFamily="34" charset="0"/>
                <a:sym typeface="Arial"/>
              </a:rPr>
              <a:pPr marL="0" marR="0" lvl="0" indent="0" algn="r" defTabSz="914400" rtl="0" eaLnBrk="1" fontAlgn="auto" latinLnBrk="0" hangingPunct="1">
                <a:lnSpc>
                  <a:spcPct val="100000"/>
                </a:lnSpc>
                <a:spcBef>
                  <a:spcPts val="0"/>
                </a:spcBef>
                <a:spcAft>
                  <a:spcPts val="0"/>
                </a:spcAft>
                <a:buClrTx/>
                <a:buSzTx/>
                <a:buFontTx/>
                <a:buNone/>
                <a:tabLst/>
                <a:defRPr/>
              </a:pPr>
              <a:t>94</a:t>
            </a:fld>
            <a:endParaRPr kumimoji="0" lang="en-US" sz="1200" b="0" i="0" u="none" strike="noStrike" kern="1200" cap="none" spc="0" normalizeH="0" baseline="0" noProof="0" dirty="0">
              <a:ln>
                <a:noFill/>
              </a:ln>
              <a:solidFill>
                <a:srgbClr val="052049"/>
              </a:solidFill>
              <a:effectLst/>
              <a:uLnTx/>
              <a:uFillTx/>
              <a:latin typeface="Arial" pitchFamily="34" charset="0"/>
              <a:ea typeface="+mn-ea"/>
              <a:cs typeface="Arial" pitchFamily="34" charset="0"/>
              <a:sym typeface="Arial"/>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52049"/>
                </a:solidFill>
                <a:effectLst/>
                <a:uLnTx/>
                <a:uFillTx/>
                <a:latin typeface="Calibri Light" panose="020F0302020204030204"/>
                <a:ea typeface="+mn-ea"/>
                <a:cs typeface="Calibri"/>
                <a:sym typeface="Calibri"/>
              </a:rPr>
              <a:t>| [footer text here]</a:t>
            </a:r>
            <a:endParaRPr kumimoji="0" lang="en-US" sz="800" b="0" i="0" u="none" strike="noStrike" kern="1200" cap="none" spc="0" normalizeH="0" baseline="0" noProof="0" dirty="0">
              <a:ln>
                <a:noFill/>
              </a:ln>
              <a:solidFill>
                <a:srgbClr val="052049"/>
              </a:solidFill>
              <a:effectLst/>
              <a:uLnTx/>
              <a:uFillTx/>
              <a:latin typeface="Calibri Light" panose="020F0302020204030204"/>
              <a:ea typeface="+mn-ea"/>
              <a:cs typeface="Calibri"/>
              <a:sym typeface="Calibri"/>
            </a:endParaRPr>
          </a:p>
        </p:txBody>
      </p:sp>
    </p:spTree>
    <p:extLst>
      <p:ext uri="{BB962C8B-B14F-4D97-AF65-F5344CB8AC3E}">
        <p14:creationId xmlns:p14="http://schemas.microsoft.com/office/powerpoint/2010/main" val="2655586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5"/>
          <p:cNvSpPr txBox="1">
            <a:spLocks noGrp="1" noChangeArrowheads="1"/>
          </p:cNvSpPr>
          <p:nvPr/>
        </p:nvSpPr>
        <p:spPr bwMode="auto">
          <a:xfrm>
            <a:off x="3768079" y="9298931"/>
            <a:ext cx="2881821" cy="4544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8341" tIns="0" rIns="18341" bIns="0" anchor="b"/>
          <a:lstStyle>
            <a:lvl1pPr defTabSz="809625" eaLnBrk="0" hangingPunct="0">
              <a:defRPr sz="1200">
                <a:solidFill>
                  <a:srgbClr val="C0FEF9"/>
                </a:solidFill>
                <a:latin typeface="Arial" charset="0"/>
                <a:cs typeface="Arial" charset="0"/>
              </a:defRPr>
            </a:lvl1pPr>
            <a:lvl2pPr marL="742950" indent="-285750" defTabSz="809625" eaLnBrk="0" hangingPunct="0">
              <a:defRPr sz="1200">
                <a:solidFill>
                  <a:srgbClr val="C0FEF9"/>
                </a:solidFill>
                <a:latin typeface="Arial" charset="0"/>
                <a:cs typeface="Arial" charset="0"/>
              </a:defRPr>
            </a:lvl2pPr>
            <a:lvl3pPr marL="1143000" indent="-228600" defTabSz="809625" eaLnBrk="0" hangingPunct="0">
              <a:defRPr sz="1200">
                <a:solidFill>
                  <a:srgbClr val="C0FEF9"/>
                </a:solidFill>
                <a:latin typeface="Arial" charset="0"/>
                <a:cs typeface="Arial" charset="0"/>
              </a:defRPr>
            </a:lvl3pPr>
            <a:lvl4pPr marL="1600200" indent="-228600" defTabSz="809625" eaLnBrk="0" hangingPunct="0">
              <a:defRPr sz="1200">
                <a:solidFill>
                  <a:srgbClr val="C0FEF9"/>
                </a:solidFill>
                <a:latin typeface="Arial" charset="0"/>
                <a:cs typeface="Arial" charset="0"/>
              </a:defRPr>
            </a:lvl4pPr>
            <a:lvl5pPr marL="2057400" indent="-228600" defTabSz="809625" eaLnBrk="0" hangingPunct="0">
              <a:defRPr sz="1200">
                <a:solidFill>
                  <a:srgbClr val="C0FEF9"/>
                </a:solidFill>
                <a:latin typeface="Arial" charset="0"/>
                <a:cs typeface="Arial" charset="0"/>
              </a:defRPr>
            </a:lvl5pPr>
            <a:lvl6pPr marL="2514600" indent="-228600" defTabSz="809625" eaLnBrk="0" fontAlgn="base" hangingPunct="0">
              <a:spcBef>
                <a:spcPct val="0"/>
              </a:spcBef>
              <a:spcAft>
                <a:spcPct val="0"/>
              </a:spcAft>
              <a:defRPr sz="1200">
                <a:solidFill>
                  <a:srgbClr val="C0FEF9"/>
                </a:solidFill>
                <a:latin typeface="Arial" charset="0"/>
                <a:cs typeface="Arial" charset="0"/>
              </a:defRPr>
            </a:lvl6pPr>
            <a:lvl7pPr marL="2971800" indent="-228600" defTabSz="809625" eaLnBrk="0" fontAlgn="base" hangingPunct="0">
              <a:spcBef>
                <a:spcPct val="0"/>
              </a:spcBef>
              <a:spcAft>
                <a:spcPct val="0"/>
              </a:spcAft>
              <a:defRPr sz="1200">
                <a:solidFill>
                  <a:srgbClr val="C0FEF9"/>
                </a:solidFill>
                <a:latin typeface="Arial" charset="0"/>
                <a:cs typeface="Arial" charset="0"/>
              </a:defRPr>
            </a:lvl7pPr>
            <a:lvl8pPr marL="3429000" indent="-228600" defTabSz="809625" eaLnBrk="0" fontAlgn="base" hangingPunct="0">
              <a:spcBef>
                <a:spcPct val="0"/>
              </a:spcBef>
              <a:spcAft>
                <a:spcPct val="0"/>
              </a:spcAft>
              <a:defRPr sz="1200">
                <a:solidFill>
                  <a:srgbClr val="C0FEF9"/>
                </a:solidFill>
                <a:latin typeface="Arial" charset="0"/>
                <a:cs typeface="Arial" charset="0"/>
              </a:defRPr>
            </a:lvl8pPr>
            <a:lvl9pPr marL="3886200" indent="-228600" defTabSz="809625" eaLnBrk="0" fontAlgn="base" hangingPunct="0">
              <a:spcBef>
                <a:spcPct val="0"/>
              </a:spcBef>
              <a:spcAft>
                <a:spcPct val="0"/>
              </a:spcAft>
              <a:defRPr sz="1200">
                <a:solidFill>
                  <a:srgbClr val="C0FEF9"/>
                </a:solidFill>
                <a:latin typeface="Arial" charset="0"/>
                <a:cs typeface="Arial" charset="0"/>
              </a:defRPr>
            </a:lvl9pPr>
          </a:lstStyle>
          <a:p>
            <a:pPr marL="0" marR="0" lvl="0" indent="0" algn="r" defTabSz="794485" rtl="0" eaLnBrk="0" fontAlgn="base" latinLnBrk="0" hangingPunct="0">
              <a:lnSpc>
                <a:spcPct val="100000"/>
              </a:lnSpc>
              <a:spcBef>
                <a:spcPct val="0"/>
              </a:spcBef>
              <a:spcAft>
                <a:spcPct val="0"/>
              </a:spcAft>
              <a:buClrTx/>
              <a:buSzTx/>
              <a:buFontTx/>
              <a:buNone/>
              <a:tabLst/>
              <a:defRPr/>
            </a:pPr>
            <a:fld id="{BDF07BC7-5762-43F2-A352-FD47CD7DCB29}" type="slidenum">
              <a:rPr kumimoji="0" lang="es-ES" sz="1000" b="0" i="1" u="none" strike="noStrike" kern="1200" cap="none" spc="0" normalizeH="0" baseline="0" noProof="0">
                <a:ln>
                  <a:noFill/>
                </a:ln>
                <a:solidFill>
                  <a:srgbClr val="C0FEF9"/>
                </a:solidFill>
                <a:effectLst/>
                <a:uLnTx/>
                <a:uFillTx/>
                <a:latin typeface="Times New Roman" pitchFamily="18" charset="0"/>
                <a:ea typeface="+mn-ea"/>
                <a:cs typeface="Arial" charset="0"/>
              </a:rPr>
              <a:pPr marL="0" marR="0" lvl="0" indent="0" algn="r" defTabSz="794485" rtl="0" eaLnBrk="0" fontAlgn="base" latinLnBrk="0" hangingPunct="0">
                <a:lnSpc>
                  <a:spcPct val="100000"/>
                </a:lnSpc>
                <a:spcBef>
                  <a:spcPct val="0"/>
                </a:spcBef>
                <a:spcAft>
                  <a:spcPct val="0"/>
                </a:spcAft>
                <a:buClrTx/>
                <a:buSzTx/>
                <a:buFontTx/>
                <a:buNone/>
                <a:tabLst/>
                <a:defRPr/>
              </a:pPr>
              <a:t>18</a:t>
            </a:fld>
            <a:endParaRPr kumimoji="0" lang="es-ES" sz="1000" b="0" i="1" u="none" strike="noStrike" kern="1200" cap="none" spc="0" normalizeH="0" baseline="0" noProof="0">
              <a:ln>
                <a:noFill/>
              </a:ln>
              <a:solidFill>
                <a:srgbClr val="C0FEF9"/>
              </a:solidFill>
              <a:effectLst/>
              <a:uLnTx/>
              <a:uFillTx/>
              <a:latin typeface="Times New Roman" pitchFamily="18" charset="0"/>
              <a:ea typeface="+mn-ea"/>
              <a:cs typeface="Arial" charset="0"/>
            </a:endParaRPr>
          </a:p>
        </p:txBody>
      </p:sp>
      <p:sp>
        <p:nvSpPr>
          <p:cNvPr id="4099" name="Rectangle 2"/>
          <p:cNvSpPr>
            <a:spLocks noChangeArrowheads="1"/>
          </p:cNvSpPr>
          <p:nvPr/>
        </p:nvSpPr>
        <p:spPr bwMode="auto">
          <a:xfrm>
            <a:off x="3766592" y="10604"/>
            <a:ext cx="2884796" cy="4559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040" tIns="44020" rIns="88040" bIns="44020" anchor="ctr"/>
          <a:lstStyle/>
          <a:p>
            <a:pPr marL="0" marR="0" lvl="0" indent="0" algn="l" defTabSz="897301"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C0FEF9"/>
              </a:solidFill>
              <a:effectLst/>
              <a:uLnTx/>
              <a:uFillTx/>
              <a:latin typeface="Arial" charset="0"/>
              <a:ea typeface="+mn-ea"/>
              <a:cs typeface="Arial" charset="0"/>
            </a:endParaRPr>
          </a:p>
        </p:txBody>
      </p:sp>
      <p:sp>
        <p:nvSpPr>
          <p:cNvPr id="4100" name="Rectangle 3"/>
          <p:cNvSpPr>
            <a:spLocks noChangeArrowheads="1"/>
          </p:cNvSpPr>
          <p:nvPr/>
        </p:nvSpPr>
        <p:spPr bwMode="auto">
          <a:xfrm>
            <a:off x="3766592" y="9297415"/>
            <a:ext cx="2884796" cy="4544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8340" tIns="0" rIns="18340" bIns="0" anchor="b"/>
          <a:lstStyle/>
          <a:p>
            <a:pPr marL="0" marR="0" lvl="0" indent="0" algn="r" defTabSz="733389" rtl="0" eaLnBrk="1" fontAlgn="base" latinLnBrk="0" hangingPunct="1">
              <a:lnSpc>
                <a:spcPct val="100000"/>
              </a:lnSpc>
              <a:spcBef>
                <a:spcPct val="0"/>
              </a:spcBef>
              <a:spcAft>
                <a:spcPct val="0"/>
              </a:spcAft>
              <a:buClrTx/>
              <a:buSzTx/>
              <a:buFontTx/>
              <a:buNone/>
              <a:tabLst/>
              <a:defRPr/>
            </a:pPr>
            <a:r>
              <a:rPr kumimoji="0" lang="es-ES_tradnl" sz="1000" b="0" i="1" u="none" strike="noStrike" kern="1200" cap="none" spc="0" normalizeH="0" baseline="0" noProof="0">
                <a:ln>
                  <a:noFill/>
                </a:ln>
                <a:solidFill>
                  <a:srgbClr val="C0FEF9"/>
                </a:solidFill>
                <a:effectLst/>
                <a:uLnTx/>
                <a:uFillTx/>
                <a:latin typeface="Times New Roman" pitchFamily="18" charset="0"/>
                <a:ea typeface="+mn-ea"/>
                <a:cs typeface="Arial" charset="0"/>
              </a:rPr>
              <a:t>5</a:t>
            </a:r>
          </a:p>
        </p:txBody>
      </p:sp>
      <p:sp>
        <p:nvSpPr>
          <p:cNvPr id="4101" name="Rectangle 4"/>
          <p:cNvSpPr>
            <a:spLocks noChangeArrowheads="1"/>
          </p:cNvSpPr>
          <p:nvPr/>
        </p:nvSpPr>
        <p:spPr bwMode="auto">
          <a:xfrm>
            <a:off x="-1487" y="9297415"/>
            <a:ext cx="2883308" cy="4544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040" tIns="44020" rIns="88040" bIns="44020" anchor="ctr"/>
          <a:lstStyle/>
          <a:p>
            <a:pPr marL="0" marR="0" lvl="0" indent="0" algn="l" defTabSz="897301"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C0FEF9"/>
              </a:solidFill>
              <a:effectLst/>
              <a:uLnTx/>
              <a:uFillTx/>
              <a:latin typeface="Arial" charset="0"/>
              <a:ea typeface="+mn-ea"/>
              <a:cs typeface="Arial" charset="0"/>
            </a:endParaRPr>
          </a:p>
        </p:txBody>
      </p:sp>
      <p:sp>
        <p:nvSpPr>
          <p:cNvPr id="4102" name="Rectangle 5"/>
          <p:cNvSpPr>
            <a:spLocks noChangeArrowheads="1"/>
          </p:cNvSpPr>
          <p:nvPr/>
        </p:nvSpPr>
        <p:spPr bwMode="auto">
          <a:xfrm>
            <a:off x="-1487" y="10604"/>
            <a:ext cx="2883308" cy="4559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040" tIns="44020" rIns="88040" bIns="44020" anchor="ctr"/>
          <a:lstStyle/>
          <a:p>
            <a:pPr marL="0" marR="0" lvl="0" indent="0" algn="l" defTabSz="897301"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C0FEF9"/>
              </a:solidFill>
              <a:effectLst/>
              <a:uLnTx/>
              <a:uFillTx/>
              <a:latin typeface="Arial" charset="0"/>
              <a:ea typeface="+mn-ea"/>
              <a:cs typeface="Arial" charset="0"/>
            </a:endParaRPr>
          </a:p>
        </p:txBody>
      </p:sp>
      <p:sp>
        <p:nvSpPr>
          <p:cNvPr id="4103" name="Rectangle 6"/>
          <p:cNvSpPr>
            <a:spLocks noChangeArrowheads="1"/>
          </p:cNvSpPr>
          <p:nvPr/>
        </p:nvSpPr>
        <p:spPr bwMode="auto">
          <a:xfrm>
            <a:off x="3765105" y="9089"/>
            <a:ext cx="2886283" cy="4559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040" tIns="44020" rIns="88040" bIns="44020" anchor="ctr"/>
          <a:lstStyle/>
          <a:p>
            <a:pPr marL="0" marR="0" lvl="0" indent="0" algn="l" defTabSz="897301"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C0FEF9"/>
              </a:solidFill>
              <a:effectLst/>
              <a:uLnTx/>
              <a:uFillTx/>
              <a:latin typeface="Arial" charset="0"/>
              <a:ea typeface="+mn-ea"/>
              <a:cs typeface="Arial" charset="0"/>
            </a:endParaRPr>
          </a:p>
        </p:txBody>
      </p:sp>
      <p:sp>
        <p:nvSpPr>
          <p:cNvPr id="4104" name="Rectangle 7"/>
          <p:cNvSpPr>
            <a:spLocks noChangeArrowheads="1"/>
          </p:cNvSpPr>
          <p:nvPr/>
        </p:nvSpPr>
        <p:spPr bwMode="auto">
          <a:xfrm>
            <a:off x="3765105" y="9295902"/>
            <a:ext cx="2886283" cy="4544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8340" tIns="0" rIns="18340" bIns="0" anchor="b"/>
          <a:lstStyle/>
          <a:p>
            <a:pPr marL="0" marR="0" lvl="0" indent="0" algn="r" defTabSz="733389" rtl="0" eaLnBrk="1" fontAlgn="base" latinLnBrk="0" hangingPunct="1">
              <a:lnSpc>
                <a:spcPct val="100000"/>
              </a:lnSpc>
              <a:spcBef>
                <a:spcPct val="0"/>
              </a:spcBef>
              <a:spcAft>
                <a:spcPct val="0"/>
              </a:spcAft>
              <a:buClrTx/>
              <a:buSzTx/>
              <a:buFontTx/>
              <a:buNone/>
              <a:tabLst/>
              <a:defRPr/>
            </a:pPr>
            <a:r>
              <a:rPr kumimoji="0" lang="es-ES_tradnl" sz="1000" b="0" i="1" u="none" strike="noStrike" kern="1200" cap="none" spc="0" normalizeH="0" baseline="0" noProof="0">
                <a:ln>
                  <a:noFill/>
                </a:ln>
                <a:solidFill>
                  <a:srgbClr val="C0FEF9"/>
                </a:solidFill>
                <a:effectLst/>
                <a:uLnTx/>
                <a:uFillTx/>
                <a:latin typeface="Times New Roman" pitchFamily="18" charset="0"/>
                <a:ea typeface="+mn-ea"/>
                <a:cs typeface="Arial" charset="0"/>
              </a:rPr>
              <a:t>5</a:t>
            </a:r>
          </a:p>
        </p:txBody>
      </p:sp>
      <p:sp>
        <p:nvSpPr>
          <p:cNvPr id="4105" name="Rectangle 8"/>
          <p:cNvSpPr>
            <a:spLocks noChangeArrowheads="1"/>
          </p:cNvSpPr>
          <p:nvPr/>
        </p:nvSpPr>
        <p:spPr bwMode="auto">
          <a:xfrm>
            <a:off x="-1487" y="9295902"/>
            <a:ext cx="2883308" cy="4544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040" tIns="44020" rIns="88040" bIns="44020" anchor="ctr"/>
          <a:lstStyle/>
          <a:p>
            <a:pPr marL="0" marR="0" lvl="0" indent="0" algn="l" defTabSz="897301"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C0FEF9"/>
              </a:solidFill>
              <a:effectLst/>
              <a:uLnTx/>
              <a:uFillTx/>
              <a:latin typeface="Arial" charset="0"/>
              <a:ea typeface="+mn-ea"/>
              <a:cs typeface="Arial" charset="0"/>
            </a:endParaRPr>
          </a:p>
        </p:txBody>
      </p:sp>
      <p:sp>
        <p:nvSpPr>
          <p:cNvPr id="4106" name="Rectangle 9"/>
          <p:cNvSpPr>
            <a:spLocks noChangeArrowheads="1"/>
          </p:cNvSpPr>
          <p:nvPr/>
        </p:nvSpPr>
        <p:spPr bwMode="auto">
          <a:xfrm>
            <a:off x="-1487" y="9089"/>
            <a:ext cx="2883308" cy="4559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040" tIns="44020" rIns="88040" bIns="44020" anchor="ctr"/>
          <a:lstStyle/>
          <a:p>
            <a:pPr marL="0" marR="0" lvl="0" indent="0" algn="l" defTabSz="897301"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C0FEF9"/>
              </a:solidFill>
              <a:effectLst/>
              <a:uLnTx/>
              <a:uFillTx/>
              <a:latin typeface="Arial" charset="0"/>
              <a:ea typeface="+mn-ea"/>
              <a:cs typeface="Arial" charset="0"/>
            </a:endParaRPr>
          </a:p>
        </p:txBody>
      </p:sp>
      <p:sp>
        <p:nvSpPr>
          <p:cNvPr id="4107" name="Rectangle 10"/>
          <p:cNvSpPr>
            <a:spLocks noGrp="1" noRot="1" noChangeAspect="1" noChangeArrowheads="1" noTextEdit="1"/>
          </p:cNvSpPr>
          <p:nvPr>
            <p:ph type="sldImg"/>
          </p:nvPr>
        </p:nvSpPr>
        <p:spPr>
          <a:xfrm>
            <a:off x="292100" y="858838"/>
            <a:ext cx="6067425" cy="3413125"/>
          </a:xfrm>
          <a:ln cap="flat"/>
        </p:spPr>
      </p:sp>
      <p:sp>
        <p:nvSpPr>
          <p:cNvPr id="4108" name="Rectangle 11"/>
          <p:cNvSpPr>
            <a:spLocks noGrp="1" noChangeArrowheads="1"/>
          </p:cNvSpPr>
          <p:nvPr>
            <p:ph type="body" idx="1"/>
          </p:nvPr>
        </p:nvSpPr>
        <p:spPr>
          <a:xfrm>
            <a:off x="877336" y="4648709"/>
            <a:ext cx="4886308" cy="294615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169" tIns="44320" rIns="90169" bIns="44320"/>
          <a:lstStyle/>
          <a:p>
            <a:pPr defTabSz="904513"/>
            <a:endParaRPr lang="es-ES_tradnl" dirty="0">
              <a:latin typeface="Arial" charset="0"/>
            </a:endParaRPr>
          </a:p>
        </p:txBody>
      </p:sp>
    </p:spTree>
    <p:extLst>
      <p:ext uri="{BB962C8B-B14F-4D97-AF65-F5344CB8AC3E}">
        <p14:creationId xmlns:p14="http://schemas.microsoft.com/office/powerpoint/2010/main" val="94986954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F4DA5C-DEE6-41D1-AD84-762803386626}"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S PGothic"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105</a:t>
            </a:fld>
            <a:endParaRPr kumimoji="0" lang="en-GB" sz="1200" b="0" i="0" u="none" strike="noStrike" kern="1200" cap="none" spc="0" normalizeH="0" baseline="0" noProof="0" dirty="0">
              <a:ln>
                <a:noFill/>
              </a:ln>
              <a:solidFill>
                <a:prstClr val="black"/>
              </a:solidFill>
              <a:effectLst/>
              <a:uLnTx/>
              <a:uFillTx/>
              <a:latin typeface="Calibri" panose="020F0502020204030204"/>
              <a:ea typeface="MS PGothic" charset="0"/>
              <a:cs typeface="+mn-cs"/>
            </a:endParaRPr>
          </a:p>
        </p:txBody>
      </p:sp>
    </p:spTree>
    <p:extLst>
      <p:ext uri="{BB962C8B-B14F-4D97-AF65-F5344CB8AC3E}">
        <p14:creationId xmlns:p14="http://schemas.microsoft.com/office/powerpoint/2010/main" val="71304882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F4DA5C-DEE6-41D1-AD84-762803386626}"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S PGothic"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106</a:t>
            </a:fld>
            <a:endParaRPr kumimoji="0" lang="en-GB" sz="1200" b="0" i="0" u="none" strike="noStrike" kern="1200" cap="none" spc="0" normalizeH="0" baseline="0" noProof="0" dirty="0">
              <a:ln>
                <a:noFill/>
              </a:ln>
              <a:solidFill>
                <a:prstClr val="black"/>
              </a:solidFill>
              <a:effectLst/>
              <a:uLnTx/>
              <a:uFillTx/>
              <a:latin typeface="Calibri" panose="020F0502020204030204"/>
              <a:ea typeface="MS PGothic" charset="0"/>
              <a:cs typeface="+mn-cs"/>
            </a:endParaRPr>
          </a:p>
        </p:txBody>
      </p:sp>
    </p:spTree>
    <p:extLst>
      <p:ext uri="{BB962C8B-B14F-4D97-AF65-F5344CB8AC3E}">
        <p14:creationId xmlns:p14="http://schemas.microsoft.com/office/powerpoint/2010/main" val="60063439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F4DA5C-DEE6-41D1-AD84-762803386626}"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S PGothic"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108</a:t>
            </a:fld>
            <a:endParaRPr kumimoji="0" lang="en-GB" sz="1200" b="0" i="0" u="none" strike="noStrike" kern="1200" cap="none" spc="0" normalizeH="0" baseline="0" noProof="0" dirty="0">
              <a:ln>
                <a:noFill/>
              </a:ln>
              <a:solidFill>
                <a:prstClr val="black"/>
              </a:solidFill>
              <a:effectLst/>
              <a:uLnTx/>
              <a:uFillTx/>
              <a:latin typeface="Calibri" panose="020F0502020204030204"/>
              <a:ea typeface="MS PGothic" charset="0"/>
              <a:cs typeface="+mn-cs"/>
            </a:endParaRPr>
          </a:p>
        </p:txBody>
      </p:sp>
    </p:spTree>
    <p:extLst>
      <p:ext uri="{BB962C8B-B14F-4D97-AF65-F5344CB8AC3E}">
        <p14:creationId xmlns:p14="http://schemas.microsoft.com/office/powerpoint/2010/main" val="413336929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D47B02-7D0A-4FA4-8D1E-3401D8D022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S PGothic"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112</a:t>
            </a:fld>
            <a:endParaRPr kumimoji="0" lang="en-US" sz="1200" b="0" i="0" u="none" strike="noStrike" kern="1200" cap="none" spc="0" normalizeH="0" baseline="0" noProof="0">
              <a:ln>
                <a:noFill/>
              </a:ln>
              <a:solidFill>
                <a:prstClr val="black"/>
              </a:solidFill>
              <a:effectLst/>
              <a:uLnTx/>
              <a:uFillTx/>
              <a:latin typeface="Calibri" panose="020F0502020204030204"/>
              <a:ea typeface="MS PGothic" charset="0"/>
              <a:cs typeface="+mn-cs"/>
            </a:endParaRPr>
          </a:p>
        </p:txBody>
      </p:sp>
    </p:spTree>
    <p:extLst>
      <p:ext uri="{BB962C8B-B14F-4D97-AF65-F5344CB8AC3E}">
        <p14:creationId xmlns:p14="http://schemas.microsoft.com/office/powerpoint/2010/main" val="76671358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F4DA5C-DEE6-41D1-AD84-762803386626}"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S PGothic"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116</a:t>
            </a:fld>
            <a:endParaRPr kumimoji="0" lang="en-GB" sz="1200" b="0" i="0" u="none" strike="noStrike" kern="1200" cap="none" spc="0" normalizeH="0" baseline="0" noProof="0" dirty="0">
              <a:ln>
                <a:noFill/>
              </a:ln>
              <a:solidFill>
                <a:prstClr val="black"/>
              </a:solidFill>
              <a:effectLst/>
              <a:uLnTx/>
              <a:uFillTx/>
              <a:latin typeface="Calibri" panose="020F0502020204030204"/>
              <a:ea typeface="MS PGothic" charset="0"/>
              <a:cs typeface="+mn-cs"/>
            </a:endParaRPr>
          </a:p>
        </p:txBody>
      </p:sp>
    </p:spTree>
    <p:extLst>
      <p:ext uri="{BB962C8B-B14F-4D97-AF65-F5344CB8AC3E}">
        <p14:creationId xmlns:p14="http://schemas.microsoft.com/office/powerpoint/2010/main" val="326343040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32414B70-6DDE-475A-AAB5-C252124A2DD7}"/>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22338288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F4DA5C-DEE6-41D1-AD84-762803386626}"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S PGothic"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119</a:t>
            </a:fld>
            <a:endParaRPr kumimoji="0" lang="en-GB" sz="1200" b="0" i="0" u="none" strike="noStrike" kern="1200" cap="none" spc="0" normalizeH="0" baseline="0" noProof="0" dirty="0">
              <a:ln>
                <a:noFill/>
              </a:ln>
              <a:solidFill>
                <a:prstClr val="black"/>
              </a:solidFill>
              <a:effectLst/>
              <a:uLnTx/>
              <a:uFillTx/>
              <a:latin typeface="Calibri" panose="020F0502020204030204"/>
              <a:ea typeface="MS PGothic" charset="0"/>
              <a:cs typeface="+mn-cs"/>
            </a:endParaRPr>
          </a:p>
        </p:txBody>
      </p:sp>
    </p:spTree>
    <p:extLst>
      <p:ext uri="{BB962C8B-B14F-4D97-AF65-F5344CB8AC3E}">
        <p14:creationId xmlns:p14="http://schemas.microsoft.com/office/powerpoint/2010/main" val="95757955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F4DA5C-DEE6-41D1-AD84-762803386626}"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S PGothic"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120</a:t>
            </a:fld>
            <a:endParaRPr kumimoji="0" lang="en-GB" sz="1200" b="0" i="0" u="none" strike="noStrike" kern="1200" cap="none" spc="0" normalizeH="0" baseline="0" noProof="0" dirty="0">
              <a:ln>
                <a:noFill/>
              </a:ln>
              <a:solidFill>
                <a:prstClr val="black"/>
              </a:solidFill>
              <a:effectLst/>
              <a:uLnTx/>
              <a:uFillTx/>
              <a:latin typeface="Calibri" panose="020F0502020204030204"/>
              <a:ea typeface="MS PGothic" charset="0"/>
              <a:cs typeface="+mn-cs"/>
            </a:endParaRPr>
          </a:p>
        </p:txBody>
      </p:sp>
    </p:spTree>
    <p:extLst>
      <p:ext uri="{BB962C8B-B14F-4D97-AF65-F5344CB8AC3E}">
        <p14:creationId xmlns:p14="http://schemas.microsoft.com/office/powerpoint/2010/main" val="165517700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F4DA5C-DEE6-41D1-AD84-762803386626}"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S PGothic"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121</a:t>
            </a:fld>
            <a:endParaRPr kumimoji="0" lang="en-GB" sz="1200" b="0" i="0" u="none" strike="noStrike" kern="1200" cap="none" spc="0" normalizeH="0" baseline="0" noProof="0" dirty="0">
              <a:ln>
                <a:noFill/>
              </a:ln>
              <a:solidFill>
                <a:prstClr val="black"/>
              </a:solidFill>
              <a:effectLst/>
              <a:uLnTx/>
              <a:uFillTx/>
              <a:latin typeface="Calibri" panose="020F0502020204030204"/>
              <a:ea typeface="MS PGothic" charset="0"/>
              <a:cs typeface="+mn-cs"/>
            </a:endParaRPr>
          </a:p>
        </p:txBody>
      </p:sp>
    </p:spTree>
    <p:extLst>
      <p:ext uri="{BB962C8B-B14F-4D97-AF65-F5344CB8AC3E}">
        <p14:creationId xmlns:p14="http://schemas.microsoft.com/office/powerpoint/2010/main" val="21235750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lt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00214DFC-41D9-46F5-98B7-47AD96E565F2}"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85783" rtl="0" eaLnBrk="1" fontAlgn="auto" latinLnBrk="0" hangingPunct="1">
                <a:lnSpc>
                  <a:spcPct val="100000"/>
                </a:lnSpc>
                <a:spcBef>
                  <a:spcPts val="0"/>
                </a:spcBef>
                <a:spcAft>
                  <a:spcPts val="0"/>
                </a:spcAft>
                <a:buClrTx/>
                <a:buSzTx/>
                <a:buFontTx/>
                <a:buNone/>
                <a:tabLst/>
                <a:defRPr/>
              </a:pPr>
              <a:t>19</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5463976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214DFC-41D9-46F5-98B7-47AD96E565F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8266425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p:cNvSpPr>
            <a:spLocks noGrp="1" noRot="1" noChangeAspect="1" noTextEdit="1"/>
          </p:cNvSpPr>
          <p:nvPr>
            <p:ph type="sldImg"/>
          </p:nvPr>
        </p:nvSpPr>
        <p:spPr>
          <a:xfrm>
            <a:off x="685800" y="1143000"/>
            <a:ext cx="5486400" cy="3086100"/>
          </a:xfrm>
          <a:ln/>
        </p:spPr>
      </p:sp>
      <p:sp>
        <p:nvSpPr>
          <p:cNvPr id="34819" name="Notes Placeholder 2"/>
          <p:cNvSpPr>
            <a:spLocks noGrp="1"/>
          </p:cNvSpPr>
          <p:nvPr>
            <p:ph type="body" idx="1"/>
          </p:nvPr>
        </p:nvSpPr>
        <p:spPr>
          <a:noFill/>
          <a:ln/>
        </p:spPr>
        <p:txBody>
          <a:bodyPr/>
          <a:lstStyle/>
          <a:p>
            <a:endParaRPr lang="en-US" dirty="0">
              <a:latin typeface="Arial" charset="0"/>
            </a:endParaRPr>
          </a:p>
        </p:txBody>
      </p:sp>
      <p:sp>
        <p:nvSpPr>
          <p:cNvPr id="34820" name="Slide Number Placeholder 3"/>
          <p:cNvSpPr>
            <a:spLocks noGrp="1"/>
          </p:cNvSpPr>
          <p:nvPr>
            <p:ph type="sldNum" sz="quarter" idx="5"/>
          </p:nvPr>
        </p:nvSpPr>
        <p:spPr>
          <a:noFill/>
        </p:spPr>
        <p:txBody>
          <a:bodyPr/>
          <a:lstStyle/>
          <a:p>
            <a:pPr marL="0" marR="0" lvl="0" indent="0" algn="r" defTabSz="457178" rtl="0" eaLnBrk="1" fontAlgn="auto" latinLnBrk="0" hangingPunct="1">
              <a:lnSpc>
                <a:spcPct val="100000"/>
              </a:lnSpc>
              <a:spcBef>
                <a:spcPts val="0"/>
              </a:spcBef>
              <a:spcAft>
                <a:spcPts val="0"/>
              </a:spcAft>
              <a:buClrTx/>
              <a:buSzTx/>
              <a:buFontTx/>
              <a:buNone/>
              <a:tabLst/>
              <a:defRPr/>
            </a:pPr>
            <a:fld id="{C355B5C1-1C11-4481-86CF-2C2BA0754EBA}"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457178"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4382570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12501C-6F6E-4713-B2AB-4893FB03F3F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4169279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spcAft>
                <a:spcPts val="600"/>
              </a:spcAft>
              <a:buFont typeface="Arial" panose="020B0604020202020204" pitchFamily="34" charset="0"/>
              <a:buChar char="•"/>
            </a:pPr>
            <a:endParaRPr lang="en-US" sz="11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4D9E9D-93A9-4E6A-8E42-DC0055A8528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0452680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spcAft>
                <a:spcPts val="600"/>
              </a:spcAft>
              <a:buFont typeface="Arial" panose="020B0604020202020204" pitchFamily="34" charset="0"/>
              <a:buChar char="•"/>
            </a:pPr>
            <a:endParaRPr lang="en-US" sz="11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4D9E9D-93A9-4E6A-8E42-DC0055A8528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4682359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7.xml"/></Relationships>
</file>

<file path=ppt/slideLayouts/_rels/slideLayout111.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8.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cLovin:RMS%20Graphics:Steve%20B.:Taiho:PowerPoint%20Slides:TPUI%20Template:Slide1REV.tif" TargetMode="External"/><Relationship Id="rId2" Type="http://schemas.openxmlformats.org/officeDocument/2006/relationships/image" Target="../media/image9.png"/><Relationship Id="rId1" Type="http://schemas.openxmlformats.org/officeDocument/2006/relationships/slideMaster" Target="../slideMasters/slideMaster1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cLovin:RMS%20Graphics:Steve%20B.:Taiho:PowerPoint%20Slides:TPUI%20Template:Slide1REV.tif" TargetMode="External"/><Relationship Id="rId2" Type="http://schemas.openxmlformats.org/officeDocument/2006/relationships/image" Target="../media/image9.png"/><Relationship Id="rId1" Type="http://schemas.openxmlformats.org/officeDocument/2006/relationships/slideMaster" Target="../slideMasters/slideMaster12.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2.xml"/><Relationship Id="rId5" Type="http://schemas.openxmlformats.org/officeDocument/2006/relationships/image" Target="../media/image13.png"/><Relationship Id="rId4" Type="http://schemas.openxmlformats.org/officeDocument/2006/relationships/image" Target="../media/image12.png"/></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2.xml"/><Relationship Id="rId4" Type="http://schemas.openxmlformats.org/officeDocument/2006/relationships/image" Target="../media/image12.png"/></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5"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239883288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27155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717C4B4-4ECD-4BE8-92DB-A2A545B9811C}"/>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62770C7-4942-4754-945F-801D479EC491}"/>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07C7F20-84B2-4861-9B86-2A37AF0BA704}"/>
              </a:ext>
            </a:extLst>
          </p:cNvPr>
          <p:cNvSpPr>
            <a:spLocks noGrp="1"/>
          </p:cNvSpPr>
          <p:nvPr>
            <p:ph type="dt" sz="half" idx="10"/>
          </p:nvPr>
        </p:nvSpPr>
        <p:spPr/>
        <p:txBody>
          <a:bodyPr/>
          <a:lstStyle/>
          <a:p>
            <a:fld id="{9451ADC2-692A-4E3C-AC67-B6BAD1E8EBDC}" type="datetimeFigureOut">
              <a:rPr lang="en-US" smtClean="0"/>
              <a:t>1/31/23</a:t>
            </a:fld>
            <a:endParaRPr lang="en-US"/>
          </a:p>
        </p:txBody>
      </p:sp>
      <p:sp>
        <p:nvSpPr>
          <p:cNvPr id="5" name="Footer Placeholder 4">
            <a:extLst>
              <a:ext uri="{FF2B5EF4-FFF2-40B4-BE49-F238E27FC236}">
                <a16:creationId xmlns:a16="http://schemas.microsoft.com/office/drawing/2014/main" id="{97D8BE06-CAC0-4F6D-816F-E9F2B28EF16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A0E1D7B-6472-4CDE-9374-5A8E72D9197C}"/>
              </a:ext>
            </a:extLst>
          </p:cNvPr>
          <p:cNvSpPr>
            <a:spLocks noGrp="1"/>
          </p:cNvSpPr>
          <p:nvPr>
            <p:ph type="sldNum" sz="quarter" idx="12"/>
          </p:nvPr>
        </p:nvSpPr>
        <p:spPr/>
        <p:txBody>
          <a:bodyPr/>
          <a:lstStyle/>
          <a:p>
            <a:fld id="{ADE219E0-24F0-4853-9517-89D29DD918E2}" type="slidenum">
              <a:rPr lang="en-US" smtClean="0"/>
              <a:t>‹#›</a:t>
            </a:fld>
            <a:endParaRPr lang="en-US"/>
          </a:p>
        </p:txBody>
      </p:sp>
    </p:spTree>
    <p:extLst>
      <p:ext uri="{BB962C8B-B14F-4D97-AF65-F5344CB8AC3E}">
        <p14:creationId xmlns:p14="http://schemas.microsoft.com/office/powerpoint/2010/main" val="270810640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cSld name="Head and Content w/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2" y="426659"/>
            <a:ext cx="10786535" cy="701731"/>
          </a:xfrm>
        </p:spPr>
        <p:txBody>
          <a:bodyPr vert="horz" wrap="square" lIns="91440" tIns="45720" rIns="91440" bIns="45720" rtlCol="0" anchor="t" anchorCtr="0">
            <a:spAutoFit/>
          </a:bodyPr>
          <a:lstStyle>
            <a:lvl1pPr>
              <a:defRPr lang="en-US" dirty="0"/>
            </a:lvl1pPr>
          </a:lstStyle>
          <a:p>
            <a:pPr lvl="0"/>
            <a:r>
              <a:rPr lang="en-US" dirty="0"/>
              <a:t>Slide Title Here</a:t>
            </a:r>
          </a:p>
        </p:txBody>
      </p:sp>
      <p:sp>
        <p:nvSpPr>
          <p:cNvPr id="3" name="Content Placeholder 2"/>
          <p:cNvSpPr>
            <a:spLocks noGrp="1"/>
          </p:cNvSpPr>
          <p:nvPr>
            <p:ph idx="1" hasCustomPrompt="1"/>
          </p:nvPr>
        </p:nvSpPr>
        <p:spPr>
          <a:xfrm>
            <a:off x="582033" y="1971827"/>
            <a:ext cx="11100731" cy="4011503"/>
          </a:xfrm>
        </p:spPr>
        <p:txBody>
          <a:bodyPr vert="horz" wrap="square" lIns="91440" tIns="45720" rIns="91440" bIns="45720" rtlCol="0">
            <a:noAutofit/>
          </a:bodyPr>
          <a:lstStyle>
            <a:lvl1pPr>
              <a:defRPr lang="en-US" dirty="0" smtClean="0"/>
            </a:lvl1pPr>
            <a:lvl2pPr>
              <a:defRPr lang="en-US" dirty="0" smtClean="0"/>
            </a:lvl2pPr>
            <a:lvl3pPr>
              <a:defRPr lang="en-US" dirty="0" smtClean="0"/>
            </a:lvl3pPr>
            <a:lvl4pPr>
              <a:defRPr lang="en-US" dirty="0" smtClean="0"/>
            </a:lvl4pPr>
            <a:lvl5pPr>
              <a:defRPr lang="en-US" dirty="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2"/>
          <p:cNvSpPr>
            <a:spLocks noGrp="1"/>
          </p:cNvSpPr>
          <p:nvPr>
            <p:ph type="body" idx="10" hasCustomPrompt="1"/>
          </p:nvPr>
        </p:nvSpPr>
        <p:spPr>
          <a:xfrm>
            <a:off x="593851" y="1513719"/>
            <a:ext cx="10782895" cy="313932"/>
          </a:xfrm>
        </p:spPr>
        <p:txBody>
          <a:bodyPr anchor="t"/>
          <a:lstStyle>
            <a:lvl1pPr marL="0" indent="0">
              <a:buNone/>
              <a:defRPr sz="2398" b="0">
                <a:solidFill>
                  <a:schemeClr val="tx1"/>
                </a:solidFill>
                <a:latin typeface="+mj-lt"/>
              </a:defRPr>
            </a:lvl1pPr>
            <a:lvl2pPr marL="609021" indent="0">
              <a:buNone/>
              <a:defRPr sz="2398">
                <a:solidFill>
                  <a:schemeClr val="tx1">
                    <a:tint val="75000"/>
                  </a:schemeClr>
                </a:solidFill>
              </a:defRPr>
            </a:lvl2pPr>
            <a:lvl3pPr marL="1218043" indent="0">
              <a:buNone/>
              <a:defRPr sz="2131">
                <a:solidFill>
                  <a:schemeClr val="tx1">
                    <a:tint val="75000"/>
                  </a:schemeClr>
                </a:solidFill>
              </a:defRPr>
            </a:lvl3pPr>
            <a:lvl4pPr marL="1827063" indent="0">
              <a:buNone/>
              <a:defRPr sz="1865">
                <a:solidFill>
                  <a:schemeClr val="tx1">
                    <a:tint val="75000"/>
                  </a:schemeClr>
                </a:solidFill>
              </a:defRPr>
            </a:lvl4pPr>
            <a:lvl5pPr marL="2436083" indent="0">
              <a:buNone/>
              <a:defRPr sz="1865">
                <a:solidFill>
                  <a:schemeClr val="tx1">
                    <a:tint val="75000"/>
                  </a:schemeClr>
                </a:solidFill>
              </a:defRPr>
            </a:lvl5pPr>
            <a:lvl6pPr marL="3045105" indent="0">
              <a:buNone/>
              <a:defRPr sz="1865">
                <a:solidFill>
                  <a:schemeClr val="tx1">
                    <a:tint val="75000"/>
                  </a:schemeClr>
                </a:solidFill>
              </a:defRPr>
            </a:lvl6pPr>
            <a:lvl7pPr marL="3654126" indent="0">
              <a:buNone/>
              <a:defRPr sz="1865">
                <a:solidFill>
                  <a:schemeClr val="tx1">
                    <a:tint val="75000"/>
                  </a:schemeClr>
                </a:solidFill>
              </a:defRPr>
            </a:lvl7pPr>
            <a:lvl8pPr marL="4263146" indent="0">
              <a:buNone/>
              <a:defRPr sz="1865">
                <a:solidFill>
                  <a:schemeClr val="tx1">
                    <a:tint val="75000"/>
                  </a:schemeClr>
                </a:solidFill>
              </a:defRPr>
            </a:lvl8pPr>
            <a:lvl9pPr marL="4872168" indent="0">
              <a:buNone/>
              <a:defRPr sz="1865">
                <a:solidFill>
                  <a:schemeClr val="tx1">
                    <a:tint val="75000"/>
                  </a:schemeClr>
                </a:solidFill>
              </a:defRPr>
            </a:lvl9pPr>
          </a:lstStyle>
          <a:p>
            <a:pPr lvl="0"/>
            <a:r>
              <a:rPr lang="en-US" dirty="0"/>
              <a:t>Subhead</a:t>
            </a:r>
          </a:p>
        </p:txBody>
      </p:sp>
      <p:sp>
        <p:nvSpPr>
          <p:cNvPr id="11" name="Date Placeholder 4"/>
          <p:cNvSpPr>
            <a:spLocks noGrp="1"/>
          </p:cNvSpPr>
          <p:nvPr>
            <p:ph type="dt" sz="half" idx="2"/>
          </p:nvPr>
        </p:nvSpPr>
        <p:spPr>
          <a:xfrm>
            <a:off x="8139386" y="6452361"/>
            <a:ext cx="1236257" cy="155235"/>
          </a:xfrm>
          <a:prstGeom prst="rect">
            <a:avLst/>
          </a:prstGeom>
        </p:spPr>
        <p:txBody>
          <a:bodyPr vert="horz" wrap="square" lIns="0" tIns="0" rIns="0" bIns="0" rtlCol="0" anchor="b" anchorCtr="0"/>
          <a:lstStyle>
            <a:lvl1pPr algn="l">
              <a:defRPr sz="932" i="0">
                <a:solidFill>
                  <a:schemeClr val="tx1"/>
                </a:solidFill>
                <a:latin typeface="Arial" pitchFamily="34" charset="0"/>
                <a:cs typeface="Arial" pitchFamily="34" charset="0"/>
              </a:defRPr>
            </a:lvl1pPr>
          </a:lstStyle>
          <a:p>
            <a:fld id="{238C393A-60B2-473C-B1A0-A59955907E95}" type="datetime1">
              <a:rPr lang="en-US" smtClean="0"/>
              <a:t>1/31/23</a:t>
            </a:fld>
            <a:endParaRPr lang="en-US" dirty="0"/>
          </a:p>
        </p:txBody>
      </p:sp>
      <p:sp>
        <p:nvSpPr>
          <p:cNvPr id="12" name="Footer Placeholder 5"/>
          <p:cNvSpPr>
            <a:spLocks noGrp="1"/>
          </p:cNvSpPr>
          <p:nvPr>
            <p:ph type="ftr" sz="quarter" idx="3"/>
          </p:nvPr>
        </p:nvSpPr>
        <p:spPr>
          <a:xfrm>
            <a:off x="730867" y="6470129"/>
            <a:ext cx="5747876" cy="137980"/>
          </a:xfrm>
          <a:prstGeom prst="rect">
            <a:avLst/>
          </a:prstGeom>
        </p:spPr>
        <p:txBody>
          <a:bodyPr vert="horz" wrap="square" lIns="0" tIns="0" rIns="0" bIns="0" rtlCol="0" anchor="b" anchorCtr="0"/>
          <a:lstStyle>
            <a:lvl1pPr algn="l">
              <a:defRPr sz="932" i="0">
                <a:solidFill>
                  <a:schemeClr val="tx1"/>
                </a:solidFill>
                <a:latin typeface="Arial" pitchFamily="34" charset="0"/>
                <a:cs typeface="Arial" pitchFamily="34" charset="0"/>
              </a:defRPr>
            </a:lvl1pPr>
          </a:lstStyle>
          <a:p>
            <a:r>
              <a:rPr lang="en-US"/>
              <a:t>Presentation Title and/or Sub Brand Name Here</a:t>
            </a:r>
            <a:endParaRPr lang="en-US" dirty="0"/>
          </a:p>
        </p:txBody>
      </p:sp>
      <p:sp>
        <p:nvSpPr>
          <p:cNvPr id="13" name="Slide Number Placeholder 6"/>
          <p:cNvSpPr>
            <a:spLocks noGrp="1"/>
          </p:cNvSpPr>
          <p:nvPr>
            <p:ph type="sldNum" sz="quarter" idx="4"/>
          </p:nvPr>
        </p:nvSpPr>
        <p:spPr>
          <a:xfrm>
            <a:off x="362809" y="6453506"/>
            <a:ext cx="328081" cy="155234"/>
          </a:xfrm>
          <a:prstGeom prst="rect">
            <a:avLst/>
          </a:prstGeom>
        </p:spPr>
        <p:txBody>
          <a:bodyPr vert="horz" wrap="square" lIns="0" tIns="0" rIns="0" bIns="0" rtlCol="0" anchor="b" anchorCtr="0"/>
          <a:lstStyle>
            <a:lvl1pPr algn="l">
              <a:defRPr sz="932" i="0">
                <a:solidFill>
                  <a:schemeClr val="tx1"/>
                </a:solidFill>
                <a:latin typeface="Arial" pitchFamily="34" charset="0"/>
                <a:cs typeface="Arial" pitchFamily="34" charset="0"/>
              </a:defRPr>
            </a:lvl1pPr>
          </a:lstStyle>
          <a:p>
            <a:fld id="{7BCC8D0D-EAEC-449D-9161-023DFF90F2E2}" type="slidenum">
              <a:rPr lang="en-US" smtClean="0"/>
              <a:pPr/>
              <a:t>‹#›</a:t>
            </a:fld>
            <a:endParaRPr lang="en-US" dirty="0"/>
          </a:p>
        </p:txBody>
      </p:sp>
    </p:spTree>
    <p:extLst>
      <p:ext uri="{BB962C8B-B14F-4D97-AF65-F5344CB8AC3E}">
        <p14:creationId xmlns:p14="http://schemas.microsoft.com/office/powerpoint/2010/main" val="1883641594"/>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matchingName="1_Title Presentation" userDrawn="1">
  <p:cSld name="1_Title Presentation">
    <p:spTree>
      <p:nvGrpSpPr>
        <p:cNvPr id="1" name="Shape 10"/>
        <p:cNvGrpSpPr/>
        <p:nvPr/>
      </p:nvGrpSpPr>
      <p:grpSpPr>
        <a:xfrm>
          <a:off x="0" y="0"/>
          <a:ext cx="0" cy="0"/>
          <a:chOff x="0" y="0"/>
          <a:chExt cx="0" cy="0"/>
        </a:xfrm>
      </p:grpSpPr>
    </p:spTree>
    <p:extLst>
      <p:ext uri="{BB962C8B-B14F-4D97-AF65-F5344CB8AC3E}">
        <p14:creationId xmlns:p14="http://schemas.microsoft.com/office/powerpoint/2010/main" val="3413235195"/>
      </p:ext>
    </p:extLst>
  </p:cSld>
  <p:clrMapOvr>
    <a:masterClrMapping/>
  </p:clrMapOvr>
  <p:extLst>
    <p:ext uri="{DCECCB84-F9BA-43D5-87BE-67443E8EF086}">
      <p15:sldGuideLst xmlns:p15="http://schemas.microsoft.com/office/powerpoint/2012/main">
        <p15:guide id="1" orient="horz" pos="4156">
          <p15:clr>
            <a:srgbClr val="FBAE40"/>
          </p15:clr>
        </p15:guide>
        <p15:guide id="2" pos="393">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matchingName="3_Title and Text" userDrawn="1">
  <p:cSld name="3_Title and Text">
    <p:spTree>
      <p:nvGrpSpPr>
        <p:cNvPr id="1" name="Shape 16"/>
        <p:cNvGrpSpPr/>
        <p:nvPr/>
      </p:nvGrpSpPr>
      <p:grpSpPr>
        <a:xfrm>
          <a:off x="0" y="0"/>
          <a:ext cx="0" cy="0"/>
          <a:chOff x="0" y="0"/>
          <a:chExt cx="0" cy="0"/>
        </a:xfrm>
      </p:grpSpPr>
    </p:spTree>
    <p:extLst>
      <p:ext uri="{BB962C8B-B14F-4D97-AF65-F5344CB8AC3E}">
        <p14:creationId xmlns:p14="http://schemas.microsoft.com/office/powerpoint/2010/main" val="2775541424"/>
      </p:ext>
    </p:extLst>
  </p:cSld>
  <p:clrMapOvr>
    <a:masterClrMapping/>
  </p:clrMapOvr>
  <p:extLst>
    <p:ext uri="{DCECCB84-F9BA-43D5-87BE-67443E8EF086}">
      <p15:sldGuideLst xmlns:p15="http://schemas.microsoft.com/office/powerpoint/2012/main">
        <p15:guide id="2" orient="horz" pos="3913">
          <p15:clr>
            <a:srgbClr val="FBAE40"/>
          </p15:clr>
        </p15:guide>
        <p15:guide id="3" orient="horz" pos="4125">
          <p15:clr>
            <a:srgbClr val="FBAE40"/>
          </p15:clr>
        </p15:guide>
        <p15:guide id="4" pos="301">
          <p15:clr>
            <a:srgbClr val="FBAE40"/>
          </p15:clr>
        </p15:guide>
        <p15:guide id="5" pos="7379">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matchingName="7_Free Content" preserve="1" userDrawn="1">
  <p:cSld name="7_Free Content">
    <p:spTree>
      <p:nvGrpSpPr>
        <p:cNvPr id="1" name="Shape 44"/>
        <p:cNvGrpSpPr/>
        <p:nvPr/>
      </p:nvGrpSpPr>
      <p:grpSpPr>
        <a:xfrm>
          <a:off x="0" y="0"/>
          <a:ext cx="0" cy="0"/>
          <a:chOff x="0" y="0"/>
          <a:chExt cx="0" cy="0"/>
        </a:xfrm>
      </p:grpSpPr>
    </p:spTree>
    <p:extLst>
      <p:ext uri="{BB962C8B-B14F-4D97-AF65-F5344CB8AC3E}">
        <p14:creationId xmlns:p14="http://schemas.microsoft.com/office/powerpoint/2010/main" val="3630199494"/>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10"/>
          </p:nvPr>
        </p:nvSpPr>
        <p:spPr/>
        <p:txBody>
          <a:bodyPr/>
          <a:lstStyle/>
          <a:p>
            <a:fld id="{F238EA54-B4B0-4570-BAD2-799F06D16B41}" type="datetimeFigureOut">
              <a:rPr lang="de-DE" smtClean="0"/>
              <a:t>31.01.23</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0426E07C-D47E-458D-83E6-19ABE714B880}" type="slidenum">
              <a:rPr lang="de-DE" smtClean="0"/>
              <a:t>‹#›</a:t>
            </a:fld>
            <a:endParaRPr lang="de-DE"/>
          </a:p>
        </p:txBody>
      </p:sp>
    </p:spTree>
    <p:extLst>
      <p:ext uri="{BB962C8B-B14F-4D97-AF65-F5344CB8AC3E}">
        <p14:creationId xmlns:p14="http://schemas.microsoft.com/office/powerpoint/2010/main" val="760011494"/>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cSld name="Head and Subhead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2" y="426721"/>
            <a:ext cx="10773833" cy="1025921"/>
          </a:xfrm>
        </p:spPr>
        <p:txBody>
          <a:bodyPr vert="horz" wrap="square" lIns="91440" tIns="45720" rIns="91440" bIns="45720" rtlCol="0" anchor="t" anchorCtr="0">
            <a:spAutoFit/>
          </a:bodyPr>
          <a:lstStyle>
            <a:lvl1pPr>
              <a:defRPr lang="en-US" dirty="0"/>
            </a:lvl1pPr>
          </a:lstStyle>
          <a:p>
            <a:pPr marL="0" lvl="0"/>
            <a:r>
              <a:rPr lang="en-US" dirty="0"/>
              <a:t>Slide Title Here</a:t>
            </a:r>
          </a:p>
        </p:txBody>
      </p:sp>
      <p:sp>
        <p:nvSpPr>
          <p:cNvPr id="3" name="Text Placeholder 2"/>
          <p:cNvSpPr>
            <a:spLocks noGrp="1"/>
          </p:cNvSpPr>
          <p:nvPr>
            <p:ph type="body" idx="10" hasCustomPrompt="1"/>
          </p:nvPr>
        </p:nvSpPr>
        <p:spPr>
          <a:xfrm>
            <a:off x="597410" y="1011994"/>
            <a:ext cx="10770193" cy="383183"/>
          </a:xfrm>
        </p:spPr>
        <p:txBody>
          <a:bodyPr vert="horz" wrap="square" lIns="91440" tIns="45720" rIns="91440" bIns="45720" rtlCol="0" anchor="t">
            <a:noAutofit/>
          </a:bodyPr>
          <a:lstStyle>
            <a:lvl1pPr marL="224356" indent="-224356">
              <a:buNone/>
              <a:defRPr lang="en-US" dirty="0" smtClean="0"/>
            </a:lvl1pPr>
          </a:lstStyle>
          <a:p>
            <a:pPr marL="0" lvl="0" indent="0"/>
            <a:r>
              <a:rPr lang="en-US" dirty="0"/>
              <a:t>Subhead</a:t>
            </a:r>
          </a:p>
        </p:txBody>
      </p:sp>
      <p:sp>
        <p:nvSpPr>
          <p:cNvPr id="10" name="Date Placeholder 4"/>
          <p:cNvSpPr>
            <a:spLocks noGrp="1"/>
          </p:cNvSpPr>
          <p:nvPr>
            <p:ph type="dt" sz="half" idx="2"/>
          </p:nvPr>
        </p:nvSpPr>
        <p:spPr>
          <a:xfrm>
            <a:off x="8139386" y="6452361"/>
            <a:ext cx="1236257" cy="155235"/>
          </a:xfrm>
          <a:prstGeom prst="rect">
            <a:avLst/>
          </a:prstGeom>
        </p:spPr>
        <p:txBody>
          <a:bodyPr vert="horz" wrap="square" lIns="0" tIns="0" rIns="0" bIns="0" rtlCol="0" anchor="b" anchorCtr="0"/>
          <a:lstStyle>
            <a:lvl1pPr algn="l">
              <a:defRPr sz="933" i="0">
                <a:solidFill>
                  <a:schemeClr val="bg2"/>
                </a:solidFill>
                <a:latin typeface="Arial" pitchFamily="34" charset="0"/>
                <a:cs typeface="Arial" pitchFamily="34" charset="0"/>
              </a:defRPr>
            </a:lvl1pPr>
          </a:lstStyle>
          <a:p>
            <a:fld id="{9EB3265C-F0D4-410E-8C75-9C1664655489}" type="datetime1">
              <a:rPr lang="en-US" smtClean="0"/>
              <a:pPr/>
              <a:t>1/31/23</a:t>
            </a:fld>
            <a:endParaRPr lang="en-US" dirty="0"/>
          </a:p>
        </p:txBody>
      </p:sp>
      <p:sp>
        <p:nvSpPr>
          <p:cNvPr id="11" name="Footer Placeholder 5"/>
          <p:cNvSpPr>
            <a:spLocks noGrp="1"/>
          </p:cNvSpPr>
          <p:nvPr>
            <p:ph type="ftr" sz="quarter" idx="3"/>
          </p:nvPr>
        </p:nvSpPr>
        <p:spPr>
          <a:xfrm>
            <a:off x="730867" y="6470130"/>
            <a:ext cx="5747876" cy="137980"/>
          </a:xfrm>
          <a:prstGeom prst="rect">
            <a:avLst/>
          </a:prstGeom>
        </p:spPr>
        <p:txBody>
          <a:bodyPr vert="horz" wrap="square" lIns="0" tIns="0" rIns="0" bIns="0" rtlCol="0" anchor="b" anchorCtr="0"/>
          <a:lstStyle>
            <a:lvl1pPr algn="l">
              <a:defRPr sz="933" i="0">
                <a:solidFill>
                  <a:schemeClr val="bg2"/>
                </a:solidFill>
                <a:latin typeface="Arial" pitchFamily="34" charset="0"/>
                <a:cs typeface="Arial" pitchFamily="34" charset="0"/>
              </a:defRPr>
            </a:lvl1pPr>
          </a:lstStyle>
          <a:p>
            <a:r>
              <a:rPr lang="en-US"/>
              <a:t>Presentation Title and/or Sub Brand Name Here</a:t>
            </a:r>
            <a:endParaRPr lang="en-US" dirty="0"/>
          </a:p>
        </p:txBody>
      </p:sp>
      <p:sp>
        <p:nvSpPr>
          <p:cNvPr id="12" name="Slide Number Placeholder 6"/>
          <p:cNvSpPr>
            <a:spLocks noGrp="1"/>
          </p:cNvSpPr>
          <p:nvPr>
            <p:ph type="sldNum" sz="quarter" idx="4"/>
          </p:nvPr>
        </p:nvSpPr>
        <p:spPr>
          <a:xfrm>
            <a:off x="362809" y="6453506"/>
            <a:ext cx="328081" cy="155233"/>
          </a:xfrm>
          <a:prstGeom prst="rect">
            <a:avLst/>
          </a:prstGeom>
        </p:spPr>
        <p:txBody>
          <a:bodyPr vert="horz" wrap="square" lIns="0" tIns="0" rIns="0" bIns="0" rtlCol="0" anchor="b" anchorCtr="0"/>
          <a:lstStyle>
            <a:lvl1pPr algn="l">
              <a:defRPr sz="933" i="0">
                <a:solidFill>
                  <a:schemeClr val="bg2"/>
                </a:solidFill>
                <a:latin typeface="Arial" pitchFamily="34" charset="0"/>
                <a:cs typeface="Arial" pitchFamily="34" charset="0"/>
              </a:defRPr>
            </a:lvl1pPr>
          </a:lstStyle>
          <a:p>
            <a:fld id="{7BCC8D0D-EAEC-449D-9161-023DFF90F2E2}" type="slidenum">
              <a:rPr lang="en-US" smtClean="0"/>
              <a:pPr/>
              <a:t>‹#›</a:t>
            </a:fld>
            <a:endParaRPr lang="en-US" dirty="0"/>
          </a:p>
        </p:txBody>
      </p:sp>
    </p:spTree>
    <p:extLst>
      <p:ext uri="{BB962C8B-B14F-4D97-AF65-F5344CB8AC3E}">
        <p14:creationId xmlns:p14="http://schemas.microsoft.com/office/powerpoint/2010/main" val="3742716887"/>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type="twoObj">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sz="half" idx="1"/>
          </p:nvPr>
        </p:nvSpPr>
        <p:spPr>
          <a:xfrm>
            <a:off x="609600" y="1200152"/>
            <a:ext cx="5384800" cy="3394075"/>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half" idx="2"/>
          </p:nvPr>
        </p:nvSpPr>
        <p:spPr>
          <a:xfrm>
            <a:off x="6197600" y="1200152"/>
            <a:ext cx="5384800" cy="3394075"/>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p:cNvSpPr>
            <a:spLocks noGrp="1"/>
          </p:cNvSpPr>
          <p:nvPr>
            <p:ph type="dt" sz="half" idx="10"/>
          </p:nvPr>
        </p:nvSpPr>
        <p:spPr/>
        <p:txBody>
          <a:bodyPr/>
          <a:lstStyle/>
          <a:p>
            <a:fld id="{F238EA54-B4B0-4570-BAD2-799F06D16B41}" type="datetimeFigureOut">
              <a:rPr lang="de-DE" smtClean="0"/>
              <a:t>31.01.23</a:t>
            </a:fld>
            <a:endParaRPr lang="de-DE"/>
          </a:p>
        </p:txBody>
      </p:sp>
      <p:sp>
        <p:nvSpPr>
          <p:cNvPr id="6" name="Fußzeilenplatzhalter 5"/>
          <p:cNvSpPr>
            <a:spLocks noGrp="1"/>
          </p:cNvSpPr>
          <p:nvPr>
            <p:ph type="ftr" sz="quarter" idx="11"/>
          </p:nvPr>
        </p:nvSpPr>
        <p:spPr/>
        <p:txBody>
          <a:bodyPr/>
          <a:lstStyle/>
          <a:p>
            <a:endParaRPr lang="de-DE"/>
          </a:p>
        </p:txBody>
      </p:sp>
      <p:sp>
        <p:nvSpPr>
          <p:cNvPr id="7" name="Foliennummernplatzhalter 6"/>
          <p:cNvSpPr>
            <a:spLocks noGrp="1"/>
          </p:cNvSpPr>
          <p:nvPr>
            <p:ph type="sldNum" sz="quarter" idx="12"/>
          </p:nvPr>
        </p:nvSpPr>
        <p:spPr/>
        <p:txBody>
          <a:bodyPr/>
          <a:lstStyle/>
          <a:p>
            <a:fld id="{0426E07C-D47E-458D-83E6-19ABE714B880}" type="slidenum">
              <a:rPr lang="de-DE" smtClean="0"/>
              <a:t>‹#›</a:t>
            </a:fld>
            <a:endParaRPr lang="de-DE"/>
          </a:p>
        </p:txBody>
      </p:sp>
    </p:spTree>
    <p:extLst>
      <p:ext uri="{BB962C8B-B14F-4D97-AF65-F5344CB8AC3E}">
        <p14:creationId xmlns:p14="http://schemas.microsoft.com/office/powerpoint/2010/main" val="3069902363"/>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4735713D-D566-4186-9787-C5E97CA19282}" type="datetime1">
              <a:rPr lang="en-US" smtClean="0"/>
              <a:t>1/31/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CC7432E5-F8E0-41AE-9A6B-AD730338B005}" type="slidenum">
              <a:rPr lang="en-US" smtClean="0"/>
              <a:pPr/>
              <a:t>‹#›</a:t>
            </a:fld>
            <a:endParaRPr lang="en-US"/>
          </a:p>
        </p:txBody>
      </p:sp>
      <p:sp>
        <p:nvSpPr>
          <p:cNvPr id="7" name="Text Placeholder 6"/>
          <p:cNvSpPr>
            <a:spLocks noGrp="1"/>
          </p:cNvSpPr>
          <p:nvPr>
            <p:ph type="body" sz="quarter" idx="13" hasCustomPrompt="1"/>
          </p:nvPr>
        </p:nvSpPr>
        <p:spPr>
          <a:xfrm>
            <a:off x="457200" y="5852160"/>
            <a:ext cx="10058400" cy="1005840"/>
          </a:xfrm>
        </p:spPr>
        <p:txBody>
          <a:bodyPr anchor="b">
            <a:noAutofit/>
          </a:bodyPr>
          <a:lstStyle>
            <a:lvl1pPr marL="0" indent="0">
              <a:spcBef>
                <a:spcPts val="300"/>
              </a:spcBef>
              <a:buNone/>
              <a:defRPr sz="1000"/>
            </a:lvl1pPr>
            <a:lvl2pPr marL="228594" indent="0">
              <a:spcBef>
                <a:spcPts val="300"/>
              </a:spcBef>
              <a:buNone/>
              <a:defRPr sz="1000"/>
            </a:lvl2pPr>
            <a:lvl3pPr marL="457189" indent="0">
              <a:spcBef>
                <a:spcPts val="300"/>
              </a:spcBef>
              <a:buNone/>
              <a:defRPr sz="1000"/>
            </a:lvl3pPr>
            <a:lvl4pPr marL="685783" indent="0">
              <a:spcBef>
                <a:spcPts val="300"/>
              </a:spcBef>
              <a:buNone/>
              <a:defRPr sz="1000"/>
            </a:lvl4pPr>
            <a:lvl5pPr marL="914377" indent="0">
              <a:spcBef>
                <a:spcPts val="300"/>
              </a:spcBef>
              <a:buNone/>
              <a:defRPr sz="1000"/>
            </a:lvl5pPr>
          </a:lstStyle>
          <a:p>
            <a:pPr lvl="0"/>
            <a:r>
              <a:rPr lang="en-US"/>
              <a:t>Reference(s)</a:t>
            </a:r>
          </a:p>
        </p:txBody>
      </p:sp>
    </p:spTree>
    <p:extLst>
      <p:ext uri="{BB962C8B-B14F-4D97-AF65-F5344CB8AC3E}">
        <p14:creationId xmlns:p14="http://schemas.microsoft.com/office/powerpoint/2010/main" val="3570768463"/>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1_Title Slide Post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51754" y="1794618"/>
            <a:ext cx="10909462" cy="1452166"/>
          </a:xfrm>
        </p:spPr>
        <p:txBody>
          <a:bodyPr anchor="b"/>
          <a:lstStyle>
            <a:lvl1pPr algn="ctr" rtl="0" eaLnBrk="1" latinLnBrk="0" hangingPunct="1">
              <a:lnSpc>
                <a:spcPct val="85000"/>
              </a:lnSpc>
              <a:spcBef>
                <a:spcPct val="0"/>
              </a:spcBef>
              <a:buNone/>
              <a:defRPr kumimoji="0" lang="en-US" sz="3600" b="1" kern="1200" dirty="0">
                <a:solidFill>
                  <a:srgbClr val="9E9952"/>
                </a:solidFill>
                <a:effectLst/>
                <a:latin typeface="+mj-lt"/>
                <a:ea typeface="+mj-ea"/>
                <a:cs typeface="+mj-cs"/>
              </a:defRPr>
            </a:lvl1pPr>
          </a:lstStyle>
          <a:p>
            <a:r>
              <a:rPr lang="en-US" dirty="0"/>
              <a:t>CLICK TO EDIT MASTER TITLE STYLE</a:t>
            </a:r>
          </a:p>
        </p:txBody>
      </p:sp>
      <p:sp>
        <p:nvSpPr>
          <p:cNvPr id="3" name="Subtitle 2"/>
          <p:cNvSpPr>
            <a:spLocks noGrp="1"/>
          </p:cNvSpPr>
          <p:nvPr>
            <p:ph type="subTitle" idx="1"/>
          </p:nvPr>
        </p:nvSpPr>
        <p:spPr>
          <a:xfrm>
            <a:off x="649355" y="3992990"/>
            <a:ext cx="11039061" cy="1006481"/>
          </a:xfrm>
        </p:spPr>
        <p:txBody>
          <a:bodyPr/>
          <a:lstStyle>
            <a:lvl1pPr marL="0" indent="0" algn="ctr">
              <a:buNone/>
              <a:defRPr sz="2000">
                <a:solidFill>
                  <a:srgbClr val="58585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0" name="Slide Number Placeholder 5"/>
          <p:cNvSpPr>
            <a:spLocks noGrp="1"/>
          </p:cNvSpPr>
          <p:nvPr>
            <p:ph type="sldNum" sz="quarter" idx="12"/>
          </p:nvPr>
        </p:nvSpPr>
        <p:spPr>
          <a:xfrm>
            <a:off x="11073384" y="6345936"/>
            <a:ext cx="609600" cy="476250"/>
          </a:xfrm>
        </p:spPr>
        <p:txBody>
          <a:bodyPr/>
          <a:lstStyle>
            <a:lvl1pPr>
              <a:defRPr>
                <a:solidFill>
                  <a:schemeClr val="tx1"/>
                </a:solidFill>
              </a:defRPr>
            </a:lvl1pPr>
          </a:lstStyle>
          <a:p>
            <a:fld id="{6F1E4F86-A831-49DA-96AB-4E5A3665936B}" type="slidenum">
              <a:rPr lang="en-US" smtClean="0"/>
              <a:t>‹#›</a:t>
            </a:fld>
            <a:endParaRPr lang="en-US" dirty="0"/>
          </a:p>
        </p:txBody>
      </p:sp>
      <p:sp>
        <p:nvSpPr>
          <p:cNvPr id="8" name="Line 26">
            <a:extLst>
              <a:ext uri="{FF2B5EF4-FFF2-40B4-BE49-F238E27FC236}">
                <a16:creationId xmlns:a16="http://schemas.microsoft.com/office/drawing/2014/main" id="{1BB1F1AB-CD41-C048-8E90-E10D605C7672}"/>
              </a:ext>
            </a:extLst>
          </p:cNvPr>
          <p:cNvSpPr>
            <a:spLocks noChangeShapeType="1"/>
          </p:cNvSpPr>
          <p:nvPr userDrawn="1"/>
        </p:nvSpPr>
        <p:spPr bwMode="auto">
          <a:xfrm>
            <a:off x="0" y="3529237"/>
            <a:ext cx="12192000" cy="0"/>
          </a:xfrm>
          <a:prstGeom prst="line">
            <a:avLst/>
          </a:prstGeom>
          <a:noFill/>
          <a:ln w="44450">
            <a:solidFill>
              <a:srgbClr val="9E9952"/>
            </a:solidFill>
            <a:round/>
            <a:headEnd/>
            <a:tailEnd/>
          </a:ln>
          <a:effectLst/>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ja-JP" altLang="en-US" sz="2800">
              <a:solidFill>
                <a:prstClr val="black"/>
              </a:solidFill>
              <a:cs typeface="Arial" charset="0"/>
            </a:endParaRPr>
          </a:p>
        </p:txBody>
      </p:sp>
    </p:spTree>
    <p:custDataLst>
      <p:tags r:id="rId1"/>
    </p:custDataLst>
    <p:extLst>
      <p:ext uri="{BB962C8B-B14F-4D97-AF65-F5344CB8AC3E}">
        <p14:creationId xmlns:p14="http://schemas.microsoft.com/office/powerpoint/2010/main" val="422400055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orient="horz" pos="72">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375465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
        <p:nvSpPr>
          <p:cNvPr id="3" name="Content Placeholder 2"/>
          <p:cNvSpPr>
            <a:spLocks noGrp="1"/>
          </p:cNvSpPr>
          <p:nvPr>
            <p:ph idx="1"/>
          </p:nvPr>
        </p:nvSpPr>
        <p:spPr>
          <a:xfrm>
            <a:off x="711200" y="1442720"/>
            <a:ext cx="10844784" cy="4083437"/>
          </a:xfrm>
        </p:spPr>
        <p:txBody>
          <a:bodyPr/>
          <a:lstStyle>
            <a:lvl1pPr>
              <a:buClr>
                <a:srgbClr val="855D3E"/>
              </a:buClr>
              <a:defRPr/>
            </a:lvl1pPr>
            <a:lvl2pPr>
              <a:buClr>
                <a:srgbClr val="855D3E"/>
              </a:buClr>
              <a:defRPr/>
            </a:lvl2pPr>
            <a:lvl3pPr>
              <a:buClr>
                <a:srgbClr val="855D3E"/>
              </a:buClr>
              <a:defRPr/>
            </a:lvl3pPr>
            <a:lvl4pPr>
              <a:buClr>
                <a:srgbClr val="855D3E"/>
              </a:buClr>
              <a:defRPr/>
            </a:lvl4pPr>
            <a:lvl5pPr>
              <a:buClr>
                <a:srgbClr val="855D3E"/>
              </a:buCl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6F1E4F86-A831-49DA-96AB-4E5A3665936B}" type="slidenum">
              <a:rPr lang="en-US" smtClean="0"/>
              <a:t>‹#›</a:t>
            </a:fld>
            <a:endParaRPr lang="en-US" dirty="0"/>
          </a:p>
        </p:txBody>
      </p:sp>
      <p:sp>
        <p:nvSpPr>
          <p:cNvPr id="7" name="Content Placeholder 6">
            <a:extLst>
              <a:ext uri="{FF2B5EF4-FFF2-40B4-BE49-F238E27FC236}">
                <a16:creationId xmlns:a16="http://schemas.microsoft.com/office/drawing/2014/main" id="{0EEF148C-3CF8-A64B-B43D-E80C74CEA821}"/>
              </a:ext>
            </a:extLst>
          </p:cNvPr>
          <p:cNvSpPr>
            <a:spLocks noGrp="1"/>
          </p:cNvSpPr>
          <p:nvPr>
            <p:ph sz="quarter" idx="13" hasCustomPrompt="1"/>
          </p:nvPr>
        </p:nvSpPr>
        <p:spPr>
          <a:xfrm>
            <a:off x="681029" y="5995549"/>
            <a:ext cx="10906125" cy="438150"/>
          </a:xfrm>
        </p:spPr>
        <p:txBody>
          <a:bodyPr anchor="b"/>
          <a:lstStyle>
            <a:lvl1pPr marL="1587" indent="0">
              <a:buNone/>
              <a:defRPr sz="900"/>
            </a:lvl1pPr>
            <a:lvl2pPr marL="265112" indent="0">
              <a:buNone/>
              <a:defRPr sz="900"/>
            </a:lvl2pPr>
            <a:lvl3pPr marL="555625" indent="0">
              <a:buNone/>
              <a:defRPr sz="900"/>
            </a:lvl3pPr>
            <a:lvl4pPr marL="822325" indent="0">
              <a:buNone/>
              <a:defRPr sz="900"/>
            </a:lvl4pPr>
            <a:lvl5pPr marL="1052512" indent="0">
              <a:buNone/>
              <a:defRPr sz="900"/>
            </a:lvl5pPr>
          </a:lstStyle>
          <a:p>
            <a:pPr lvl="0"/>
            <a:r>
              <a:rPr lang="en-US" dirty="0"/>
              <a:t>Click to edit references</a:t>
            </a:r>
          </a:p>
        </p:txBody>
      </p:sp>
    </p:spTree>
    <p:custDataLst>
      <p:tags r:id="rId1"/>
    </p:custDataLst>
    <p:extLst>
      <p:ext uri="{BB962C8B-B14F-4D97-AF65-F5344CB8AC3E}">
        <p14:creationId xmlns:p14="http://schemas.microsoft.com/office/powerpoint/2010/main" val="2342577994"/>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x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
        <p:nvSpPr>
          <p:cNvPr id="6" name="Slide Number Placeholder 5"/>
          <p:cNvSpPr>
            <a:spLocks noGrp="1"/>
          </p:cNvSpPr>
          <p:nvPr>
            <p:ph type="sldNum" sz="quarter" idx="12"/>
          </p:nvPr>
        </p:nvSpPr>
        <p:spPr/>
        <p:txBody>
          <a:bodyPr/>
          <a:lstStyle/>
          <a:p>
            <a:fld id="{6F1E4F86-A831-49DA-96AB-4E5A3665936B}" type="slidenum">
              <a:rPr lang="en-US" smtClean="0"/>
              <a:t>‹#›</a:t>
            </a:fld>
            <a:endParaRPr lang="en-US" dirty="0"/>
          </a:p>
        </p:txBody>
      </p:sp>
      <p:sp>
        <p:nvSpPr>
          <p:cNvPr id="8" name="Content Placeholder 6">
            <a:extLst>
              <a:ext uri="{FF2B5EF4-FFF2-40B4-BE49-F238E27FC236}">
                <a16:creationId xmlns:a16="http://schemas.microsoft.com/office/drawing/2014/main" id="{10F822D9-0619-3B48-BD9D-C9E6ADD5469D}"/>
              </a:ext>
            </a:extLst>
          </p:cNvPr>
          <p:cNvSpPr>
            <a:spLocks noGrp="1"/>
          </p:cNvSpPr>
          <p:nvPr>
            <p:ph sz="quarter" idx="13" hasCustomPrompt="1"/>
          </p:nvPr>
        </p:nvSpPr>
        <p:spPr>
          <a:xfrm>
            <a:off x="681029" y="5995549"/>
            <a:ext cx="10906125" cy="438150"/>
          </a:xfrm>
        </p:spPr>
        <p:txBody>
          <a:bodyPr anchor="b"/>
          <a:lstStyle>
            <a:lvl1pPr marL="1587" indent="0">
              <a:buNone/>
              <a:defRPr sz="900"/>
            </a:lvl1pPr>
            <a:lvl2pPr marL="265112" indent="0">
              <a:buNone/>
              <a:defRPr sz="900"/>
            </a:lvl2pPr>
            <a:lvl3pPr marL="555625" indent="0">
              <a:buNone/>
              <a:defRPr sz="900"/>
            </a:lvl3pPr>
            <a:lvl4pPr marL="822325" indent="0">
              <a:buNone/>
              <a:defRPr sz="900"/>
            </a:lvl4pPr>
            <a:lvl5pPr marL="1052512" indent="0">
              <a:buNone/>
              <a:defRPr sz="900"/>
            </a:lvl5pPr>
          </a:lstStyle>
          <a:p>
            <a:pPr lvl="0"/>
            <a:r>
              <a:rPr lang="en-US" dirty="0"/>
              <a:t>Click to edit references</a:t>
            </a:r>
          </a:p>
        </p:txBody>
      </p:sp>
    </p:spTree>
    <p:custDataLst>
      <p:tags r:id="rId1"/>
    </p:custDataLst>
    <p:extLst>
      <p:ext uri="{BB962C8B-B14F-4D97-AF65-F5344CB8AC3E}">
        <p14:creationId xmlns:p14="http://schemas.microsoft.com/office/powerpoint/2010/main" val="3383978129"/>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7" name="Picture 11" descr="McLovin:RMS Graphics:Steve B.:Taiho:PowerPoint Slides:TPUI Template:Slide1REV.tif">
            <a:extLst>
              <a:ext uri="{FF2B5EF4-FFF2-40B4-BE49-F238E27FC236}">
                <a16:creationId xmlns:a16="http://schemas.microsoft.com/office/drawing/2014/main" id="{5136EE39-F5B5-8E46-B59E-1C91EED39ADA}"/>
              </a:ext>
            </a:extLst>
          </p:cNvPr>
          <p:cNvPicPr>
            <a:picLocks noChangeAspect="1" noChangeArrowheads="1"/>
          </p:cNvPicPr>
          <p:nvPr userDrawn="1"/>
        </p:nvPicPr>
        <p:blipFill>
          <a:blip r:embed="rId2" r:link="rId3">
            <a:extLst>
              <a:ext uri="{28A0092B-C50C-407E-A947-70E740481C1C}">
                <a14:useLocalDpi xmlns:a14="http://schemas.microsoft.com/office/drawing/2010/main" val="0"/>
              </a:ext>
            </a:extLst>
          </a:blip>
          <a:srcRect l="2499" t="28896" r="65833" b="29984"/>
          <a:stretch>
            <a:fillRect/>
          </a:stretch>
        </p:blipFill>
        <p:spPr bwMode="auto">
          <a:xfrm>
            <a:off x="568325" y="2701078"/>
            <a:ext cx="1565275" cy="152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30">
            <a:extLst>
              <a:ext uri="{FF2B5EF4-FFF2-40B4-BE49-F238E27FC236}">
                <a16:creationId xmlns:a16="http://schemas.microsoft.com/office/drawing/2014/main" id="{352D61F6-8CD9-8E47-910A-C1C409C1D582}"/>
              </a:ext>
            </a:extLst>
          </p:cNvPr>
          <p:cNvSpPr>
            <a:spLocks noChangeArrowheads="1"/>
          </p:cNvSpPr>
          <p:nvPr userDrawn="1"/>
        </p:nvSpPr>
        <p:spPr bwMode="auto">
          <a:xfrm>
            <a:off x="11872913" y="6629400"/>
            <a:ext cx="304800" cy="228600"/>
          </a:xfrm>
          <a:prstGeom prst="rect">
            <a:avLst/>
          </a:prstGeom>
          <a:noFill/>
          <a:ln>
            <a:noFill/>
          </a:ln>
        </p:spPr>
        <p:txBody>
          <a:bodyPr lIns="9144" tIns="91440" rIns="9144" bIns="91440" anchor="ctr"/>
          <a:lstStyle>
            <a:lvl1pPr>
              <a:defRPr sz="2800">
                <a:solidFill>
                  <a:schemeClr val="tx1"/>
                </a:solidFill>
                <a:latin typeface="Arial" panose="020B0604020202020204" pitchFamily="34" charset="0"/>
                <a:cs typeface="Arial" panose="020B0604020202020204" pitchFamily="34" charset="0"/>
              </a:defRPr>
            </a:lvl1pPr>
            <a:lvl2pPr marL="742950" indent="-285750">
              <a:defRPr sz="2800">
                <a:solidFill>
                  <a:schemeClr val="tx1"/>
                </a:solidFill>
                <a:latin typeface="Arial" panose="020B0604020202020204" pitchFamily="34" charset="0"/>
                <a:cs typeface="Arial" panose="020B0604020202020204" pitchFamily="34" charset="0"/>
              </a:defRPr>
            </a:lvl2pPr>
            <a:lvl3pPr marL="1143000" indent="-228600">
              <a:defRPr sz="2800">
                <a:solidFill>
                  <a:schemeClr val="tx1"/>
                </a:solidFill>
                <a:latin typeface="Arial" panose="020B0604020202020204" pitchFamily="34" charset="0"/>
                <a:cs typeface="Arial" panose="020B0604020202020204" pitchFamily="34" charset="0"/>
              </a:defRPr>
            </a:lvl3pPr>
            <a:lvl4pPr marL="1600200" indent="-228600">
              <a:defRPr sz="2800">
                <a:solidFill>
                  <a:schemeClr val="tx1"/>
                </a:solidFill>
                <a:latin typeface="Arial" panose="020B0604020202020204" pitchFamily="34" charset="0"/>
                <a:cs typeface="Arial" panose="020B0604020202020204" pitchFamily="34" charset="0"/>
              </a:defRPr>
            </a:lvl4pPr>
            <a:lvl5pPr marL="2057400" indent="-228600">
              <a:defRPr sz="28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8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8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8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800">
                <a:solidFill>
                  <a:schemeClr val="tx1"/>
                </a:solidFill>
                <a:latin typeface="Arial" panose="020B0604020202020204" pitchFamily="34" charset="0"/>
                <a:cs typeface="Arial" panose="020B0604020202020204" pitchFamily="34" charset="0"/>
              </a:defRPr>
            </a:lvl9pPr>
          </a:lstStyle>
          <a:p>
            <a:pPr algn="ctr">
              <a:spcBef>
                <a:spcPct val="20000"/>
              </a:spcBef>
              <a:defRPr/>
            </a:pPr>
            <a:fld id="{5415AE93-56F8-CD46-9E4F-7B4097CC3ED8}" type="slidenum">
              <a:rPr lang="fr-FR" altLang="en-US" sz="1000" smtClean="0"/>
              <a:pPr algn="ctr">
                <a:spcBef>
                  <a:spcPct val="20000"/>
                </a:spcBef>
                <a:defRPr/>
              </a:pPr>
              <a:t>‹#›</a:t>
            </a:fld>
            <a:endParaRPr lang="fr-FR" altLang="en-US" sz="1000" dirty="0"/>
          </a:p>
        </p:txBody>
      </p:sp>
      <p:sp>
        <p:nvSpPr>
          <p:cNvPr id="10" name="Rectangle 2">
            <a:extLst>
              <a:ext uri="{FF2B5EF4-FFF2-40B4-BE49-F238E27FC236}">
                <a16:creationId xmlns:a16="http://schemas.microsoft.com/office/drawing/2014/main" id="{371D7F6A-5A4E-4F4B-8602-25FC2402634F}"/>
              </a:ext>
            </a:extLst>
          </p:cNvPr>
          <p:cNvSpPr>
            <a:spLocks noGrp="1" noChangeArrowheads="1"/>
          </p:cNvSpPr>
          <p:nvPr>
            <p:ph type="ctrTitle"/>
          </p:nvPr>
        </p:nvSpPr>
        <p:spPr>
          <a:xfrm>
            <a:off x="2133600" y="2297059"/>
            <a:ext cx="9245600" cy="2332037"/>
          </a:xfrm>
          <a:prstGeom prst="rect">
            <a:avLst/>
          </a:prstGeom>
        </p:spPr>
        <p:txBody>
          <a:bodyPr>
            <a:normAutofit/>
          </a:bodyPr>
          <a:lstStyle>
            <a:lvl1pPr algn="ctr">
              <a:defRPr sz="3200" b="1">
                <a:solidFill>
                  <a:schemeClr val="tx2"/>
                </a:solidFill>
              </a:defRPr>
            </a:lvl1pPr>
          </a:lstStyle>
          <a:p>
            <a:r>
              <a:rPr lang="en-US" noProof="0" dirty="0"/>
              <a:t>Click to edit Master title style</a:t>
            </a:r>
          </a:p>
        </p:txBody>
      </p:sp>
      <p:sp>
        <p:nvSpPr>
          <p:cNvPr id="11" name="Text Placeholder 4">
            <a:extLst>
              <a:ext uri="{FF2B5EF4-FFF2-40B4-BE49-F238E27FC236}">
                <a16:creationId xmlns:a16="http://schemas.microsoft.com/office/drawing/2014/main" id="{8228F357-3EDA-E04C-A29B-5C658CC75D54}"/>
              </a:ext>
            </a:extLst>
          </p:cNvPr>
          <p:cNvSpPr>
            <a:spLocks noGrp="1"/>
          </p:cNvSpPr>
          <p:nvPr>
            <p:ph type="body" sz="quarter" idx="11"/>
          </p:nvPr>
        </p:nvSpPr>
        <p:spPr>
          <a:xfrm>
            <a:off x="4216400" y="4465982"/>
            <a:ext cx="5080000" cy="1143000"/>
          </a:xfrm>
          <a:prstGeom prst="rect">
            <a:avLst/>
          </a:prstGeom>
        </p:spPr>
        <p:txBody>
          <a:bodyPr>
            <a:normAutofit/>
          </a:bodyPr>
          <a:lstStyle>
            <a:lvl1pPr marL="0" indent="0" algn="ctr">
              <a:buNone/>
              <a:defRPr sz="2000" b="1">
                <a:solidFill>
                  <a:schemeClr val="accent1"/>
                </a:solidFill>
              </a:defRPr>
            </a:lvl1pPr>
            <a:lvl5pPr marL="0" indent="0" algn="ctr" rtl="0" eaLnBrk="0" fontAlgn="base" hangingPunct="0">
              <a:spcBef>
                <a:spcPct val="0"/>
              </a:spcBef>
              <a:spcAft>
                <a:spcPct val="0"/>
              </a:spcAft>
              <a:buNone/>
              <a:defRPr lang="en-US" sz="2000" b="1" kern="1200" dirty="0">
                <a:solidFill>
                  <a:srgbClr val="003399"/>
                </a:solidFill>
                <a:latin typeface="Arial" pitchFamily="34" charset="0"/>
                <a:ea typeface="+mj-ea"/>
                <a:cs typeface="Arial" pitchFamily="34" charset="0"/>
              </a:defRPr>
            </a:lvl5pPr>
          </a:lstStyle>
          <a:p>
            <a:pPr lvl="0"/>
            <a:r>
              <a:rPr lang="en-US" dirty="0"/>
              <a:t>Click to edit Master text styles</a:t>
            </a:r>
          </a:p>
        </p:txBody>
      </p:sp>
    </p:spTree>
    <p:extLst>
      <p:ext uri="{BB962C8B-B14F-4D97-AF65-F5344CB8AC3E}">
        <p14:creationId xmlns:p14="http://schemas.microsoft.com/office/powerpoint/2010/main" val="1954503948"/>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9" name="Line 26">
            <a:extLst>
              <a:ext uri="{FF2B5EF4-FFF2-40B4-BE49-F238E27FC236}">
                <a16:creationId xmlns:a16="http://schemas.microsoft.com/office/drawing/2014/main" id="{D9A4032D-E06D-3B4A-9B03-3889D5083131}"/>
              </a:ext>
            </a:extLst>
          </p:cNvPr>
          <p:cNvSpPr>
            <a:spLocks noChangeShapeType="1"/>
          </p:cNvSpPr>
          <p:nvPr userDrawn="1"/>
        </p:nvSpPr>
        <p:spPr bwMode="auto">
          <a:xfrm>
            <a:off x="609600" y="1089992"/>
            <a:ext cx="10972800" cy="0"/>
          </a:xfrm>
          <a:prstGeom prst="line">
            <a:avLst/>
          </a:prstGeom>
          <a:noFill/>
          <a:ln w="57150">
            <a:solidFill>
              <a:schemeClr val="accent1"/>
            </a:solidFill>
            <a:round/>
            <a:headEnd/>
            <a:tailEnd/>
          </a:ln>
          <a:extLst>
            <a:ext uri="{909E8E84-426E-40DD-AFC4-6F175D3DCCD1}">
              <a14:hiddenFill xmlns:a14="http://schemas.microsoft.com/office/drawing/2010/main">
                <a:noFill/>
              </a14:hiddenFill>
            </a:ext>
          </a:extLst>
        </p:spPr>
        <p:txBody>
          <a:bodyPr/>
          <a:lstStyle/>
          <a:p>
            <a:endParaRPr lang="en-US" dirty="0"/>
          </a:p>
        </p:txBody>
      </p:sp>
      <p:sp>
        <p:nvSpPr>
          <p:cNvPr id="11" name="Title 1">
            <a:extLst>
              <a:ext uri="{FF2B5EF4-FFF2-40B4-BE49-F238E27FC236}">
                <a16:creationId xmlns:a16="http://schemas.microsoft.com/office/drawing/2014/main" id="{4850112D-5065-E948-8369-14A926619F6E}"/>
              </a:ext>
            </a:extLst>
          </p:cNvPr>
          <p:cNvSpPr>
            <a:spLocks noGrp="1"/>
          </p:cNvSpPr>
          <p:nvPr>
            <p:ph type="title"/>
          </p:nvPr>
        </p:nvSpPr>
        <p:spPr>
          <a:xfrm>
            <a:off x="1103243" y="13386"/>
            <a:ext cx="10479157" cy="977211"/>
          </a:xfrm>
        </p:spPr>
        <p:txBody>
          <a:bodyPr/>
          <a:lstStyle>
            <a:lvl1pPr>
              <a:defRPr>
                <a:solidFill>
                  <a:schemeClr val="tx2"/>
                </a:solidFill>
              </a:defRPr>
            </a:lvl1pPr>
          </a:lstStyle>
          <a:p>
            <a:r>
              <a:rPr lang="en-US" dirty="0"/>
              <a:t>Click to edit Master title style</a:t>
            </a:r>
          </a:p>
        </p:txBody>
      </p:sp>
      <p:sp>
        <p:nvSpPr>
          <p:cNvPr id="12" name="Content Placeholder 2">
            <a:extLst>
              <a:ext uri="{FF2B5EF4-FFF2-40B4-BE49-F238E27FC236}">
                <a16:creationId xmlns:a16="http://schemas.microsoft.com/office/drawing/2014/main" id="{9460D9DE-9AC9-2249-8D82-53F5282A6C79}"/>
              </a:ext>
            </a:extLst>
          </p:cNvPr>
          <p:cNvSpPr>
            <a:spLocks noGrp="1"/>
          </p:cNvSpPr>
          <p:nvPr>
            <p:ph idx="1"/>
          </p:nvPr>
        </p:nvSpPr>
        <p:spPr>
          <a:xfrm>
            <a:off x="609600" y="1321904"/>
            <a:ext cx="10972800" cy="4739857"/>
          </a:xfrm>
        </p:spPr>
        <p:txBody>
          <a:bodyPr/>
          <a:lstStyle>
            <a:lvl1pPr>
              <a:defRPr>
                <a:solidFill>
                  <a:schemeClr val="tx2"/>
                </a:solidFill>
              </a:defRPr>
            </a:lvl1pPr>
            <a:lvl2pPr>
              <a:defRPr>
                <a:solidFill>
                  <a:schemeClr val="tx2"/>
                </a:solidFill>
              </a:defRPr>
            </a:lvl2pPr>
            <a:lvl3pPr>
              <a:defRPr>
                <a:solidFill>
                  <a:schemeClr val="tx2"/>
                </a:solidFill>
              </a:defRPr>
            </a:lvl3pPr>
            <a:lvl4pPr>
              <a:defRPr sz="1200">
                <a:solidFill>
                  <a:schemeClr val="tx2"/>
                </a:solidFill>
              </a:defRPr>
            </a:lvl4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p:txBody>
      </p:sp>
      <p:sp>
        <p:nvSpPr>
          <p:cNvPr id="3" name="Text Placeholder 2">
            <a:extLst>
              <a:ext uri="{FF2B5EF4-FFF2-40B4-BE49-F238E27FC236}">
                <a16:creationId xmlns:a16="http://schemas.microsoft.com/office/drawing/2014/main" id="{33A76941-E345-6146-A79D-B394F7D99C6D}"/>
              </a:ext>
            </a:extLst>
          </p:cNvPr>
          <p:cNvSpPr>
            <a:spLocks noGrp="1"/>
          </p:cNvSpPr>
          <p:nvPr>
            <p:ph type="body" sz="quarter" idx="10" hasCustomPrompt="1"/>
          </p:nvPr>
        </p:nvSpPr>
        <p:spPr>
          <a:xfrm>
            <a:off x="609600" y="6091579"/>
            <a:ext cx="10972800" cy="398673"/>
          </a:xfrm>
        </p:spPr>
        <p:txBody>
          <a:bodyPr/>
          <a:lstStyle>
            <a:lvl1pPr marL="0" indent="0">
              <a:buFontTx/>
              <a:buNone/>
              <a:defRPr sz="1050" b="0">
                <a:solidFill>
                  <a:schemeClr val="tx2">
                    <a:lumMod val="85000"/>
                    <a:lumOff val="15000"/>
                  </a:schemeClr>
                </a:solidFill>
              </a:defRPr>
            </a:lvl1pPr>
            <a:lvl2pPr marL="457200" indent="0">
              <a:buFontTx/>
              <a:buNone/>
              <a:defRPr sz="1050" b="0"/>
            </a:lvl2pPr>
            <a:lvl3pPr marL="914400" indent="0">
              <a:buFontTx/>
              <a:buNone/>
              <a:defRPr sz="900" b="0"/>
            </a:lvl3pPr>
            <a:lvl4pPr marL="1371600" indent="0">
              <a:buFontTx/>
              <a:buNone/>
              <a:defRPr sz="400" b="0"/>
            </a:lvl4pPr>
            <a:lvl5pPr marL="1828800" indent="0">
              <a:buFontTx/>
              <a:buNone/>
              <a:defRPr sz="1000" b="0"/>
            </a:lvl5pPr>
          </a:lstStyle>
          <a:p>
            <a:pPr lvl="0"/>
            <a:r>
              <a:rPr lang="en-US" dirty="0"/>
              <a:t>Footer</a:t>
            </a:r>
          </a:p>
        </p:txBody>
      </p:sp>
    </p:spTree>
    <p:extLst>
      <p:ext uri="{BB962C8B-B14F-4D97-AF65-F5344CB8AC3E}">
        <p14:creationId xmlns:p14="http://schemas.microsoft.com/office/powerpoint/2010/main" val="152710852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9" name="Line 26">
            <a:extLst>
              <a:ext uri="{FF2B5EF4-FFF2-40B4-BE49-F238E27FC236}">
                <a16:creationId xmlns:a16="http://schemas.microsoft.com/office/drawing/2014/main" id="{D9A4032D-E06D-3B4A-9B03-3889D5083131}"/>
              </a:ext>
            </a:extLst>
          </p:cNvPr>
          <p:cNvSpPr>
            <a:spLocks noChangeShapeType="1"/>
          </p:cNvSpPr>
          <p:nvPr userDrawn="1"/>
        </p:nvSpPr>
        <p:spPr bwMode="auto">
          <a:xfrm>
            <a:off x="609600" y="1089992"/>
            <a:ext cx="10972800" cy="0"/>
          </a:xfrm>
          <a:prstGeom prst="line">
            <a:avLst/>
          </a:prstGeom>
          <a:noFill/>
          <a:ln w="57150">
            <a:solidFill>
              <a:schemeClr val="accent1"/>
            </a:solidFill>
            <a:round/>
            <a:headEnd/>
            <a:tailEnd/>
          </a:ln>
          <a:extLst>
            <a:ext uri="{909E8E84-426E-40DD-AFC4-6F175D3DCCD1}">
              <a14:hiddenFill xmlns:a14="http://schemas.microsoft.com/office/drawing/2010/main">
                <a:noFill/>
              </a14:hiddenFill>
            </a:ext>
          </a:extLst>
        </p:spPr>
        <p:txBody>
          <a:bodyPr/>
          <a:lstStyle/>
          <a:p>
            <a:endParaRPr lang="en-US" dirty="0"/>
          </a:p>
        </p:txBody>
      </p:sp>
      <p:pic>
        <p:nvPicPr>
          <p:cNvPr id="10" name="Picture 11" descr="McLovin:RMS Graphics:Steve B.:Taiho:PowerPoint Slides:TPUI Template:Slide1REV.tif">
            <a:extLst>
              <a:ext uri="{FF2B5EF4-FFF2-40B4-BE49-F238E27FC236}">
                <a16:creationId xmlns:a16="http://schemas.microsoft.com/office/drawing/2014/main" id="{58BB7EEF-FA54-1244-AA9B-151CFFC1A78D}"/>
              </a:ext>
            </a:extLst>
          </p:cNvPr>
          <p:cNvPicPr>
            <a:picLocks noChangeAspect="1" noChangeArrowheads="1"/>
          </p:cNvPicPr>
          <p:nvPr userDrawn="1"/>
        </p:nvPicPr>
        <p:blipFill>
          <a:blip r:embed="rId2" r:link="rId3">
            <a:extLst>
              <a:ext uri="{28A0092B-C50C-407E-A947-70E740481C1C}">
                <a14:useLocalDpi xmlns:a14="http://schemas.microsoft.com/office/drawing/2010/main" val="0"/>
              </a:ext>
            </a:extLst>
          </a:blip>
          <a:srcRect l="2499" t="28896" r="65833" b="29984"/>
          <a:stretch>
            <a:fillRect/>
          </a:stretch>
        </p:blipFill>
        <p:spPr bwMode="auto">
          <a:xfrm>
            <a:off x="0" y="12699"/>
            <a:ext cx="1003016" cy="977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itle 1">
            <a:extLst>
              <a:ext uri="{FF2B5EF4-FFF2-40B4-BE49-F238E27FC236}">
                <a16:creationId xmlns:a16="http://schemas.microsoft.com/office/drawing/2014/main" id="{4850112D-5065-E948-8369-14A926619F6E}"/>
              </a:ext>
            </a:extLst>
          </p:cNvPr>
          <p:cNvSpPr>
            <a:spLocks noGrp="1"/>
          </p:cNvSpPr>
          <p:nvPr>
            <p:ph type="title"/>
          </p:nvPr>
        </p:nvSpPr>
        <p:spPr>
          <a:xfrm>
            <a:off x="1103243" y="13386"/>
            <a:ext cx="10479157" cy="977211"/>
          </a:xfrm>
        </p:spPr>
        <p:txBody>
          <a:bodyPr/>
          <a:lstStyle>
            <a:lvl1pPr>
              <a:defRPr>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3454009575"/>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i3 Health Title">
    <p:spTree>
      <p:nvGrpSpPr>
        <p:cNvPr id="1" name=""/>
        <p:cNvGrpSpPr/>
        <p:nvPr/>
      </p:nvGrpSpPr>
      <p:grpSpPr>
        <a:xfrm>
          <a:off x="0" y="0"/>
          <a:ext cx="0" cy="0"/>
          <a:chOff x="0" y="0"/>
          <a:chExt cx="0" cy="0"/>
        </a:xfrm>
      </p:grpSpPr>
      <p:sp>
        <p:nvSpPr>
          <p:cNvPr id="13" name="Text Placeholder 12"/>
          <p:cNvSpPr>
            <a:spLocks noGrp="1"/>
          </p:cNvSpPr>
          <p:nvPr>
            <p:ph type="body" sz="quarter" idx="12" hasCustomPrompt="1"/>
          </p:nvPr>
        </p:nvSpPr>
        <p:spPr>
          <a:xfrm>
            <a:off x="193575" y="6575082"/>
            <a:ext cx="1118896" cy="153888"/>
          </a:xfrm>
        </p:spPr>
        <p:txBody>
          <a:bodyPr wrap="none" lIns="0" tIns="0" rIns="0" bIns="0" anchor="b" anchorCtr="0">
            <a:spAutoFit/>
          </a:bodyPr>
          <a:lstStyle>
            <a:lvl1pPr marL="0" indent="0">
              <a:lnSpc>
                <a:spcPct val="100000"/>
              </a:lnSpc>
              <a:spcBef>
                <a:spcPts val="0"/>
              </a:spcBef>
              <a:spcAft>
                <a:spcPts val="0"/>
              </a:spcAft>
              <a:buNone/>
              <a:defRPr sz="1000" baseline="0">
                <a:solidFill>
                  <a:schemeClr val="tx1"/>
                </a:solidFill>
                <a:latin typeface="News Gothic MT" panose="020B0503020103020203" pitchFamily="34" charset="0"/>
              </a:defRPr>
            </a:lvl1pPr>
          </a:lstStyle>
          <a:p>
            <a:pPr lvl="0"/>
            <a:r>
              <a:rPr lang="en-US"/>
              <a:t>Author et al, 2017.</a:t>
            </a:r>
          </a:p>
        </p:txBody>
      </p:sp>
      <p:sp>
        <p:nvSpPr>
          <p:cNvPr id="6" name="Rectangle 17">
            <a:extLst>
              <a:ext uri="{FF2B5EF4-FFF2-40B4-BE49-F238E27FC236}">
                <a16:creationId xmlns:a16="http://schemas.microsoft.com/office/drawing/2014/main" id="{3AA18D00-1C72-D84D-9631-D73F3B557115}"/>
              </a:ext>
            </a:extLst>
          </p:cNvPr>
          <p:cNvSpPr>
            <a:spLocks noGrp="1" noChangeArrowheads="1"/>
          </p:cNvSpPr>
          <p:nvPr>
            <p:ph idx="1" hasCustomPrompt="1"/>
          </p:nvPr>
        </p:nvSpPr>
        <p:spPr bwMode="auto">
          <a:xfrm>
            <a:off x="609600" y="1604926"/>
            <a:ext cx="10972800" cy="4373563"/>
          </a:xfrm>
          <a:prstGeom prst="rect">
            <a:avLst/>
          </a:prstGeom>
          <a:noFill/>
          <a:ln>
            <a:noFill/>
          </a:ln>
          <a:effectLst/>
          <a:extLst>
            <a:ext uri="{FAA26D3D-D897-4be2-8F04-BA451C77F1D7}">
              <ma14:placeholderFlag xmlns:ma14="http://schemas.microsoft.com/office/mac/drawingml/2011/main" xmlns="" val="1"/>
            </a:ex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anchor="t" anchorCtr="0" compatLnSpc="1">
            <a:prstTxWarp prst="textNoShape">
              <a:avLst/>
            </a:prstTxWarp>
          </a:bodyPr>
          <a:lstStyle>
            <a:lvl1pPr marL="457200" indent="-457200">
              <a:buSzPct val="100000"/>
              <a:buFontTx/>
              <a:buBlip>
                <a:blip r:embed="rId2"/>
              </a:buBlip>
              <a:defRPr sz="2800">
                <a:solidFill>
                  <a:schemeClr val="tx1"/>
                </a:solidFill>
                <a:latin typeface="News Gothic MT" panose="020B0503020103020203" pitchFamily="34" charset="0"/>
              </a:defRPr>
            </a:lvl1pPr>
            <a:lvl2pPr marL="863600" indent="-406400">
              <a:buSzPct val="100000"/>
              <a:buFontTx/>
              <a:buBlip>
                <a:blip r:embed="rId3"/>
              </a:buBlip>
              <a:defRPr sz="2400">
                <a:solidFill>
                  <a:schemeClr val="tx1"/>
                </a:solidFill>
                <a:latin typeface="News Gothic MT" panose="020B0503020103020203" pitchFamily="34" charset="0"/>
              </a:defRPr>
            </a:lvl2pPr>
            <a:lvl3pPr>
              <a:buSzPct val="90000"/>
              <a:defRPr>
                <a:latin typeface="News Gothic MT" panose="020B0503020103020203" pitchFamily="34" charset="0"/>
              </a:defRPr>
            </a:lvl3pPr>
            <a:lvl4pPr marL="1828800" indent="-344488">
              <a:buSzPct val="100000"/>
              <a:buFontTx/>
              <a:buBlip>
                <a:blip r:embed="rId4"/>
              </a:buBlip>
              <a:defRPr sz="2000">
                <a:solidFill>
                  <a:schemeClr val="tx1"/>
                </a:solidFill>
                <a:latin typeface="News Gothic MT" panose="020B0503020103020203" pitchFamily="34" charset="0"/>
              </a:defRPr>
            </a:lvl4pPr>
            <a:lvl5pPr>
              <a:buSzPct val="100000"/>
              <a:defRPr>
                <a:latin typeface="News Gothic MT" panose="020B0503020103020203" pitchFamily="34" charset="0"/>
              </a:defRPr>
            </a:lvl5pPr>
          </a:lstStyle>
          <a:p>
            <a:pPr lvl="0"/>
            <a:r>
              <a:rPr lang="en-US"/>
              <a:t>First level</a:t>
            </a:r>
          </a:p>
          <a:p>
            <a:pPr lvl="1"/>
            <a:r>
              <a:rPr lang="en-US"/>
              <a:t>Second level</a:t>
            </a:r>
          </a:p>
          <a:p>
            <a:pPr lvl="3"/>
            <a:r>
              <a:rPr lang="en-US"/>
              <a:t>Fourth level</a:t>
            </a:r>
          </a:p>
        </p:txBody>
      </p:sp>
      <p:cxnSp>
        <p:nvCxnSpPr>
          <p:cNvPr id="7" name="Straight Connector 6">
            <a:extLst>
              <a:ext uri="{FF2B5EF4-FFF2-40B4-BE49-F238E27FC236}">
                <a16:creationId xmlns:a16="http://schemas.microsoft.com/office/drawing/2014/main" id="{25785D92-8E9C-D24F-9ED8-194890326BA8}"/>
              </a:ext>
            </a:extLst>
          </p:cNvPr>
          <p:cNvCxnSpPr/>
          <p:nvPr userDrawn="1"/>
        </p:nvCxnSpPr>
        <p:spPr bwMode="auto">
          <a:xfrm>
            <a:off x="609600" y="887507"/>
            <a:ext cx="10972800" cy="0"/>
          </a:xfrm>
          <a:prstGeom prst="line">
            <a:avLst/>
          </a:prstGeom>
          <a:ln w="38100" cap="rnd">
            <a:gradFill flip="none" rotWithShape="1">
              <a:gsLst>
                <a:gs pos="0">
                  <a:schemeClr val="bg1"/>
                </a:gs>
                <a:gs pos="49000">
                  <a:srgbClr val="C1D830"/>
                </a:gs>
                <a:gs pos="7000">
                  <a:schemeClr val="bg1"/>
                </a:gs>
                <a:gs pos="80000">
                  <a:srgbClr val="6C9F4D"/>
                </a:gs>
              </a:gsLst>
              <a:lin ang="10800000" scaled="1"/>
              <a:tileRect/>
            </a:gradFill>
          </a:ln>
          <a:effectLst/>
          <a:extLs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style>
          <a:lnRef idx="3">
            <a:schemeClr val="dk1"/>
          </a:lnRef>
          <a:fillRef idx="0">
            <a:schemeClr val="dk1"/>
          </a:fillRef>
          <a:effectRef idx="2">
            <a:schemeClr val="dk1"/>
          </a:effectRef>
          <a:fontRef idx="minor">
            <a:schemeClr val="tx1"/>
          </a:fontRef>
        </p:style>
      </p:cxnSp>
      <p:pic>
        <p:nvPicPr>
          <p:cNvPr id="8" name="Picture 7">
            <a:extLst>
              <a:ext uri="{FF2B5EF4-FFF2-40B4-BE49-F238E27FC236}">
                <a16:creationId xmlns:a16="http://schemas.microsoft.com/office/drawing/2014/main" id="{EC14A3B6-9893-994D-92E8-66FC72CFDE8B}"/>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9717804" y="5921317"/>
            <a:ext cx="2280621" cy="936683"/>
          </a:xfrm>
          <a:prstGeom prst="rect">
            <a:avLst/>
          </a:prstGeom>
        </p:spPr>
      </p:pic>
      <p:sp>
        <p:nvSpPr>
          <p:cNvPr id="9" name="Title 1">
            <a:extLst>
              <a:ext uri="{FF2B5EF4-FFF2-40B4-BE49-F238E27FC236}">
                <a16:creationId xmlns:a16="http://schemas.microsoft.com/office/drawing/2014/main" id="{22E2F593-4FC3-4B43-A945-9F8AFE9DDD99}"/>
              </a:ext>
            </a:extLst>
          </p:cNvPr>
          <p:cNvSpPr>
            <a:spLocks noGrp="1"/>
          </p:cNvSpPr>
          <p:nvPr>
            <p:ph type="title" hasCustomPrompt="1"/>
          </p:nvPr>
        </p:nvSpPr>
        <p:spPr>
          <a:xfrm>
            <a:off x="597191" y="273642"/>
            <a:ext cx="10972800" cy="646331"/>
          </a:xfrm>
        </p:spPr>
        <p:txBody>
          <a:bodyPr anchor="t" anchorCtr="0">
            <a:normAutofit/>
          </a:bodyPr>
          <a:lstStyle>
            <a:lvl1pPr algn="l">
              <a:defRPr sz="3600" b="0">
                <a:solidFill>
                  <a:schemeClr val="tx1"/>
                </a:solidFill>
                <a:latin typeface="News Gothic MT" charset="0"/>
                <a:ea typeface="News Gothic MT" charset="0"/>
                <a:cs typeface="News Gothic MT" charset="0"/>
              </a:defRPr>
            </a:lvl1pPr>
          </a:lstStyle>
          <a:p>
            <a:r>
              <a:rPr lang="en-US"/>
              <a:t>Click to edit slide title</a:t>
            </a:r>
          </a:p>
        </p:txBody>
      </p:sp>
    </p:spTree>
    <p:extLst>
      <p:ext uri="{BB962C8B-B14F-4D97-AF65-F5344CB8AC3E}">
        <p14:creationId xmlns:p14="http://schemas.microsoft.com/office/powerpoint/2010/main" val="2630317648"/>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i3 Health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7191" y="273642"/>
            <a:ext cx="10972800" cy="646331"/>
          </a:xfrm>
        </p:spPr>
        <p:txBody>
          <a:bodyPr anchor="t" anchorCtr="0">
            <a:normAutofit/>
          </a:bodyPr>
          <a:lstStyle>
            <a:lvl1pPr algn="l">
              <a:defRPr sz="3600" b="0">
                <a:solidFill>
                  <a:schemeClr val="tx1"/>
                </a:solidFill>
                <a:latin typeface="News Gothic MT" charset="0"/>
                <a:ea typeface="News Gothic MT" charset="0"/>
                <a:cs typeface="News Gothic MT" charset="0"/>
              </a:defRPr>
            </a:lvl1pPr>
          </a:lstStyle>
          <a:p>
            <a:r>
              <a:rPr lang="en-US"/>
              <a:t>Click to edit slide title</a:t>
            </a:r>
          </a:p>
        </p:txBody>
      </p:sp>
      <p:sp>
        <p:nvSpPr>
          <p:cNvPr id="12" name="Rectangle 17"/>
          <p:cNvSpPr>
            <a:spLocks noGrp="1" noChangeArrowheads="1"/>
          </p:cNvSpPr>
          <p:nvPr>
            <p:ph idx="1" hasCustomPrompt="1"/>
          </p:nvPr>
        </p:nvSpPr>
        <p:spPr bwMode="auto">
          <a:xfrm>
            <a:off x="609600" y="1604926"/>
            <a:ext cx="10972800" cy="4373563"/>
          </a:xfrm>
          <a:prstGeom prst="rect">
            <a:avLst/>
          </a:prstGeom>
          <a:noFill/>
          <a:ln>
            <a:noFill/>
          </a:ln>
          <a:effectLst/>
          <a:extLst>
            <a:ext uri="{FAA26D3D-D897-4be2-8F04-BA451C77F1D7}">
              <ma14:placeholderFlag xmlns:ma14="http://schemas.microsoft.com/office/mac/drawingml/2011/main" xmlns="" val="1"/>
            </a:ex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anchor="t" anchorCtr="0" compatLnSpc="1">
            <a:prstTxWarp prst="textNoShape">
              <a:avLst/>
            </a:prstTxWarp>
          </a:bodyPr>
          <a:lstStyle>
            <a:lvl1pPr marL="457200" indent="-457200">
              <a:buSzPct val="100000"/>
              <a:buFontTx/>
              <a:buBlip>
                <a:blip r:embed="rId2"/>
              </a:buBlip>
              <a:defRPr sz="2800">
                <a:solidFill>
                  <a:schemeClr val="tx1"/>
                </a:solidFill>
                <a:latin typeface="News Gothic MT" panose="020B0503020103020203" pitchFamily="34" charset="0"/>
              </a:defRPr>
            </a:lvl1pPr>
            <a:lvl2pPr marL="863600" indent="-406400">
              <a:buSzPct val="100000"/>
              <a:buFontTx/>
              <a:buBlip>
                <a:blip r:embed="rId3"/>
              </a:buBlip>
              <a:defRPr sz="2400">
                <a:solidFill>
                  <a:schemeClr val="tx1"/>
                </a:solidFill>
                <a:latin typeface="News Gothic MT" panose="020B0503020103020203" pitchFamily="34" charset="0"/>
              </a:defRPr>
            </a:lvl2pPr>
            <a:lvl3pPr>
              <a:buSzPct val="90000"/>
              <a:defRPr>
                <a:solidFill>
                  <a:schemeClr val="tx1"/>
                </a:solidFill>
                <a:latin typeface="News Gothic MT" panose="020B0503020103020203" pitchFamily="34" charset="0"/>
              </a:defRPr>
            </a:lvl3pPr>
            <a:lvl4pPr marL="1828800" indent="-344488">
              <a:buSzPct val="100000"/>
              <a:buFontTx/>
              <a:buBlip>
                <a:blip r:embed="rId4"/>
              </a:buBlip>
              <a:defRPr>
                <a:solidFill>
                  <a:schemeClr val="tx1"/>
                </a:solidFill>
                <a:latin typeface="News Gothic MT" panose="020B0503020103020203" pitchFamily="34" charset="0"/>
              </a:defRPr>
            </a:lvl4pPr>
            <a:lvl5pPr>
              <a:buSzPct val="100000"/>
              <a:defRPr>
                <a:solidFill>
                  <a:schemeClr val="tx1"/>
                </a:solidFill>
                <a:latin typeface="News Gothic MT" panose="020B0503020103020203" pitchFamily="34" charset="0"/>
              </a:defRPr>
            </a:lvl5pPr>
          </a:lstStyle>
          <a:p>
            <a:pPr lvl="0"/>
            <a:r>
              <a:rPr lang="en-US"/>
              <a:t>First level</a:t>
            </a:r>
          </a:p>
          <a:p>
            <a:pPr lvl="1"/>
            <a:r>
              <a:rPr lang="en-US"/>
              <a:t>Second level</a:t>
            </a:r>
          </a:p>
        </p:txBody>
      </p:sp>
      <p:sp>
        <p:nvSpPr>
          <p:cNvPr id="13" name="Text Placeholder 12"/>
          <p:cNvSpPr>
            <a:spLocks noGrp="1"/>
          </p:cNvSpPr>
          <p:nvPr>
            <p:ph type="body" sz="quarter" idx="12" hasCustomPrompt="1"/>
          </p:nvPr>
        </p:nvSpPr>
        <p:spPr>
          <a:xfrm>
            <a:off x="193575" y="6574536"/>
            <a:ext cx="1118896" cy="153888"/>
          </a:xfrm>
        </p:spPr>
        <p:txBody>
          <a:bodyPr wrap="none" lIns="0" tIns="0" rIns="0" bIns="0" anchor="b" anchorCtr="0">
            <a:spAutoFit/>
          </a:bodyPr>
          <a:lstStyle>
            <a:lvl1pPr marL="0" indent="0">
              <a:lnSpc>
                <a:spcPct val="100000"/>
              </a:lnSpc>
              <a:spcBef>
                <a:spcPts val="0"/>
              </a:spcBef>
              <a:spcAft>
                <a:spcPts val="0"/>
              </a:spcAft>
              <a:buNone/>
              <a:defRPr sz="1000" baseline="0">
                <a:solidFill>
                  <a:schemeClr val="tx1"/>
                </a:solidFill>
                <a:latin typeface="News Gothic MT" panose="020B0503020103020203" pitchFamily="34" charset="0"/>
              </a:defRPr>
            </a:lvl1pPr>
          </a:lstStyle>
          <a:p>
            <a:pPr lvl="0"/>
            <a:r>
              <a:rPr lang="en-US"/>
              <a:t>Author et al, 2017.</a:t>
            </a:r>
          </a:p>
        </p:txBody>
      </p:sp>
      <p:sp>
        <p:nvSpPr>
          <p:cNvPr id="19" name="Text Placeholder 18"/>
          <p:cNvSpPr>
            <a:spLocks noGrp="1"/>
          </p:cNvSpPr>
          <p:nvPr>
            <p:ph type="body" sz="quarter" idx="13" hasCustomPrompt="1"/>
          </p:nvPr>
        </p:nvSpPr>
        <p:spPr>
          <a:xfrm>
            <a:off x="608957" y="908167"/>
            <a:ext cx="10974916" cy="482133"/>
          </a:xfrm>
        </p:spPr>
        <p:txBody>
          <a:bodyPr anchor="t" anchorCtr="0">
            <a:noAutofit/>
          </a:bodyPr>
          <a:lstStyle>
            <a:lvl1pPr marL="0" indent="0" algn="l">
              <a:spcBef>
                <a:spcPts val="0"/>
              </a:spcBef>
              <a:buNone/>
              <a:defRPr sz="3200" baseline="0">
                <a:solidFill>
                  <a:schemeClr val="tx1"/>
                </a:solidFill>
                <a:latin typeface="News Gothic MT" panose="020B0503020103020203" pitchFamily="34" charset="0"/>
              </a:defRPr>
            </a:lvl1pPr>
          </a:lstStyle>
          <a:p>
            <a:pPr lvl="0"/>
            <a:r>
              <a:rPr lang="en-US"/>
              <a:t>Click to edit slide subtitle</a:t>
            </a:r>
          </a:p>
        </p:txBody>
      </p:sp>
      <p:cxnSp>
        <p:nvCxnSpPr>
          <p:cNvPr id="7" name="Straight Connector 6">
            <a:extLst>
              <a:ext uri="{FF2B5EF4-FFF2-40B4-BE49-F238E27FC236}">
                <a16:creationId xmlns:a16="http://schemas.microsoft.com/office/drawing/2014/main" id="{DE4FBDE2-9501-9C4D-ABEC-30071E590A39}"/>
              </a:ext>
            </a:extLst>
          </p:cNvPr>
          <p:cNvCxnSpPr/>
          <p:nvPr userDrawn="1"/>
        </p:nvCxnSpPr>
        <p:spPr bwMode="auto">
          <a:xfrm>
            <a:off x="609600" y="874060"/>
            <a:ext cx="10972800" cy="0"/>
          </a:xfrm>
          <a:prstGeom prst="line">
            <a:avLst/>
          </a:prstGeom>
          <a:ln w="38100" cap="rnd">
            <a:gradFill flip="none" rotWithShape="1">
              <a:gsLst>
                <a:gs pos="0">
                  <a:schemeClr val="bg1"/>
                </a:gs>
                <a:gs pos="49000">
                  <a:srgbClr val="C1D830"/>
                </a:gs>
                <a:gs pos="7000">
                  <a:schemeClr val="bg1"/>
                </a:gs>
                <a:gs pos="80000">
                  <a:srgbClr val="6C9F4D"/>
                </a:gs>
              </a:gsLst>
              <a:lin ang="10800000" scaled="1"/>
              <a:tileRect/>
            </a:gradFill>
          </a:ln>
          <a:effectLst/>
          <a:extLs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style>
          <a:lnRef idx="3">
            <a:schemeClr val="dk1"/>
          </a:lnRef>
          <a:fillRef idx="0">
            <a:schemeClr val="dk1"/>
          </a:fillRef>
          <a:effectRef idx="2">
            <a:schemeClr val="dk1"/>
          </a:effectRef>
          <a:fontRef idx="minor">
            <a:schemeClr val="tx1"/>
          </a:fontRef>
        </p:style>
      </p:cxnSp>
    </p:spTree>
    <p:extLst>
      <p:ext uri="{BB962C8B-B14F-4D97-AF65-F5344CB8AC3E}">
        <p14:creationId xmlns:p14="http://schemas.microsoft.com/office/powerpoint/2010/main" val="2587540317"/>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vertTx">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F1D4B1-0DA2-4232-92C0-E7DD3FF5791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4B1BDB4-C085-42C4-84E1-F4851678264C}"/>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3B8AD71-A3E6-4F6B-9C78-1DECD45FC123}"/>
              </a:ext>
            </a:extLst>
          </p:cNvPr>
          <p:cNvSpPr>
            <a:spLocks noGrp="1"/>
          </p:cNvSpPr>
          <p:nvPr>
            <p:ph type="dt" sz="half" idx="10"/>
          </p:nvPr>
        </p:nvSpPr>
        <p:spPr/>
        <p:txBody>
          <a:bodyPr/>
          <a:lstStyle/>
          <a:p>
            <a:r>
              <a:rPr lang="en-US"/>
              <a:t>2/5/2021</a:t>
            </a:r>
          </a:p>
        </p:txBody>
      </p:sp>
      <p:sp>
        <p:nvSpPr>
          <p:cNvPr id="5" name="Footer Placeholder 4">
            <a:extLst>
              <a:ext uri="{FF2B5EF4-FFF2-40B4-BE49-F238E27FC236}">
                <a16:creationId xmlns:a16="http://schemas.microsoft.com/office/drawing/2014/main" id="{316F7B1D-5D03-428E-BD1E-AB96E73EEEE3}"/>
              </a:ext>
            </a:extLst>
          </p:cNvPr>
          <p:cNvSpPr>
            <a:spLocks noGrp="1"/>
          </p:cNvSpPr>
          <p:nvPr>
            <p:ph type="ftr" sz="quarter" idx="11"/>
          </p:nvPr>
        </p:nvSpPr>
        <p:spPr/>
        <p:txBody>
          <a:bodyPr/>
          <a:lstStyle/>
          <a:p>
            <a:r>
              <a:rPr lang="en-US"/>
              <a:t>Confidential</a:t>
            </a:r>
          </a:p>
        </p:txBody>
      </p:sp>
      <p:sp>
        <p:nvSpPr>
          <p:cNvPr id="6" name="Slide Number Placeholder 5">
            <a:extLst>
              <a:ext uri="{FF2B5EF4-FFF2-40B4-BE49-F238E27FC236}">
                <a16:creationId xmlns:a16="http://schemas.microsoft.com/office/drawing/2014/main" id="{158121A4-A980-4642-A06D-440C5A27440F}"/>
              </a:ext>
            </a:extLst>
          </p:cNvPr>
          <p:cNvSpPr>
            <a:spLocks noGrp="1"/>
          </p:cNvSpPr>
          <p:nvPr>
            <p:ph type="sldNum" sz="quarter" idx="12"/>
          </p:nvPr>
        </p:nvSpPr>
        <p:spPr/>
        <p:txBody>
          <a:bodyPr/>
          <a:lstStyle/>
          <a:p>
            <a:fld id="{3E0994CB-6F3A-44B5-9CC9-AABF7F15FD71}" type="slidenum">
              <a:rPr lang="en-US" smtClean="0"/>
              <a:t>‹#›</a:t>
            </a:fld>
            <a:endParaRPr lang="en-US"/>
          </a:p>
        </p:txBody>
      </p:sp>
    </p:spTree>
    <p:extLst>
      <p:ext uri="{BB962C8B-B14F-4D97-AF65-F5344CB8AC3E}">
        <p14:creationId xmlns:p14="http://schemas.microsoft.com/office/powerpoint/2010/main" val="371218236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455535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145324651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3621476641"/>
      </p:ext>
    </p:extLst>
  </p:cSld>
  <p:clrMapOvr>
    <a:masterClrMapping/>
  </p:clrMapOvr>
  <p:transition spd="slow" advClick="0"/>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13862613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17289828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4352135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17975066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cs typeface="ＭＳ Ｐゴシック"/>
              </a:rPr>
              <a:pPr>
                <a:defRPr/>
              </a:pPr>
              <a:t>‹#›</a:t>
            </a:fld>
            <a:endParaRPr lang="en-GB">
              <a:cs typeface="ＭＳ Ｐゴシック"/>
            </a:endParaRPr>
          </a:p>
        </p:txBody>
      </p:sp>
    </p:spTree>
    <p:extLst>
      <p:ext uri="{BB962C8B-B14F-4D97-AF65-F5344CB8AC3E}">
        <p14:creationId xmlns:p14="http://schemas.microsoft.com/office/powerpoint/2010/main" val="47235199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449173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2_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2E99AA7-133A-E54F-B877-701653B6C8EF}" type="slidenum">
              <a:rPr lang="en-GB"/>
              <a:pPr>
                <a:defRPr/>
              </a:pPr>
              <a:t>‹#›</a:t>
            </a:fld>
            <a:endParaRPr lang="en-GB"/>
          </a:p>
        </p:txBody>
      </p:sp>
    </p:spTree>
    <p:extLst>
      <p:ext uri="{BB962C8B-B14F-4D97-AF65-F5344CB8AC3E}">
        <p14:creationId xmlns:p14="http://schemas.microsoft.com/office/powerpoint/2010/main" val="34152293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4"/>
          <p:cNvSpPr>
            <a:spLocks noGrp="1"/>
          </p:cNvSpPr>
          <p:nvPr>
            <p:ph type="body" sz="quarter" idx="10"/>
          </p:nvPr>
        </p:nvSpPr>
        <p:spPr>
          <a:xfrm>
            <a:off x="609600" y="6210780"/>
            <a:ext cx="5488517" cy="447993"/>
          </a:xfrm>
        </p:spPr>
        <p:txBody>
          <a:bodyPr anchor="b"/>
          <a:lstStyle>
            <a:lvl1pPr marL="0" indent="0">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
        <p:nvSpPr>
          <p:cNvPr id="5" name="Text Placeholder 4"/>
          <p:cNvSpPr>
            <a:spLocks noGrp="1"/>
          </p:cNvSpPr>
          <p:nvPr>
            <p:ph type="body" sz="quarter" idx="11"/>
          </p:nvPr>
        </p:nvSpPr>
        <p:spPr>
          <a:xfrm>
            <a:off x="6098118" y="6210780"/>
            <a:ext cx="5488517" cy="447993"/>
          </a:xfrm>
        </p:spPr>
        <p:txBody>
          <a:bodyPr anchor="b"/>
          <a:lstStyle>
            <a:lvl1pPr marL="0" indent="0" algn="r">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Tree>
    <p:extLst>
      <p:ext uri="{BB962C8B-B14F-4D97-AF65-F5344CB8AC3E}">
        <p14:creationId xmlns:p14="http://schemas.microsoft.com/office/powerpoint/2010/main" val="137657464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4_NEW Title Only">
    <p:spTree>
      <p:nvGrpSpPr>
        <p:cNvPr id="1" name=""/>
        <p:cNvGrpSpPr/>
        <p:nvPr/>
      </p:nvGrpSpPr>
      <p:grpSpPr>
        <a:xfrm>
          <a:off x="0" y="0"/>
          <a:ext cx="0" cy="0"/>
          <a:chOff x="0" y="0"/>
          <a:chExt cx="0" cy="0"/>
        </a:xfrm>
      </p:grpSpPr>
      <p:sp>
        <p:nvSpPr>
          <p:cNvPr id="4" name="Title 3"/>
          <p:cNvSpPr>
            <a:spLocks noGrp="1"/>
          </p:cNvSpPr>
          <p:nvPr>
            <p:ph type="title"/>
          </p:nvPr>
        </p:nvSpPr>
        <p:spPr>
          <a:xfrm>
            <a:off x="609600" y="0"/>
            <a:ext cx="10972800" cy="1143000"/>
          </a:xfrm>
        </p:spPr>
        <p:txBody>
          <a:bodyPr/>
          <a:lstStyle/>
          <a:p>
            <a:r>
              <a:rPr lang="en-US" dirty="0"/>
              <a:t>Click to edit Master title style</a:t>
            </a:r>
            <a:endParaRPr lang="en-GB" dirty="0"/>
          </a:p>
        </p:txBody>
      </p:sp>
      <p:sp>
        <p:nvSpPr>
          <p:cNvPr id="7" name="Text Placeholder 6"/>
          <p:cNvSpPr>
            <a:spLocks noGrp="1"/>
          </p:cNvSpPr>
          <p:nvPr>
            <p:ph type="body" sz="quarter" idx="12"/>
          </p:nvPr>
        </p:nvSpPr>
        <p:spPr>
          <a:xfrm>
            <a:off x="630767" y="6631087"/>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1"/>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pPr>
                <a:defRPr/>
              </a:pPr>
              <a:t>‹#›</a:t>
            </a:fld>
            <a:endParaRPr lang="en-GB"/>
          </a:p>
        </p:txBody>
      </p:sp>
    </p:spTree>
    <p:extLst>
      <p:ext uri="{BB962C8B-B14F-4D97-AF65-F5344CB8AC3E}">
        <p14:creationId xmlns:p14="http://schemas.microsoft.com/office/powerpoint/2010/main" val="205637640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7485" y="115889"/>
            <a:ext cx="10991849" cy="779671"/>
          </a:xfrm>
        </p:spPr>
        <p:txBody>
          <a:bodyPr>
            <a:normAutofit/>
          </a:bodyPr>
          <a:lstStyle>
            <a:lvl1pPr algn="l">
              <a:defRPr sz="2800" b="1" i="0">
                <a:solidFill>
                  <a:srgbClr val="064F59"/>
                </a:solidFill>
                <a:latin typeface="Arial"/>
              </a:defRPr>
            </a:lvl1pPr>
          </a:lstStyle>
          <a:p>
            <a:r>
              <a:rPr lang="en-US" dirty="0"/>
              <a:t>Click to edit Master title style</a:t>
            </a:r>
          </a:p>
        </p:txBody>
      </p:sp>
      <p:sp>
        <p:nvSpPr>
          <p:cNvPr id="3" name="Content Placeholder 2"/>
          <p:cNvSpPr>
            <a:spLocks noGrp="1"/>
          </p:cNvSpPr>
          <p:nvPr>
            <p:ph idx="1"/>
          </p:nvPr>
        </p:nvSpPr>
        <p:spPr>
          <a:xfrm>
            <a:off x="617284" y="1376989"/>
            <a:ext cx="10972800" cy="4525963"/>
          </a:xfrm>
        </p:spPr>
        <p:txBody>
          <a:bodyPr lIns="0" rtlCol="0">
            <a:normAutofit/>
          </a:bodyPr>
          <a:lstStyle>
            <a:lvl1pPr>
              <a:defRPr lang="en-US" sz="2100" dirty="0" smtClean="0"/>
            </a:lvl1pPr>
            <a:lvl2pPr>
              <a:defRPr lang="en-US" sz="2000" dirty="0" smtClean="0"/>
            </a:lvl2pPr>
            <a:lvl3pPr>
              <a:defRPr lang="en-US" sz="2000"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1"/>
          <p:cNvSpPr>
            <a:spLocks noGrp="1"/>
          </p:cNvSpPr>
          <p:nvPr>
            <p:ph type="body" sz="quarter" idx="10"/>
          </p:nvPr>
        </p:nvSpPr>
        <p:spPr>
          <a:xfrm>
            <a:off x="615951" y="6289940"/>
            <a:ext cx="10993967" cy="463313"/>
          </a:xfrm>
        </p:spPr>
        <p:txBody>
          <a:bodyPr lIns="0" tIns="0" rIns="0" bIns="0" anchor="b">
            <a:noAutofit/>
          </a:bodyPr>
          <a:lstStyle>
            <a:lvl1pPr marL="0" indent="0">
              <a:lnSpc>
                <a:spcPct val="100000"/>
              </a:lnSpc>
              <a:spcBef>
                <a:spcPts val="200"/>
              </a:spcBef>
              <a:buNone/>
              <a:defRPr sz="1000" b="0">
                <a:solidFill>
                  <a:srgbClr val="064F59"/>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text styles</a:t>
            </a:r>
          </a:p>
        </p:txBody>
      </p:sp>
      <p:sp>
        <p:nvSpPr>
          <p:cNvPr id="5" name="Slide Number Placeholder 5"/>
          <p:cNvSpPr>
            <a:spLocks noGrp="1"/>
          </p:cNvSpPr>
          <p:nvPr>
            <p:ph type="sldNum" sz="quarter" idx="11"/>
          </p:nvPr>
        </p:nvSpPr>
        <p:spPr>
          <a:xfrm>
            <a:off x="9012767" y="6491289"/>
            <a:ext cx="2844800" cy="365125"/>
          </a:xfrm>
          <a:prstGeom prst="rect">
            <a:avLst/>
          </a:prstGeom>
        </p:spPr>
        <p:txBody>
          <a:bodyPr/>
          <a:lstStyle>
            <a:lvl1pPr>
              <a:defRPr sz="1100" b="0" i="0">
                <a:solidFill>
                  <a:srgbClr val="064F59"/>
                </a:solidFill>
                <a:latin typeface="Arial"/>
                <a:cs typeface="Arial"/>
              </a:defRPr>
            </a:lvl1pPr>
          </a:lstStyle>
          <a:p>
            <a:pPr>
              <a:defRPr/>
            </a:pPr>
            <a:fld id="{865B40A2-B197-3B46-BE14-65D655D54854}" type="slidenum">
              <a:rPr lang="en-US"/>
              <a:pPr>
                <a:defRPr/>
              </a:pPr>
              <a:t>‹#›</a:t>
            </a:fld>
            <a:endParaRPr lang="en-US" dirty="0"/>
          </a:p>
        </p:txBody>
      </p:sp>
      <p:sp>
        <p:nvSpPr>
          <p:cNvPr id="6" name="Footer Placeholder 7"/>
          <p:cNvSpPr>
            <a:spLocks noGrp="1"/>
          </p:cNvSpPr>
          <p:nvPr>
            <p:ph type="ftr" sz="quarter" idx="12"/>
          </p:nvPr>
        </p:nvSpPr>
        <p:spPr>
          <a:xfrm>
            <a:off x="4165600" y="6356351"/>
            <a:ext cx="3860800" cy="365125"/>
          </a:xfrm>
          <a:prstGeom prst="rect">
            <a:avLst/>
          </a:prstGeom>
        </p:spPr>
        <p:txBody>
          <a:bodyPr/>
          <a:lstStyle>
            <a:lvl1pPr>
              <a:defRPr>
                <a:solidFill>
                  <a:srgbClr val="064F59">
                    <a:tint val="75000"/>
                  </a:srgbClr>
                </a:solidFill>
              </a:defRPr>
            </a:lvl1pPr>
          </a:lstStyle>
          <a:p>
            <a:pPr>
              <a:defRPr/>
            </a:pPr>
            <a:endParaRPr lang="en-US"/>
          </a:p>
        </p:txBody>
      </p:sp>
    </p:spTree>
    <p:extLst>
      <p:ext uri="{BB962C8B-B14F-4D97-AF65-F5344CB8AC3E}">
        <p14:creationId xmlns:p14="http://schemas.microsoft.com/office/powerpoint/2010/main" val="9466833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119656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CD7A53-72DB-0D48-8D1A-395E11A5FE2A}"/>
              </a:ext>
            </a:extLst>
          </p:cNvPr>
          <p:cNvSpPr>
            <a:spLocks noGrp="1"/>
          </p:cNvSpPr>
          <p:nvPr>
            <p:ph type="ctrTitle"/>
          </p:nvPr>
        </p:nvSpPr>
        <p:spPr>
          <a:xfrm>
            <a:off x="1524000" y="1122363"/>
            <a:ext cx="9144000" cy="23876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2BE3692D-7840-5C44-9BF4-E7A46438B57D}"/>
              </a:ext>
            </a:extLst>
          </p:cNvPr>
          <p:cNvSpPr>
            <a:spLocks noGrp="1"/>
          </p:cNvSpPr>
          <p:nvPr>
            <p:ph type="subTitle" idx="1"/>
          </p:nvPr>
        </p:nvSpPr>
        <p:spPr>
          <a:xfrm>
            <a:off x="1524000" y="3602038"/>
            <a:ext cx="9144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A849F303-B74D-4A43-81E8-073C7CE9A493}"/>
              </a:ext>
            </a:extLst>
          </p:cNvPr>
          <p:cNvSpPr>
            <a:spLocks noGrp="1"/>
          </p:cNvSpPr>
          <p:nvPr>
            <p:ph type="dt" sz="half" idx="10"/>
          </p:nvPr>
        </p:nvSpPr>
        <p:spPr/>
        <p:txBody>
          <a:bodyPr/>
          <a:lstStyle/>
          <a:p>
            <a:fld id="{0A69DFB7-5244-6745-9F37-EE2CBB7E3229}" type="datetimeFigureOut">
              <a:rPr lang="en-US" smtClean="0"/>
              <a:t>1/31/23</a:t>
            </a:fld>
            <a:endParaRPr lang="en-US"/>
          </a:p>
        </p:txBody>
      </p:sp>
      <p:sp>
        <p:nvSpPr>
          <p:cNvPr id="5" name="Footer Placeholder 4">
            <a:extLst>
              <a:ext uri="{FF2B5EF4-FFF2-40B4-BE49-F238E27FC236}">
                <a16:creationId xmlns:a16="http://schemas.microsoft.com/office/drawing/2014/main" id="{1186F89D-C306-EF46-8CF5-015BAABC236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65B0823-6487-EA49-A9CA-9B7FE3E5F84B}"/>
              </a:ext>
            </a:extLst>
          </p:cNvPr>
          <p:cNvSpPr>
            <a:spLocks noGrp="1"/>
          </p:cNvSpPr>
          <p:nvPr>
            <p:ph type="sldNum" sz="quarter" idx="12"/>
          </p:nvPr>
        </p:nvSpPr>
        <p:spPr/>
        <p:txBody>
          <a:bodyPr/>
          <a:lstStyle/>
          <a:p>
            <a:fld id="{5BC41731-BAB7-1448-8879-77157DEE163E}" type="slidenum">
              <a:rPr lang="en-US" smtClean="0"/>
              <a:t>‹#›</a:t>
            </a:fld>
            <a:endParaRPr lang="en-US"/>
          </a:p>
        </p:txBody>
      </p:sp>
    </p:spTree>
    <p:extLst>
      <p:ext uri="{BB962C8B-B14F-4D97-AF65-F5344CB8AC3E}">
        <p14:creationId xmlns:p14="http://schemas.microsoft.com/office/powerpoint/2010/main" val="362454790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911533-EF28-F246-828B-EA1B9BCB75A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88C5C80-2156-1C47-9A29-E7BC6BF804FE}"/>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F81214C-A1FF-DE4B-BEE9-0FA5B011529E}"/>
              </a:ext>
            </a:extLst>
          </p:cNvPr>
          <p:cNvSpPr>
            <a:spLocks noGrp="1"/>
          </p:cNvSpPr>
          <p:nvPr>
            <p:ph type="dt" sz="half" idx="10"/>
          </p:nvPr>
        </p:nvSpPr>
        <p:spPr/>
        <p:txBody>
          <a:bodyPr/>
          <a:lstStyle/>
          <a:p>
            <a:fld id="{0A69DFB7-5244-6745-9F37-EE2CBB7E3229}" type="datetimeFigureOut">
              <a:rPr lang="en-US" smtClean="0"/>
              <a:t>1/31/23</a:t>
            </a:fld>
            <a:endParaRPr lang="en-US"/>
          </a:p>
        </p:txBody>
      </p:sp>
      <p:sp>
        <p:nvSpPr>
          <p:cNvPr id="5" name="Footer Placeholder 4">
            <a:extLst>
              <a:ext uri="{FF2B5EF4-FFF2-40B4-BE49-F238E27FC236}">
                <a16:creationId xmlns:a16="http://schemas.microsoft.com/office/drawing/2014/main" id="{CF019EA8-BA51-CE44-BE7B-34D3FF2E66C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BA4B97C-0510-6040-8AF8-6D4CF2EB5F82}"/>
              </a:ext>
            </a:extLst>
          </p:cNvPr>
          <p:cNvSpPr>
            <a:spLocks noGrp="1"/>
          </p:cNvSpPr>
          <p:nvPr>
            <p:ph type="sldNum" sz="quarter" idx="12"/>
          </p:nvPr>
        </p:nvSpPr>
        <p:spPr/>
        <p:txBody>
          <a:bodyPr/>
          <a:lstStyle/>
          <a:p>
            <a:fld id="{5BC41731-BAB7-1448-8879-77157DEE163E}" type="slidenum">
              <a:rPr lang="en-US" smtClean="0"/>
              <a:t>‹#›</a:t>
            </a:fld>
            <a:endParaRPr lang="en-US"/>
          </a:p>
        </p:txBody>
      </p:sp>
    </p:spTree>
    <p:extLst>
      <p:ext uri="{BB962C8B-B14F-4D97-AF65-F5344CB8AC3E}">
        <p14:creationId xmlns:p14="http://schemas.microsoft.com/office/powerpoint/2010/main" val="51833212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13F3F6-80A7-0F4D-8EB2-D881BF825BEA}"/>
              </a:ext>
            </a:extLst>
          </p:cNvPr>
          <p:cNvSpPr>
            <a:spLocks noGrp="1"/>
          </p:cNvSpPr>
          <p:nvPr>
            <p:ph type="title"/>
          </p:nvPr>
        </p:nvSpPr>
        <p:spPr>
          <a:xfrm>
            <a:off x="831851" y="1709740"/>
            <a:ext cx="10515600" cy="2852737"/>
          </a:xfrm>
        </p:spPr>
        <p:txBody>
          <a:bodyPr anchor="b"/>
          <a:lstStyle>
            <a:lvl1pPr>
              <a:defRPr sz="4500"/>
            </a:lvl1pPr>
          </a:lstStyle>
          <a:p>
            <a:r>
              <a:rPr lang="en-US"/>
              <a:t>Click to edit Master title style</a:t>
            </a:r>
          </a:p>
        </p:txBody>
      </p:sp>
      <p:sp>
        <p:nvSpPr>
          <p:cNvPr id="3" name="Text Placeholder 2">
            <a:extLst>
              <a:ext uri="{FF2B5EF4-FFF2-40B4-BE49-F238E27FC236}">
                <a16:creationId xmlns:a16="http://schemas.microsoft.com/office/drawing/2014/main" id="{45477C59-56EE-EC4A-ABFD-7DE61B0EA367}"/>
              </a:ext>
            </a:extLst>
          </p:cNvPr>
          <p:cNvSpPr>
            <a:spLocks noGrp="1"/>
          </p:cNvSpPr>
          <p:nvPr>
            <p:ph type="body" idx="1"/>
          </p:nvPr>
        </p:nvSpPr>
        <p:spPr>
          <a:xfrm>
            <a:off x="831851" y="4589465"/>
            <a:ext cx="105156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0BBE7CE9-1BD8-2349-86DF-F85915CC40D8}"/>
              </a:ext>
            </a:extLst>
          </p:cNvPr>
          <p:cNvSpPr>
            <a:spLocks noGrp="1"/>
          </p:cNvSpPr>
          <p:nvPr>
            <p:ph type="dt" sz="half" idx="10"/>
          </p:nvPr>
        </p:nvSpPr>
        <p:spPr/>
        <p:txBody>
          <a:bodyPr/>
          <a:lstStyle/>
          <a:p>
            <a:fld id="{0A69DFB7-5244-6745-9F37-EE2CBB7E3229}" type="datetimeFigureOut">
              <a:rPr lang="en-US" smtClean="0"/>
              <a:t>1/31/23</a:t>
            </a:fld>
            <a:endParaRPr lang="en-US"/>
          </a:p>
        </p:txBody>
      </p:sp>
      <p:sp>
        <p:nvSpPr>
          <p:cNvPr id="5" name="Footer Placeholder 4">
            <a:extLst>
              <a:ext uri="{FF2B5EF4-FFF2-40B4-BE49-F238E27FC236}">
                <a16:creationId xmlns:a16="http://schemas.microsoft.com/office/drawing/2014/main" id="{FED7B389-5F40-8C40-9541-6C75577A3EC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8B8ACAE-C55D-A848-8CB7-F5F08A51DE65}"/>
              </a:ext>
            </a:extLst>
          </p:cNvPr>
          <p:cNvSpPr>
            <a:spLocks noGrp="1"/>
          </p:cNvSpPr>
          <p:nvPr>
            <p:ph type="sldNum" sz="quarter" idx="12"/>
          </p:nvPr>
        </p:nvSpPr>
        <p:spPr/>
        <p:txBody>
          <a:bodyPr/>
          <a:lstStyle/>
          <a:p>
            <a:fld id="{5BC41731-BAB7-1448-8879-77157DEE163E}" type="slidenum">
              <a:rPr lang="en-US" smtClean="0"/>
              <a:t>‹#›</a:t>
            </a:fld>
            <a:endParaRPr lang="en-US"/>
          </a:p>
        </p:txBody>
      </p:sp>
    </p:spTree>
    <p:extLst>
      <p:ext uri="{BB962C8B-B14F-4D97-AF65-F5344CB8AC3E}">
        <p14:creationId xmlns:p14="http://schemas.microsoft.com/office/powerpoint/2010/main" val="331427259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4665C-D2F0-1D41-81B7-6229279DAD7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A9FAD5D-A3DD-8A4B-928D-F8F38F778982}"/>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3344009-6254-8640-8131-2F2FBC55D5BC}"/>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15C7CEC0-872A-AA4C-8BC9-60B8E6087553}"/>
              </a:ext>
            </a:extLst>
          </p:cNvPr>
          <p:cNvSpPr>
            <a:spLocks noGrp="1"/>
          </p:cNvSpPr>
          <p:nvPr>
            <p:ph type="dt" sz="half" idx="10"/>
          </p:nvPr>
        </p:nvSpPr>
        <p:spPr/>
        <p:txBody>
          <a:bodyPr/>
          <a:lstStyle/>
          <a:p>
            <a:fld id="{0A69DFB7-5244-6745-9F37-EE2CBB7E3229}" type="datetimeFigureOut">
              <a:rPr lang="en-US" smtClean="0"/>
              <a:t>1/31/23</a:t>
            </a:fld>
            <a:endParaRPr lang="en-US"/>
          </a:p>
        </p:txBody>
      </p:sp>
      <p:sp>
        <p:nvSpPr>
          <p:cNvPr id="6" name="Footer Placeholder 5">
            <a:extLst>
              <a:ext uri="{FF2B5EF4-FFF2-40B4-BE49-F238E27FC236}">
                <a16:creationId xmlns:a16="http://schemas.microsoft.com/office/drawing/2014/main" id="{AF6B5B55-368C-3447-8E59-E7B900F4967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3D0FCA8-E6B0-F941-AA08-59D60694805A}"/>
              </a:ext>
            </a:extLst>
          </p:cNvPr>
          <p:cNvSpPr>
            <a:spLocks noGrp="1"/>
          </p:cNvSpPr>
          <p:nvPr>
            <p:ph type="sldNum" sz="quarter" idx="12"/>
          </p:nvPr>
        </p:nvSpPr>
        <p:spPr/>
        <p:txBody>
          <a:bodyPr/>
          <a:lstStyle/>
          <a:p>
            <a:fld id="{5BC41731-BAB7-1448-8879-77157DEE163E}" type="slidenum">
              <a:rPr lang="en-US" smtClean="0"/>
              <a:t>‹#›</a:t>
            </a:fld>
            <a:endParaRPr lang="en-US"/>
          </a:p>
        </p:txBody>
      </p:sp>
    </p:spTree>
    <p:extLst>
      <p:ext uri="{BB962C8B-B14F-4D97-AF65-F5344CB8AC3E}">
        <p14:creationId xmlns:p14="http://schemas.microsoft.com/office/powerpoint/2010/main" val="157553623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7C7DC3-E98E-6641-9CF0-1798E399E3A6}"/>
              </a:ext>
            </a:extLst>
          </p:cNvPr>
          <p:cNvSpPr>
            <a:spLocks noGrp="1"/>
          </p:cNvSpPr>
          <p:nvPr>
            <p:ph type="title"/>
          </p:nvPr>
        </p:nvSpPr>
        <p:spPr>
          <a:xfrm>
            <a:off x="839788" y="365127"/>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915A8A14-201F-E548-9F56-D214E3362F75}"/>
              </a:ext>
            </a:extLst>
          </p:cNvPr>
          <p:cNvSpPr>
            <a:spLocks noGrp="1"/>
          </p:cNvSpPr>
          <p:nvPr>
            <p:ph type="body" idx="1"/>
          </p:nvPr>
        </p:nvSpPr>
        <p:spPr>
          <a:xfrm>
            <a:off x="839789" y="1681163"/>
            <a:ext cx="5157787"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4" name="Content Placeholder 3">
            <a:extLst>
              <a:ext uri="{FF2B5EF4-FFF2-40B4-BE49-F238E27FC236}">
                <a16:creationId xmlns:a16="http://schemas.microsoft.com/office/drawing/2014/main" id="{CC7B06F3-CB73-4A49-A79A-76B2B3C31D0C}"/>
              </a:ext>
            </a:extLst>
          </p:cNvPr>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7E7954E-B05F-B74E-959D-CD8F186BCB1A}"/>
              </a:ext>
            </a:extLst>
          </p:cNvPr>
          <p:cNvSpPr>
            <a:spLocks noGrp="1"/>
          </p:cNvSpPr>
          <p:nvPr>
            <p:ph type="body" sz="quarter" idx="3"/>
          </p:nvPr>
        </p:nvSpPr>
        <p:spPr>
          <a:xfrm>
            <a:off x="6172201" y="1681163"/>
            <a:ext cx="5183188"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6" name="Content Placeholder 5">
            <a:extLst>
              <a:ext uri="{FF2B5EF4-FFF2-40B4-BE49-F238E27FC236}">
                <a16:creationId xmlns:a16="http://schemas.microsoft.com/office/drawing/2014/main" id="{C715D547-ED83-FD44-A244-6EF2FB262CFC}"/>
              </a:ext>
            </a:extLst>
          </p:cNvPr>
          <p:cNvSpPr>
            <a:spLocks noGrp="1"/>
          </p:cNvSpPr>
          <p:nvPr>
            <p:ph sz="quarter" idx="4"/>
          </p:nvPr>
        </p:nvSpPr>
        <p:spPr>
          <a:xfrm>
            <a:off x="6172201"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60A84C30-C793-C943-B13A-63639807CD21}"/>
              </a:ext>
            </a:extLst>
          </p:cNvPr>
          <p:cNvSpPr>
            <a:spLocks noGrp="1"/>
          </p:cNvSpPr>
          <p:nvPr>
            <p:ph type="dt" sz="half" idx="10"/>
          </p:nvPr>
        </p:nvSpPr>
        <p:spPr/>
        <p:txBody>
          <a:bodyPr/>
          <a:lstStyle/>
          <a:p>
            <a:fld id="{0A69DFB7-5244-6745-9F37-EE2CBB7E3229}" type="datetimeFigureOut">
              <a:rPr lang="en-US" smtClean="0"/>
              <a:t>1/31/23</a:t>
            </a:fld>
            <a:endParaRPr lang="en-US"/>
          </a:p>
        </p:txBody>
      </p:sp>
      <p:sp>
        <p:nvSpPr>
          <p:cNvPr id="8" name="Footer Placeholder 7">
            <a:extLst>
              <a:ext uri="{FF2B5EF4-FFF2-40B4-BE49-F238E27FC236}">
                <a16:creationId xmlns:a16="http://schemas.microsoft.com/office/drawing/2014/main" id="{249791CE-6F24-B848-A3D6-14C9FB632199}"/>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BAD33426-C8B6-544B-942A-51F020DD5724}"/>
              </a:ext>
            </a:extLst>
          </p:cNvPr>
          <p:cNvSpPr>
            <a:spLocks noGrp="1"/>
          </p:cNvSpPr>
          <p:nvPr>
            <p:ph type="sldNum" sz="quarter" idx="12"/>
          </p:nvPr>
        </p:nvSpPr>
        <p:spPr/>
        <p:txBody>
          <a:bodyPr/>
          <a:lstStyle/>
          <a:p>
            <a:fld id="{5BC41731-BAB7-1448-8879-77157DEE163E}" type="slidenum">
              <a:rPr lang="en-US" smtClean="0"/>
              <a:t>‹#›</a:t>
            </a:fld>
            <a:endParaRPr lang="en-US"/>
          </a:p>
        </p:txBody>
      </p:sp>
    </p:spTree>
    <p:extLst>
      <p:ext uri="{BB962C8B-B14F-4D97-AF65-F5344CB8AC3E}">
        <p14:creationId xmlns:p14="http://schemas.microsoft.com/office/powerpoint/2010/main" val="326063370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8" y="4857756"/>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8" y="3203577"/>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67558603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13339F-D7BA-DC45-883B-45BA9F1F4F7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5E8E4F35-1FB9-1B40-A735-6F501162F0D4}"/>
              </a:ext>
            </a:extLst>
          </p:cNvPr>
          <p:cNvSpPr>
            <a:spLocks noGrp="1"/>
          </p:cNvSpPr>
          <p:nvPr>
            <p:ph type="dt" sz="half" idx="10"/>
          </p:nvPr>
        </p:nvSpPr>
        <p:spPr/>
        <p:txBody>
          <a:bodyPr/>
          <a:lstStyle/>
          <a:p>
            <a:fld id="{0A69DFB7-5244-6745-9F37-EE2CBB7E3229}" type="datetimeFigureOut">
              <a:rPr lang="en-US" smtClean="0"/>
              <a:t>1/31/23</a:t>
            </a:fld>
            <a:endParaRPr lang="en-US"/>
          </a:p>
        </p:txBody>
      </p:sp>
      <p:sp>
        <p:nvSpPr>
          <p:cNvPr id="4" name="Footer Placeholder 3">
            <a:extLst>
              <a:ext uri="{FF2B5EF4-FFF2-40B4-BE49-F238E27FC236}">
                <a16:creationId xmlns:a16="http://schemas.microsoft.com/office/drawing/2014/main" id="{484AFB58-0531-4045-B7BF-D751127F9D22}"/>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D77DB444-395B-D145-8EBC-087C9153B95D}"/>
              </a:ext>
            </a:extLst>
          </p:cNvPr>
          <p:cNvSpPr>
            <a:spLocks noGrp="1"/>
          </p:cNvSpPr>
          <p:nvPr>
            <p:ph type="sldNum" sz="quarter" idx="12"/>
          </p:nvPr>
        </p:nvSpPr>
        <p:spPr/>
        <p:txBody>
          <a:bodyPr/>
          <a:lstStyle/>
          <a:p>
            <a:fld id="{5BC41731-BAB7-1448-8879-77157DEE163E}" type="slidenum">
              <a:rPr lang="en-US" smtClean="0"/>
              <a:t>‹#›</a:t>
            </a:fld>
            <a:endParaRPr lang="en-US"/>
          </a:p>
        </p:txBody>
      </p:sp>
    </p:spTree>
    <p:extLst>
      <p:ext uri="{BB962C8B-B14F-4D97-AF65-F5344CB8AC3E}">
        <p14:creationId xmlns:p14="http://schemas.microsoft.com/office/powerpoint/2010/main" val="157850757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01F214C-10BC-B749-9F87-D84DBEF4D3C2}"/>
              </a:ext>
            </a:extLst>
          </p:cNvPr>
          <p:cNvSpPr>
            <a:spLocks noGrp="1"/>
          </p:cNvSpPr>
          <p:nvPr>
            <p:ph type="dt" sz="half" idx="10"/>
          </p:nvPr>
        </p:nvSpPr>
        <p:spPr/>
        <p:txBody>
          <a:bodyPr/>
          <a:lstStyle/>
          <a:p>
            <a:fld id="{0A69DFB7-5244-6745-9F37-EE2CBB7E3229}" type="datetimeFigureOut">
              <a:rPr lang="en-US" smtClean="0"/>
              <a:t>1/31/23</a:t>
            </a:fld>
            <a:endParaRPr lang="en-US"/>
          </a:p>
        </p:txBody>
      </p:sp>
      <p:sp>
        <p:nvSpPr>
          <p:cNvPr id="3" name="Footer Placeholder 2">
            <a:extLst>
              <a:ext uri="{FF2B5EF4-FFF2-40B4-BE49-F238E27FC236}">
                <a16:creationId xmlns:a16="http://schemas.microsoft.com/office/drawing/2014/main" id="{EA420926-EBC6-BE49-9F4F-FF8BF0B9161E}"/>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527A241-2810-1645-91E4-2229795A577D}"/>
              </a:ext>
            </a:extLst>
          </p:cNvPr>
          <p:cNvSpPr>
            <a:spLocks noGrp="1"/>
          </p:cNvSpPr>
          <p:nvPr>
            <p:ph type="sldNum" sz="quarter" idx="12"/>
          </p:nvPr>
        </p:nvSpPr>
        <p:spPr/>
        <p:txBody>
          <a:bodyPr/>
          <a:lstStyle/>
          <a:p>
            <a:fld id="{5BC41731-BAB7-1448-8879-77157DEE163E}" type="slidenum">
              <a:rPr lang="en-US" smtClean="0"/>
              <a:t>‹#›</a:t>
            </a:fld>
            <a:endParaRPr lang="en-US"/>
          </a:p>
        </p:txBody>
      </p:sp>
    </p:spTree>
    <p:extLst>
      <p:ext uri="{BB962C8B-B14F-4D97-AF65-F5344CB8AC3E}">
        <p14:creationId xmlns:p14="http://schemas.microsoft.com/office/powerpoint/2010/main" val="394565120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BB9282-17CE-E747-80A7-C153F4DF5FBF}"/>
              </a:ext>
            </a:extLst>
          </p:cNvPr>
          <p:cNvSpPr>
            <a:spLocks noGrp="1"/>
          </p:cNvSpPr>
          <p:nvPr>
            <p:ph type="title"/>
          </p:nvPr>
        </p:nvSpPr>
        <p:spPr>
          <a:xfrm>
            <a:off x="839788" y="457200"/>
            <a:ext cx="3932237" cy="1600200"/>
          </a:xfrm>
        </p:spPr>
        <p:txBody>
          <a:bodyPr anchor="b"/>
          <a:lstStyle>
            <a:lvl1pPr>
              <a:defRPr sz="2400"/>
            </a:lvl1pPr>
          </a:lstStyle>
          <a:p>
            <a:r>
              <a:rPr lang="en-US"/>
              <a:t>Click to edit Master title style</a:t>
            </a:r>
          </a:p>
        </p:txBody>
      </p:sp>
      <p:sp>
        <p:nvSpPr>
          <p:cNvPr id="3" name="Content Placeholder 2">
            <a:extLst>
              <a:ext uri="{FF2B5EF4-FFF2-40B4-BE49-F238E27FC236}">
                <a16:creationId xmlns:a16="http://schemas.microsoft.com/office/drawing/2014/main" id="{6A5DB9D7-0ECC-1C41-8F21-385EC9876D9F}"/>
              </a:ext>
            </a:extLst>
          </p:cNvPr>
          <p:cNvSpPr>
            <a:spLocks noGrp="1"/>
          </p:cNvSpPr>
          <p:nvPr>
            <p:ph idx="1"/>
          </p:nvPr>
        </p:nvSpPr>
        <p:spPr>
          <a:xfrm>
            <a:off x="5183188" y="987427"/>
            <a:ext cx="617220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F414738B-4B30-5941-A20A-25DB75DC1554}"/>
              </a:ext>
            </a:extLst>
          </p:cNvPr>
          <p:cNvSpPr>
            <a:spLocks noGrp="1"/>
          </p:cNvSpPr>
          <p:nvPr>
            <p:ph type="body" sz="half" idx="2"/>
          </p:nvPr>
        </p:nvSpPr>
        <p:spPr>
          <a:xfrm>
            <a:off x="839788" y="2057400"/>
            <a:ext cx="3932237"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a:extLst>
              <a:ext uri="{FF2B5EF4-FFF2-40B4-BE49-F238E27FC236}">
                <a16:creationId xmlns:a16="http://schemas.microsoft.com/office/drawing/2014/main" id="{C668D701-4596-CF41-871C-D4A8E86BF4B0}"/>
              </a:ext>
            </a:extLst>
          </p:cNvPr>
          <p:cNvSpPr>
            <a:spLocks noGrp="1"/>
          </p:cNvSpPr>
          <p:nvPr>
            <p:ph type="dt" sz="half" idx="10"/>
          </p:nvPr>
        </p:nvSpPr>
        <p:spPr/>
        <p:txBody>
          <a:bodyPr/>
          <a:lstStyle/>
          <a:p>
            <a:fld id="{0A69DFB7-5244-6745-9F37-EE2CBB7E3229}" type="datetimeFigureOut">
              <a:rPr lang="en-US" smtClean="0"/>
              <a:t>1/31/23</a:t>
            </a:fld>
            <a:endParaRPr lang="en-US"/>
          </a:p>
        </p:txBody>
      </p:sp>
      <p:sp>
        <p:nvSpPr>
          <p:cNvPr id="6" name="Footer Placeholder 5">
            <a:extLst>
              <a:ext uri="{FF2B5EF4-FFF2-40B4-BE49-F238E27FC236}">
                <a16:creationId xmlns:a16="http://schemas.microsoft.com/office/drawing/2014/main" id="{0537FB12-652A-CD43-BD43-CA38B4CD95E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746A23B-9BF0-934D-B362-900EADDE330F}"/>
              </a:ext>
            </a:extLst>
          </p:cNvPr>
          <p:cNvSpPr>
            <a:spLocks noGrp="1"/>
          </p:cNvSpPr>
          <p:nvPr>
            <p:ph type="sldNum" sz="quarter" idx="12"/>
          </p:nvPr>
        </p:nvSpPr>
        <p:spPr/>
        <p:txBody>
          <a:bodyPr/>
          <a:lstStyle/>
          <a:p>
            <a:fld id="{5BC41731-BAB7-1448-8879-77157DEE163E}" type="slidenum">
              <a:rPr lang="en-US" smtClean="0"/>
              <a:t>‹#›</a:t>
            </a:fld>
            <a:endParaRPr lang="en-US"/>
          </a:p>
        </p:txBody>
      </p:sp>
    </p:spTree>
    <p:extLst>
      <p:ext uri="{BB962C8B-B14F-4D97-AF65-F5344CB8AC3E}">
        <p14:creationId xmlns:p14="http://schemas.microsoft.com/office/powerpoint/2010/main" val="51108295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02C867-0DD1-C542-8E3B-882955C2705C}"/>
              </a:ext>
            </a:extLst>
          </p:cNvPr>
          <p:cNvSpPr>
            <a:spLocks noGrp="1"/>
          </p:cNvSpPr>
          <p:nvPr>
            <p:ph type="title"/>
          </p:nvPr>
        </p:nvSpPr>
        <p:spPr>
          <a:xfrm>
            <a:off x="839788" y="457200"/>
            <a:ext cx="3932237" cy="1600200"/>
          </a:xfrm>
        </p:spPr>
        <p:txBody>
          <a:bodyPr anchor="b"/>
          <a:lstStyle>
            <a:lvl1pPr>
              <a:defRPr sz="2400"/>
            </a:lvl1pPr>
          </a:lstStyle>
          <a:p>
            <a:r>
              <a:rPr lang="en-US"/>
              <a:t>Click to edit Master title style</a:t>
            </a:r>
          </a:p>
        </p:txBody>
      </p:sp>
      <p:sp>
        <p:nvSpPr>
          <p:cNvPr id="3" name="Picture Placeholder 2">
            <a:extLst>
              <a:ext uri="{FF2B5EF4-FFF2-40B4-BE49-F238E27FC236}">
                <a16:creationId xmlns:a16="http://schemas.microsoft.com/office/drawing/2014/main" id="{7AC4E938-A7A3-8B47-B47C-EB5B8E645EF7}"/>
              </a:ext>
            </a:extLst>
          </p:cNvPr>
          <p:cNvSpPr>
            <a:spLocks noGrp="1"/>
          </p:cNvSpPr>
          <p:nvPr>
            <p:ph type="pic" idx="1"/>
          </p:nvPr>
        </p:nvSpPr>
        <p:spPr>
          <a:xfrm>
            <a:off x="5183188" y="987427"/>
            <a:ext cx="617220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a:extLst>
              <a:ext uri="{FF2B5EF4-FFF2-40B4-BE49-F238E27FC236}">
                <a16:creationId xmlns:a16="http://schemas.microsoft.com/office/drawing/2014/main" id="{071E37A5-3256-A74F-9B3D-E9B470C62A97}"/>
              </a:ext>
            </a:extLst>
          </p:cNvPr>
          <p:cNvSpPr>
            <a:spLocks noGrp="1"/>
          </p:cNvSpPr>
          <p:nvPr>
            <p:ph type="body" sz="half" idx="2"/>
          </p:nvPr>
        </p:nvSpPr>
        <p:spPr>
          <a:xfrm>
            <a:off x="839788" y="2057400"/>
            <a:ext cx="3932237"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a:extLst>
              <a:ext uri="{FF2B5EF4-FFF2-40B4-BE49-F238E27FC236}">
                <a16:creationId xmlns:a16="http://schemas.microsoft.com/office/drawing/2014/main" id="{2F65387E-0343-A646-894D-E580F94891CC}"/>
              </a:ext>
            </a:extLst>
          </p:cNvPr>
          <p:cNvSpPr>
            <a:spLocks noGrp="1"/>
          </p:cNvSpPr>
          <p:nvPr>
            <p:ph type="dt" sz="half" idx="10"/>
          </p:nvPr>
        </p:nvSpPr>
        <p:spPr/>
        <p:txBody>
          <a:bodyPr/>
          <a:lstStyle/>
          <a:p>
            <a:fld id="{0A69DFB7-5244-6745-9F37-EE2CBB7E3229}" type="datetimeFigureOut">
              <a:rPr lang="en-US" smtClean="0"/>
              <a:t>1/31/23</a:t>
            </a:fld>
            <a:endParaRPr lang="en-US"/>
          </a:p>
        </p:txBody>
      </p:sp>
      <p:sp>
        <p:nvSpPr>
          <p:cNvPr id="6" name="Footer Placeholder 5">
            <a:extLst>
              <a:ext uri="{FF2B5EF4-FFF2-40B4-BE49-F238E27FC236}">
                <a16:creationId xmlns:a16="http://schemas.microsoft.com/office/drawing/2014/main" id="{79A37A04-5D3A-BD43-9278-2B8D4E47482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28F37B2-C6C6-8A44-BA19-779ECF3098B5}"/>
              </a:ext>
            </a:extLst>
          </p:cNvPr>
          <p:cNvSpPr>
            <a:spLocks noGrp="1"/>
          </p:cNvSpPr>
          <p:nvPr>
            <p:ph type="sldNum" sz="quarter" idx="12"/>
          </p:nvPr>
        </p:nvSpPr>
        <p:spPr/>
        <p:txBody>
          <a:bodyPr/>
          <a:lstStyle/>
          <a:p>
            <a:fld id="{5BC41731-BAB7-1448-8879-77157DEE163E}" type="slidenum">
              <a:rPr lang="en-US" smtClean="0"/>
              <a:t>‹#›</a:t>
            </a:fld>
            <a:endParaRPr lang="en-US"/>
          </a:p>
        </p:txBody>
      </p:sp>
    </p:spTree>
    <p:extLst>
      <p:ext uri="{BB962C8B-B14F-4D97-AF65-F5344CB8AC3E}">
        <p14:creationId xmlns:p14="http://schemas.microsoft.com/office/powerpoint/2010/main" val="19749774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D7C44F-53A0-2741-B40C-1AD3B2B22075}"/>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0E288BA9-8D18-BE42-8489-648335F0DD33}"/>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C857AB3-0CEB-F84E-89CE-B3EFE39EB2E7}"/>
              </a:ext>
            </a:extLst>
          </p:cNvPr>
          <p:cNvSpPr>
            <a:spLocks noGrp="1"/>
          </p:cNvSpPr>
          <p:nvPr>
            <p:ph type="dt" sz="half" idx="10"/>
          </p:nvPr>
        </p:nvSpPr>
        <p:spPr/>
        <p:txBody>
          <a:bodyPr/>
          <a:lstStyle/>
          <a:p>
            <a:fld id="{0A69DFB7-5244-6745-9F37-EE2CBB7E3229}" type="datetimeFigureOut">
              <a:rPr lang="en-US" smtClean="0"/>
              <a:t>1/31/23</a:t>
            </a:fld>
            <a:endParaRPr lang="en-US"/>
          </a:p>
        </p:txBody>
      </p:sp>
      <p:sp>
        <p:nvSpPr>
          <p:cNvPr id="5" name="Footer Placeholder 4">
            <a:extLst>
              <a:ext uri="{FF2B5EF4-FFF2-40B4-BE49-F238E27FC236}">
                <a16:creationId xmlns:a16="http://schemas.microsoft.com/office/drawing/2014/main" id="{FDA76C0F-4239-074E-A062-A965FA850B8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EC9C3E8-4E17-214B-8FA0-7E8229515D41}"/>
              </a:ext>
            </a:extLst>
          </p:cNvPr>
          <p:cNvSpPr>
            <a:spLocks noGrp="1"/>
          </p:cNvSpPr>
          <p:nvPr>
            <p:ph type="sldNum" sz="quarter" idx="12"/>
          </p:nvPr>
        </p:nvSpPr>
        <p:spPr/>
        <p:txBody>
          <a:bodyPr/>
          <a:lstStyle/>
          <a:p>
            <a:fld id="{5BC41731-BAB7-1448-8879-77157DEE163E}" type="slidenum">
              <a:rPr lang="en-US" smtClean="0"/>
              <a:t>‹#›</a:t>
            </a:fld>
            <a:endParaRPr lang="en-US"/>
          </a:p>
        </p:txBody>
      </p:sp>
    </p:spTree>
    <p:extLst>
      <p:ext uri="{BB962C8B-B14F-4D97-AF65-F5344CB8AC3E}">
        <p14:creationId xmlns:p14="http://schemas.microsoft.com/office/powerpoint/2010/main" val="54250463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30F692F-CF2D-E649-95F1-B9D6D47797CA}"/>
              </a:ext>
            </a:extLst>
          </p:cNvPr>
          <p:cNvSpPr>
            <a:spLocks noGrp="1"/>
          </p:cNvSpPr>
          <p:nvPr>
            <p:ph type="title" orient="vert"/>
          </p:nvPr>
        </p:nvSpPr>
        <p:spPr>
          <a:xfrm>
            <a:off x="8724901"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006A4935-B671-0A40-B89C-70D6493617FB}"/>
              </a:ext>
            </a:extLst>
          </p:cNvPr>
          <p:cNvSpPr>
            <a:spLocks noGrp="1"/>
          </p:cNvSpPr>
          <p:nvPr>
            <p:ph type="body" orient="vert" idx="1"/>
          </p:nvPr>
        </p:nvSpPr>
        <p:spPr>
          <a:xfrm>
            <a:off x="838201"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10806A1-066F-594F-B5E0-C93CF61F6C05}"/>
              </a:ext>
            </a:extLst>
          </p:cNvPr>
          <p:cNvSpPr>
            <a:spLocks noGrp="1"/>
          </p:cNvSpPr>
          <p:nvPr>
            <p:ph type="dt" sz="half" idx="10"/>
          </p:nvPr>
        </p:nvSpPr>
        <p:spPr/>
        <p:txBody>
          <a:bodyPr/>
          <a:lstStyle/>
          <a:p>
            <a:fld id="{0A69DFB7-5244-6745-9F37-EE2CBB7E3229}" type="datetimeFigureOut">
              <a:rPr lang="en-US" smtClean="0"/>
              <a:t>1/31/23</a:t>
            </a:fld>
            <a:endParaRPr lang="en-US"/>
          </a:p>
        </p:txBody>
      </p:sp>
      <p:sp>
        <p:nvSpPr>
          <p:cNvPr id="5" name="Footer Placeholder 4">
            <a:extLst>
              <a:ext uri="{FF2B5EF4-FFF2-40B4-BE49-F238E27FC236}">
                <a16:creationId xmlns:a16="http://schemas.microsoft.com/office/drawing/2014/main" id="{F1505BE0-9845-F44C-9598-AE2FD0B1F10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D92942A-E681-FB46-AF8A-9B2A6EC0AF68}"/>
              </a:ext>
            </a:extLst>
          </p:cNvPr>
          <p:cNvSpPr>
            <a:spLocks noGrp="1"/>
          </p:cNvSpPr>
          <p:nvPr>
            <p:ph type="sldNum" sz="quarter" idx="12"/>
          </p:nvPr>
        </p:nvSpPr>
        <p:spPr/>
        <p:txBody>
          <a:bodyPr/>
          <a:lstStyle/>
          <a:p>
            <a:fld id="{5BC41731-BAB7-1448-8879-77157DEE163E}" type="slidenum">
              <a:rPr lang="en-US" smtClean="0"/>
              <a:t>‹#›</a:t>
            </a:fld>
            <a:endParaRPr lang="en-US"/>
          </a:p>
        </p:txBody>
      </p:sp>
    </p:spTree>
    <p:extLst>
      <p:ext uri="{BB962C8B-B14F-4D97-AF65-F5344CB8AC3E}">
        <p14:creationId xmlns:p14="http://schemas.microsoft.com/office/powerpoint/2010/main" val="421616293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03696926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cxnSp>
        <p:nvCxnSpPr>
          <p:cNvPr id="5" name="Straight Connector 4"/>
          <p:cNvCxnSpPr/>
          <p:nvPr userDrawn="1"/>
        </p:nvCxnSpPr>
        <p:spPr>
          <a:xfrm>
            <a:off x="0" y="1062633"/>
            <a:ext cx="12192000" cy="0"/>
          </a:xfrm>
          <a:prstGeom prst="line">
            <a:avLst/>
          </a:prstGeom>
          <a:ln>
            <a:solidFill>
              <a:schemeClr val="accent1"/>
            </a:solidFill>
          </a:ln>
        </p:spPr>
        <p:style>
          <a:lnRef idx="2">
            <a:schemeClr val="accent2"/>
          </a:lnRef>
          <a:fillRef idx="0">
            <a:schemeClr val="accent2"/>
          </a:fillRef>
          <a:effectRef idx="1">
            <a:schemeClr val="accent2"/>
          </a:effectRef>
          <a:fontRef idx="minor">
            <a:schemeClr val="tx1"/>
          </a:fontRef>
        </p:style>
      </p:cxnSp>
      <p:sp>
        <p:nvSpPr>
          <p:cNvPr id="8" name="Footer Placeholder 6"/>
          <p:cNvSpPr>
            <a:spLocks noGrp="1"/>
          </p:cNvSpPr>
          <p:nvPr>
            <p:ph type="ftr" sz="quarter" idx="13"/>
          </p:nvPr>
        </p:nvSpPr>
        <p:spPr>
          <a:xfrm>
            <a:off x="81280" y="6437634"/>
            <a:ext cx="10363200" cy="323849"/>
          </a:xfrm>
          <a:prstGeom prst="rect">
            <a:avLst/>
          </a:prstGeom>
        </p:spPr>
        <p:txBody>
          <a:bodyPr lIns="45720" bIns="0"/>
          <a:lstStyle>
            <a:lvl1pPr>
              <a:defRPr sz="1067">
                <a:solidFill>
                  <a:schemeClr val="tx1"/>
                </a:solidFill>
              </a:defRPr>
            </a:lvl1pPr>
          </a:lstStyle>
          <a:p>
            <a:endParaRPr lang="en-US" dirty="0"/>
          </a:p>
        </p:txBody>
      </p:sp>
      <p:sp>
        <p:nvSpPr>
          <p:cNvPr id="6" name="Title 1"/>
          <p:cNvSpPr>
            <a:spLocks noGrp="1"/>
          </p:cNvSpPr>
          <p:nvPr>
            <p:ph type="title"/>
          </p:nvPr>
        </p:nvSpPr>
        <p:spPr>
          <a:xfrm>
            <a:off x="121920" y="35787"/>
            <a:ext cx="11948160" cy="990600"/>
          </a:xfrm>
          <a:prstGeom prst="rect">
            <a:avLst/>
          </a:prstGeom>
          <a:ln>
            <a:noFill/>
          </a:ln>
        </p:spPr>
        <p:txBody>
          <a:bodyPr>
            <a:noAutofit/>
          </a:bodyPr>
          <a:lstStyle>
            <a:lvl1pPr>
              <a:defRPr sz="3200">
                <a:solidFill>
                  <a:schemeClr val="accent1"/>
                </a:solidFill>
              </a:defRPr>
            </a:lvl1pPr>
          </a:lstStyle>
          <a:p>
            <a:r>
              <a:rPr lang="en-US" dirty="0"/>
              <a:t>Click to edit Master title style</a:t>
            </a:r>
          </a:p>
        </p:txBody>
      </p:sp>
    </p:spTree>
    <p:extLst>
      <p:ext uri="{BB962C8B-B14F-4D97-AF65-F5344CB8AC3E}">
        <p14:creationId xmlns:p14="http://schemas.microsoft.com/office/powerpoint/2010/main" val="56125721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Title w reference">
    <p:spTree>
      <p:nvGrpSpPr>
        <p:cNvPr id="1" name=""/>
        <p:cNvGrpSpPr/>
        <p:nvPr/>
      </p:nvGrpSpPr>
      <p:grpSpPr>
        <a:xfrm>
          <a:off x="0" y="0"/>
          <a:ext cx="0" cy="0"/>
          <a:chOff x="0" y="0"/>
          <a:chExt cx="0" cy="0"/>
        </a:xfrm>
      </p:grpSpPr>
      <p:sp>
        <p:nvSpPr>
          <p:cNvPr id="4" name="Text Placeholder 3"/>
          <p:cNvSpPr>
            <a:spLocks noGrp="1"/>
          </p:cNvSpPr>
          <p:nvPr>
            <p:ph type="body" sz="quarter" idx="11" hasCustomPrompt="1"/>
          </p:nvPr>
        </p:nvSpPr>
        <p:spPr>
          <a:xfrm>
            <a:off x="0" y="1081907"/>
            <a:ext cx="12191999" cy="453183"/>
          </a:xfrm>
          <a:prstGeom prst="rect">
            <a:avLst/>
          </a:prstGeom>
          <a:noFill/>
        </p:spPr>
        <p:txBody>
          <a:bodyPr wrap="square" lIns="360000" tIns="72000" rIns="360000" bIns="72000">
            <a:spAutoFit/>
          </a:bodyPr>
          <a:lstStyle>
            <a:lvl1pPr algn="ctr">
              <a:lnSpc>
                <a:spcPct val="100000"/>
              </a:lnSpc>
              <a:defRPr sz="2000" b="1" cap="none" baseline="0">
                <a:solidFill>
                  <a:schemeClr val="tx1"/>
                </a:solidFill>
                <a:latin typeface="+mn-lt"/>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5" name="Text Placeholder 3">
            <a:extLst>
              <a:ext uri="{FF2B5EF4-FFF2-40B4-BE49-F238E27FC236}">
                <a16:creationId xmlns:a16="http://schemas.microsoft.com/office/drawing/2014/main" id="{C002109A-F2F6-6C45-914D-AF9325565773}"/>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Tree>
    <p:extLst>
      <p:ext uri="{BB962C8B-B14F-4D97-AF65-F5344CB8AC3E}">
        <p14:creationId xmlns:p14="http://schemas.microsoft.com/office/powerpoint/2010/main" val="2098112511"/>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33"/>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
        <p:nvSpPr>
          <p:cNvPr id="4" name="Rectangle 4"/>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D5F29E0D-93D3-4EFF-A6FC-D91DB05DD3DA}"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114379197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514001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559DA1B2-EE7F-4F41-A199-E3F65120BECC}"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11130098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2"/>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14B8AB5E-91A4-4696-A3E9-ABBE82B01322}"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365307916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14400" y="1981200"/>
            <a:ext cx="508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981200"/>
            <a:ext cx="508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09C1DDF3-2A62-4FD4-A837-474D677CFF3E}"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71269046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4"/>
            <a:ext cx="5386917"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78" y="1535114"/>
            <a:ext cx="5389033"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7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4"/>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8"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9" name="Rectangle 6"/>
          <p:cNvSpPr>
            <a:spLocks noGrp="1" noChangeArrowheads="1"/>
          </p:cNvSpPr>
          <p:nvPr>
            <p:ph type="sldNum" sz="quarter" idx="12"/>
          </p:nvPr>
        </p:nvSpPr>
        <p:spPr>
          <a:ln/>
        </p:spPr>
        <p:txBody>
          <a:bodyPr/>
          <a:lstStyle>
            <a:lvl1pPr>
              <a:defRPr/>
            </a:lvl1pPr>
          </a:lstStyle>
          <a:p>
            <a:pPr>
              <a:defRPr/>
            </a:pPr>
            <a:fld id="{B564E34C-3B06-4796-BB91-DDF5CCBDB640}"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78902637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4"/>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4"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5" name="Rectangle 6"/>
          <p:cNvSpPr>
            <a:spLocks noGrp="1" noChangeArrowheads="1"/>
          </p:cNvSpPr>
          <p:nvPr>
            <p:ph type="sldNum" sz="quarter" idx="12"/>
          </p:nvPr>
        </p:nvSpPr>
        <p:spPr>
          <a:ln/>
        </p:spPr>
        <p:txBody>
          <a:bodyPr/>
          <a:lstStyle>
            <a:lvl1pPr>
              <a:defRPr/>
            </a:lvl1pPr>
          </a:lstStyle>
          <a:p>
            <a:pPr>
              <a:defRPr/>
            </a:pPr>
            <a:fld id="{782FBB8A-EDBE-40F3-8A51-19C7BE7217AC}"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306296251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3"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4" name="Rectangle 6"/>
          <p:cNvSpPr>
            <a:spLocks noGrp="1" noChangeArrowheads="1"/>
          </p:cNvSpPr>
          <p:nvPr>
            <p:ph type="sldNum" sz="quarter" idx="12"/>
          </p:nvPr>
        </p:nvSpPr>
        <p:spPr>
          <a:ln/>
        </p:spPr>
        <p:txBody>
          <a:bodyPr/>
          <a:lstStyle>
            <a:lvl1pPr>
              <a:defRPr/>
            </a:lvl1pPr>
          </a:lstStyle>
          <a:p>
            <a:pPr>
              <a:defRPr/>
            </a:pPr>
            <a:fld id="{9E0D193D-3B32-4C99-9739-17C529917388}"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161575866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14" y="273050"/>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8"/>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14" y="1435104"/>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8EE460DE-109D-4AA6-BB6C-FE0BD5CFA1E5}"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301903219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2"/>
            <a:ext cx="7315200" cy="566739"/>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2389717" y="5367344"/>
            <a:ext cx="73152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939A3E4C-45B8-4053-BDF8-0C7F70920CAA}"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257984359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CDDBDD0B-14EC-429A-BA8E-B728074FAB8F}"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372821217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686800" y="609600"/>
            <a:ext cx="2590800" cy="54864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14400" y="609600"/>
            <a:ext cx="7569200" cy="54864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D3D23C0E-6F1B-46FC-A1B9-197E270BA46E}"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396845855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0493974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4400" y="609600"/>
            <a:ext cx="10363200" cy="1143000"/>
          </a:xfrm>
        </p:spPr>
        <p:txBody>
          <a:bodyPr/>
          <a:lstStyle/>
          <a:p>
            <a:r>
              <a:rPr lang="en-US"/>
              <a:t>Click to edit Master title style</a:t>
            </a:r>
          </a:p>
        </p:txBody>
      </p:sp>
      <p:sp>
        <p:nvSpPr>
          <p:cNvPr id="3" name="Table Placeholder 2"/>
          <p:cNvSpPr>
            <a:spLocks noGrp="1"/>
          </p:cNvSpPr>
          <p:nvPr>
            <p:ph type="tbl" idx="1"/>
          </p:nvPr>
        </p:nvSpPr>
        <p:spPr>
          <a:xfrm>
            <a:off x="914400" y="1981200"/>
            <a:ext cx="10363200" cy="4114800"/>
          </a:xfrm>
        </p:spPr>
        <p:txBody>
          <a:bodyPr/>
          <a:lstStyle/>
          <a:p>
            <a:pPr lvl="0"/>
            <a:endParaRPr lang="en-US" noProof="0" dirty="0"/>
          </a:p>
        </p:txBody>
      </p:sp>
      <p:sp>
        <p:nvSpPr>
          <p:cNvPr id="4" name="Rectangle 4"/>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18C47459-4BE1-4C39-AF29-BFA55E5500FD}"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52933374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914400" y="609600"/>
            <a:ext cx="10363200" cy="5486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Rectangle 4"/>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4"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5" name="Rectangle 6"/>
          <p:cNvSpPr>
            <a:spLocks noGrp="1" noChangeArrowheads="1"/>
          </p:cNvSpPr>
          <p:nvPr>
            <p:ph type="sldNum" sz="quarter" idx="12"/>
          </p:nvPr>
        </p:nvSpPr>
        <p:spPr>
          <a:ln/>
        </p:spPr>
        <p:txBody>
          <a:bodyPr/>
          <a:lstStyle>
            <a:lvl1pPr>
              <a:defRPr/>
            </a:lvl1pPr>
          </a:lstStyle>
          <a:p>
            <a:pPr>
              <a:defRPr/>
            </a:pPr>
            <a:fld id="{C227AA7F-F424-4408-982E-994AD7C0197C}"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188789323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10" name="Title 1"/>
          <p:cNvSpPr>
            <a:spLocks noGrp="1"/>
          </p:cNvSpPr>
          <p:nvPr>
            <p:ph type="ctrTitle"/>
          </p:nvPr>
        </p:nvSpPr>
        <p:spPr>
          <a:xfrm>
            <a:off x="529170" y="1676406"/>
            <a:ext cx="8005233" cy="1470025"/>
          </a:xfrm>
        </p:spPr>
        <p:txBody>
          <a:bodyPr lIns="0" rIns="0" anchor="b">
            <a:noAutofit/>
          </a:bodyPr>
          <a:lstStyle>
            <a:lvl1pPr algn="l">
              <a:defRPr sz="2800">
                <a:solidFill>
                  <a:srgbClr val="000000"/>
                </a:solidFill>
                <a:latin typeface="+mn-lt"/>
              </a:defRPr>
            </a:lvl1pPr>
          </a:lstStyle>
          <a:p>
            <a:r>
              <a:rPr lang="en-US" dirty="0"/>
              <a:t>Click to edit Master title style</a:t>
            </a:r>
            <a:endParaRPr lang="en-GB" dirty="0"/>
          </a:p>
        </p:txBody>
      </p:sp>
      <p:sp>
        <p:nvSpPr>
          <p:cNvPr id="4" name="Subtitle 2"/>
          <p:cNvSpPr>
            <a:spLocks noGrp="1"/>
          </p:cNvSpPr>
          <p:nvPr>
            <p:ph type="subTitle" idx="1"/>
          </p:nvPr>
        </p:nvSpPr>
        <p:spPr>
          <a:xfrm>
            <a:off x="529168" y="3715773"/>
            <a:ext cx="8034469" cy="1542033"/>
          </a:xfrm>
        </p:spPr>
        <p:txBody>
          <a:bodyPr anchor="t">
            <a:noAutofit/>
          </a:bodyPr>
          <a:lstStyle>
            <a:lvl1pPr marL="0" indent="0" algn="l">
              <a:buNone/>
              <a:defRPr sz="1800" b="1">
                <a:solidFill>
                  <a:schemeClr val="bg2">
                    <a:lumMod val="50000"/>
                  </a:schemeClr>
                </a:solidFill>
                <a:latin typeface="+mn-lt"/>
              </a:defRPr>
            </a:lvl1pPr>
            <a:lvl2pPr marL="457178" indent="0" algn="ctr">
              <a:buNone/>
              <a:defRPr>
                <a:solidFill>
                  <a:schemeClr val="tx1">
                    <a:tint val="75000"/>
                  </a:schemeClr>
                </a:solidFill>
              </a:defRPr>
            </a:lvl2pPr>
            <a:lvl3pPr marL="914354" indent="0" algn="ctr">
              <a:buNone/>
              <a:defRPr>
                <a:solidFill>
                  <a:schemeClr val="tx1">
                    <a:tint val="75000"/>
                  </a:schemeClr>
                </a:solidFill>
              </a:defRPr>
            </a:lvl3pPr>
            <a:lvl4pPr marL="1371532" indent="0" algn="ctr">
              <a:buNone/>
              <a:defRPr>
                <a:solidFill>
                  <a:schemeClr val="tx1">
                    <a:tint val="75000"/>
                  </a:schemeClr>
                </a:solidFill>
              </a:defRPr>
            </a:lvl4pPr>
            <a:lvl5pPr marL="1828709" indent="0" algn="ctr">
              <a:buNone/>
              <a:defRPr>
                <a:solidFill>
                  <a:schemeClr val="tx1">
                    <a:tint val="75000"/>
                  </a:schemeClr>
                </a:solidFill>
              </a:defRPr>
            </a:lvl5pPr>
            <a:lvl6pPr marL="2285886" indent="0" algn="ctr">
              <a:buNone/>
              <a:defRPr>
                <a:solidFill>
                  <a:schemeClr val="tx1">
                    <a:tint val="75000"/>
                  </a:schemeClr>
                </a:solidFill>
              </a:defRPr>
            </a:lvl6pPr>
            <a:lvl7pPr marL="2743062" indent="0" algn="ctr">
              <a:buNone/>
              <a:defRPr>
                <a:solidFill>
                  <a:schemeClr val="tx1">
                    <a:tint val="75000"/>
                  </a:schemeClr>
                </a:solidFill>
              </a:defRPr>
            </a:lvl7pPr>
            <a:lvl8pPr marL="3200240" indent="0" algn="ctr">
              <a:buNone/>
              <a:defRPr>
                <a:solidFill>
                  <a:schemeClr val="tx1">
                    <a:tint val="75000"/>
                  </a:schemeClr>
                </a:solidFill>
              </a:defRPr>
            </a:lvl8pPr>
            <a:lvl9pPr marL="3657418" indent="0" algn="ctr">
              <a:buNone/>
              <a:defRPr>
                <a:solidFill>
                  <a:schemeClr val="tx1">
                    <a:tint val="75000"/>
                  </a:schemeClr>
                </a:solidFill>
              </a:defRPr>
            </a:lvl9pPr>
          </a:lstStyle>
          <a:p>
            <a:r>
              <a:rPr lang="en-US" dirty="0"/>
              <a:t>Click to edit Master subtitle style</a:t>
            </a:r>
            <a:endParaRPr lang="en-GB" dirty="0"/>
          </a:p>
        </p:txBody>
      </p:sp>
      <p:sp>
        <p:nvSpPr>
          <p:cNvPr id="5" name="Rectangle 4"/>
          <p:cNvSpPr/>
          <p:nvPr userDrawn="1"/>
        </p:nvSpPr>
        <p:spPr bwMode="auto">
          <a:xfrm>
            <a:off x="0" y="3417252"/>
            <a:ext cx="12192000" cy="45720"/>
          </a:xfrm>
          <a:prstGeom prst="rect">
            <a:avLst/>
          </a:prstGeom>
          <a:solidFill>
            <a:srgbClr val="000000"/>
          </a:solidFill>
          <a:ln w="12700">
            <a:noFill/>
            <a:round/>
            <a:headEnd type="none" w="sm" len="sm"/>
            <a:tailEnd type="none" w="sm" len="sm"/>
          </a:ln>
          <a:effectLst/>
        </p:spPr>
        <p:txBody>
          <a:bodyPr wrap="square" rtlCol="0" anchor="ctr">
            <a:noAutofit/>
          </a:bodyPr>
          <a:lstStyle/>
          <a:p>
            <a:pPr algn="ctr">
              <a:spcBef>
                <a:spcPct val="0"/>
              </a:spcBef>
              <a:spcAft>
                <a:spcPct val="0"/>
              </a:spcAft>
            </a:pPr>
            <a:endParaRPr lang="en-GB" sz="1800" b="1" dirty="0">
              <a:solidFill>
                <a:schemeClr val="bg1"/>
              </a:solidFill>
              <a:ea typeface="MS PGothic" pitchFamily="34" charset="-128"/>
              <a:cs typeface="ヒラギノ角ゴ Pro W3"/>
            </a:endParaRPr>
          </a:p>
        </p:txBody>
      </p:sp>
      <p:sp>
        <p:nvSpPr>
          <p:cNvPr id="7" name="Slide Number Placeholder 3">
            <a:extLst>
              <a:ext uri="{FF2B5EF4-FFF2-40B4-BE49-F238E27FC236}">
                <a16:creationId xmlns:a16="http://schemas.microsoft.com/office/drawing/2014/main" id="{8FEAE24C-0775-4639-99B2-E267BEDEC551}"/>
              </a:ext>
            </a:extLst>
          </p:cNvPr>
          <p:cNvSpPr>
            <a:spLocks noGrp="1"/>
          </p:cNvSpPr>
          <p:nvPr>
            <p:ph type="sldNum" sz="quarter" idx="4"/>
          </p:nvPr>
        </p:nvSpPr>
        <p:spPr>
          <a:xfrm>
            <a:off x="11856222" y="-14681"/>
            <a:ext cx="255180" cy="366183"/>
          </a:xfrm>
          <a:prstGeom prst="rect">
            <a:avLst/>
          </a:prstGeom>
        </p:spPr>
        <p:txBody>
          <a:bodyPr vert="horz" lIns="18288" tIns="18288" rIns="18288" bIns="18288" rtlCol="0" anchor="ctr"/>
          <a:lstStyle>
            <a:lvl1pPr algn="r">
              <a:defRPr sz="1067">
                <a:solidFill>
                  <a:schemeClr val="tx1"/>
                </a:solidFill>
              </a:defRPr>
            </a:lvl1pPr>
          </a:lstStyle>
          <a:p>
            <a:fld id="{A20F318D-AF3A-44CE-8FC7-7D05504DBF73}" type="slidenum">
              <a:rPr lang="en-GB" smtClean="0"/>
              <a:pPr/>
              <a:t>‹#›</a:t>
            </a:fld>
            <a:endParaRPr lang="en-GB" dirty="0"/>
          </a:p>
        </p:txBody>
      </p:sp>
    </p:spTree>
    <p:extLst>
      <p:ext uri="{BB962C8B-B14F-4D97-AF65-F5344CB8AC3E}">
        <p14:creationId xmlns:p14="http://schemas.microsoft.com/office/powerpoint/2010/main" val="2429689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defRPr>
                <a:solidFill>
                  <a:srgbClr val="000000"/>
                </a:solidFill>
              </a:defRPr>
            </a:lvl1pPr>
            <a:lvl2pPr>
              <a:defRPr sz="1600">
                <a:solidFill>
                  <a:srgbClr val="000000"/>
                </a:solidFill>
              </a:defRPr>
            </a:lvl2pPr>
            <a:lvl3pPr>
              <a:defRPr sz="1400">
                <a:solidFill>
                  <a:srgbClr val="000000"/>
                </a:solidFill>
              </a:defRPr>
            </a:lvl3pPr>
            <a:lvl4pPr>
              <a:defRPr sz="1200">
                <a:solidFill>
                  <a:srgbClr val="000000"/>
                </a:solidFill>
              </a:defRPr>
            </a:lvl4pPr>
            <a:lvl5pPr>
              <a:defRPr sz="1107">
                <a:solidFill>
                  <a:srgbClr val="00000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Title 11"/>
          <p:cNvSpPr>
            <a:spLocks noGrp="1"/>
          </p:cNvSpPr>
          <p:nvPr>
            <p:ph type="title"/>
          </p:nvPr>
        </p:nvSpPr>
        <p:spPr/>
        <p:txBody>
          <a:bodyPr/>
          <a:lstStyle>
            <a:lvl1pPr>
              <a:defRPr>
                <a:solidFill>
                  <a:srgbClr val="000000"/>
                </a:solidFill>
              </a:defRPr>
            </a:lvl1pPr>
          </a:lstStyle>
          <a:p>
            <a:r>
              <a:rPr lang="en-US" dirty="0"/>
              <a:t>Click to edit Master title style</a:t>
            </a:r>
            <a:endParaRPr lang="en-GB" dirty="0"/>
          </a:p>
        </p:txBody>
      </p:sp>
      <p:sp>
        <p:nvSpPr>
          <p:cNvPr id="14" name="Text Placeholder 13"/>
          <p:cNvSpPr>
            <a:spLocks noGrp="1"/>
          </p:cNvSpPr>
          <p:nvPr>
            <p:ph type="body" sz="quarter" idx="13" hasCustomPrompt="1"/>
          </p:nvPr>
        </p:nvSpPr>
        <p:spPr>
          <a:xfrm>
            <a:off x="529168" y="6311904"/>
            <a:ext cx="5465232" cy="390525"/>
          </a:xfrm>
        </p:spPr>
        <p:txBody>
          <a:bodyPr lIns="0" tIns="0" rIns="0" bIns="0" anchor="b">
            <a:noAutofit/>
          </a:bodyPr>
          <a:lstStyle>
            <a:lvl1pPr marL="0" indent="0" algn="l">
              <a:spcBef>
                <a:spcPts val="0"/>
              </a:spcBef>
              <a:spcAft>
                <a:spcPts val="0"/>
              </a:spcAft>
              <a:buNone/>
              <a:defRPr sz="1067" b="0">
                <a:solidFill>
                  <a:srgbClr val="000000"/>
                </a:solidFill>
                <a:latin typeface="+mn-lt"/>
              </a:defRPr>
            </a:lvl1pPr>
          </a:lstStyle>
          <a:p>
            <a:pPr lvl="0"/>
            <a:r>
              <a:rPr lang="en-US" dirty="0"/>
              <a:t>Footnotes</a:t>
            </a:r>
            <a:endParaRPr lang="en-GB" dirty="0"/>
          </a:p>
        </p:txBody>
      </p:sp>
      <p:sp>
        <p:nvSpPr>
          <p:cNvPr id="6" name="Text Placeholder 13"/>
          <p:cNvSpPr>
            <a:spLocks noGrp="1"/>
          </p:cNvSpPr>
          <p:nvPr>
            <p:ph type="body" sz="quarter" idx="14" hasCustomPrompt="1"/>
          </p:nvPr>
        </p:nvSpPr>
        <p:spPr>
          <a:xfrm>
            <a:off x="6197601" y="6311904"/>
            <a:ext cx="5465232" cy="390525"/>
          </a:xfrm>
        </p:spPr>
        <p:txBody>
          <a:bodyPr lIns="0" tIns="0" rIns="0" bIns="0" anchor="b">
            <a:noAutofit/>
          </a:bodyPr>
          <a:lstStyle>
            <a:lvl1pPr marL="0" indent="0" algn="r">
              <a:spcBef>
                <a:spcPts val="0"/>
              </a:spcBef>
              <a:spcAft>
                <a:spcPts val="0"/>
              </a:spcAft>
              <a:buNone/>
              <a:defRPr sz="1067" b="0">
                <a:solidFill>
                  <a:srgbClr val="000000"/>
                </a:solidFill>
                <a:latin typeface="+mn-lt"/>
              </a:defRPr>
            </a:lvl1pPr>
          </a:lstStyle>
          <a:p>
            <a:pPr lvl="0"/>
            <a:r>
              <a:rPr lang="en-US" dirty="0"/>
              <a:t>References</a:t>
            </a:r>
            <a:endParaRPr lang="en-GB" dirty="0"/>
          </a:p>
        </p:txBody>
      </p:sp>
      <p:sp>
        <p:nvSpPr>
          <p:cNvPr id="8" name="Slide Number Placeholder 3">
            <a:extLst>
              <a:ext uri="{FF2B5EF4-FFF2-40B4-BE49-F238E27FC236}">
                <a16:creationId xmlns:a16="http://schemas.microsoft.com/office/drawing/2014/main" id="{57A48F50-75E1-4AE1-9A1F-39F0B6E29BF1}"/>
              </a:ext>
            </a:extLst>
          </p:cNvPr>
          <p:cNvSpPr>
            <a:spLocks noGrp="1"/>
          </p:cNvSpPr>
          <p:nvPr>
            <p:ph type="sldNum" sz="quarter" idx="4"/>
          </p:nvPr>
        </p:nvSpPr>
        <p:spPr>
          <a:xfrm>
            <a:off x="11856222" y="-14681"/>
            <a:ext cx="255180" cy="366183"/>
          </a:xfrm>
          <a:prstGeom prst="rect">
            <a:avLst/>
          </a:prstGeom>
        </p:spPr>
        <p:txBody>
          <a:bodyPr vert="horz" lIns="18288" tIns="18288" rIns="18288" bIns="18288" rtlCol="0" anchor="ctr"/>
          <a:lstStyle>
            <a:lvl1pPr algn="r">
              <a:defRPr sz="1067">
                <a:solidFill>
                  <a:schemeClr val="tx1"/>
                </a:solidFill>
              </a:defRPr>
            </a:lvl1pPr>
          </a:lstStyle>
          <a:p>
            <a:fld id="{A20F318D-AF3A-44CE-8FC7-7D05504DBF73}" type="slidenum">
              <a:rPr lang="en-GB" smtClean="0"/>
              <a:pPr/>
              <a:t>‹#›</a:t>
            </a:fld>
            <a:endParaRPr lang="en-GB" dirty="0"/>
          </a:p>
        </p:txBody>
      </p:sp>
    </p:spTree>
    <p:extLst>
      <p:ext uri="{BB962C8B-B14F-4D97-AF65-F5344CB8AC3E}">
        <p14:creationId xmlns:p14="http://schemas.microsoft.com/office/powerpoint/2010/main" val="3624832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168">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solidFill>
                  <a:srgbClr val="000000"/>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529172" y="1470025"/>
            <a:ext cx="5465233" cy="4656139"/>
          </a:xfrm>
        </p:spPr>
        <p:txBody>
          <a:bodyPr>
            <a:noAutofit/>
          </a:bodyPr>
          <a:lstStyle>
            <a:lvl1pPr>
              <a:defRPr sz="1800">
                <a:solidFill>
                  <a:srgbClr val="000000"/>
                </a:solidFill>
              </a:defRPr>
            </a:lvl1pPr>
            <a:lvl2pPr>
              <a:defRPr sz="1600">
                <a:solidFill>
                  <a:srgbClr val="000000"/>
                </a:solidFill>
              </a:defRPr>
            </a:lvl2pPr>
            <a:lvl3pPr>
              <a:defRPr sz="1400">
                <a:solidFill>
                  <a:srgbClr val="000000"/>
                </a:solidFill>
              </a:defRPr>
            </a:lvl3pPr>
            <a:lvl4pPr>
              <a:defRPr sz="1200">
                <a:solidFill>
                  <a:srgbClr val="000000"/>
                </a:solidFill>
              </a:defRPr>
            </a:lvl4pPr>
            <a:lvl5pPr>
              <a:defRPr sz="1100">
                <a:solidFill>
                  <a:srgbClr val="000000"/>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197605" y="1470025"/>
            <a:ext cx="5465233" cy="4656139"/>
          </a:xfrm>
        </p:spPr>
        <p:txBody>
          <a:bodyPr>
            <a:noAutofit/>
          </a:bodyPr>
          <a:lstStyle>
            <a:lvl1pPr>
              <a:defRPr sz="1800">
                <a:solidFill>
                  <a:srgbClr val="000000"/>
                </a:solidFill>
              </a:defRPr>
            </a:lvl1pPr>
            <a:lvl2pPr>
              <a:defRPr sz="1600">
                <a:solidFill>
                  <a:srgbClr val="000000"/>
                </a:solidFill>
              </a:defRPr>
            </a:lvl2pPr>
            <a:lvl3pPr>
              <a:defRPr sz="1400">
                <a:solidFill>
                  <a:srgbClr val="000000"/>
                </a:solidFill>
              </a:defRPr>
            </a:lvl3pPr>
            <a:lvl4pPr>
              <a:defRPr sz="1200">
                <a:solidFill>
                  <a:srgbClr val="000000"/>
                </a:solidFill>
              </a:defRPr>
            </a:lvl4pPr>
            <a:lvl5pPr>
              <a:defRPr sz="1100">
                <a:solidFill>
                  <a:srgbClr val="000000"/>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Text Placeholder 13"/>
          <p:cNvSpPr>
            <a:spLocks noGrp="1"/>
          </p:cNvSpPr>
          <p:nvPr>
            <p:ph type="body" sz="quarter" idx="13" hasCustomPrompt="1"/>
          </p:nvPr>
        </p:nvSpPr>
        <p:spPr>
          <a:xfrm>
            <a:off x="529168" y="6311904"/>
            <a:ext cx="5465232" cy="390525"/>
          </a:xfrm>
        </p:spPr>
        <p:txBody>
          <a:bodyPr lIns="0" tIns="0" rIns="0" bIns="0" anchor="b">
            <a:noAutofit/>
          </a:bodyPr>
          <a:lstStyle>
            <a:lvl1pPr marL="0" indent="0" algn="l">
              <a:spcBef>
                <a:spcPts val="0"/>
              </a:spcBef>
              <a:spcAft>
                <a:spcPts val="0"/>
              </a:spcAft>
              <a:buNone/>
              <a:defRPr sz="1067" b="0">
                <a:solidFill>
                  <a:srgbClr val="000000"/>
                </a:solidFill>
                <a:latin typeface="+mn-lt"/>
              </a:defRPr>
            </a:lvl1pPr>
          </a:lstStyle>
          <a:p>
            <a:pPr lvl="0"/>
            <a:r>
              <a:rPr lang="en-US" dirty="0"/>
              <a:t>Footnotes</a:t>
            </a:r>
            <a:endParaRPr lang="en-GB" dirty="0"/>
          </a:p>
        </p:txBody>
      </p:sp>
      <p:sp>
        <p:nvSpPr>
          <p:cNvPr id="8" name="Text Placeholder 13"/>
          <p:cNvSpPr>
            <a:spLocks noGrp="1"/>
          </p:cNvSpPr>
          <p:nvPr>
            <p:ph type="body" sz="quarter" idx="14" hasCustomPrompt="1"/>
          </p:nvPr>
        </p:nvSpPr>
        <p:spPr>
          <a:xfrm>
            <a:off x="6197601" y="6311904"/>
            <a:ext cx="5465232" cy="390525"/>
          </a:xfrm>
        </p:spPr>
        <p:txBody>
          <a:bodyPr lIns="0" tIns="0" rIns="0" bIns="0" anchor="b">
            <a:noAutofit/>
          </a:bodyPr>
          <a:lstStyle>
            <a:lvl1pPr marL="0" indent="0" algn="r">
              <a:spcBef>
                <a:spcPts val="0"/>
              </a:spcBef>
              <a:spcAft>
                <a:spcPts val="0"/>
              </a:spcAft>
              <a:buNone/>
              <a:defRPr sz="1067" b="0">
                <a:solidFill>
                  <a:srgbClr val="000000"/>
                </a:solidFill>
                <a:latin typeface="+mn-lt"/>
              </a:defRPr>
            </a:lvl1pPr>
          </a:lstStyle>
          <a:p>
            <a:pPr lvl="0"/>
            <a:r>
              <a:rPr lang="en-US" dirty="0"/>
              <a:t>References</a:t>
            </a:r>
            <a:endParaRPr lang="en-GB" dirty="0"/>
          </a:p>
        </p:txBody>
      </p:sp>
      <p:sp>
        <p:nvSpPr>
          <p:cNvPr id="6" name="Slide Number Placeholder 5">
            <a:extLst>
              <a:ext uri="{FF2B5EF4-FFF2-40B4-BE49-F238E27FC236}">
                <a16:creationId xmlns:a16="http://schemas.microsoft.com/office/drawing/2014/main" id="{87A53659-B0C7-4AA6-87BA-590CA69E0550}"/>
              </a:ext>
            </a:extLst>
          </p:cNvPr>
          <p:cNvSpPr>
            <a:spLocks noGrp="1"/>
          </p:cNvSpPr>
          <p:nvPr>
            <p:ph type="sldNum" sz="quarter" idx="16"/>
          </p:nvPr>
        </p:nvSpPr>
        <p:spPr>
          <a:xfrm>
            <a:off x="11856222" y="-14681"/>
            <a:ext cx="255180" cy="366183"/>
          </a:xfrm>
        </p:spPr>
        <p:txBody>
          <a:bodyPr/>
          <a:lstStyle/>
          <a:p>
            <a:fld id="{A20F318D-AF3A-44CE-8FC7-7D05504DBF73}" type="slidenum">
              <a:rPr lang="en-GB" smtClean="0"/>
              <a:pPr/>
              <a:t>‹#›</a:t>
            </a:fld>
            <a:endParaRPr lang="en-GB" dirty="0"/>
          </a:p>
        </p:txBody>
      </p:sp>
    </p:spTree>
    <p:extLst>
      <p:ext uri="{BB962C8B-B14F-4D97-AF65-F5344CB8AC3E}">
        <p14:creationId xmlns:p14="http://schemas.microsoft.com/office/powerpoint/2010/main" val="40286839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29169" y="188916"/>
            <a:ext cx="11133667" cy="1008061"/>
          </a:xfrm>
        </p:spPr>
        <p:txBody>
          <a:bodyPr/>
          <a:lstStyle>
            <a:lvl1pPr>
              <a:defRPr>
                <a:solidFill>
                  <a:srgbClr val="000000"/>
                </a:solidFill>
              </a:defRPr>
            </a:lvl1pPr>
          </a:lstStyle>
          <a:p>
            <a:r>
              <a:rPr lang="en-US" dirty="0"/>
              <a:t>Click to edit Master title style</a:t>
            </a:r>
            <a:endParaRPr lang="en-GB" dirty="0"/>
          </a:p>
        </p:txBody>
      </p:sp>
      <p:sp>
        <p:nvSpPr>
          <p:cNvPr id="5" name="Text Placeholder 13"/>
          <p:cNvSpPr>
            <a:spLocks noGrp="1"/>
          </p:cNvSpPr>
          <p:nvPr>
            <p:ph type="body" sz="quarter" idx="13" hasCustomPrompt="1"/>
          </p:nvPr>
        </p:nvSpPr>
        <p:spPr>
          <a:xfrm>
            <a:off x="529168" y="6311904"/>
            <a:ext cx="5465232" cy="390525"/>
          </a:xfrm>
        </p:spPr>
        <p:txBody>
          <a:bodyPr lIns="0" tIns="0" rIns="0" bIns="0" anchor="b">
            <a:noAutofit/>
          </a:bodyPr>
          <a:lstStyle>
            <a:lvl1pPr marL="0" indent="0" algn="l">
              <a:spcBef>
                <a:spcPts val="0"/>
              </a:spcBef>
              <a:spcAft>
                <a:spcPts val="0"/>
              </a:spcAft>
              <a:buNone/>
              <a:defRPr sz="1067" b="0">
                <a:solidFill>
                  <a:srgbClr val="000000"/>
                </a:solidFill>
                <a:latin typeface="+mn-lt"/>
              </a:defRPr>
            </a:lvl1pPr>
          </a:lstStyle>
          <a:p>
            <a:pPr lvl="0"/>
            <a:r>
              <a:rPr lang="en-US" dirty="0"/>
              <a:t>Footnotes</a:t>
            </a:r>
            <a:endParaRPr lang="en-GB" dirty="0"/>
          </a:p>
        </p:txBody>
      </p:sp>
      <p:sp>
        <p:nvSpPr>
          <p:cNvPr id="6" name="Text Placeholder 13"/>
          <p:cNvSpPr>
            <a:spLocks noGrp="1"/>
          </p:cNvSpPr>
          <p:nvPr>
            <p:ph type="body" sz="quarter" idx="14" hasCustomPrompt="1"/>
          </p:nvPr>
        </p:nvSpPr>
        <p:spPr>
          <a:xfrm>
            <a:off x="6197601" y="6311904"/>
            <a:ext cx="5465232" cy="390525"/>
          </a:xfrm>
        </p:spPr>
        <p:txBody>
          <a:bodyPr lIns="0" tIns="0" rIns="0" bIns="0" anchor="b">
            <a:noAutofit/>
          </a:bodyPr>
          <a:lstStyle>
            <a:lvl1pPr marL="0" indent="0" algn="r">
              <a:spcBef>
                <a:spcPts val="0"/>
              </a:spcBef>
              <a:spcAft>
                <a:spcPts val="0"/>
              </a:spcAft>
              <a:buNone/>
              <a:defRPr sz="1067" b="0">
                <a:solidFill>
                  <a:srgbClr val="000000"/>
                </a:solidFill>
                <a:latin typeface="+mn-lt"/>
              </a:defRPr>
            </a:lvl1pPr>
          </a:lstStyle>
          <a:p>
            <a:pPr lvl="0"/>
            <a:r>
              <a:rPr lang="en-US" dirty="0"/>
              <a:t>References</a:t>
            </a:r>
            <a:endParaRPr lang="en-GB" dirty="0"/>
          </a:p>
        </p:txBody>
      </p:sp>
      <p:sp>
        <p:nvSpPr>
          <p:cNvPr id="4" name="Slide Number Placeholder 3">
            <a:extLst>
              <a:ext uri="{FF2B5EF4-FFF2-40B4-BE49-F238E27FC236}">
                <a16:creationId xmlns:a16="http://schemas.microsoft.com/office/drawing/2014/main" id="{DC1C94D7-1337-4B33-98EC-D64F2CBFBCD7}"/>
              </a:ext>
            </a:extLst>
          </p:cNvPr>
          <p:cNvSpPr>
            <a:spLocks noGrp="1"/>
          </p:cNvSpPr>
          <p:nvPr>
            <p:ph type="sldNum" sz="quarter" idx="16"/>
          </p:nvPr>
        </p:nvSpPr>
        <p:spPr>
          <a:xfrm>
            <a:off x="11856222" y="-14681"/>
            <a:ext cx="255180" cy="366183"/>
          </a:xfrm>
        </p:spPr>
        <p:txBody>
          <a:bodyPr/>
          <a:lstStyle/>
          <a:p>
            <a:fld id="{A20F318D-AF3A-44CE-8FC7-7D05504DBF73}" type="slidenum">
              <a:rPr lang="en-GB" smtClean="0"/>
              <a:pPr/>
              <a:t>‹#›</a:t>
            </a:fld>
            <a:endParaRPr lang="en-GB" dirty="0"/>
          </a:p>
        </p:txBody>
      </p:sp>
    </p:spTree>
    <p:extLst>
      <p:ext uri="{BB962C8B-B14F-4D97-AF65-F5344CB8AC3E}">
        <p14:creationId xmlns:p14="http://schemas.microsoft.com/office/powerpoint/2010/main" val="1330077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6F626BA-E144-4469-B119-08CF6C166559}"/>
              </a:ext>
            </a:extLst>
          </p:cNvPr>
          <p:cNvSpPr>
            <a:spLocks noGrp="1"/>
          </p:cNvSpPr>
          <p:nvPr>
            <p:ph type="sldNum" sz="quarter" idx="11"/>
          </p:nvPr>
        </p:nvSpPr>
        <p:spPr>
          <a:xfrm>
            <a:off x="11856222" y="-14681"/>
            <a:ext cx="255180" cy="366183"/>
          </a:xfrm>
        </p:spPr>
        <p:txBody>
          <a:bodyPr/>
          <a:lstStyle/>
          <a:p>
            <a:fld id="{A20F318D-AF3A-44CE-8FC7-7D05504DBF73}" type="slidenum">
              <a:rPr lang="en-GB" smtClean="0"/>
              <a:pPr/>
              <a:t>‹#›</a:t>
            </a:fld>
            <a:endParaRPr lang="en-GB" dirty="0"/>
          </a:p>
        </p:txBody>
      </p:sp>
    </p:spTree>
    <p:extLst>
      <p:ext uri="{BB962C8B-B14F-4D97-AF65-F5344CB8AC3E}">
        <p14:creationId xmlns:p14="http://schemas.microsoft.com/office/powerpoint/2010/main" val="4171748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ME_Content">
    <p:spTree>
      <p:nvGrpSpPr>
        <p:cNvPr id="1" name=""/>
        <p:cNvGrpSpPr/>
        <p:nvPr/>
      </p:nvGrpSpPr>
      <p:grpSpPr>
        <a:xfrm>
          <a:off x="0" y="0"/>
          <a:ext cx="0" cy="0"/>
          <a:chOff x="0" y="0"/>
          <a:chExt cx="0" cy="0"/>
        </a:xfrm>
      </p:grpSpPr>
      <p:sp>
        <p:nvSpPr>
          <p:cNvPr id="2" name="Title 1"/>
          <p:cNvSpPr>
            <a:spLocks noGrp="1"/>
          </p:cNvSpPr>
          <p:nvPr>
            <p:ph type="title"/>
          </p:nvPr>
        </p:nvSpPr>
        <p:spPr>
          <a:xfrm>
            <a:off x="453776" y="384048"/>
            <a:ext cx="11362945" cy="868680"/>
          </a:xfrm>
        </p:spPr>
        <p:txBody>
          <a:bodyPr/>
          <a:lstStyle/>
          <a:p>
            <a:r>
              <a:rPr lang="en-US"/>
              <a:t>Click to edit Master title style</a:t>
            </a:r>
          </a:p>
        </p:txBody>
      </p:sp>
      <p:sp>
        <p:nvSpPr>
          <p:cNvPr id="3" name="Content Placeholder 2"/>
          <p:cNvSpPr>
            <a:spLocks noGrp="1"/>
          </p:cNvSpPr>
          <p:nvPr>
            <p:ph idx="1"/>
          </p:nvPr>
        </p:nvSpPr>
        <p:spPr>
          <a:xfrm>
            <a:off x="453773" y="1609344"/>
            <a:ext cx="11362944" cy="4498848"/>
          </a:xfrm>
        </p:spPr>
        <p:txBody>
          <a:bodyPr>
            <a:noAutofit/>
          </a:bodyPr>
          <a:lstStyle>
            <a:lvl3pPr marL="795448">
              <a:defRPr/>
            </a:lvl3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7" name="Straight Connector 6"/>
          <p:cNvCxnSpPr/>
          <p:nvPr userDrawn="1"/>
        </p:nvCxnSpPr>
        <p:spPr>
          <a:xfrm>
            <a:off x="453777" y="1295400"/>
            <a:ext cx="11362945" cy="0"/>
          </a:xfrm>
          <a:prstGeom prst="line">
            <a:avLst/>
          </a:prstGeom>
          <a:ln w="22225">
            <a:solidFill>
              <a:schemeClr val="accent6"/>
            </a:solidFill>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453773" y="6163057"/>
            <a:ext cx="11362944" cy="694944"/>
          </a:xfrm>
        </p:spPr>
        <p:txBody>
          <a:bodyPr anchor="b">
            <a:noAutofit/>
          </a:bodyPr>
          <a:lstStyle>
            <a:lvl1pPr>
              <a:spcBef>
                <a:spcPts val="0"/>
              </a:spcBef>
              <a:defRPr sz="1400" b="0"/>
            </a:lvl1pPr>
          </a:lstStyle>
          <a:p>
            <a:pPr lvl="0"/>
            <a:r>
              <a:rPr lang="en-US"/>
              <a:t>Edit Master text styles</a:t>
            </a:r>
          </a:p>
        </p:txBody>
      </p:sp>
    </p:spTree>
    <p:extLst>
      <p:ext uri="{BB962C8B-B14F-4D97-AF65-F5344CB8AC3E}">
        <p14:creationId xmlns:p14="http://schemas.microsoft.com/office/powerpoint/2010/main" val="382155316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291629" y="1122363"/>
            <a:ext cx="9608742" cy="2387600"/>
          </a:xfrm>
        </p:spPr>
        <p:txBody>
          <a:bodyPr anchor="b"/>
          <a:lstStyle>
            <a:lvl1pPr algn="l">
              <a:defRPr sz="6000"/>
            </a:lvl1pPr>
          </a:lstStyle>
          <a:p>
            <a:r>
              <a:rPr lang="en-US" dirty="0"/>
              <a:t>Click to edit Master title style</a:t>
            </a:r>
          </a:p>
        </p:txBody>
      </p:sp>
      <p:sp>
        <p:nvSpPr>
          <p:cNvPr id="3" name="Subtitle 2"/>
          <p:cNvSpPr>
            <a:spLocks noGrp="1"/>
          </p:cNvSpPr>
          <p:nvPr>
            <p:ph type="subTitle" idx="1"/>
          </p:nvPr>
        </p:nvSpPr>
        <p:spPr>
          <a:xfrm>
            <a:off x="1291629" y="3602038"/>
            <a:ext cx="9608742" cy="1655762"/>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5" name="Footer Placeholder 4">
            <a:extLst>
              <a:ext uri="{FF2B5EF4-FFF2-40B4-BE49-F238E27FC236}">
                <a16:creationId xmlns:a16="http://schemas.microsoft.com/office/drawing/2014/main" id="{C34ED7CB-E35F-9C48-BAF1-8AA8EEFEFD1A}"/>
              </a:ext>
            </a:extLst>
          </p:cNvPr>
          <p:cNvSpPr>
            <a:spLocks noGrp="1"/>
          </p:cNvSpPr>
          <p:nvPr>
            <p:ph type="ftr" sz="quarter" idx="10"/>
          </p:nvPr>
        </p:nvSpPr>
        <p:spPr>
          <a:xfrm>
            <a:off x="5788660" y="6257925"/>
            <a:ext cx="3393439" cy="600075"/>
          </a:xfrm>
          <a:prstGeom prst="rect">
            <a:avLst/>
          </a:prstGeom>
        </p:spPr>
        <p:txBody>
          <a:bodyPr/>
          <a:lstStyle/>
          <a:p>
            <a:r>
              <a:rPr lang="en-US"/>
              <a:t>PRESENTED BY:</a:t>
            </a:r>
            <a:r>
              <a:rPr lang="en-US" sz="1400" b="0"/>
              <a:t> Insert Name  </a:t>
            </a:r>
            <a:endParaRPr lang="en-US" sz="1400" b="0" dirty="0"/>
          </a:p>
        </p:txBody>
      </p:sp>
    </p:spTree>
    <p:extLst>
      <p:ext uri="{BB962C8B-B14F-4D97-AF65-F5344CB8AC3E}">
        <p14:creationId xmlns:p14="http://schemas.microsoft.com/office/powerpoint/2010/main" val="101582461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itle" preserve="1">
  <p:cSld name="1_Title Slide-No Presenter">
    <p:spTree>
      <p:nvGrpSpPr>
        <p:cNvPr id="1" name=""/>
        <p:cNvGrpSpPr/>
        <p:nvPr/>
      </p:nvGrpSpPr>
      <p:grpSpPr>
        <a:xfrm>
          <a:off x="0" y="0"/>
          <a:ext cx="0" cy="0"/>
          <a:chOff x="0" y="0"/>
          <a:chExt cx="0" cy="0"/>
        </a:xfrm>
      </p:grpSpPr>
      <p:sp>
        <p:nvSpPr>
          <p:cNvPr id="2" name="Title 1"/>
          <p:cNvSpPr>
            <a:spLocks noGrp="1"/>
          </p:cNvSpPr>
          <p:nvPr>
            <p:ph type="ctrTitle"/>
          </p:nvPr>
        </p:nvSpPr>
        <p:spPr>
          <a:xfrm>
            <a:off x="1291629" y="1122363"/>
            <a:ext cx="9608742" cy="2387600"/>
          </a:xfrm>
        </p:spPr>
        <p:txBody>
          <a:bodyPr anchor="b"/>
          <a:lstStyle>
            <a:lvl1pPr algn="l">
              <a:defRPr sz="6000"/>
            </a:lvl1pPr>
          </a:lstStyle>
          <a:p>
            <a:r>
              <a:rPr lang="en-US" dirty="0"/>
              <a:t>Click to edit Master title style</a:t>
            </a:r>
          </a:p>
        </p:txBody>
      </p:sp>
      <p:sp>
        <p:nvSpPr>
          <p:cNvPr id="3" name="Subtitle 2"/>
          <p:cNvSpPr>
            <a:spLocks noGrp="1"/>
          </p:cNvSpPr>
          <p:nvPr>
            <p:ph type="subTitle" idx="1"/>
          </p:nvPr>
        </p:nvSpPr>
        <p:spPr>
          <a:xfrm>
            <a:off x="1291629" y="3602038"/>
            <a:ext cx="9608742" cy="1655762"/>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Footer Placeholder 3">
            <a:extLst>
              <a:ext uri="{FF2B5EF4-FFF2-40B4-BE49-F238E27FC236}">
                <a16:creationId xmlns:a16="http://schemas.microsoft.com/office/drawing/2014/main" id="{A40FBCB8-B387-8644-B29D-360E10DB2177}"/>
              </a:ext>
            </a:extLst>
          </p:cNvPr>
          <p:cNvSpPr>
            <a:spLocks noGrp="1"/>
          </p:cNvSpPr>
          <p:nvPr>
            <p:ph type="ftr" sz="quarter" idx="10"/>
          </p:nvPr>
        </p:nvSpPr>
        <p:spPr>
          <a:xfrm>
            <a:off x="5788660" y="6257925"/>
            <a:ext cx="3393439" cy="600075"/>
          </a:xfrm>
          <a:prstGeom prst="rect">
            <a:avLst/>
          </a:prstGeom>
        </p:spPr>
        <p:txBody>
          <a:bodyPr/>
          <a:lstStyle/>
          <a:p>
            <a:r>
              <a:rPr lang="en-US" dirty="0"/>
              <a:t>PRESENTED BY:</a:t>
            </a:r>
            <a:r>
              <a:rPr lang="en-US" sz="1400" b="0" dirty="0"/>
              <a:t> Insert Name  </a:t>
            </a:r>
          </a:p>
        </p:txBody>
      </p:sp>
    </p:spTree>
    <p:extLst>
      <p:ext uri="{BB962C8B-B14F-4D97-AF65-F5344CB8AC3E}">
        <p14:creationId xmlns:p14="http://schemas.microsoft.com/office/powerpoint/2010/main" val="215351586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056738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699186"/>
            <a:ext cx="10515600" cy="657442"/>
          </a:xfrm>
        </p:spPr>
        <p:txBody>
          <a:bodyPr/>
          <a:lstStyle/>
          <a:p>
            <a:r>
              <a:rPr lang="en-US" dirty="0"/>
              <a:t>Click to edit Master title style</a:t>
            </a:r>
          </a:p>
        </p:txBody>
      </p:sp>
      <p:sp>
        <p:nvSpPr>
          <p:cNvPr id="3" name="Content Placeholder 2"/>
          <p:cNvSpPr>
            <a:spLocks noGrp="1"/>
          </p:cNvSpPr>
          <p:nvPr>
            <p:ph idx="1"/>
          </p:nvPr>
        </p:nvSpPr>
        <p:spPr>
          <a:xfrm>
            <a:off x="838200" y="1522597"/>
            <a:ext cx="10515600" cy="42645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57DC35CA-FFC9-9D4D-BD5B-70F18E22CEA0}"/>
              </a:ext>
            </a:extLst>
          </p:cNvPr>
          <p:cNvSpPr>
            <a:spLocks noGrp="1"/>
          </p:cNvSpPr>
          <p:nvPr>
            <p:ph type="ftr" sz="quarter" idx="10"/>
          </p:nvPr>
        </p:nvSpPr>
        <p:spPr>
          <a:xfrm>
            <a:off x="5788660" y="6257925"/>
            <a:ext cx="3393439" cy="600075"/>
          </a:xfrm>
          <a:prstGeom prst="rect">
            <a:avLst/>
          </a:prstGeom>
        </p:spPr>
        <p:txBody>
          <a:bodyPr/>
          <a:lstStyle/>
          <a:p>
            <a:r>
              <a:rPr lang="en-US" dirty="0"/>
              <a:t>PRESENTED BY:</a:t>
            </a:r>
            <a:r>
              <a:rPr lang="en-US" sz="1400" b="0" dirty="0"/>
              <a:t> Insert Name  </a:t>
            </a:r>
          </a:p>
        </p:txBody>
      </p:sp>
    </p:spTree>
    <p:extLst>
      <p:ext uri="{BB962C8B-B14F-4D97-AF65-F5344CB8AC3E}">
        <p14:creationId xmlns:p14="http://schemas.microsoft.com/office/powerpoint/2010/main" val="365135124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mall body">
    <p:spTree>
      <p:nvGrpSpPr>
        <p:cNvPr id="1" name=""/>
        <p:cNvGrpSpPr/>
        <p:nvPr/>
      </p:nvGrpSpPr>
      <p:grpSpPr>
        <a:xfrm>
          <a:off x="0" y="0"/>
          <a:ext cx="0" cy="0"/>
          <a:chOff x="0" y="0"/>
          <a:chExt cx="0" cy="0"/>
        </a:xfrm>
      </p:grpSpPr>
      <p:sp>
        <p:nvSpPr>
          <p:cNvPr id="4" name="Title 1"/>
          <p:cNvSpPr>
            <a:spLocks noGrp="1"/>
          </p:cNvSpPr>
          <p:nvPr>
            <p:ph type="title"/>
          </p:nvPr>
        </p:nvSpPr>
        <p:spPr>
          <a:xfrm>
            <a:off x="360790" y="699186"/>
            <a:ext cx="11470420" cy="657442"/>
          </a:xfrm>
        </p:spPr>
        <p:txBody>
          <a:bodyPr/>
          <a:lstStyle/>
          <a:p>
            <a:r>
              <a:rPr lang="en-US" dirty="0"/>
              <a:t>Click to edit Master title style</a:t>
            </a:r>
          </a:p>
        </p:txBody>
      </p:sp>
      <p:sp>
        <p:nvSpPr>
          <p:cNvPr id="5" name="Content Placeholder 2"/>
          <p:cNvSpPr>
            <a:spLocks noGrp="1"/>
          </p:cNvSpPr>
          <p:nvPr>
            <p:ph idx="1"/>
          </p:nvPr>
        </p:nvSpPr>
        <p:spPr>
          <a:xfrm>
            <a:off x="360790" y="1522597"/>
            <a:ext cx="11470420" cy="4264592"/>
          </a:xfrm>
        </p:spPr>
        <p:txBody>
          <a:bodyPr>
            <a:normAutofit/>
          </a:bodyPr>
          <a:lstStyle>
            <a:lvl1pPr>
              <a:lnSpc>
                <a:spcPct val="100000"/>
              </a:lnSpc>
              <a:defRPr sz="2000"/>
            </a:lvl1pPr>
          </a:lstStyle>
          <a:p>
            <a:pPr lvl="0"/>
            <a:r>
              <a:rPr lang="en-US" dirty="0"/>
              <a:t>Click to edit Master text styles</a:t>
            </a:r>
          </a:p>
        </p:txBody>
      </p:sp>
      <p:sp>
        <p:nvSpPr>
          <p:cNvPr id="3" name="Footer Placeholder 2">
            <a:extLst>
              <a:ext uri="{FF2B5EF4-FFF2-40B4-BE49-F238E27FC236}">
                <a16:creationId xmlns:a16="http://schemas.microsoft.com/office/drawing/2014/main" id="{BB31FEA8-A643-D043-9FCF-E682BF8B1B32}"/>
              </a:ext>
            </a:extLst>
          </p:cNvPr>
          <p:cNvSpPr>
            <a:spLocks noGrp="1"/>
          </p:cNvSpPr>
          <p:nvPr>
            <p:ph type="ftr" sz="quarter" idx="10"/>
          </p:nvPr>
        </p:nvSpPr>
        <p:spPr>
          <a:xfrm>
            <a:off x="5788660" y="6257925"/>
            <a:ext cx="3393439" cy="600075"/>
          </a:xfrm>
          <a:prstGeom prst="rect">
            <a:avLst/>
          </a:prstGeom>
        </p:spPr>
        <p:txBody>
          <a:bodyPr/>
          <a:lstStyle/>
          <a:p>
            <a:r>
              <a:rPr lang="en-US"/>
              <a:t>PRESENTED BY:</a:t>
            </a:r>
            <a:r>
              <a:rPr lang="en-US" sz="1400" b="0"/>
              <a:t> Insert Name  </a:t>
            </a:r>
            <a:endParaRPr lang="en-US" sz="1400" b="0" dirty="0"/>
          </a:p>
        </p:txBody>
      </p:sp>
    </p:spTree>
    <p:extLst>
      <p:ext uri="{BB962C8B-B14F-4D97-AF65-F5344CB8AC3E}">
        <p14:creationId xmlns:p14="http://schemas.microsoft.com/office/powerpoint/2010/main" val="329295104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7" name="Title 1"/>
          <p:cNvSpPr>
            <a:spLocks noGrp="1"/>
          </p:cNvSpPr>
          <p:nvPr>
            <p:ph type="title"/>
          </p:nvPr>
        </p:nvSpPr>
        <p:spPr>
          <a:xfrm>
            <a:off x="346359" y="699186"/>
            <a:ext cx="11007441" cy="657442"/>
          </a:xfrm>
        </p:spPr>
        <p:txBody>
          <a:bodyPr/>
          <a:lstStyle/>
          <a:p>
            <a:r>
              <a:rPr lang="en-US" dirty="0"/>
              <a:t>Click to edit Master title style</a:t>
            </a:r>
          </a:p>
        </p:txBody>
      </p:sp>
      <p:sp>
        <p:nvSpPr>
          <p:cNvPr id="3" name="Footer Placeholder 2">
            <a:extLst>
              <a:ext uri="{FF2B5EF4-FFF2-40B4-BE49-F238E27FC236}">
                <a16:creationId xmlns:a16="http://schemas.microsoft.com/office/drawing/2014/main" id="{3A8DDA48-6780-FF49-A170-2B322CF1C3A9}"/>
              </a:ext>
            </a:extLst>
          </p:cNvPr>
          <p:cNvSpPr>
            <a:spLocks noGrp="1"/>
          </p:cNvSpPr>
          <p:nvPr>
            <p:ph type="ftr" sz="quarter" idx="10"/>
          </p:nvPr>
        </p:nvSpPr>
        <p:spPr>
          <a:xfrm>
            <a:off x="5788660" y="6257925"/>
            <a:ext cx="3393439" cy="600075"/>
          </a:xfrm>
          <a:prstGeom prst="rect">
            <a:avLst/>
          </a:prstGeom>
        </p:spPr>
        <p:txBody>
          <a:bodyPr/>
          <a:lstStyle/>
          <a:p>
            <a:r>
              <a:rPr lang="en-US"/>
              <a:t>PRESENTED BY:</a:t>
            </a:r>
            <a:r>
              <a:rPr lang="en-US" sz="1400" b="0"/>
              <a:t> Insert Name  </a:t>
            </a:r>
            <a:endParaRPr lang="en-US" sz="1400" b="0" dirty="0"/>
          </a:p>
        </p:txBody>
      </p:sp>
    </p:spTree>
    <p:extLst>
      <p:ext uri="{BB962C8B-B14F-4D97-AF65-F5344CB8AC3E}">
        <p14:creationId xmlns:p14="http://schemas.microsoft.com/office/powerpoint/2010/main" val="406625418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64728" y="1544245"/>
            <a:ext cx="6128544" cy="42429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698728" y="1544245"/>
            <a:ext cx="6128544" cy="42429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1"/>
          <p:cNvSpPr>
            <a:spLocks noGrp="1"/>
          </p:cNvSpPr>
          <p:nvPr>
            <p:ph type="title"/>
          </p:nvPr>
        </p:nvSpPr>
        <p:spPr>
          <a:xfrm>
            <a:off x="364728" y="699186"/>
            <a:ext cx="11462544" cy="657442"/>
          </a:xfrm>
        </p:spPr>
        <p:txBody>
          <a:bodyPr/>
          <a:lstStyle/>
          <a:p>
            <a:r>
              <a:rPr lang="en-US" dirty="0"/>
              <a:t>Click to edit Master title style</a:t>
            </a:r>
          </a:p>
        </p:txBody>
      </p:sp>
      <p:sp>
        <p:nvSpPr>
          <p:cNvPr id="5" name="Footer Placeholder 4">
            <a:extLst>
              <a:ext uri="{FF2B5EF4-FFF2-40B4-BE49-F238E27FC236}">
                <a16:creationId xmlns:a16="http://schemas.microsoft.com/office/drawing/2014/main" id="{9B07E314-990D-7347-9DEB-0BD09106D79A}"/>
              </a:ext>
            </a:extLst>
          </p:cNvPr>
          <p:cNvSpPr>
            <a:spLocks noGrp="1"/>
          </p:cNvSpPr>
          <p:nvPr>
            <p:ph type="ftr" sz="quarter" idx="10"/>
          </p:nvPr>
        </p:nvSpPr>
        <p:spPr>
          <a:xfrm>
            <a:off x="5788660" y="6257925"/>
            <a:ext cx="3393439" cy="600075"/>
          </a:xfrm>
          <a:prstGeom prst="rect">
            <a:avLst/>
          </a:prstGeom>
        </p:spPr>
        <p:txBody>
          <a:bodyPr/>
          <a:lstStyle/>
          <a:p>
            <a:r>
              <a:rPr lang="en-US"/>
              <a:t>PRESENTED BY:</a:t>
            </a:r>
            <a:r>
              <a:rPr lang="en-US" sz="1400" b="0"/>
              <a:t> Insert Name  </a:t>
            </a:r>
            <a:endParaRPr lang="en-US" sz="1400" b="0" dirty="0"/>
          </a:p>
        </p:txBody>
      </p:sp>
    </p:spTree>
    <p:extLst>
      <p:ext uri="{BB962C8B-B14F-4D97-AF65-F5344CB8AC3E}">
        <p14:creationId xmlns:p14="http://schemas.microsoft.com/office/powerpoint/2010/main" val="381748244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Footer Placeholder 3">
            <a:extLst>
              <a:ext uri="{FF2B5EF4-FFF2-40B4-BE49-F238E27FC236}">
                <a16:creationId xmlns:a16="http://schemas.microsoft.com/office/drawing/2014/main" id="{6AFF9711-F2C9-884A-9AC3-9C84FD278C02}"/>
              </a:ext>
            </a:extLst>
          </p:cNvPr>
          <p:cNvSpPr>
            <a:spLocks noGrp="1"/>
          </p:cNvSpPr>
          <p:nvPr>
            <p:ph type="ftr" sz="quarter" idx="10"/>
          </p:nvPr>
        </p:nvSpPr>
        <p:spPr>
          <a:xfrm>
            <a:off x="5788660" y="6257925"/>
            <a:ext cx="3393439" cy="600075"/>
          </a:xfrm>
          <a:prstGeom prst="rect">
            <a:avLst/>
          </a:prstGeom>
        </p:spPr>
        <p:txBody>
          <a:bodyPr/>
          <a:lstStyle/>
          <a:p>
            <a:r>
              <a:rPr lang="en-US"/>
              <a:t>PRESENTED BY:</a:t>
            </a:r>
            <a:r>
              <a:rPr lang="en-US" sz="1400" b="0"/>
              <a:t> Insert Name  </a:t>
            </a:r>
            <a:endParaRPr lang="en-US" sz="1400" b="0" dirty="0"/>
          </a:p>
        </p:txBody>
      </p:sp>
    </p:spTree>
    <p:extLst>
      <p:ext uri="{BB962C8B-B14F-4D97-AF65-F5344CB8AC3E}">
        <p14:creationId xmlns:p14="http://schemas.microsoft.com/office/powerpoint/2010/main" val="161765085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101BCA6F-555F-BD4A-88E5-30D267622B34}"/>
              </a:ext>
            </a:extLst>
          </p:cNvPr>
          <p:cNvSpPr>
            <a:spLocks noGrp="1"/>
          </p:cNvSpPr>
          <p:nvPr>
            <p:ph type="ftr" sz="quarter" idx="10"/>
          </p:nvPr>
        </p:nvSpPr>
        <p:spPr>
          <a:xfrm>
            <a:off x="5788660" y="6257925"/>
            <a:ext cx="3393439" cy="600075"/>
          </a:xfrm>
          <a:prstGeom prst="rect">
            <a:avLst/>
          </a:prstGeom>
        </p:spPr>
        <p:txBody>
          <a:bodyPr/>
          <a:lstStyle/>
          <a:p>
            <a:r>
              <a:rPr lang="en-US"/>
              <a:t>PRESENTED BY:</a:t>
            </a:r>
            <a:r>
              <a:rPr lang="en-US" sz="1400" b="0"/>
              <a:t> Insert Name  </a:t>
            </a:r>
            <a:endParaRPr lang="en-US" sz="1400" b="0" dirty="0"/>
          </a:p>
        </p:txBody>
      </p:sp>
    </p:spTree>
    <p:extLst>
      <p:ext uri="{BB962C8B-B14F-4D97-AF65-F5344CB8AC3E}">
        <p14:creationId xmlns:p14="http://schemas.microsoft.com/office/powerpoint/2010/main" val="158558839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228597" marR="0" indent="-228597" algn="l" defTabSz="914388" rtl="0" eaLnBrk="1" fontAlgn="auto" latinLnBrk="0" hangingPunct="1">
              <a:lnSpc>
                <a:spcPct val="90000"/>
              </a:lnSpc>
              <a:spcBef>
                <a:spcPts val="1000"/>
              </a:spcBef>
              <a:spcAft>
                <a:spcPts val="0"/>
              </a:spcAft>
              <a:buClrTx/>
              <a:buSzTx/>
              <a:buFont typeface="Arial" panose="020B0604020202020204" pitchFamily="34" charset="0"/>
              <a:buChar char="•"/>
              <a:tabLst/>
              <a:defRPr>
                <a:solidFill>
                  <a:srgbClr val="000000"/>
                </a:solidFill>
              </a:defRPr>
            </a:lvl1pPr>
            <a:lvl2pPr marL="685791" marR="0" indent="-228597" algn="l" defTabSz="914388" rtl="0" eaLnBrk="1" fontAlgn="auto" latinLnBrk="0" hangingPunct="1">
              <a:lnSpc>
                <a:spcPct val="90000"/>
              </a:lnSpc>
              <a:spcBef>
                <a:spcPts val="500"/>
              </a:spcBef>
              <a:spcAft>
                <a:spcPts val="0"/>
              </a:spcAft>
              <a:buClrTx/>
              <a:buSzTx/>
              <a:buFont typeface="Arial" panose="020B0604020202020204" pitchFamily="34" charset="0"/>
              <a:buChar char="•"/>
              <a:tabLst/>
              <a:defRPr sz="1600">
                <a:solidFill>
                  <a:srgbClr val="000000"/>
                </a:solidFill>
              </a:defRPr>
            </a:lvl2pPr>
            <a:lvl3pPr marL="1142985" marR="0" indent="-228597" algn="l" defTabSz="914388" rtl="0" eaLnBrk="1" fontAlgn="auto" latinLnBrk="0" hangingPunct="1">
              <a:lnSpc>
                <a:spcPct val="90000"/>
              </a:lnSpc>
              <a:spcBef>
                <a:spcPts val="500"/>
              </a:spcBef>
              <a:spcAft>
                <a:spcPts val="0"/>
              </a:spcAft>
              <a:buClrTx/>
              <a:buSzTx/>
              <a:buFont typeface="Arial" panose="020B0604020202020204" pitchFamily="34" charset="0"/>
              <a:buChar char="•"/>
              <a:tabLst/>
              <a:defRPr sz="1400">
                <a:solidFill>
                  <a:srgbClr val="000000"/>
                </a:solidFill>
              </a:defRPr>
            </a:lvl3pPr>
            <a:lvl4pPr marL="1600179" marR="0" indent="-228597" algn="l" defTabSz="914388" rtl="0" eaLnBrk="1" fontAlgn="auto" latinLnBrk="0" hangingPunct="1">
              <a:lnSpc>
                <a:spcPct val="90000"/>
              </a:lnSpc>
              <a:spcBef>
                <a:spcPts val="500"/>
              </a:spcBef>
              <a:spcAft>
                <a:spcPts val="0"/>
              </a:spcAft>
              <a:buClrTx/>
              <a:buSzTx/>
              <a:buFont typeface="Arial" panose="020B0604020202020204" pitchFamily="34" charset="0"/>
              <a:buChar char="•"/>
              <a:tabLst/>
              <a:defRPr sz="1200">
                <a:solidFill>
                  <a:srgbClr val="000000"/>
                </a:solidFill>
              </a:defRPr>
            </a:lvl4pPr>
            <a:lvl5pPr marL="2057373" marR="0" indent="-228597" algn="l" defTabSz="914388" rtl="0" eaLnBrk="1" fontAlgn="auto" latinLnBrk="0" hangingPunct="1">
              <a:lnSpc>
                <a:spcPct val="90000"/>
              </a:lnSpc>
              <a:spcBef>
                <a:spcPts val="500"/>
              </a:spcBef>
              <a:spcAft>
                <a:spcPts val="0"/>
              </a:spcAft>
              <a:buClrTx/>
              <a:buSzTx/>
              <a:buFont typeface="Arial" panose="020B0604020202020204" pitchFamily="34" charset="0"/>
              <a:buChar char="•"/>
              <a:tabLst/>
              <a:defRPr sz="1106">
                <a:solidFill>
                  <a:srgbClr val="000000"/>
                </a:solidFill>
              </a:defRPr>
            </a:lvl5pPr>
          </a:lstStyle>
          <a:p>
            <a:pPr marL="228597" marR="0" lvl="0" indent="-228597" algn="l" defTabSz="914388"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399" b="0" i="0" u="none" strike="noStrike" kern="1200" cap="none" spc="0" normalizeH="0" baseline="0" noProof="0" dirty="0">
                <a:ln>
                  <a:noFill/>
                </a:ln>
                <a:solidFill>
                  <a:srgbClr val="005383"/>
                </a:solidFill>
                <a:effectLst/>
                <a:uLnTx/>
                <a:uFillTx/>
                <a:latin typeface="+mn-lt"/>
                <a:ea typeface="+mn-ea"/>
                <a:cs typeface="+mn-cs"/>
              </a:rPr>
              <a:t>Click to edit Master text styles</a:t>
            </a:r>
          </a:p>
          <a:p>
            <a:pPr marL="685791" marR="0" lvl="1" indent="-228597" algn="l" defTabSz="914388"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399" b="0" i="0" u="none" strike="noStrike" kern="1200" cap="none" spc="0" normalizeH="0" baseline="0" noProof="0" dirty="0">
                <a:ln>
                  <a:noFill/>
                </a:ln>
                <a:solidFill>
                  <a:srgbClr val="005383"/>
                </a:solidFill>
                <a:effectLst/>
                <a:uLnTx/>
                <a:uFillTx/>
                <a:latin typeface="+mn-lt"/>
                <a:ea typeface="+mn-ea"/>
                <a:cs typeface="+mn-cs"/>
              </a:rPr>
              <a:t>Second level</a:t>
            </a:r>
          </a:p>
          <a:p>
            <a:pPr marL="1142985" marR="0" lvl="2" indent="-228597" algn="l" defTabSz="914388"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919" b="0" i="0" u="none" strike="noStrike" kern="1200" cap="none" spc="0" normalizeH="0" baseline="0" noProof="0" dirty="0">
                <a:ln>
                  <a:noFill/>
                </a:ln>
                <a:solidFill>
                  <a:srgbClr val="005383"/>
                </a:solidFill>
                <a:effectLst/>
                <a:uLnTx/>
                <a:uFillTx/>
                <a:latin typeface="+mn-lt"/>
                <a:ea typeface="+mn-ea"/>
                <a:cs typeface="+mn-cs"/>
              </a:rPr>
              <a:t>Third level</a:t>
            </a:r>
          </a:p>
          <a:p>
            <a:pPr marL="1600179" marR="0" lvl="3" indent="-228597" algn="l" defTabSz="914388"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679" b="0" i="0" u="none" strike="noStrike" kern="1200" cap="none" spc="0" normalizeH="0" baseline="0" noProof="0" dirty="0">
                <a:ln>
                  <a:noFill/>
                </a:ln>
                <a:solidFill>
                  <a:srgbClr val="005383"/>
                </a:solidFill>
                <a:effectLst/>
                <a:uLnTx/>
                <a:uFillTx/>
                <a:latin typeface="+mn-lt"/>
                <a:ea typeface="+mn-ea"/>
                <a:cs typeface="+mn-cs"/>
              </a:rPr>
              <a:t>Fourth level</a:t>
            </a:r>
          </a:p>
          <a:p>
            <a:pPr marL="2057373" marR="0" lvl="4" indent="-228597" algn="l" defTabSz="914388"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679" b="0" i="0" u="none" strike="noStrike" kern="1200" cap="none" spc="0" normalizeH="0" baseline="0" noProof="0" dirty="0">
                <a:ln>
                  <a:noFill/>
                </a:ln>
                <a:solidFill>
                  <a:srgbClr val="005383"/>
                </a:solidFill>
                <a:effectLst/>
                <a:uLnTx/>
                <a:uFillTx/>
                <a:latin typeface="+mn-lt"/>
                <a:ea typeface="+mn-ea"/>
                <a:cs typeface="+mn-cs"/>
              </a:rPr>
              <a:t>Fifth level</a:t>
            </a:r>
            <a:endParaRPr kumimoji="0" lang="fr-CH" sz="1679" b="0" i="0" u="none" strike="noStrike" kern="1200" cap="none" spc="0" normalizeH="0" baseline="0" noProof="0" dirty="0">
              <a:ln>
                <a:noFill/>
              </a:ln>
              <a:solidFill>
                <a:srgbClr val="005383"/>
              </a:solidFill>
              <a:effectLst/>
              <a:uLnTx/>
              <a:uFillTx/>
              <a:latin typeface="+mn-lt"/>
              <a:ea typeface="+mn-ea"/>
              <a:cs typeface="+mn-cs"/>
            </a:endParaRPr>
          </a:p>
          <a:p>
            <a:pPr lvl="4"/>
            <a:endParaRPr lang="en-GB" dirty="0"/>
          </a:p>
        </p:txBody>
      </p:sp>
      <p:sp>
        <p:nvSpPr>
          <p:cNvPr id="12" name="Title 11"/>
          <p:cNvSpPr>
            <a:spLocks noGrp="1"/>
          </p:cNvSpPr>
          <p:nvPr>
            <p:ph type="title"/>
          </p:nvPr>
        </p:nvSpPr>
        <p:spPr/>
        <p:txBody>
          <a:bodyPr/>
          <a:lstStyle>
            <a:lvl1pPr>
              <a:defRPr>
                <a:solidFill>
                  <a:srgbClr val="78C3DE"/>
                </a:solidFill>
              </a:defRPr>
            </a:lvl1pPr>
          </a:lstStyle>
          <a:p>
            <a:r>
              <a:rPr kumimoji="0" lang="en-US" sz="3839" b="0" i="0" u="none" strike="noStrike" kern="1200" cap="none" spc="0" normalizeH="0" baseline="0" noProof="0" dirty="0">
                <a:ln>
                  <a:noFill/>
                </a:ln>
                <a:solidFill>
                  <a:srgbClr val="8BCDE3"/>
                </a:solidFill>
                <a:effectLst/>
                <a:uLnTx/>
                <a:uFillTx/>
                <a:latin typeface="+mj-lt"/>
                <a:ea typeface="+mj-ea"/>
                <a:cs typeface="+mj-cs"/>
              </a:rPr>
              <a:t>Click to edit Master title style</a:t>
            </a:r>
            <a:endParaRPr lang="en-GB" dirty="0"/>
          </a:p>
        </p:txBody>
      </p:sp>
      <p:sp>
        <p:nvSpPr>
          <p:cNvPr id="14" name="Text Placeholder 13"/>
          <p:cNvSpPr>
            <a:spLocks noGrp="1"/>
          </p:cNvSpPr>
          <p:nvPr>
            <p:ph type="body" sz="quarter" idx="13" hasCustomPrompt="1"/>
          </p:nvPr>
        </p:nvSpPr>
        <p:spPr>
          <a:xfrm>
            <a:off x="529168" y="6311905"/>
            <a:ext cx="5465232" cy="390525"/>
          </a:xfrm>
        </p:spPr>
        <p:txBody>
          <a:bodyPr lIns="0" tIns="0" rIns="0" bIns="0" anchor="b">
            <a:noAutofit/>
          </a:bodyPr>
          <a:lstStyle>
            <a:lvl1pPr marL="0" indent="0" algn="l">
              <a:spcBef>
                <a:spcPts val="0"/>
              </a:spcBef>
              <a:spcAft>
                <a:spcPts val="0"/>
              </a:spcAft>
              <a:buNone/>
              <a:defRPr sz="1066" b="0">
                <a:solidFill>
                  <a:srgbClr val="000000"/>
                </a:solidFill>
                <a:latin typeface="+mn-lt"/>
              </a:defRPr>
            </a:lvl1pPr>
          </a:lstStyle>
          <a:p>
            <a:pPr lvl="0"/>
            <a:r>
              <a:rPr lang="en-US" dirty="0"/>
              <a:t>Footnotes</a:t>
            </a:r>
            <a:endParaRPr lang="en-GB" dirty="0"/>
          </a:p>
        </p:txBody>
      </p:sp>
      <p:sp>
        <p:nvSpPr>
          <p:cNvPr id="6" name="Text Placeholder 13"/>
          <p:cNvSpPr>
            <a:spLocks noGrp="1"/>
          </p:cNvSpPr>
          <p:nvPr>
            <p:ph type="body" sz="quarter" idx="14"/>
          </p:nvPr>
        </p:nvSpPr>
        <p:spPr>
          <a:xfrm>
            <a:off x="6197602" y="6311905"/>
            <a:ext cx="5465232" cy="390525"/>
          </a:xfrm>
        </p:spPr>
        <p:txBody>
          <a:bodyPr lIns="0" tIns="0" rIns="0" bIns="0" anchor="b">
            <a:noAutofit/>
          </a:bodyPr>
          <a:lstStyle>
            <a:lvl1pPr marL="0" indent="0" algn="r">
              <a:spcBef>
                <a:spcPts val="0"/>
              </a:spcBef>
              <a:spcAft>
                <a:spcPts val="0"/>
              </a:spcAft>
              <a:buNone/>
              <a:defRPr sz="1066" b="0">
                <a:solidFill>
                  <a:srgbClr val="000000"/>
                </a:solidFill>
                <a:latin typeface="+mn-lt"/>
              </a:defRPr>
            </a:lvl1pPr>
          </a:lstStyle>
          <a:p>
            <a:pPr lvl="0"/>
            <a:endParaRPr lang="en-GB" dirty="0"/>
          </a:p>
        </p:txBody>
      </p:sp>
      <p:sp>
        <p:nvSpPr>
          <p:cNvPr id="8" name="Slide Number Placeholder 3">
            <a:extLst>
              <a:ext uri="{FF2B5EF4-FFF2-40B4-BE49-F238E27FC236}">
                <a16:creationId xmlns:a16="http://schemas.microsoft.com/office/drawing/2014/main" id="{57A48F50-75E1-4AE1-9A1F-39F0B6E29BF1}"/>
              </a:ext>
            </a:extLst>
          </p:cNvPr>
          <p:cNvSpPr>
            <a:spLocks noGrp="1"/>
          </p:cNvSpPr>
          <p:nvPr>
            <p:ph type="sldNum" sz="quarter" idx="4"/>
          </p:nvPr>
        </p:nvSpPr>
        <p:spPr>
          <a:xfrm>
            <a:off x="10667266" y="-13209"/>
            <a:ext cx="229590" cy="329473"/>
          </a:xfrm>
          <a:prstGeom prst="rect">
            <a:avLst/>
          </a:prstGeom>
        </p:spPr>
        <p:txBody>
          <a:bodyPr vert="horz" lIns="18288" tIns="18288" rIns="18288" bIns="18288" rtlCol="0" anchor="ctr"/>
          <a:lstStyle>
            <a:defPPr>
              <a:defRPr lang="en-US"/>
            </a:defPPr>
            <a:lvl1pPr marL="0" algn="r" defTabSz="822665" rtl="0" eaLnBrk="1" latinLnBrk="0" hangingPunct="1">
              <a:defRPr sz="960" kern="1200">
                <a:solidFill>
                  <a:schemeClr val="tx1"/>
                </a:solidFill>
                <a:latin typeface="+mn-lt"/>
                <a:ea typeface="+mn-ea"/>
                <a:cs typeface="+mn-cs"/>
              </a:defRPr>
            </a:lvl1pPr>
            <a:lvl2pPr marL="411333" algn="l" defTabSz="822665" rtl="0" eaLnBrk="1" latinLnBrk="0" hangingPunct="1">
              <a:defRPr sz="1619" kern="1200">
                <a:solidFill>
                  <a:schemeClr val="tx1"/>
                </a:solidFill>
                <a:latin typeface="+mn-lt"/>
                <a:ea typeface="+mn-ea"/>
                <a:cs typeface="+mn-cs"/>
              </a:defRPr>
            </a:lvl2pPr>
            <a:lvl3pPr marL="822665" algn="l" defTabSz="822665" rtl="0" eaLnBrk="1" latinLnBrk="0" hangingPunct="1">
              <a:defRPr sz="1619" kern="1200">
                <a:solidFill>
                  <a:schemeClr val="tx1"/>
                </a:solidFill>
                <a:latin typeface="+mn-lt"/>
                <a:ea typeface="+mn-ea"/>
                <a:cs typeface="+mn-cs"/>
              </a:defRPr>
            </a:lvl3pPr>
            <a:lvl4pPr marL="1233999" algn="l" defTabSz="822665" rtl="0" eaLnBrk="1" latinLnBrk="0" hangingPunct="1">
              <a:defRPr sz="1619" kern="1200">
                <a:solidFill>
                  <a:schemeClr val="tx1"/>
                </a:solidFill>
                <a:latin typeface="+mn-lt"/>
                <a:ea typeface="+mn-ea"/>
                <a:cs typeface="+mn-cs"/>
              </a:defRPr>
            </a:lvl4pPr>
            <a:lvl5pPr marL="1645331" algn="l" defTabSz="822665" rtl="0" eaLnBrk="1" latinLnBrk="0" hangingPunct="1">
              <a:defRPr sz="1619" kern="1200">
                <a:solidFill>
                  <a:schemeClr val="tx1"/>
                </a:solidFill>
                <a:latin typeface="+mn-lt"/>
                <a:ea typeface="+mn-ea"/>
                <a:cs typeface="+mn-cs"/>
              </a:defRPr>
            </a:lvl5pPr>
            <a:lvl6pPr marL="2056663" algn="l" defTabSz="822665" rtl="0" eaLnBrk="1" latinLnBrk="0" hangingPunct="1">
              <a:defRPr sz="1619" kern="1200">
                <a:solidFill>
                  <a:schemeClr val="tx1"/>
                </a:solidFill>
                <a:latin typeface="+mn-lt"/>
                <a:ea typeface="+mn-ea"/>
                <a:cs typeface="+mn-cs"/>
              </a:defRPr>
            </a:lvl6pPr>
            <a:lvl7pPr marL="2467995" algn="l" defTabSz="822665" rtl="0" eaLnBrk="1" latinLnBrk="0" hangingPunct="1">
              <a:defRPr sz="1619" kern="1200">
                <a:solidFill>
                  <a:schemeClr val="tx1"/>
                </a:solidFill>
                <a:latin typeface="+mn-lt"/>
                <a:ea typeface="+mn-ea"/>
                <a:cs typeface="+mn-cs"/>
              </a:defRPr>
            </a:lvl7pPr>
            <a:lvl8pPr marL="2879328" algn="l" defTabSz="822665" rtl="0" eaLnBrk="1" latinLnBrk="0" hangingPunct="1">
              <a:defRPr sz="1619" kern="1200">
                <a:solidFill>
                  <a:schemeClr val="tx1"/>
                </a:solidFill>
                <a:latin typeface="+mn-lt"/>
                <a:ea typeface="+mn-ea"/>
                <a:cs typeface="+mn-cs"/>
              </a:defRPr>
            </a:lvl8pPr>
            <a:lvl9pPr marL="3290661" algn="l" defTabSz="822665" rtl="0" eaLnBrk="1" latinLnBrk="0" hangingPunct="1">
              <a:defRPr sz="1619" kern="1200">
                <a:solidFill>
                  <a:schemeClr val="tx1"/>
                </a:solidFill>
                <a:latin typeface="+mn-lt"/>
                <a:ea typeface="+mn-ea"/>
                <a:cs typeface="+mn-cs"/>
              </a:defRPr>
            </a:lvl9pPr>
          </a:lstStyle>
          <a:p>
            <a:fld id="{A20F318D-AF3A-44CE-8FC7-7D05504DBF73}" type="slidenum">
              <a:rPr lang="en-GB" smtClean="0"/>
              <a:pPr/>
              <a:t>‹#›</a:t>
            </a:fld>
            <a:endParaRPr lang="en-GB" dirty="0"/>
          </a:p>
        </p:txBody>
      </p:sp>
    </p:spTree>
    <p:extLst>
      <p:ext uri="{BB962C8B-B14F-4D97-AF65-F5344CB8AC3E}">
        <p14:creationId xmlns:p14="http://schemas.microsoft.com/office/powerpoint/2010/main" val="4113243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168">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BF1261-F5AC-474B-90C0-8B9391E4ACEA}"/>
              </a:ext>
            </a:extLst>
          </p:cNvPr>
          <p:cNvSpPr>
            <a:spLocks noGrp="1"/>
          </p:cNvSpPr>
          <p:nvPr>
            <p:ph type="ctrTitle"/>
          </p:nvPr>
        </p:nvSpPr>
        <p:spPr>
          <a:xfrm>
            <a:off x="1524001" y="1122362"/>
            <a:ext cx="9144000" cy="2387601"/>
          </a:xfrm>
          <a:prstGeom prst="rect">
            <a:avLst/>
          </a:prstGeom>
        </p:spPr>
        <p:txBody>
          <a:bodyPr anchor="b"/>
          <a:lstStyle>
            <a:lvl1pPr algn="ctr">
              <a:defRPr sz="6000">
                <a:solidFill>
                  <a:srgbClr val="78C3DE"/>
                </a:solidFill>
              </a:defRPr>
            </a:lvl1pPr>
          </a:lstStyle>
          <a:p>
            <a:r>
              <a:rPr lang="en-US" dirty="0"/>
              <a:t>Click to edit Master title style</a:t>
            </a:r>
            <a:endParaRPr lang="fr-CH" dirty="0"/>
          </a:p>
        </p:txBody>
      </p:sp>
      <p:sp>
        <p:nvSpPr>
          <p:cNvPr id="3" name="Subtitle 2">
            <a:extLst>
              <a:ext uri="{FF2B5EF4-FFF2-40B4-BE49-F238E27FC236}">
                <a16:creationId xmlns:a16="http://schemas.microsoft.com/office/drawing/2014/main" id="{053BD2AC-5A34-43B3-ABA6-87AB791695E0}"/>
              </a:ext>
            </a:extLst>
          </p:cNvPr>
          <p:cNvSpPr>
            <a:spLocks noGrp="1"/>
          </p:cNvSpPr>
          <p:nvPr>
            <p:ph type="subTitle" idx="1"/>
          </p:nvPr>
        </p:nvSpPr>
        <p:spPr>
          <a:xfrm>
            <a:off x="1524001" y="3602038"/>
            <a:ext cx="9144000" cy="1655762"/>
          </a:xfrm>
        </p:spPr>
        <p:txBody>
          <a:bodyPr/>
          <a:lstStyle>
            <a:lvl1pPr marL="0" indent="0" algn="ctr">
              <a:buNone/>
              <a:defRPr sz="2400"/>
            </a:lvl1pPr>
            <a:lvl2pPr marL="457194" indent="0" algn="ctr">
              <a:buNone/>
              <a:defRPr sz="2000"/>
            </a:lvl2pPr>
            <a:lvl3pPr marL="914388" indent="0" algn="ctr">
              <a:buNone/>
              <a:defRPr sz="1799"/>
            </a:lvl3pPr>
            <a:lvl4pPr marL="1371582" indent="0" algn="ctr">
              <a:buNone/>
              <a:defRPr sz="1600"/>
            </a:lvl4pPr>
            <a:lvl5pPr marL="1828776" indent="0" algn="ctr">
              <a:buNone/>
              <a:defRPr sz="1600"/>
            </a:lvl5pPr>
            <a:lvl6pPr marL="2285970" indent="0" algn="ctr">
              <a:buNone/>
              <a:defRPr sz="1600"/>
            </a:lvl6pPr>
            <a:lvl7pPr marL="2743164" indent="0" algn="ctr">
              <a:buNone/>
              <a:defRPr sz="1600"/>
            </a:lvl7pPr>
            <a:lvl8pPr marL="3200356" indent="0" algn="ctr">
              <a:buNone/>
              <a:defRPr sz="1600"/>
            </a:lvl8pPr>
            <a:lvl9pPr marL="3657550" indent="0" algn="ctr">
              <a:buNone/>
              <a:defRPr sz="1600"/>
            </a:lvl9pPr>
          </a:lstStyle>
          <a:p>
            <a:r>
              <a:rPr lang="en-US"/>
              <a:t>Click to edit Master subtitle style</a:t>
            </a:r>
            <a:endParaRPr lang="fr-CH"/>
          </a:p>
        </p:txBody>
      </p:sp>
      <p:sp>
        <p:nvSpPr>
          <p:cNvPr id="7" name="Footer Placeholder 6">
            <a:extLst>
              <a:ext uri="{FF2B5EF4-FFF2-40B4-BE49-F238E27FC236}">
                <a16:creationId xmlns:a16="http://schemas.microsoft.com/office/drawing/2014/main" id="{0A4FC087-7BDD-4F23-A05C-3980AC9AD526}"/>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108492502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F87D29-6B41-4F19-B855-C6B6E41AFEAB}"/>
              </a:ext>
            </a:extLst>
          </p:cNvPr>
          <p:cNvSpPr>
            <a:spLocks noGrp="1"/>
          </p:cNvSpPr>
          <p:nvPr>
            <p:ph type="title"/>
          </p:nvPr>
        </p:nvSpPr>
        <p:spPr>
          <a:xfrm>
            <a:off x="529167" y="365127"/>
            <a:ext cx="11133664" cy="764596"/>
          </a:xfrm>
          <a:prstGeom prst="rect">
            <a:avLst/>
          </a:prstGeom>
        </p:spPr>
        <p:txBody>
          <a:bodyPr>
            <a:normAutofit/>
          </a:bodyPr>
          <a:lstStyle>
            <a:lvl1pPr>
              <a:defRPr sz="3359"/>
            </a:lvl1pPr>
          </a:lstStyle>
          <a:p>
            <a:r>
              <a:rPr lang="en-GB" noProof="0"/>
              <a:t>Click to edit Master title style</a:t>
            </a:r>
          </a:p>
        </p:txBody>
      </p:sp>
      <p:sp>
        <p:nvSpPr>
          <p:cNvPr id="3" name="Content Placeholder 2">
            <a:extLst>
              <a:ext uri="{FF2B5EF4-FFF2-40B4-BE49-F238E27FC236}">
                <a16:creationId xmlns:a16="http://schemas.microsoft.com/office/drawing/2014/main" id="{2121DBF1-3DD1-4CF6-9468-97529567304F}"/>
              </a:ext>
            </a:extLst>
          </p:cNvPr>
          <p:cNvSpPr>
            <a:spLocks noGrp="1"/>
          </p:cNvSpPr>
          <p:nvPr>
            <p:ph idx="1"/>
          </p:nvPr>
        </p:nvSpPr>
        <p:spPr>
          <a:xfrm>
            <a:off x="529168" y="1236145"/>
            <a:ext cx="11133666" cy="4980048"/>
          </a:xfrm>
        </p:spPr>
        <p:txBody>
          <a:bodyPr>
            <a:normAutofit/>
          </a:bodyPr>
          <a:lstStyle>
            <a:lvl1pPr>
              <a:defRPr sz="2159"/>
            </a:lvl1pPr>
            <a:lvl2pPr>
              <a:defRPr sz="2159"/>
            </a:lvl2pPr>
            <a:lvl3pPr>
              <a:defRPr sz="1679"/>
            </a:lvl3pPr>
            <a:lvl4pPr>
              <a:defRPr sz="1679"/>
            </a:lvl4pPr>
            <a:lvl5pPr>
              <a:defRPr sz="1679"/>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Text Placeholder 13">
            <a:extLst>
              <a:ext uri="{FF2B5EF4-FFF2-40B4-BE49-F238E27FC236}">
                <a16:creationId xmlns:a16="http://schemas.microsoft.com/office/drawing/2014/main" id="{FEF98A1F-A99C-4961-8092-EC70CD4A903B}"/>
              </a:ext>
            </a:extLst>
          </p:cNvPr>
          <p:cNvSpPr>
            <a:spLocks noGrp="1"/>
          </p:cNvSpPr>
          <p:nvPr>
            <p:ph type="body" sz="quarter" idx="13" hasCustomPrompt="1"/>
          </p:nvPr>
        </p:nvSpPr>
        <p:spPr>
          <a:xfrm>
            <a:off x="529168" y="6311905"/>
            <a:ext cx="5465232" cy="390525"/>
          </a:xfrm>
        </p:spPr>
        <p:txBody>
          <a:bodyPr lIns="0" tIns="0" rIns="0" bIns="0" anchor="b">
            <a:noAutofit/>
          </a:bodyPr>
          <a:lstStyle>
            <a:lvl1pPr marL="0" indent="0" algn="l">
              <a:spcBef>
                <a:spcPts val="0"/>
              </a:spcBef>
              <a:spcAft>
                <a:spcPts val="0"/>
              </a:spcAft>
              <a:buNone/>
              <a:defRPr sz="1066" b="0">
                <a:solidFill>
                  <a:srgbClr val="000000"/>
                </a:solidFill>
                <a:latin typeface="+mn-lt"/>
              </a:defRPr>
            </a:lvl1pPr>
          </a:lstStyle>
          <a:p>
            <a:pPr lvl="0"/>
            <a:r>
              <a:rPr lang="en-US" dirty="0"/>
              <a:t>Footnotes</a:t>
            </a:r>
            <a:endParaRPr lang="en-GB" dirty="0"/>
          </a:p>
        </p:txBody>
      </p:sp>
      <p:sp>
        <p:nvSpPr>
          <p:cNvPr id="6" name="Text Placeholder 13">
            <a:extLst>
              <a:ext uri="{FF2B5EF4-FFF2-40B4-BE49-F238E27FC236}">
                <a16:creationId xmlns:a16="http://schemas.microsoft.com/office/drawing/2014/main" id="{6408410B-EBF7-473A-84C6-BB2B2BD2DF07}"/>
              </a:ext>
            </a:extLst>
          </p:cNvPr>
          <p:cNvSpPr>
            <a:spLocks noGrp="1"/>
          </p:cNvSpPr>
          <p:nvPr>
            <p:ph type="body" sz="quarter" idx="14"/>
          </p:nvPr>
        </p:nvSpPr>
        <p:spPr>
          <a:xfrm>
            <a:off x="6197602" y="6311905"/>
            <a:ext cx="5465232" cy="390525"/>
          </a:xfrm>
        </p:spPr>
        <p:txBody>
          <a:bodyPr lIns="0" tIns="0" rIns="0" bIns="0" anchor="b">
            <a:noAutofit/>
          </a:bodyPr>
          <a:lstStyle>
            <a:lvl1pPr marL="0" indent="0" algn="r">
              <a:spcBef>
                <a:spcPts val="0"/>
              </a:spcBef>
              <a:spcAft>
                <a:spcPts val="0"/>
              </a:spcAft>
              <a:buNone/>
              <a:defRPr sz="1066" b="0">
                <a:solidFill>
                  <a:srgbClr val="000000"/>
                </a:solidFill>
                <a:latin typeface="+mn-lt"/>
              </a:defRPr>
            </a:lvl1pPr>
          </a:lstStyle>
          <a:p>
            <a:pPr lvl="0"/>
            <a:endParaRPr lang="en-GB" dirty="0"/>
          </a:p>
        </p:txBody>
      </p:sp>
    </p:spTree>
    <p:extLst>
      <p:ext uri="{BB962C8B-B14F-4D97-AF65-F5344CB8AC3E}">
        <p14:creationId xmlns:p14="http://schemas.microsoft.com/office/powerpoint/2010/main" val="427865838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E8AEC8-38E9-4CB1-B1AC-314C3A3F9DD9}"/>
              </a:ext>
            </a:extLst>
          </p:cNvPr>
          <p:cNvSpPr>
            <a:spLocks noGrp="1"/>
          </p:cNvSpPr>
          <p:nvPr>
            <p:ph type="title"/>
          </p:nvPr>
        </p:nvSpPr>
        <p:spPr>
          <a:xfrm>
            <a:off x="831850" y="1709739"/>
            <a:ext cx="10515599" cy="2852737"/>
          </a:xfrm>
          <a:prstGeom prst="rect">
            <a:avLst/>
          </a:prstGeom>
        </p:spPr>
        <p:txBody>
          <a:bodyPr anchor="b"/>
          <a:lstStyle>
            <a:lvl1pPr>
              <a:defRPr sz="6000"/>
            </a:lvl1pPr>
          </a:lstStyle>
          <a:p>
            <a:r>
              <a:rPr lang="en-US"/>
              <a:t>Click to edit Master title style</a:t>
            </a:r>
            <a:endParaRPr lang="fr-CH"/>
          </a:p>
        </p:txBody>
      </p:sp>
      <p:sp>
        <p:nvSpPr>
          <p:cNvPr id="3" name="Text Placeholder 2">
            <a:extLst>
              <a:ext uri="{FF2B5EF4-FFF2-40B4-BE49-F238E27FC236}">
                <a16:creationId xmlns:a16="http://schemas.microsoft.com/office/drawing/2014/main" id="{2E0B759B-F220-4AAF-80B5-670254447FFF}"/>
              </a:ext>
            </a:extLst>
          </p:cNvPr>
          <p:cNvSpPr>
            <a:spLocks noGrp="1"/>
          </p:cNvSpPr>
          <p:nvPr>
            <p:ph type="body" idx="1"/>
          </p:nvPr>
        </p:nvSpPr>
        <p:spPr>
          <a:xfrm>
            <a:off x="831850" y="4589464"/>
            <a:ext cx="10515599" cy="1500187"/>
          </a:xfrm>
        </p:spPr>
        <p:txBody>
          <a:bodyPr/>
          <a:lstStyle>
            <a:lvl1pPr marL="0" indent="0">
              <a:buNone/>
              <a:defRPr sz="2400">
                <a:solidFill>
                  <a:schemeClr val="tx1">
                    <a:tint val="75000"/>
                  </a:schemeClr>
                </a:solidFill>
              </a:defRPr>
            </a:lvl1pPr>
            <a:lvl2pPr marL="457194" indent="0">
              <a:buNone/>
              <a:defRPr sz="2000">
                <a:solidFill>
                  <a:schemeClr val="tx1">
                    <a:tint val="75000"/>
                  </a:schemeClr>
                </a:solidFill>
              </a:defRPr>
            </a:lvl2pPr>
            <a:lvl3pPr marL="914388" indent="0">
              <a:buNone/>
              <a:defRPr sz="1799">
                <a:solidFill>
                  <a:schemeClr val="tx1">
                    <a:tint val="75000"/>
                  </a:schemeClr>
                </a:solidFill>
              </a:defRPr>
            </a:lvl3pPr>
            <a:lvl4pPr marL="1371582" indent="0">
              <a:buNone/>
              <a:defRPr sz="1600">
                <a:solidFill>
                  <a:schemeClr val="tx1">
                    <a:tint val="75000"/>
                  </a:schemeClr>
                </a:solidFill>
              </a:defRPr>
            </a:lvl4pPr>
            <a:lvl5pPr marL="1828776" indent="0">
              <a:buNone/>
              <a:defRPr sz="1600">
                <a:solidFill>
                  <a:schemeClr val="tx1">
                    <a:tint val="75000"/>
                  </a:schemeClr>
                </a:solidFill>
              </a:defRPr>
            </a:lvl5pPr>
            <a:lvl6pPr marL="2285970" indent="0">
              <a:buNone/>
              <a:defRPr sz="1600">
                <a:solidFill>
                  <a:schemeClr val="tx1">
                    <a:tint val="75000"/>
                  </a:schemeClr>
                </a:solidFill>
              </a:defRPr>
            </a:lvl6pPr>
            <a:lvl7pPr marL="2743164" indent="0">
              <a:buNone/>
              <a:defRPr sz="1600">
                <a:solidFill>
                  <a:schemeClr val="tx1">
                    <a:tint val="75000"/>
                  </a:schemeClr>
                </a:solidFill>
              </a:defRPr>
            </a:lvl7pPr>
            <a:lvl8pPr marL="3200356" indent="0">
              <a:buNone/>
              <a:defRPr sz="1600">
                <a:solidFill>
                  <a:schemeClr val="tx1">
                    <a:tint val="75000"/>
                  </a:schemeClr>
                </a:solidFill>
              </a:defRPr>
            </a:lvl8pPr>
            <a:lvl9pPr marL="365755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36810121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78741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4A3DA96-4A20-4F7F-98A4-889D7445D97A}"/>
              </a:ext>
            </a:extLst>
          </p:cNvPr>
          <p:cNvSpPr>
            <a:spLocks noGrp="1"/>
          </p:cNvSpPr>
          <p:nvPr>
            <p:ph sz="half" idx="1"/>
          </p:nvPr>
        </p:nvSpPr>
        <p:spPr>
          <a:xfrm>
            <a:off x="838200" y="1260702"/>
            <a:ext cx="5181600" cy="491626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CH" dirty="0"/>
          </a:p>
        </p:txBody>
      </p:sp>
      <p:sp>
        <p:nvSpPr>
          <p:cNvPr id="4" name="Content Placeholder 3">
            <a:extLst>
              <a:ext uri="{FF2B5EF4-FFF2-40B4-BE49-F238E27FC236}">
                <a16:creationId xmlns:a16="http://schemas.microsoft.com/office/drawing/2014/main" id="{C27BF406-A1B1-4EB5-850A-43E61D65A0C2}"/>
              </a:ext>
            </a:extLst>
          </p:cNvPr>
          <p:cNvSpPr>
            <a:spLocks noGrp="1"/>
          </p:cNvSpPr>
          <p:nvPr>
            <p:ph sz="half" idx="2"/>
          </p:nvPr>
        </p:nvSpPr>
        <p:spPr>
          <a:xfrm>
            <a:off x="6172201" y="1260702"/>
            <a:ext cx="5181600" cy="491626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CH" dirty="0"/>
          </a:p>
        </p:txBody>
      </p:sp>
      <p:sp>
        <p:nvSpPr>
          <p:cNvPr id="8" name="Title 1">
            <a:extLst>
              <a:ext uri="{FF2B5EF4-FFF2-40B4-BE49-F238E27FC236}">
                <a16:creationId xmlns:a16="http://schemas.microsoft.com/office/drawing/2014/main" id="{18688779-BCA1-4F66-A0A1-E0D0721F1C4E}"/>
              </a:ext>
            </a:extLst>
          </p:cNvPr>
          <p:cNvSpPr>
            <a:spLocks noGrp="1"/>
          </p:cNvSpPr>
          <p:nvPr>
            <p:ph type="title"/>
          </p:nvPr>
        </p:nvSpPr>
        <p:spPr>
          <a:xfrm>
            <a:off x="838201" y="365127"/>
            <a:ext cx="10515599" cy="764596"/>
          </a:xfrm>
          <a:prstGeom prst="rect">
            <a:avLst/>
          </a:prstGeom>
        </p:spPr>
        <p:txBody>
          <a:bodyPr>
            <a:normAutofit/>
          </a:bodyPr>
          <a:lstStyle>
            <a:lvl1pPr>
              <a:defRPr sz="3839"/>
            </a:lvl1pPr>
          </a:lstStyle>
          <a:p>
            <a:r>
              <a:rPr lang="en-US" dirty="0"/>
              <a:t>Click to edit Master title style</a:t>
            </a:r>
            <a:endParaRPr lang="fr-CH" dirty="0"/>
          </a:p>
        </p:txBody>
      </p:sp>
    </p:spTree>
    <p:extLst>
      <p:ext uri="{BB962C8B-B14F-4D97-AF65-F5344CB8AC3E}">
        <p14:creationId xmlns:p14="http://schemas.microsoft.com/office/powerpoint/2010/main" val="166475653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CF42C1F-0704-4570-AA17-B169DA3E6720}"/>
              </a:ext>
            </a:extLst>
          </p:cNvPr>
          <p:cNvSpPr>
            <a:spLocks noGrp="1"/>
          </p:cNvSpPr>
          <p:nvPr>
            <p:ph type="body" idx="1"/>
          </p:nvPr>
        </p:nvSpPr>
        <p:spPr>
          <a:xfrm>
            <a:off x="839789" y="1230910"/>
            <a:ext cx="5157787" cy="823912"/>
          </a:xfrm>
        </p:spPr>
        <p:txBody>
          <a:bodyPr anchor="b"/>
          <a:lstStyle>
            <a:lvl1pPr marL="0" indent="0">
              <a:buNone/>
              <a:defRPr sz="2400" b="1"/>
            </a:lvl1pPr>
            <a:lvl2pPr marL="457194" indent="0">
              <a:buNone/>
              <a:defRPr sz="2000" b="1"/>
            </a:lvl2pPr>
            <a:lvl3pPr marL="914388" indent="0">
              <a:buNone/>
              <a:defRPr sz="1799" b="1"/>
            </a:lvl3pPr>
            <a:lvl4pPr marL="1371582" indent="0">
              <a:buNone/>
              <a:defRPr sz="1600" b="1"/>
            </a:lvl4pPr>
            <a:lvl5pPr marL="1828776" indent="0">
              <a:buNone/>
              <a:defRPr sz="1600" b="1"/>
            </a:lvl5pPr>
            <a:lvl6pPr marL="2285970" indent="0">
              <a:buNone/>
              <a:defRPr sz="1600" b="1"/>
            </a:lvl6pPr>
            <a:lvl7pPr marL="2743164" indent="0">
              <a:buNone/>
              <a:defRPr sz="1600" b="1"/>
            </a:lvl7pPr>
            <a:lvl8pPr marL="3200356" indent="0">
              <a:buNone/>
              <a:defRPr sz="1600" b="1"/>
            </a:lvl8pPr>
            <a:lvl9pPr marL="365755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CBC3267-3187-43A5-B64F-DC0E448DBDE1}"/>
              </a:ext>
            </a:extLst>
          </p:cNvPr>
          <p:cNvSpPr>
            <a:spLocks noGrp="1"/>
          </p:cNvSpPr>
          <p:nvPr>
            <p:ph sz="half" idx="2"/>
          </p:nvPr>
        </p:nvSpPr>
        <p:spPr>
          <a:xfrm>
            <a:off x="839789" y="2156009"/>
            <a:ext cx="5157787" cy="40336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CH"/>
          </a:p>
        </p:txBody>
      </p:sp>
      <p:sp>
        <p:nvSpPr>
          <p:cNvPr id="5" name="Text Placeholder 4">
            <a:extLst>
              <a:ext uri="{FF2B5EF4-FFF2-40B4-BE49-F238E27FC236}">
                <a16:creationId xmlns:a16="http://schemas.microsoft.com/office/drawing/2014/main" id="{3A7649AC-0EF4-4F22-9345-54B075B8B6B5}"/>
              </a:ext>
            </a:extLst>
          </p:cNvPr>
          <p:cNvSpPr>
            <a:spLocks noGrp="1"/>
          </p:cNvSpPr>
          <p:nvPr>
            <p:ph type="body" sz="quarter" idx="3"/>
          </p:nvPr>
        </p:nvSpPr>
        <p:spPr>
          <a:xfrm>
            <a:off x="6172200" y="1230910"/>
            <a:ext cx="5183188" cy="823912"/>
          </a:xfrm>
        </p:spPr>
        <p:txBody>
          <a:bodyPr anchor="b"/>
          <a:lstStyle>
            <a:lvl1pPr marL="0" indent="0">
              <a:buNone/>
              <a:defRPr sz="2400" b="1"/>
            </a:lvl1pPr>
            <a:lvl2pPr marL="457194" indent="0">
              <a:buNone/>
              <a:defRPr sz="2000" b="1"/>
            </a:lvl2pPr>
            <a:lvl3pPr marL="914388" indent="0">
              <a:buNone/>
              <a:defRPr sz="1799" b="1"/>
            </a:lvl3pPr>
            <a:lvl4pPr marL="1371582" indent="0">
              <a:buNone/>
              <a:defRPr sz="1600" b="1"/>
            </a:lvl4pPr>
            <a:lvl5pPr marL="1828776" indent="0">
              <a:buNone/>
              <a:defRPr sz="1600" b="1"/>
            </a:lvl5pPr>
            <a:lvl6pPr marL="2285970" indent="0">
              <a:buNone/>
              <a:defRPr sz="1600" b="1"/>
            </a:lvl6pPr>
            <a:lvl7pPr marL="2743164" indent="0">
              <a:buNone/>
              <a:defRPr sz="1600" b="1"/>
            </a:lvl7pPr>
            <a:lvl8pPr marL="3200356" indent="0">
              <a:buNone/>
              <a:defRPr sz="1600" b="1"/>
            </a:lvl8pPr>
            <a:lvl9pPr marL="365755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7A478EB-A906-4F17-9F2D-AA8B31C4F558}"/>
              </a:ext>
            </a:extLst>
          </p:cNvPr>
          <p:cNvSpPr>
            <a:spLocks noGrp="1"/>
          </p:cNvSpPr>
          <p:nvPr>
            <p:ph sz="quarter" idx="4"/>
          </p:nvPr>
        </p:nvSpPr>
        <p:spPr>
          <a:xfrm>
            <a:off x="6172200" y="2156009"/>
            <a:ext cx="5183188" cy="40336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CH"/>
          </a:p>
        </p:txBody>
      </p:sp>
      <p:sp>
        <p:nvSpPr>
          <p:cNvPr id="10" name="Title 1">
            <a:extLst>
              <a:ext uri="{FF2B5EF4-FFF2-40B4-BE49-F238E27FC236}">
                <a16:creationId xmlns:a16="http://schemas.microsoft.com/office/drawing/2014/main" id="{DF16E738-2EF8-4A83-9698-F037D4DA91DC}"/>
              </a:ext>
            </a:extLst>
          </p:cNvPr>
          <p:cNvSpPr>
            <a:spLocks noGrp="1"/>
          </p:cNvSpPr>
          <p:nvPr>
            <p:ph type="title"/>
          </p:nvPr>
        </p:nvSpPr>
        <p:spPr>
          <a:xfrm>
            <a:off x="838201" y="365127"/>
            <a:ext cx="10515599" cy="764596"/>
          </a:xfrm>
          <a:prstGeom prst="rect">
            <a:avLst/>
          </a:prstGeom>
        </p:spPr>
        <p:txBody>
          <a:bodyPr>
            <a:normAutofit/>
          </a:bodyPr>
          <a:lstStyle>
            <a:lvl1pPr>
              <a:defRPr sz="3839"/>
            </a:lvl1pPr>
          </a:lstStyle>
          <a:p>
            <a:r>
              <a:rPr lang="en-US" dirty="0"/>
              <a:t>Click to edit Master title style</a:t>
            </a:r>
            <a:endParaRPr lang="fr-CH" dirty="0"/>
          </a:p>
        </p:txBody>
      </p:sp>
    </p:spTree>
    <p:extLst>
      <p:ext uri="{BB962C8B-B14F-4D97-AF65-F5344CB8AC3E}">
        <p14:creationId xmlns:p14="http://schemas.microsoft.com/office/powerpoint/2010/main" val="252181700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D881DA4-421F-42C4-804C-3CEEA89D512D}"/>
              </a:ext>
            </a:extLst>
          </p:cNvPr>
          <p:cNvSpPr>
            <a:spLocks noGrp="1"/>
          </p:cNvSpPr>
          <p:nvPr>
            <p:ph type="title"/>
          </p:nvPr>
        </p:nvSpPr>
        <p:spPr>
          <a:xfrm>
            <a:off x="838201" y="365127"/>
            <a:ext cx="10515599" cy="764596"/>
          </a:xfrm>
          <a:prstGeom prst="rect">
            <a:avLst/>
          </a:prstGeom>
        </p:spPr>
        <p:txBody>
          <a:bodyPr>
            <a:normAutofit/>
          </a:bodyPr>
          <a:lstStyle>
            <a:lvl1pPr>
              <a:defRPr sz="3839"/>
            </a:lvl1pPr>
          </a:lstStyle>
          <a:p>
            <a:r>
              <a:rPr lang="en-US" dirty="0"/>
              <a:t>Click to edit Master title style</a:t>
            </a:r>
            <a:endParaRPr lang="fr-CH" dirty="0"/>
          </a:p>
        </p:txBody>
      </p:sp>
    </p:spTree>
    <p:extLst>
      <p:ext uri="{BB962C8B-B14F-4D97-AF65-F5344CB8AC3E}">
        <p14:creationId xmlns:p14="http://schemas.microsoft.com/office/powerpoint/2010/main" val="306515206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648372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93785E5-A1AC-4862-9A14-B97AE6B70A9B}"/>
              </a:ext>
            </a:extLst>
          </p:cNvPr>
          <p:cNvSpPr>
            <a:spLocks noGrp="1"/>
          </p:cNvSpPr>
          <p:nvPr>
            <p:ph idx="1"/>
          </p:nvPr>
        </p:nvSpPr>
        <p:spPr>
          <a:xfrm>
            <a:off x="5183188" y="1252518"/>
            <a:ext cx="6172200" cy="4608533"/>
          </a:xfrm>
        </p:spPr>
        <p:txBody>
          <a:bodyPr/>
          <a:lstStyle>
            <a:lvl1pPr>
              <a:defRPr sz="3201"/>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CH"/>
          </a:p>
        </p:txBody>
      </p:sp>
      <p:sp>
        <p:nvSpPr>
          <p:cNvPr id="4" name="Text Placeholder 3">
            <a:extLst>
              <a:ext uri="{FF2B5EF4-FFF2-40B4-BE49-F238E27FC236}">
                <a16:creationId xmlns:a16="http://schemas.microsoft.com/office/drawing/2014/main" id="{4C8099B6-918C-4924-9F22-F2D160CE830D}"/>
              </a:ext>
            </a:extLst>
          </p:cNvPr>
          <p:cNvSpPr>
            <a:spLocks noGrp="1"/>
          </p:cNvSpPr>
          <p:nvPr>
            <p:ph type="body" sz="half" idx="2"/>
          </p:nvPr>
        </p:nvSpPr>
        <p:spPr>
          <a:xfrm>
            <a:off x="839789" y="1252518"/>
            <a:ext cx="3932237" cy="4616471"/>
          </a:xfrm>
        </p:spPr>
        <p:txBody>
          <a:bodyPr/>
          <a:lstStyle>
            <a:lvl1pPr marL="0" indent="0">
              <a:buNone/>
              <a:defRPr sz="1600"/>
            </a:lvl1pPr>
            <a:lvl2pPr marL="457194" indent="0">
              <a:buNone/>
              <a:defRPr sz="1400"/>
            </a:lvl2pPr>
            <a:lvl3pPr marL="914388" indent="0">
              <a:buNone/>
              <a:defRPr sz="1200"/>
            </a:lvl3pPr>
            <a:lvl4pPr marL="1371582" indent="0">
              <a:buNone/>
              <a:defRPr sz="1000"/>
            </a:lvl4pPr>
            <a:lvl5pPr marL="1828776" indent="0">
              <a:buNone/>
              <a:defRPr sz="1000"/>
            </a:lvl5pPr>
            <a:lvl6pPr marL="2285970" indent="0">
              <a:buNone/>
              <a:defRPr sz="1000"/>
            </a:lvl6pPr>
            <a:lvl7pPr marL="2743164" indent="0">
              <a:buNone/>
              <a:defRPr sz="1000"/>
            </a:lvl7pPr>
            <a:lvl8pPr marL="3200356" indent="0">
              <a:buNone/>
              <a:defRPr sz="1000"/>
            </a:lvl8pPr>
            <a:lvl9pPr marL="3657550" indent="0">
              <a:buNone/>
              <a:defRPr sz="1000"/>
            </a:lvl9pPr>
          </a:lstStyle>
          <a:p>
            <a:pPr lvl="0"/>
            <a:r>
              <a:rPr lang="en-US"/>
              <a:t>Click to edit Master text styles</a:t>
            </a:r>
          </a:p>
        </p:txBody>
      </p:sp>
      <p:sp>
        <p:nvSpPr>
          <p:cNvPr id="12" name="Title 1">
            <a:extLst>
              <a:ext uri="{FF2B5EF4-FFF2-40B4-BE49-F238E27FC236}">
                <a16:creationId xmlns:a16="http://schemas.microsoft.com/office/drawing/2014/main" id="{45D13BB2-AB4C-45EF-AF2C-A5AF0FAF4ADA}"/>
              </a:ext>
            </a:extLst>
          </p:cNvPr>
          <p:cNvSpPr>
            <a:spLocks noGrp="1"/>
          </p:cNvSpPr>
          <p:nvPr>
            <p:ph type="title"/>
          </p:nvPr>
        </p:nvSpPr>
        <p:spPr>
          <a:xfrm>
            <a:off x="838201" y="365127"/>
            <a:ext cx="10515599" cy="764596"/>
          </a:xfrm>
          <a:prstGeom prst="rect">
            <a:avLst/>
          </a:prstGeom>
        </p:spPr>
        <p:txBody>
          <a:bodyPr>
            <a:normAutofit/>
          </a:bodyPr>
          <a:lstStyle>
            <a:lvl1pPr>
              <a:defRPr sz="3839"/>
            </a:lvl1pPr>
          </a:lstStyle>
          <a:p>
            <a:r>
              <a:rPr lang="en-US" dirty="0"/>
              <a:t>Click to edit Master title style</a:t>
            </a:r>
            <a:endParaRPr lang="fr-CH" dirty="0"/>
          </a:p>
        </p:txBody>
      </p:sp>
    </p:spTree>
    <p:extLst>
      <p:ext uri="{BB962C8B-B14F-4D97-AF65-F5344CB8AC3E}">
        <p14:creationId xmlns:p14="http://schemas.microsoft.com/office/powerpoint/2010/main" val="154848378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C05D90-ACA0-4CA4-8CC2-C3050409F925}"/>
              </a:ext>
            </a:extLst>
          </p:cNvPr>
          <p:cNvSpPr>
            <a:spLocks noGrp="1"/>
          </p:cNvSpPr>
          <p:nvPr>
            <p:ph type="title"/>
          </p:nvPr>
        </p:nvSpPr>
        <p:spPr>
          <a:xfrm>
            <a:off x="839789" y="457201"/>
            <a:ext cx="3932237" cy="1600201"/>
          </a:xfrm>
          <a:prstGeom prst="rect">
            <a:avLst/>
          </a:prstGeom>
        </p:spPr>
        <p:txBody>
          <a:bodyPr anchor="b">
            <a:normAutofit/>
          </a:bodyPr>
          <a:lstStyle>
            <a:lvl1pPr>
              <a:defRPr sz="3839"/>
            </a:lvl1pPr>
          </a:lstStyle>
          <a:p>
            <a:r>
              <a:rPr lang="en-US" dirty="0"/>
              <a:t>Click to edit Master title style</a:t>
            </a:r>
            <a:endParaRPr lang="fr-CH" dirty="0"/>
          </a:p>
        </p:txBody>
      </p:sp>
      <p:sp>
        <p:nvSpPr>
          <p:cNvPr id="3" name="Picture Placeholder 2">
            <a:extLst>
              <a:ext uri="{FF2B5EF4-FFF2-40B4-BE49-F238E27FC236}">
                <a16:creationId xmlns:a16="http://schemas.microsoft.com/office/drawing/2014/main" id="{E65A8BE4-48B2-4BBD-A9AE-0174F1C4D3BB}"/>
              </a:ext>
            </a:extLst>
          </p:cNvPr>
          <p:cNvSpPr>
            <a:spLocks noGrp="1"/>
          </p:cNvSpPr>
          <p:nvPr>
            <p:ph type="pic" idx="1"/>
          </p:nvPr>
        </p:nvSpPr>
        <p:spPr>
          <a:xfrm>
            <a:off x="5183188" y="987426"/>
            <a:ext cx="6172200" cy="4873625"/>
          </a:xfrm>
        </p:spPr>
        <p:txBody>
          <a:bodyPr/>
          <a:lstStyle>
            <a:lvl1pPr marL="0" indent="0">
              <a:buNone/>
              <a:defRPr sz="3201"/>
            </a:lvl1pPr>
            <a:lvl2pPr marL="457194" indent="0">
              <a:buNone/>
              <a:defRPr sz="2800"/>
            </a:lvl2pPr>
            <a:lvl3pPr marL="914388" indent="0">
              <a:buNone/>
              <a:defRPr sz="2400"/>
            </a:lvl3pPr>
            <a:lvl4pPr marL="1371582" indent="0">
              <a:buNone/>
              <a:defRPr sz="2000"/>
            </a:lvl4pPr>
            <a:lvl5pPr marL="1828776" indent="0">
              <a:buNone/>
              <a:defRPr sz="2000"/>
            </a:lvl5pPr>
            <a:lvl6pPr marL="2285970" indent="0">
              <a:buNone/>
              <a:defRPr sz="2000"/>
            </a:lvl6pPr>
            <a:lvl7pPr marL="2743164" indent="0">
              <a:buNone/>
              <a:defRPr sz="2000"/>
            </a:lvl7pPr>
            <a:lvl8pPr marL="3200356" indent="0">
              <a:buNone/>
              <a:defRPr sz="2000"/>
            </a:lvl8pPr>
            <a:lvl9pPr marL="3657550" indent="0">
              <a:buNone/>
              <a:defRPr sz="2000"/>
            </a:lvl9pPr>
          </a:lstStyle>
          <a:p>
            <a:endParaRPr lang="fr-CH" dirty="0"/>
          </a:p>
        </p:txBody>
      </p:sp>
      <p:sp>
        <p:nvSpPr>
          <p:cNvPr id="4" name="Text Placeholder 3">
            <a:extLst>
              <a:ext uri="{FF2B5EF4-FFF2-40B4-BE49-F238E27FC236}">
                <a16:creationId xmlns:a16="http://schemas.microsoft.com/office/drawing/2014/main" id="{7E937782-94B1-4E07-8FFC-335A1830E380}"/>
              </a:ext>
            </a:extLst>
          </p:cNvPr>
          <p:cNvSpPr>
            <a:spLocks noGrp="1"/>
          </p:cNvSpPr>
          <p:nvPr>
            <p:ph type="body" sz="half" idx="2"/>
          </p:nvPr>
        </p:nvSpPr>
        <p:spPr>
          <a:xfrm>
            <a:off x="839789" y="2057400"/>
            <a:ext cx="3932237" cy="3811588"/>
          </a:xfrm>
        </p:spPr>
        <p:txBody>
          <a:bodyPr/>
          <a:lstStyle>
            <a:lvl1pPr marL="0" indent="0">
              <a:buNone/>
              <a:defRPr sz="1600"/>
            </a:lvl1pPr>
            <a:lvl2pPr marL="457194" indent="0">
              <a:buNone/>
              <a:defRPr sz="1400"/>
            </a:lvl2pPr>
            <a:lvl3pPr marL="914388" indent="0">
              <a:buNone/>
              <a:defRPr sz="1200"/>
            </a:lvl3pPr>
            <a:lvl4pPr marL="1371582" indent="0">
              <a:buNone/>
              <a:defRPr sz="1000"/>
            </a:lvl4pPr>
            <a:lvl5pPr marL="1828776" indent="0">
              <a:buNone/>
              <a:defRPr sz="1000"/>
            </a:lvl5pPr>
            <a:lvl6pPr marL="2285970" indent="0">
              <a:buNone/>
              <a:defRPr sz="1000"/>
            </a:lvl6pPr>
            <a:lvl7pPr marL="2743164" indent="0">
              <a:buNone/>
              <a:defRPr sz="1000"/>
            </a:lvl7pPr>
            <a:lvl8pPr marL="3200356" indent="0">
              <a:buNone/>
              <a:defRPr sz="1000"/>
            </a:lvl8pPr>
            <a:lvl9pPr marL="3657550" indent="0">
              <a:buNone/>
              <a:defRPr sz="1000"/>
            </a:lvl9pPr>
          </a:lstStyle>
          <a:p>
            <a:pPr lvl="0"/>
            <a:r>
              <a:rPr lang="en-US" dirty="0"/>
              <a:t>Click to edit Master text styles</a:t>
            </a:r>
          </a:p>
        </p:txBody>
      </p:sp>
    </p:spTree>
    <p:extLst>
      <p:ext uri="{BB962C8B-B14F-4D97-AF65-F5344CB8AC3E}">
        <p14:creationId xmlns:p14="http://schemas.microsoft.com/office/powerpoint/2010/main" val="409526741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3" name="Vertical Text Placeholder 2">
            <a:extLst>
              <a:ext uri="{FF2B5EF4-FFF2-40B4-BE49-F238E27FC236}">
                <a16:creationId xmlns:a16="http://schemas.microsoft.com/office/drawing/2014/main" id="{30D843B5-8B42-41F9-BF72-4C5375DD71F6}"/>
              </a:ext>
            </a:extLst>
          </p:cNvPr>
          <p:cNvSpPr>
            <a:spLocks noGrp="1"/>
          </p:cNvSpPr>
          <p:nvPr>
            <p:ph type="body" orient="vert" idx="1"/>
          </p:nvPr>
        </p:nvSpPr>
        <p:spPr>
          <a:xfrm>
            <a:off x="838201" y="1268889"/>
            <a:ext cx="10515599" cy="49080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CH"/>
          </a:p>
        </p:txBody>
      </p:sp>
      <p:sp>
        <p:nvSpPr>
          <p:cNvPr id="7" name="Title 1">
            <a:extLst>
              <a:ext uri="{FF2B5EF4-FFF2-40B4-BE49-F238E27FC236}">
                <a16:creationId xmlns:a16="http://schemas.microsoft.com/office/drawing/2014/main" id="{0E895E67-8CD0-45EC-957C-9F4150DC89C8}"/>
              </a:ext>
            </a:extLst>
          </p:cNvPr>
          <p:cNvSpPr>
            <a:spLocks noGrp="1"/>
          </p:cNvSpPr>
          <p:nvPr>
            <p:ph type="title"/>
          </p:nvPr>
        </p:nvSpPr>
        <p:spPr>
          <a:xfrm>
            <a:off x="838201" y="365127"/>
            <a:ext cx="10515599" cy="764596"/>
          </a:xfrm>
          <a:prstGeom prst="rect">
            <a:avLst/>
          </a:prstGeom>
        </p:spPr>
        <p:txBody>
          <a:bodyPr>
            <a:normAutofit/>
          </a:bodyPr>
          <a:lstStyle>
            <a:lvl1pPr>
              <a:defRPr sz="3839"/>
            </a:lvl1pPr>
          </a:lstStyle>
          <a:p>
            <a:r>
              <a:rPr lang="en-US" dirty="0"/>
              <a:t>Click to edit Master title style</a:t>
            </a:r>
            <a:endParaRPr lang="fr-CH" dirty="0"/>
          </a:p>
        </p:txBody>
      </p:sp>
    </p:spTree>
    <p:extLst>
      <p:ext uri="{BB962C8B-B14F-4D97-AF65-F5344CB8AC3E}">
        <p14:creationId xmlns:p14="http://schemas.microsoft.com/office/powerpoint/2010/main" val="99093489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AE74557-02F7-413F-B245-3948D8DA5E21}"/>
              </a:ext>
            </a:extLst>
          </p:cNvPr>
          <p:cNvSpPr>
            <a:spLocks noGrp="1"/>
          </p:cNvSpPr>
          <p:nvPr>
            <p:ph type="title" orient="vert"/>
          </p:nvPr>
        </p:nvSpPr>
        <p:spPr>
          <a:xfrm>
            <a:off x="9725086" y="365124"/>
            <a:ext cx="1628715" cy="5811838"/>
          </a:xfrm>
          <a:prstGeom prst="rect">
            <a:avLst/>
          </a:prstGeom>
        </p:spPr>
        <p:txBody>
          <a:bodyPr vert="eaVert">
            <a:normAutofit/>
          </a:bodyPr>
          <a:lstStyle>
            <a:lvl1pPr>
              <a:defRPr sz="3839"/>
            </a:lvl1pPr>
          </a:lstStyle>
          <a:p>
            <a:r>
              <a:rPr lang="en-US" dirty="0"/>
              <a:t>Click to edit Master title style</a:t>
            </a:r>
            <a:endParaRPr lang="fr-CH" dirty="0"/>
          </a:p>
        </p:txBody>
      </p:sp>
      <p:sp>
        <p:nvSpPr>
          <p:cNvPr id="3" name="Vertical Text Placeholder 2">
            <a:extLst>
              <a:ext uri="{FF2B5EF4-FFF2-40B4-BE49-F238E27FC236}">
                <a16:creationId xmlns:a16="http://schemas.microsoft.com/office/drawing/2014/main" id="{281A5462-FCDA-450C-A90C-18898D49FC95}"/>
              </a:ext>
            </a:extLst>
          </p:cNvPr>
          <p:cNvSpPr>
            <a:spLocks noGrp="1"/>
          </p:cNvSpPr>
          <p:nvPr>
            <p:ph type="body" orient="vert" idx="1"/>
          </p:nvPr>
        </p:nvSpPr>
        <p:spPr>
          <a:xfrm>
            <a:off x="838200" y="365124"/>
            <a:ext cx="8731349"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CH"/>
          </a:p>
        </p:txBody>
      </p:sp>
    </p:spTree>
    <p:extLst>
      <p:ext uri="{BB962C8B-B14F-4D97-AF65-F5344CB8AC3E}">
        <p14:creationId xmlns:p14="http://schemas.microsoft.com/office/powerpoint/2010/main" val="228873125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524005" y="3602044"/>
            <a:ext cx="9144000" cy="1655762"/>
          </a:xfrm>
        </p:spPr>
        <p:txBody>
          <a:bodyPr anchor="ctr"/>
          <a:lstStyle>
            <a:lvl1pPr marL="0" indent="0" algn="ctr">
              <a:buNone/>
              <a:defRPr sz="2399"/>
            </a:lvl1pPr>
            <a:lvl2pPr marL="457135" indent="0" algn="ctr">
              <a:buNone/>
              <a:defRPr sz="2000"/>
            </a:lvl2pPr>
            <a:lvl3pPr marL="914270" indent="0" algn="ctr">
              <a:buNone/>
              <a:defRPr sz="1799"/>
            </a:lvl3pPr>
            <a:lvl4pPr marL="1371407" indent="0" algn="ctr">
              <a:buNone/>
              <a:defRPr sz="1600"/>
            </a:lvl4pPr>
            <a:lvl5pPr marL="1828541" indent="0" algn="ctr">
              <a:buNone/>
              <a:defRPr sz="1600"/>
            </a:lvl5pPr>
            <a:lvl6pPr marL="2285676" indent="0" algn="ctr">
              <a:buNone/>
              <a:defRPr sz="1600"/>
            </a:lvl6pPr>
            <a:lvl7pPr marL="2742811" indent="0" algn="ctr">
              <a:buNone/>
              <a:defRPr sz="1600"/>
            </a:lvl7pPr>
            <a:lvl8pPr marL="3199946" indent="0" algn="ctr">
              <a:buNone/>
              <a:defRPr sz="1600"/>
            </a:lvl8pPr>
            <a:lvl9pPr marL="3657081" indent="0" algn="ctr">
              <a:buNone/>
              <a:defRPr sz="1600"/>
            </a:lvl9pPr>
          </a:lstStyle>
          <a:p>
            <a:r>
              <a:rPr lang="en-US"/>
              <a:t>Click to edit Master subtitle style</a:t>
            </a:r>
            <a:endParaRPr lang="en-US" dirty="0"/>
          </a:p>
        </p:txBody>
      </p:sp>
      <p:sp>
        <p:nvSpPr>
          <p:cNvPr id="4" name="Title 1">
            <a:extLst>
              <a:ext uri="{FF2B5EF4-FFF2-40B4-BE49-F238E27FC236}">
                <a16:creationId xmlns:a16="http://schemas.microsoft.com/office/drawing/2014/main" id="{1D49F185-1BE8-434D-BD0B-8C161601434B}"/>
              </a:ext>
            </a:extLst>
          </p:cNvPr>
          <p:cNvSpPr>
            <a:spLocks noGrp="1"/>
          </p:cNvSpPr>
          <p:nvPr>
            <p:ph type="title"/>
          </p:nvPr>
        </p:nvSpPr>
        <p:spPr>
          <a:xfrm>
            <a:off x="838201" y="365127"/>
            <a:ext cx="10515599" cy="764596"/>
          </a:xfrm>
          <a:prstGeom prst="rect">
            <a:avLst/>
          </a:prstGeom>
        </p:spPr>
        <p:txBody>
          <a:bodyPr>
            <a:normAutofit/>
          </a:bodyPr>
          <a:lstStyle>
            <a:lvl1pPr>
              <a:defRPr sz="3839"/>
            </a:lvl1pPr>
          </a:lstStyle>
          <a:p>
            <a:r>
              <a:rPr lang="en-US" dirty="0"/>
              <a:t>Click to edit Master title style</a:t>
            </a:r>
            <a:endParaRPr lang="fr-CH" dirty="0"/>
          </a:p>
        </p:txBody>
      </p:sp>
    </p:spTree>
    <p:extLst>
      <p:ext uri="{BB962C8B-B14F-4D97-AF65-F5344CB8AC3E}">
        <p14:creationId xmlns:p14="http://schemas.microsoft.com/office/powerpoint/2010/main" val="2629689140"/>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ABDE7A-85D9-41DD-86FC-5A5E00CB01EC}"/>
              </a:ext>
            </a:extLst>
          </p:cNvPr>
          <p:cNvSpPr>
            <a:spLocks noGrp="1"/>
          </p:cNvSpPr>
          <p:nvPr>
            <p:ph type="ctrTitle" hasCustomPrompt="1"/>
          </p:nvPr>
        </p:nvSpPr>
        <p:spPr>
          <a:xfrm>
            <a:off x="640080" y="1489130"/>
            <a:ext cx="10972800" cy="2223261"/>
          </a:xfrm>
        </p:spPr>
        <p:txBody>
          <a:bodyPr anchor="b">
            <a:normAutofit/>
          </a:bodyPr>
          <a:lstStyle>
            <a:lvl1pPr algn="l">
              <a:defRPr sz="5400" b="1">
                <a:solidFill>
                  <a:srgbClr val="002557"/>
                </a:solidFill>
                <a:latin typeface="Arial" panose="020B0604020202020204" pitchFamily="34" charset="0"/>
                <a:cs typeface="Arial" panose="020B0604020202020204" pitchFamily="34" charset="0"/>
              </a:defRPr>
            </a:lvl1pPr>
          </a:lstStyle>
          <a:p>
            <a:r>
              <a:rPr lang="en-US" dirty="0"/>
              <a:t>TITLE OF MODULE/LECTURE</a:t>
            </a:r>
          </a:p>
        </p:txBody>
      </p:sp>
      <p:sp>
        <p:nvSpPr>
          <p:cNvPr id="3" name="Subtitle 2">
            <a:extLst>
              <a:ext uri="{FF2B5EF4-FFF2-40B4-BE49-F238E27FC236}">
                <a16:creationId xmlns:a16="http://schemas.microsoft.com/office/drawing/2014/main" id="{144CC758-05CD-498C-B7EA-1421DD07FBAE}"/>
              </a:ext>
            </a:extLst>
          </p:cNvPr>
          <p:cNvSpPr>
            <a:spLocks noGrp="1"/>
          </p:cNvSpPr>
          <p:nvPr>
            <p:ph type="subTitle" idx="1"/>
          </p:nvPr>
        </p:nvSpPr>
        <p:spPr>
          <a:xfrm>
            <a:off x="640080" y="3797535"/>
            <a:ext cx="10972800" cy="948671"/>
          </a:xfrm>
        </p:spPr>
        <p:txBody>
          <a:bodyPr>
            <a:normAutofit/>
          </a:bodyPr>
          <a:lstStyle>
            <a:lvl1pPr marL="0" indent="0" algn="l">
              <a:buNone/>
              <a:defRPr sz="2800">
                <a:solidFill>
                  <a:srgbClr val="002557"/>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3" name="Text Placeholder 8">
            <a:extLst>
              <a:ext uri="{FF2B5EF4-FFF2-40B4-BE49-F238E27FC236}">
                <a16:creationId xmlns:a16="http://schemas.microsoft.com/office/drawing/2014/main" id="{1D9F7408-FA39-411A-B427-9F7A5AE9AC1D}"/>
              </a:ext>
            </a:extLst>
          </p:cNvPr>
          <p:cNvSpPr>
            <a:spLocks noGrp="1"/>
          </p:cNvSpPr>
          <p:nvPr>
            <p:ph type="body" sz="quarter" idx="14" hasCustomPrompt="1"/>
          </p:nvPr>
        </p:nvSpPr>
        <p:spPr>
          <a:xfrm>
            <a:off x="640080" y="5142187"/>
            <a:ext cx="10972800" cy="594131"/>
          </a:xfrm>
        </p:spPr>
        <p:txBody>
          <a:bodyPr>
            <a:noAutofit/>
          </a:bodyPr>
          <a:lstStyle>
            <a:lvl1pPr marL="0" indent="0">
              <a:buFontTx/>
              <a:buNone/>
              <a:defRPr sz="2000">
                <a:solidFill>
                  <a:srgbClr val="002557"/>
                </a:solidFill>
              </a:defRPr>
            </a:lvl1pPr>
            <a:lvl2pPr marL="457200" indent="0">
              <a:buFontTx/>
              <a:buNone/>
              <a:defRPr sz="1400">
                <a:solidFill>
                  <a:schemeClr val="bg1"/>
                </a:solidFill>
              </a:defRPr>
            </a:lvl2pPr>
            <a:lvl3pPr marL="914400" indent="0">
              <a:buFontTx/>
              <a:buNone/>
              <a:defRPr sz="1400">
                <a:solidFill>
                  <a:schemeClr val="bg1"/>
                </a:solidFill>
              </a:defRPr>
            </a:lvl3pPr>
            <a:lvl4pPr marL="1371600" indent="0">
              <a:buFontTx/>
              <a:buNone/>
              <a:defRPr sz="1400">
                <a:solidFill>
                  <a:schemeClr val="bg1"/>
                </a:solidFill>
              </a:defRPr>
            </a:lvl4pPr>
            <a:lvl5pPr marL="1828800" indent="0">
              <a:buFontTx/>
              <a:buNone/>
              <a:defRPr sz="1400">
                <a:solidFill>
                  <a:schemeClr val="bg1"/>
                </a:solidFill>
              </a:defRPr>
            </a:lvl5pPr>
          </a:lstStyle>
          <a:p>
            <a:pPr lvl="0"/>
            <a:r>
              <a:rPr lang="en-US" dirty="0"/>
              <a:t>Click to Edit Speaker</a:t>
            </a:r>
          </a:p>
        </p:txBody>
      </p:sp>
      <p:pic>
        <p:nvPicPr>
          <p:cNvPr id="6" name="Picture 5">
            <a:extLst>
              <a:ext uri="{FF2B5EF4-FFF2-40B4-BE49-F238E27FC236}">
                <a16:creationId xmlns:a16="http://schemas.microsoft.com/office/drawing/2014/main" id="{567FB3A7-0AD3-4819-9FFB-85C98D4281E8}"/>
              </a:ext>
            </a:extLst>
          </p:cNvPr>
          <p:cNvPicPr>
            <a:picLocks noChangeAspect="1"/>
          </p:cNvPicPr>
          <p:nvPr userDrawn="1"/>
        </p:nvPicPr>
        <p:blipFill>
          <a:blip r:embed="rId2" cstate="print">
            <a:duotone>
              <a:prstClr val="black"/>
              <a:srgbClr val="002557">
                <a:tint val="45000"/>
                <a:satMod val="400000"/>
              </a:srgbClr>
            </a:duotone>
            <a:extLst>
              <a:ext uri="{BEBA8EAE-BF5A-486C-A8C5-ECC9F3942E4B}">
                <a14:imgProps xmlns:a14="http://schemas.microsoft.com/office/drawing/2010/main">
                  <a14:imgLayer r:embed="rId3">
                    <a14:imgEffect>
                      <a14:sharpenSoften amount="50000"/>
                    </a14:imgEffect>
                    <a14:imgEffect>
                      <a14:brightnessContrast bright="-40000" contrast="-40000"/>
                    </a14:imgEffect>
                  </a14:imgLayer>
                </a14:imgProps>
              </a:ext>
              <a:ext uri="{28A0092B-C50C-407E-A947-70E740481C1C}">
                <a14:useLocalDpi xmlns:a14="http://schemas.microsoft.com/office/drawing/2010/main" val="0"/>
              </a:ext>
            </a:extLst>
          </a:blip>
          <a:srcRect/>
          <a:stretch/>
        </p:blipFill>
        <p:spPr>
          <a:xfrm>
            <a:off x="640080" y="484195"/>
            <a:ext cx="3001282" cy="646429"/>
          </a:xfrm>
          <a:prstGeom prst="rect">
            <a:avLst/>
          </a:prstGeom>
        </p:spPr>
      </p:pic>
      <p:sp>
        <p:nvSpPr>
          <p:cNvPr id="5" name="Text Placeholder 4">
            <a:extLst>
              <a:ext uri="{FF2B5EF4-FFF2-40B4-BE49-F238E27FC236}">
                <a16:creationId xmlns:a16="http://schemas.microsoft.com/office/drawing/2014/main" id="{11BC5C70-076B-40B0-85B6-B1E116EB5C53}"/>
              </a:ext>
            </a:extLst>
          </p:cNvPr>
          <p:cNvSpPr>
            <a:spLocks noGrp="1"/>
          </p:cNvSpPr>
          <p:nvPr>
            <p:ph type="body" sz="quarter" idx="15" hasCustomPrompt="1"/>
          </p:nvPr>
        </p:nvSpPr>
        <p:spPr>
          <a:xfrm>
            <a:off x="3959671"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dirty="0"/>
              <a:t>Insert Speaker Name and Title</a:t>
            </a:r>
          </a:p>
        </p:txBody>
      </p:sp>
    </p:spTree>
    <p:extLst>
      <p:ext uri="{BB962C8B-B14F-4D97-AF65-F5344CB8AC3E}">
        <p14:creationId xmlns:p14="http://schemas.microsoft.com/office/powerpoint/2010/main" val="3248457270"/>
      </p:ext>
    </p:extLst>
  </p:cSld>
  <p:clrMapOvr>
    <a:masterClrMapping/>
  </p:clrMapOvr>
  <p:hf sldNum="0"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64154365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p:txBody>
          <a:bodyPr/>
          <a:lstStyle>
            <a:lvl1pPr>
              <a:defRPr>
                <a:solidFill>
                  <a:srgbClr val="002557"/>
                </a:solidFill>
              </a:defRPr>
            </a:lvl1pPr>
          </a:lstStyle>
          <a:p>
            <a:fld id="{BE33F7A0-71F0-446B-9DE8-6D75BE64EE0F}" type="slidenum">
              <a:rPr lang="en-US" smtClean="0"/>
              <a:pPr/>
              <a:t>‹#›</a:t>
            </a:fld>
            <a:endParaRPr lang="en-US" dirty="0"/>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828799"/>
            <a:ext cx="1097280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4">
            <a:extLst>
              <a:ext uri="{FF2B5EF4-FFF2-40B4-BE49-F238E27FC236}">
                <a16:creationId xmlns:a16="http://schemas.microsoft.com/office/drawing/2014/main" id="{9405B873-996D-4020-A666-C56376FA7DB2}"/>
              </a:ext>
            </a:extLst>
          </p:cNvPr>
          <p:cNvSpPr>
            <a:spLocks noGrp="1"/>
          </p:cNvSpPr>
          <p:nvPr>
            <p:ph type="body" sz="quarter" idx="15" hasCustomPrompt="1"/>
          </p:nvPr>
        </p:nvSpPr>
        <p:spPr>
          <a:xfrm>
            <a:off x="3959671"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dirty="0"/>
              <a:t>Insert Speaker Name and Title</a:t>
            </a:r>
          </a:p>
        </p:txBody>
      </p:sp>
    </p:spTree>
    <p:extLst>
      <p:ext uri="{BB962C8B-B14F-4D97-AF65-F5344CB8AC3E}">
        <p14:creationId xmlns:p14="http://schemas.microsoft.com/office/powerpoint/2010/main" val="198594301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B36463E-01A7-4372-A0B2-9908C17936F2}"/>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9" name="think-cell Slide" r:id="rId4" imgW="592" imgH="591" progId="TCLayout.ActiveDocument.1">
                  <p:embed/>
                </p:oleObj>
              </mc:Choice>
              <mc:Fallback>
                <p:oleObj name="think-cell Slide" r:id="rId4" imgW="592" imgH="591" progId="TCLayout.ActiveDocument.1">
                  <p:embed/>
                  <p:pic>
                    <p:nvPicPr>
                      <p:cNvPr id="3" name="Object 2" hidden="1">
                        <a:extLst>
                          <a:ext uri="{FF2B5EF4-FFF2-40B4-BE49-F238E27FC236}">
                            <a16:creationId xmlns:a16="http://schemas.microsoft.com/office/drawing/2014/main" id="{0B36463E-01A7-4372-A0B2-9908C17936F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D2354B21-5ACF-49E1-A84C-36FD8CEB4E8A}"/>
              </a:ext>
            </a:extLst>
          </p:cNvPr>
          <p:cNvSpPr>
            <a:spLocks noGrp="1"/>
          </p:cNvSpPr>
          <p:nvPr>
            <p:ph type="sldNum" sz="quarter" idx="12"/>
          </p:nvPr>
        </p:nvSpPr>
        <p:spPr/>
        <p:txBody>
          <a:bodyPr/>
          <a:lstStyle/>
          <a:p>
            <a:fld id="{BE33F7A0-71F0-446B-9DE8-6D75BE64EE0F}" type="slidenum">
              <a:rPr lang="en-US" smtClean="0"/>
              <a:t>‹#›</a:t>
            </a:fld>
            <a:endParaRPr lang="en-US"/>
          </a:p>
        </p:txBody>
      </p:sp>
      <p:sp>
        <p:nvSpPr>
          <p:cNvPr id="5" name="Title 1">
            <a:extLst>
              <a:ext uri="{FF2B5EF4-FFF2-40B4-BE49-F238E27FC236}">
                <a16:creationId xmlns:a16="http://schemas.microsoft.com/office/drawing/2014/main" id="{8157A794-B351-4E1D-AC06-88E609E324B6}"/>
              </a:ext>
            </a:extLst>
          </p:cNvPr>
          <p:cNvSpPr>
            <a:spLocks noGrp="1"/>
          </p:cNvSpPr>
          <p:nvPr>
            <p:ph type="ctrTitle" hasCustomPrompt="1"/>
          </p:nvPr>
        </p:nvSpPr>
        <p:spPr>
          <a:xfrm>
            <a:off x="667512" y="2257671"/>
            <a:ext cx="10972800" cy="1970998"/>
          </a:xfrm>
        </p:spPr>
        <p:txBody>
          <a:bodyPr vert="horz" anchor="ctr" anchorCtr="0">
            <a:normAutofit/>
          </a:bodyPr>
          <a:lstStyle>
            <a:lvl1pPr algn="l">
              <a:defRPr sz="4000" b="1">
                <a:solidFill>
                  <a:srgbClr val="002557"/>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9" name="Text Placeholder 4">
            <a:extLst>
              <a:ext uri="{FF2B5EF4-FFF2-40B4-BE49-F238E27FC236}">
                <a16:creationId xmlns:a16="http://schemas.microsoft.com/office/drawing/2014/main" id="{D62FD2A4-18B7-4603-9A47-3E7AB3E38593}"/>
              </a:ext>
            </a:extLst>
          </p:cNvPr>
          <p:cNvSpPr>
            <a:spLocks noGrp="1"/>
          </p:cNvSpPr>
          <p:nvPr>
            <p:ph type="body" sz="quarter" idx="15" hasCustomPrompt="1"/>
          </p:nvPr>
        </p:nvSpPr>
        <p:spPr>
          <a:xfrm>
            <a:off x="3959671"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dirty="0"/>
              <a:t>Insert Speaker Name and Title</a:t>
            </a:r>
          </a:p>
        </p:txBody>
      </p:sp>
    </p:spTree>
    <p:extLst>
      <p:ext uri="{BB962C8B-B14F-4D97-AF65-F5344CB8AC3E}">
        <p14:creationId xmlns:p14="http://schemas.microsoft.com/office/powerpoint/2010/main" val="225287160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2354B21-5ACF-49E1-A84C-36FD8CEB4E8A}"/>
              </a:ext>
            </a:extLst>
          </p:cNvPr>
          <p:cNvSpPr>
            <a:spLocks noGrp="1"/>
          </p:cNvSpPr>
          <p:nvPr>
            <p:ph type="sldNum" sz="quarter" idx="12"/>
          </p:nvPr>
        </p:nvSpPr>
        <p:spPr/>
        <p:txBody>
          <a:bodyPr/>
          <a:lstStyle/>
          <a:p>
            <a:fld id="{BE33F7A0-71F0-446B-9DE8-6D75BE64EE0F}" type="slidenum">
              <a:rPr lang="en-US" smtClean="0"/>
              <a:t>‹#›</a:t>
            </a:fld>
            <a:endParaRPr lang="en-US"/>
          </a:p>
        </p:txBody>
      </p:sp>
      <p:sp>
        <p:nvSpPr>
          <p:cNvPr id="7" name="Text Placeholder 4">
            <a:extLst>
              <a:ext uri="{FF2B5EF4-FFF2-40B4-BE49-F238E27FC236}">
                <a16:creationId xmlns:a16="http://schemas.microsoft.com/office/drawing/2014/main" id="{AED98D6B-2C63-4224-A272-42ABD1BDC98A}"/>
              </a:ext>
            </a:extLst>
          </p:cNvPr>
          <p:cNvSpPr>
            <a:spLocks noGrp="1"/>
          </p:cNvSpPr>
          <p:nvPr>
            <p:ph type="body" sz="quarter" idx="15" hasCustomPrompt="1"/>
          </p:nvPr>
        </p:nvSpPr>
        <p:spPr>
          <a:xfrm>
            <a:off x="3959671"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dirty="0"/>
              <a:t>Insert Speaker Name and Title</a:t>
            </a:r>
          </a:p>
        </p:txBody>
      </p:sp>
    </p:spTree>
    <p:extLst>
      <p:ext uri="{BB962C8B-B14F-4D97-AF65-F5344CB8AC3E}">
        <p14:creationId xmlns:p14="http://schemas.microsoft.com/office/powerpoint/2010/main" val="385937457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AD67FCB-22E8-4BFD-9F2B-E49A81315732}" type="datetimeFigureOut">
              <a:rPr lang="en-US" smtClean="0"/>
              <a:t>1/31/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1576381-6223-4A19-A144-E4EFA1FE3EC0}" type="slidenum">
              <a:rPr lang="en-US" smtClean="0"/>
              <a:t>‹#›</a:t>
            </a:fld>
            <a:endParaRPr lang="en-US"/>
          </a:p>
        </p:txBody>
      </p:sp>
    </p:spTree>
    <p:extLst>
      <p:ext uri="{BB962C8B-B14F-4D97-AF65-F5344CB8AC3E}">
        <p14:creationId xmlns:p14="http://schemas.microsoft.com/office/powerpoint/2010/main" val="249514110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matchingName="3_Title and Text" userDrawn="1">
  <p:cSld name="3_Title and Text">
    <p:spTree>
      <p:nvGrpSpPr>
        <p:cNvPr id="1" name="Shape 16"/>
        <p:cNvGrpSpPr/>
        <p:nvPr/>
      </p:nvGrpSpPr>
      <p:grpSpPr>
        <a:xfrm>
          <a:off x="0" y="0"/>
          <a:ext cx="0" cy="0"/>
          <a:chOff x="0" y="0"/>
          <a:chExt cx="0" cy="0"/>
        </a:xfrm>
      </p:grpSpPr>
      <p:sp>
        <p:nvSpPr>
          <p:cNvPr id="19" name="Google Shape;19;p14"/>
          <p:cNvSpPr txBox="1">
            <a:spLocks noGrp="1"/>
          </p:cNvSpPr>
          <p:nvPr>
            <p:ph type="subTitle" idx="2"/>
          </p:nvPr>
        </p:nvSpPr>
        <p:spPr>
          <a:xfrm>
            <a:off x="479999" y="1222992"/>
            <a:ext cx="11213200" cy="6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533"/>
              </a:spcBef>
              <a:spcAft>
                <a:spcPts val="0"/>
              </a:spcAft>
              <a:buClr>
                <a:srgbClr val="05416B"/>
              </a:buClr>
              <a:buSzPts val="700"/>
              <a:buFont typeface="Noto Sans Symbols"/>
              <a:buNone/>
              <a:defRPr sz="2667" b="0" i="0" u="none" strike="noStrike" cap="none">
                <a:solidFill>
                  <a:srgbClr val="05416B"/>
                </a:solidFill>
                <a:latin typeface="Arial Narrow"/>
                <a:ea typeface="Arial Narrow"/>
                <a:cs typeface="Arial Narrow"/>
                <a:sym typeface="Arial Narrow"/>
              </a:defRPr>
            </a:lvl1pPr>
            <a:lvl2pPr marR="0" lvl="1" algn="l" rtl="0">
              <a:lnSpc>
                <a:spcPct val="100000"/>
              </a:lnSpc>
              <a:spcBef>
                <a:spcPts val="427"/>
              </a:spcBef>
              <a:spcAft>
                <a:spcPts val="0"/>
              </a:spcAft>
              <a:buClr>
                <a:schemeClr val="dk1"/>
              </a:buClr>
              <a:buSzPts val="560"/>
              <a:buFont typeface="Noto Sans Symbols"/>
              <a:buNone/>
              <a:defRPr sz="2133" b="0" i="0" u="none" strike="noStrike" cap="none">
                <a:solidFill>
                  <a:srgbClr val="888888"/>
                </a:solidFill>
                <a:latin typeface="Arial Narrow"/>
                <a:ea typeface="Arial Narrow"/>
                <a:cs typeface="Arial Narrow"/>
                <a:sym typeface="Arial Narrow"/>
              </a:defRPr>
            </a:lvl2pPr>
            <a:lvl3pPr marR="0" lvl="2" algn="l" rtl="0">
              <a:lnSpc>
                <a:spcPct val="100000"/>
              </a:lnSpc>
              <a:spcBef>
                <a:spcPts val="427"/>
              </a:spcBef>
              <a:spcAft>
                <a:spcPts val="0"/>
              </a:spcAft>
              <a:buClr>
                <a:schemeClr val="dk1"/>
              </a:buClr>
              <a:buSzPts val="560"/>
              <a:buFont typeface="Noto Sans Symbols"/>
              <a:buNone/>
              <a:defRPr sz="2133" b="0" i="0" u="none" strike="noStrike" cap="none">
                <a:solidFill>
                  <a:srgbClr val="888888"/>
                </a:solidFill>
                <a:latin typeface="Arial Narrow"/>
                <a:ea typeface="Arial Narrow"/>
                <a:cs typeface="Arial Narrow"/>
                <a:sym typeface="Arial Narrow"/>
              </a:defRPr>
            </a:lvl3pPr>
            <a:lvl4pPr marR="0" lvl="3"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4pPr>
            <a:lvl5pPr marR="0" lvl="4"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5pPr>
            <a:lvl6pPr marR="0" lvl="5"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6pPr>
            <a:lvl7pPr marR="0" lvl="6"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7pPr>
            <a:lvl8pPr marR="0" lvl="7"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8pPr>
            <a:lvl9pPr marR="0" lvl="8"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9pPr>
          </a:lstStyle>
          <a:p>
            <a:endParaRPr/>
          </a:p>
        </p:txBody>
      </p:sp>
      <p:sp>
        <p:nvSpPr>
          <p:cNvPr id="5" name="TextBox 4">
            <a:extLst>
              <a:ext uri="{FF2B5EF4-FFF2-40B4-BE49-F238E27FC236}">
                <a16:creationId xmlns:a16="http://schemas.microsoft.com/office/drawing/2014/main" id="{D1D0B917-7AEC-4D84-A351-D9D66AC4FB77}"/>
              </a:ext>
            </a:extLst>
          </p:cNvPr>
          <p:cNvSpPr txBox="1"/>
          <p:nvPr userDrawn="1"/>
        </p:nvSpPr>
        <p:spPr>
          <a:xfrm>
            <a:off x="6086509" y="6155383"/>
            <a:ext cx="6005160" cy="184666"/>
          </a:xfrm>
          <a:prstGeom prst="rect">
            <a:avLst/>
          </a:prstGeom>
          <a:noFill/>
        </p:spPr>
        <p:txBody>
          <a:bodyPr wrap="square" lIns="0" tIns="0" rIns="120000" bIns="0" rtlCol="0">
            <a:spAutoFit/>
          </a:bodyPr>
          <a:lstStyle/>
          <a:p>
            <a:pPr marL="0" marR="0" lvl="0" indent="0" algn="r" defTabSz="1219170" rtl="0" eaLnBrk="1" fontAlgn="auto" latinLnBrk="0" hangingPunct="1">
              <a:lnSpc>
                <a:spcPct val="100000"/>
              </a:lnSpc>
              <a:spcBef>
                <a:spcPts val="0"/>
              </a:spcBef>
              <a:spcAft>
                <a:spcPts val="0"/>
              </a:spcAft>
              <a:buClr>
                <a:srgbClr val="000000"/>
              </a:buClr>
              <a:buSzTx/>
              <a:buFont typeface="Arial"/>
              <a:buNone/>
              <a:tabLst/>
              <a:defRPr/>
            </a:pPr>
            <a:r>
              <a:rPr lang="en-US" sz="1200" b="0" i="0" dirty="0">
                <a:solidFill>
                  <a:srgbClr val="D79D41"/>
                </a:solidFill>
                <a:effectLst/>
                <a:latin typeface="Arial Narrow" panose="020B0606020202030204" pitchFamily="34" charset="0"/>
              </a:rPr>
              <a:t>Content of this presentation is copyright</a:t>
            </a:r>
            <a:r>
              <a:rPr lang="aa-ET" sz="1200" b="0" i="0" dirty="0">
                <a:solidFill>
                  <a:srgbClr val="D79D41"/>
                </a:solidFill>
                <a:effectLst/>
                <a:latin typeface="Arial Narrow" panose="020B0606020202030204" pitchFamily="34" charset="0"/>
              </a:rPr>
              <a:t> </a:t>
            </a:r>
            <a:r>
              <a:rPr lang="en-US" sz="1200" b="0" i="0" dirty="0">
                <a:solidFill>
                  <a:srgbClr val="D79D41"/>
                </a:solidFill>
                <a:effectLst/>
                <a:latin typeface="Arial Narrow" panose="020B0606020202030204" pitchFamily="34" charset="0"/>
              </a:rPr>
              <a:t>and responsibility of the author. Permission is required for re-use</a:t>
            </a:r>
            <a:r>
              <a:rPr lang="aa-ET" sz="1200" b="0" i="0" dirty="0">
                <a:solidFill>
                  <a:srgbClr val="D79D41"/>
                </a:solidFill>
                <a:effectLst/>
                <a:latin typeface="Arial Narrow" panose="020B0606020202030204" pitchFamily="34" charset="0"/>
              </a:rPr>
              <a:t>.</a:t>
            </a:r>
            <a:endParaRPr lang="en-US" sz="1200" b="0" i="0" dirty="0">
              <a:solidFill>
                <a:srgbClr val="D79D41"/>
              </a:solidFill>
              <a:effectLst/>
              <a:latin typeface="Arial Narrow" panose="020B0606020202030204" pitchFamily="34" charset="0"/>
            </a:endParaRPr>
          </a:p>
        </p:txBody>
      </p:sp>
      <p:sp>
        <p:nvSpPr>
          <p:cNvPr id="13" name="Google Shape;18;p14">
            <a:extLst>
              <a:ext uri="{FF2B5EF4-FFF2-40B4-BE49-F238E27FC236}">
                <a16:creationId xmlns:a16="http://schemas.microsoft.com/office/drawing/2014/main" id="{329DFE97-3C37-2843-919B-76136B9C9557}"/>
              </a:ext>
            </a:extLst>
          </p:cNvPr>
          <p:cNvSpPr txBox="1">
            <a:spLocks noGrp="1"/>
          </p:cNvSpPr>
          <p:nvPr>
            <p:ph type="ctrTitle"/>
          </p:nvPr>
        </p:nvSpPr>
        <p:spPr>
          <a:xfrm>
            <a:off x="479999" y="646992"/>
            <a:ext cx="11213020" cy="576000"/>
          </a:xfrm>
          <a:prstGeom prst="rect">
            <a:avLst/>
          </a:prstGeom>
          <a:noFill/>
          <a:ln>
            <a:noFill/>
          </a:ln>
        </p:spPr>
        <p:txBody>
          <a:bodyPr spcFirstLastPara="1" wrap="square" lIns="91425" tIns="45700" rIns="91425" bIns="45700" anchor="t" anchorCtr="0">
            <a:noAutofit/>
          </a:bodyPr>
          <a:lstStyle>
            <a:lvl1pPr marR="0" lvl="0" algn="l" rtl="0">
              <a:lnSpc>
                <a:spcPct val="80000"/>
              </a:lnSpc>
              <a:spcBef>
                <a:spcPts val="0"/>
              </a:spcBef>
              <a:spcAft>
                <a:spcPts val="0"/>
              </a:spcAft>
              <a:buClr>
                <a:srgbClr val="05416B"/>
              </a:buClr>
              <a:buSzPts val="1400"/>
              <a:buFont typeface="Arial"/>
              <a:buNone/>
              <a:defRPr sz="3733" b="1" i="0" u="none" strike="noStrike" cap="none">
                <a:solidFill>
                  <a:srgbClr val="2867AE"/>
                </a:solidFill>
                <a:latin typeface="Arial Narrow"/>
                <a:ea typeface="Arial Narrow"/>
                <a:cs typeface="Arial Narrow"/>
                <a:sym typeface="Arial Narrow"/>
              </a:defRPr>
            </a:lvl1pPr>
            <a:lvl2pPr marR="0" lvl="1"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2pPr>
            <a:lvl3pPr marR="0" lvl="2"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3pPr>
            <a:lvl4pPr marR="0" lvl="3"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4pPr>
            <a:lvl5pPr marR="0" lvl="4"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5pPr>
            <a:lvl6pPr marR="0" lvl="5"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6pPr>
            <a:lvl7pPr marR="0" lvl="6"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7pPr>
            <a:lvl8pPr marR="0" lvl="7"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8pPr>
            <a:lvl9pPr marR="0" lvl="8"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9pPr>
          </a:lstStyle>
          <a:p>
            <a:endParaRPr/>
          </a:p>
        </p:txBody>
      </p:sp>
      <p:sp>
        <p:nvSpPr>
          <p:cNvPr id="14" name="Google Shape;17;p14">
            <a:extLst>
              <a:ext uri="{FF2B5EF4-FFF2-40B4-BE49-F238E27FC236}">
                <a16:creationId xmlns:a16="http://schemas.microsoft.com/office/drawing/2014/main" id="{57D9B4DA-E208-4D4F-A1E1-2BB4BA0AFEC8}"/>
              </a:ext>
            </a:extLst>
          </p:cNvPr>
          <p:cNvSpPr txBox="1">
            <a:spLocks noGrp="1"/>
          </p:cNvSpPr>
          <p:nvPr>
            <p:ph type="body" idx="1"/>
          </p:nvPr>
        </p:nvSpPr>
        <p:spPr>
          <a:xfrm>
            <a:off x="489667" y="2152433"/>
            <a:ext cx="11213200" cy="3600000"/>
          </a:xfrm>
          <a:prstGeom prst="rect">
            <a:avLst/>
          </a:prstGeom>
          <a:noFill/>
          <a:ln>
            <a:noFill/>
          </a:ln>
        </p:spPr>
        <p:txBody>
          <a:bodyPr spcFirstLastPara="1" wrap="square" lIns="91425" tIns="45700" rIns="91425" bIns="45700" anchor="t" anchorCtr="0">
            <a:noAutofit/>
          </a:bodyPr>
          <a:lstStyle>
            <a:lvl1pPr marL="609585" marR="0" lvl="0" indent="-304792" algn="l" rtl="0">
              <a:lnSpc>
                <a:spcPct val="100000"/>
              </a:lnSpc>
              <a:spcBef>
                <a:spcPts val="427"/>
              </a:spcBef>
              <a:spcAft>
                <a:spcPts val="0"/>
              </a:spcAft>
              <a:buClr>
                <a:srgbClr val="05416B"/>
              </a:buClr>
              <a:buSzPts val="1600"/>
              <a:buFont typeface="Noto Sans Symbols"/>
              <a:buNone/>
              <a:defRPr sz="2133" b="0" i="0" u="none" strike="noStrike" cap="none">
                <a:solidFill>
                  <a:srgbClr val="05416B"/>
                </a:solidFill>
                <a:latin typeface="Arial Narrow"/>
                <a:ea typeface="Arial Narrow"/>
                <a:cs typeface="Arial Narrow"/>
                <a:sym typeface="Arial Narrow"/>
              </a:defRPr>
            </a:lvl1pPr>
            <a:lvl2pPr marL="1219170" marR="0" lvl="1" indent="-440256"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2pPr>
            <a:lvl3pPr marL="1828754" marR="0" lvl="2" indent="-440256"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3pPr>
            <a:lvl4pPr marL="2438339" marR="0" lvl="3"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4pPr>
            <a:lvl5pPr marL="3047924" marR="0" lvl="4"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5pPr>
            <a:lvl6pPr marL="3657509" marR="0" lvl="5"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6pPr>
            <a:lvl7pPr marL="4267093" marR="0" lvl="6"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7pPr>
            <a:lvl8pPr marL="4876678" marR="0" lvl="7"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8pPr>
            <a:lvl9pPr marL="5486263" marR="0" lvl="8"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9pPr>
          </a:lstStyle>
          <a:p>
            <a:endParaRPr/>
          </a:p>
        </p:txBody>
      </p:sp>
      <p:sp>
        <p:nvSpPr>
          <p:cNvPr id="10" name="Google Shape;17;p14">
            <a:extLst>
              <a:ext uri="{FF2B5EF4-FFF2-40B4-BE49-F238E27FC236}">
                <a16:creationId xmlns:a16="http://schemas.microsoft.com/office/drawing/2014/main" id="{32714771-AEB2-FE40-AD3E-E93DB8F4ADCD}"/>
              </a:ext>
            </a:extLst>
          </p:cNvPr>
          <p:cNvSpPr txBox="1">
            <a:spLocks noGrp="1"/>
          </p:cNvSpPr>
          <p:nvPr>
            <p:ph type="body" idx="12" hasCustomPrompt="1"/>
          </p:nvPr>
        </p:nvSpPr>
        <p:spPr>
          <a:xfrm>
            <a:off x="2362200" y="6099216"/>
            <a:ext cx="3201037" cy="240833"/>
          </a:xfrm>
          <a:prstGeom prst="rect">
            <a:avLst/>
          </a:prstGeom>
          <a:noFill/>
          <a:ln>
            <a:noFill/>
          </a:ln>
        </p:spPr>
        <p:txBody>
          <a:bodyPr spcFirstLastPara="1" vert="horz" wrap="square" lIns="0" tIns="0" rIns="0" bIns="0" anchor="ctr" anchorCtr="0">
            <a:spAutoFit/>
          </a:bodyPr>
          <a:lstStyle>
            <a:lvl1pPr marL="609585" marR="0" lvl="0" indent="-304792" algn="l" rtl="0">
              <a:lnSpc>
                <a:spcPct val="100000"/>
              </a:lnSpc>
              <a:spcBef>
                <a:spcPts val="427"/>
              </a:spcBef>
              <a:spcAft>
                <a:spcPts val="0"/>
              </a:spcAft>
              <a:buClr>
                <a:srgbClr val="05416B"/>
              </a:buClr>
              <a:buSzPts val="1600"/>
              <a:buFont typeface="Noto Sans Symbols"/>
              <a:buNone/>
              <a:defRPr sz="1200" b="1" i="0" u="none" strike="noStrike" cap="none">
                <a:solidFill>
                  <a:srgbClr val="D79D41"/>
                </a:solidFill>
                <a:latin typeface="Arial Narrow"/>
                <a:ea typeface="Arial Narrow"/>
                <a:cs typeface="Arial Narrow"/>
                <a:sym typeface="Arial Narrow"/>
              </a:defRPr>
            </a:lvl1pPr>
            <a:lvl2pPr marL="1219170" marR="0" lvl="1" indent="-440256"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2pPr>
            <a:lvl3pPr marL="1828754" marR="0" lvl="2" indent="-440256"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3pPr>
            <a:lvl4pPr marL="2438339" marR="0" lvl="3"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4pPr>
            <a:lvl5pPr marL="3047924" marR="0" lvl="4"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5pPr>
            <a:lvl6pPr marL="3657509" marR="0" lvl="5"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6pPr>
            <a:lvl7pPr marL="4267093" marR="0" lvl="6"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7pPr>
            <a:lvl8pPr marL="4876678" marR="0" lvl="7"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8pPr>
            <a:lvl9pPr marL="5486263" marR="0" lvl="8"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9pPr>
          </a:lstStyle>
          <a:p>
            <a:r>
              <a:rPr lang="fr-CH" dirty="0" err="1"/>
              <a:t>Add</a:t>
            </a:r>
            <a:r>
              <a:rPr lang="fr-CH" dirty="0"/>
              <a:t> </a:t>
            </a:r>
            <a:r>
              <a:rPr lang="fr-CH" dirty="0" err="1"/>
              <a:t>name</a:t>
            </a:r>
            <a:r>
              <a:rPr lang="fr-CH" dirty="0"/>
              <a:t> of </a:t>
            </a:r>
            <a:r>
              <a:rPr lang="fr-CH" dirty="0" err="1"/>
              <a:t>presenter</a:t>
            </a:r>
            <a:r>
              <a:rPr lang="fr-CH" dirty="0"/>
              <a:t> </a:t>
            </a:r>
            <a:r>
              <a:rPr lang="fr-CH" dirty="0" err="1"/>
              <a:t>here</a:t>
            </a:r>
            <a:endParaRPr dirty="0"/>
          </a:p>
        </p:txBody>
      </p:sp>
      <p:pic>
        <p:nvPicPr>
          <p:cNvPr id="8" name="Picture 7">
            <a:extLst>
              <a:ext uri="{FF2B5EF4-FFF2-40B4-BE49-F238E27FC236}">
                <a16:creationId xmlns:a16="http://schemas.microsoft.com/office/drawing/2014/main" id="{E5447CB9-6489-4CA7-B0F4-BE2F567B79F6}"/>
              </a:ext>
            </a:extLst>
          </p:cNvPr>
          <p:cNvPicPr>
            <a:picLocks noChangeAspect="1"/>
          </p:cNvPicPr>
          <p:nvPr userDrawn="1"/>
        </p:nvPicPr>
        <p:blipFill>
          <a:blip r:embed="rId2"/>
          <a:stretch>
            <a:fillRect/>
          </a:stretch>
        </p:blipFill>
        <p:spPr>
          <a:xfrm>
            <a:off x="478367" y="5932325"/>
            <a:ext cx="1659092" cy="333781"/>
          </a:xfrm>
          <a:prstGeom prst="rect">
            <a:avLst/>
          </a:prstGeom>
        </p:spPr>
      </p:pic>
    </p:spTree>
    <p:extLst>
      <p:ext uri="{BB962C8B-B14F-4D97-AF65-F5344CB8AC3E}">
        <p14:creationId xmlns:p14="http://schemas.microsoft.com/office/powerpoint/2010/main" val="77168128"/>
      </p:ext>
    </p:extLst>
  </p:cSld>
  <p:clrMapOvr>
    <a:masterClrMapping/>
  </p:clrMapOvr>
  <p:extLst>
    <p:ext uri="{DCECCB84-F9BA-43D5-87BE-67443E8EF086}">
      <p15:sldGuideLst xmlns:p15="http://schemas.microsoft.com/office/powerpoint/2012/main">
        <p15:guide id="2" orient="horz" pos="2935">
          <p15:clr>
            <a:srgbClr val="FBAE40"/>
          </p15:clr>
        </p15:guide>
        <p15:guide id="3" orient="horz" pos="3094">
          <p15:clr>
            <a:srgbClr val="FBAE40"/>
          </p15:clr>
        </p15:guide>
        <p15:guide id="4" pos="226">
          <p15:clr>
            <a:srgbClr val="FBAE40"/>
          </p15:clr>
        </p15:guide>
        <p15:guide id="5" pos="5534">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11718" y="786384"/>
            <a:ext cx="10979149" cy="2239920"/>
          </a:xfrm>
        </p:spPr>
        <p:txBody>
          <a:bodyPr lIns="0" tIns="0" rIns="0" bIns="0">
            <a:normAutofit/>
          </a:bodyPr>
          <a:lstStyle>
            <a:lvl1pPr>
              <a:lnSpc>
                <a:spcPct val="90000"/>
              </a:lnSpc>
              <a:defRPr sz="4000" b="0" cap="none" spc="131">
                <a:solidFill>
                  <a:schemeClr val="bg1"/>
                </a:solidFill>
                <a:latin typeface="Arial" panose="020B0604020202020204" pitchFamily="34" charset="0"/>
                <a:cs typeface="Arial" panose="020B0604020202020204" pitchFamily="34" charset="0"/>
              </a:defRPr>
            </a:lvl1pPr>
          </a:lstStyle>
          <a:p>
            <a:r>
              <a:rPr lang="en-US" dirty="0"/>
              <a:t>&lt;Insert Title&gt;</a:t>
            </a:r>
          </a:p>
        </p:txBody>
      </p:sp>
      <p:sp>
        <p:nvSpPr>
          <p:cNvPr id="3" name="Subtitle 2"/>
          <p:cNvSpPr>
            <a:spLocks noGrp="1"/>
          </p:cNvSpPr>
          <p:nvPr>
            <p:ph type="subTitle" idx="1" hasCustomPrompt="1"/>
          </p:nvPr>
        </p:nvSpPr>
        <p:spPr>
          <a:xfrm>
            <a:off x="611718" y="4647764"/>
            <a:ext cx="10979148" cy="924363"/>
          </a:xfrm>
          <a:prstGeom prst="rect">
            <a:avLst/>
          </a:prstGeom>
        </p:spPr>
        <p:txBody>
          <a:bodyPr lIns="0" tIns="0" rIns="0" bIns="0">
            <a:normAutofit/>
          </a:bodyPr>
          <a:lstStyle>
            <a:lvl1pPr marL="0" indent="0" algn="l">
              <a:lnSpc>
                <a:spcPct val="90000"/>
              </a:lnSpc>
              <a:spcBef>
                <a:spcPts val="1200"/>
              </a:spcBef>
              <a:buNone/>
              <a:defRPr sz="1800" spc="31" baseline="0">
                <a:solidFill>
                  <a:schemeClr val="bg1"/>
                </a:solidFill>
              </a:defRPr>
            </a:lvl1pPr>
            <a:lvl2pPr marL="457250" indent="0" algn="ctr">
              <a:buNone/>
              <a:defRPr>
                <a:solidFill>
                  <a:schemeClr val="tx1">
                    <a:tint val="75000"/>
                  </a:schemeClr>
                </a:solidFill>
              </a:defRPr>
            </a:lvl2pPr>
            <a:lvl3pPr marL="914498" indent="0" algn="ctr">
              <a:buNone/>
              <a:defRPr>
                <a:solidFill>
                  <a:schemeClr val="tx1">
                    <a:tint val="75000"/>
                  </a:schemeClr>
                </a:solidFill>
              </a:defRPr>
            </a:lvl3pPr>
            <a:lvl4pPr marL="1371748" indent="0" algn="ctr">
              <a:buNone/>
              <a:defRPr>
                <a:solidFill>
                  <a:schemeClr val="tx1">
                    <a:tint val="75000"/>
                  </a:schemeClr>
                </a:solidFill>
              </a:defRPr>
            </a:lvl4pPr>
            <a:lvl5pPr marL="1828998" indent="0" algn="ctr">
              <a:buNone/>
              <a:defRPr>
                <a:solidFill>
                  <a:schemeClr val="tx1">
                    <a:tint val="75000"/>
                  </a:schemeClr>
                </a:solidFill>
              </a:defRPr>
            </a:lvl5pPr>
            <a:lvl6pPr marL="2286248" indent="0" algn="ctr">
              <a:buNone/>
              <a:defRPr>
                <a:solidFill>
                  <a:schemeClr val="tx1">
                    <a:tint val="75000"/>
                  </a:schemeClr>
                </a:solidFill>
              </a:defRPr>
            </a:lvl6pPr>
            <a:lvl7pPr marL="2743497" indent="0" algn="ctr">
              <a:buNone/>
              <a:defRPr>
                <a:solidFill>
                  <a:schemeClr val="tx1">
                    <a:tint val="75000"/>
                  </a:schemeClr>
                </a:solidFill>
              </a:defRPr>
            </a:lvl7pPr>
            <a:lvl8pPr marL="3200747" indent="0" algn="ctr">
              <a:buNone/>
              <a:defRPr>
                <a:solidFill>
                  <a:schemeClr val="tx1">
                    <a:tint val="75000"/>
                  </a:schemeClr>
                </a:solidFill>
              </a:defRPr>
            </a:lvl8pPr>
            <a:lvl9pPr marL="3657997" indent="0" algn="ctr">
              <a:buNone/>
              <a:defRPr>
                <a:solidFill>
                  <a:schemeClr val="tx1">
                    <a:tint val="75000"/>
                  </a:schemeClr>
                </a:solidFill>
              </a:defRPr>
            </a:lvl9pPr>
          </a:lstStyle>
          <a:p>
            <a:r>
              <a:rPr lang="en-US" dirty="0"/>
              <a:t>&lt;Affiliations&gt;</a:t>
            </a:r>
          </a:p>
        </p:txBody>
      </p:sp>
      <p:sp>
        <p:nvSpPr>
          <p:cNvPr id="9" name="Text Placeholder 8"/>
          <p:cNvSpPr>
            <a:spLocks noGrp="1"/>
          </p:cNvSpPr>
          <p:nvPr>
            <p:ph type="body" sz="quarter" idx="13" hasCustomPrompt="1"/>
          </p:nvPr>
        </p:nvSpPr>
        <p:spPr>
          <a:xfrm>
            <a:off x="611718" y="3409276"/>
            <a:ext cx="10979149" cy="1227813"/>
          </a:xfrm>
          <a:prstGeom prst="rect">
            <a:avLst/>
          </a:prstGeom>
        </p:spPr>
        <p:txBody>
          <a:bodyPr lIns="0" tIns="0" rIns="0" bIns="0">
            <a:noAutofit/>
          </a:bodyPr>
          <a:lstStyle>
            <a:lvl1pPr marL="0" indent="0">
              <a:buNone/>
              <a:defRPr sz="2400" b="0" spc="31">
                <a:solidFill>
                  <a:schemeClr val="bg1"/>
                </a:solidFill>
                <a:latin typeface="Arial" panose="020B0604020202020204" pitchFamily="34" charset="0"/>
                <a:cs typeface="Arial" panose="020B0604020202020204" pitchFamily="34" charset="0"/>
              </a:defRPr>
            </a:lvl1pPr>
            <a:lvl2pPr>
              <a:defRPr sz="1467"/>
            </a:lvl2pPr>
            <a:lvl3pPr>
              <a:defRPr sz="1467"/>
            </a:lvl3pPr>
            <a:lvl4pPr>
              <a:defRPr sz="1467"/>
            </a:lvl4pPr>
            <a:lvl5pPr>
              <a:defRPr sz="1467"/>
            </a:lvl5pPr>
          </a:lstStyle>
          <a:p>
            <a:pPr lvl="0"/>
            <a:r>
              <a:rPr lang="en-US" dirty="0"/>
              <a:t>&lt;Authors&gt;</a:t>
            </a:r>
          </a:p>
        </p:txBody>
      </p:sp>
      <p:sp>
        <p:nvSpPr>
          <p:cNvPr id="7" name="Text Placeholder 4">
            <a:extLst>
              <a:ext uri="{FF2B5EF4-FFF2-40B4-BE49-F238E27FC236}">
                <a16:creationId xmlns:a16="http://schemas.microsoft.com/office/drawing/2014/main" id="{D2571DC2-D6A3-4185-B1A8-3DB7ADC1CFEA}"/>
              </a:ext>
            </a:extLst>
          </p:cNvPr>
          <p:cNvSpPr>
            <a:spLocks noGrp="1"/>
          </p:cNvSpPr>
          <p:nvPr>
            <p:ph type="body" sz="quarter" idx="15" hasCustomPrompt="1"/>
          </p:nvPr>
        </p:nvSpPr>
        <p:spPr>
          <a:xfrm>
            <a:off x="7620000" y="-1"/>
            <a:ext cx="4572000" cy="252239"/>
          </a:xfrm>
        </p:spPr>
        <p:txBody>
          <a:bodyPr tIns="45720" rIns="137160">
            <a:noAutofit/>
          </a:bodyPr>
          <a:lstStyle>
            <a:lvl1pPr marL="0" indent="0" algn="r">
              <a:buFontTx/>
              <a:buNone/>
              <a:defRPr sz="1200">
                <a:solidFill>
                  <a:schemeClr val="bg1"/>
                </a:solidFill>
                <a:latin typeface="Arial Narrow" panose="020B0606020202030204" pitchFamily="34" charset="0"/>
              </a:defRPr>
            </a:lvl1pPr>
            <a:lvl2pPr marL="609584" indent="0">
              <a:buFontTx/>
              <a:buNone/>
              <a:defRPr/>
            </a:lvl2pPr>
            <a:lvl3pPr marL="1217052" indent="0">
              <a:buFontTx/>
              <a:buNone/>
              <a:defRPr/>
            </a:lvl3pPr>
            <a:lvl4pPr marL="1680591" indent="0">
              <a:buFontTx/>
              <a:buNone/>
              <a:defRPr/>
            </a:lvl4pPr>
            <a:lvl5pPr marL="2142013" indent="0">
              <a:buFontTx/>
              <a:buNone/>
              <a:defRPr/>
            </a:lvl5pPr>
          </a:lstStyle>
          <a:p>
            <a:pPr lvl="0"/>
            <a:r>
              <a:rPr lang="en-US" dirty="0"/>
              <a:t>Label for locking</a:t>
            </a:r>
          </a:p>
        </p:txBody>
      </p:sp>
    </p:spTree>
    <p:extLst>
      <p:ext uri="{BB962C8B-B14F-4D97-AF65-F5344CB8AC3E}">
        <p14:creationId xmlns:p14="http://schemas.microsoft.com/office/powerpoint/2010/main" val="1292119840"/>
      </p:ext>
    </p:extLst>
  </p:cSld>
  <p:clrMapOvr>
    <a:masterClrMapping/>
  </p:clrMapOvr>
  <p:hf hdr="0" dt="0"/>
  <p:extLst>
    <p:ext uri="{DCECCB84-F9BA-43D5-87BE-67443E8EF086}">
      <p15:sldGuideLst xmlns:p15="http://schemas.microsoft.com/office/powerpoint/2012/main">
        <p15:guide id="3" orient="horz" pos="480">
          <p15:clr>
            <a:srgbClr val="FBAE40"/>
          </p15:clr>
        </p15:guide>
        <p15:guide id="4" orient="horz" pos="4056">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Text &amp;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7825" y="313267"/>
            <a:ext cx="11436349" cy="914660"/>
          </a:xfrm>
        </p:spPr>
        <p:txBody>
          <a:bodyPr lIns="0" tIns="0" rIns="0" bIns="45720" anchor="b">
            <a:normAutofit/>
          </a:bodyPr>
          <a:lstStyle>
            <a:lvl1pPr>
              <a:defRPr sz="3600" b="0">
                <a:solidFill>
                  <a:schemeClr val="tx1"/>
                </a:solidFill>
                <a:latin typeface="Arial" panose="020B0604020202020204" pitchFamily="34" charset="0"/>
                <a:cs typeface="Arial" panose="020B0604020202020204" pitchFamily="34" charset="0"/>
              </a:defRPr>
            </a:lvl1pPr>
          </a:lstStyle>
          <a:p>
            <a:r>
              <a:rPr lang="en-US" dirty="0"/>
              <a:t>&lt;Slide Title&gt;</a:t>
            </a:r>
          </a:p>
        </p:txBody>
      </p:sp>
      <p:sp>
        <p:nvSpPr>
          <p:cNvPr id="3" name="Content Placeholder 2"/>
          <p:cNvSpPr>
            <a:spLocks noGrp="1"/>
          </p:cNvSpPr>
          <p:nvPr>
            <p:ph idx="1"/>
          </p:nvPr>
        </p:nvSpPr>
        <p:spPr>
          <a:xfrm>
            <a:off x="377826" y="1598085"/>
            <a:ext cx="11436348" cy="4482044"/>
          </a:xfrm>
          <a:prstGeom prst="rect">
            <a:avLst/>
          </a:prstGeom>
        </p:spPr>
        <p:txBody>
          <a:bodyPr lIns="0" tIns="0" rIns="0" bIns="0">
            <a:normAutofit/>
          </a:bodyPr>
          <a:lstStyle>
            <a:lvl1pPr>
              <a:lnSpc>
                <a:spcPct val="100000"/>
              </a:lnSpc>
              <a:spcBef>
                <a:spcPts val="0"/>
              </a:spcBef>
              <a:defRPr sz="2400">
                <a:solidFill>
                  <a:schemeClr val="tx1"/>
                </a:solidFill>
                <a:latin typeface="Arial" panose="020B0604020202020204" pitchFamily="34" charset="0"/>
                <a:cs typeface="Arial" panose="020B0604020202020204" pitchFamily="34" charset="0"/>
              </a:defRPr>
            </a:lvl1pPr>
            <a:lvl2pPr marL="829035" indent="-219451">
              <a:lnSpc>
                <a:spcPct val="100000"/>
              </a:lnSpc>
              <a:spcBef>
                <a:spcPts val="0"/>
              </a:spcBef>
              <a:buClr>
                <a:srgbClr val="00857C"/>
              </a:buClr>
              <a:buSzPct val="100000"/>
              <a:buFont typeface="Arial Narrow" panose="020B0606020202030204" pitchFamily="34" charset="0"/>
              <a:buChar char="–"/>
              <a:defRPr sz="2000">
                <a:solidFill>
                  <a:schemeClr val="tx1"/>
                </a:solidFill>
                <a:latin typeface="Arial" panose="020B0604020202020204" pitchFamily="34" charset="0"/>
                <a:cs typeface="Arial" panose="020B0604020202020204" pitchFamily="34" charset="0"/>
              </a:defRPr>
            </a:lvl2pPr>
            <a:lvl3pPr marL="1377662" indent="-158492">
              <a:lnSpc>
                <a:spcPct val="100000"/>
              </a:lnSpc>
              <a:spcBef>
                <a:spcPts val="0"/>
              </a:spcBef>
              <a:buClr>
                <a:srgbClr val="00857C"/>
              </a:buClr>
              <a:buFont typeface="Wingdings" panose="05000000000000000000" pitchFamily="2" charset="2"/>
              <a:buChar char="§"/>
              <a:defRPr sz="1800">
                <a:solidFill>
                  <a:schemeClr val="tx1"/>
                </a:solidFill>
                <a:latin typeface="Arial" panose="020B0604020202020204" pitchFamily="34" charset="0"/>
                <a:cs typeface="Arial" panose="020B0604020202020204" pitchFamily="34" charset="0"/>
              </a:defRPr>
            </a:lvl3pPr>
            <a:lvl4pPr marL="1828754" indent="-156629">
              <a:lnSpc>
                <a:spcPct val="100000"/>
              </a:lnSpc>
              <a:spcBef>
                <a:spcPts val="0"/>
              </a:spcBef>
              <a:buSzPct val="100000"/>
              <a:tabLst/>
              <a:defRPr sz="1600">
                <a:solidFill>
                  <a:schemeClr val="tx1"/>
                </a:solidFill>
                <a:latin typeface="Arial" panose="020B0604020202020204" pitchFamily="34" charset="0"/>
                <a:cs typeface="Arial" panose="020B0604020202020204" pitchFamily="34" charset="0"/>
              </a:defRPr>
            </a:lvl4pPr>
            <a:lvl5pPr marL="2438339">
              <a:lnSpc>
                <a:spcPct val="100000"/>
              </a:lnSpc>
              <a:spcBef>
                <a:spcPts val="0"/>
              </a:spcBef>
              <a:defRPr sz="1400">
                <a:solidFill>
                  <a:schemeClr val="tx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0" name="Straight Connector 9">
            <a:extLst>
              <a:ext uri="{FF2B5EF4-FFF2-40B4-BE49-F238E27FC236}">
                <a16:creationId xmlns:a16="http://schemas.microsoft.com/office/drawing/2014/main" id="{A0D126F0-0D23-46CA-BFB7-A1BFB0B90603}"/>
              </a:ext>
            </a:extLst>
          </p:cNvPr>
          <p:cNvCxnSpPr/>
          <p:nvPr/>
        </p:nvCxnSpPr>
        <p:spPr>
          <a:xfrm>
            <a:off x="377825" y="1227932"/>
            <a:ext cx="11436350" cy="0"/>
          </a:xfrm>
          <a:prstGeom prst="line">
            <a:avLst/>
          </a:prstGeom>
          <a:ln w="31750">
            <a:solidFill>
              <a:schemeClr val="tx2"/>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6CFC96CB-0B90-4F97-BEB8-48B483269B75}"/>
              </a:ext>
            </a:extLst>
          </p:cNvPr>
          <p:cNvSpPr>
            <a:spLocks noGrp="1"/>
          </p:cNvSpPr>
          <p:nvPr>
            <p:ph type="body" sz="quarter" idx="15" hasCustomPrompt="1"/>
          </p:nvPr>
        </p:nvSpPr>
        <p:spPr>
          <a:xfrm>
            <a:off x="7620000" y="-1"/>
            <a:ext cx="4572000" cy="252239"/>
          </a:xfrm>
        </p:spPr>
        <p:txBody>
          <a:bodyPr tIns="45720" rIns="137160">
            <a:noAutofit/>
          </a:bodyPr>
          <a:lstStyle>
            <a:lvl1pPr marL="0" indent="0" algn="r">
              <a:buFontTx/>
              <a:buNone/>
              <a:defRPr sz="1200">
                <a:latin typeface="Arial Narrow" panose="020B0606020202030204" pitchFamily="34" charset="0"/>
              </a:defRPr>
            </a:lvl1pPr>
            <a:lvl2pPr marL="609584" indent="0">
              <a:buFontTx/>
              <a:buNone/>
              <a:defRPr/>
            </a:lvl2pPr>
            <a:lvl3pPr marL="1217052" indent="0">
              <a:buFontTx/>
              <a:buNone/>
              <a:defRPr/>
            </a:lvl3pPr>
            <a:lvl4pPr marL="1680591" indent="0">
              <a:buFontTx/>
              <a:buNone/>
              <a:defRPr/>
            </a:lvl4pPr>
            <a:lvl5pPr marL="2142013" indent="0">
              <a:buFontTx/>
              <a:buNone/>
              <a:defRPr/>
            </a:lvl5pPr>
          </a:lstStyle>
          <a:p>
            <a:pPr lvl="0"/>
            <a:r>
              <a:rPr lang="en-US" dirty="0"/>
              <a:t>Label for locking</a:t>
            </a:r>
          </a:p>
        </p:txBody>
      </p:sp>
      <p:sp>
        <p:nvSpPr>
          <p:cNvPr id="8" name="Footer Placeholder 2">
            <a:extLst>
              <a:ext uri="{FF2B5EF4-FFF2-40B4-BE49-F238E27FC236}">
                <a16:creationId xmlns:a16="http://schemas.microsoft.com/office/drawing/2014/main" id="{57B7DAE8-9A88-41ED-9152-A2693AB22A3F}"/>
              </a:ext>
            </a:extLst>
          </p:cNvPr>
          <p:cNvSpPr>
            <a:spLocks noGrp="1"/>
          </p:cNvSpPr>
          <p:nvPr>
            <p:ph type="ftr" sz="quarter" idx="3"/>
          </p:nvPr>
        </p:nvSpPr>
        <p:spPr>
          <a:xfrm>
            <a:off x="-2" y="6356350"/>
            <a:ext cx="12192001" cy="501650"/>
          </a:xfrm>
          <a:prstGeom prst="rect">
            <a:avLst/>
          </a:prstGeom>
        </p:spPr>
        <p:txBody>
          <a:bodyPr vert="horz" lIns="137160" tIns="0" rIns="137160" bIns="91440" rtlCol="0" anchor="b" anchorCtr="0"/>
          <a:lstStyle>
            <a:lvl1pPr algn="l">
              <a:defRPr sz="1000">
                <a:solidFill>
                  <a:schemeClr val="tx1"/>
                </a:solidFill>
                <a:latin typeface="Arial Narrow" panose="020B0606020202030204" pitchFamily="34" charset="0"/>
              </a:defRPr>
            </a:lvl1pPr>
          </a:lstStyle>
          <a:p>
            <a:endParaRPr lang="en-US" dirty="0"/>
          </a:p>
        </p:txBody>
      </p:sp>
      <p:cxnSp>
        <p:nvCxnSpPr>
          <p:cNvPr id="7" name="Straight Connector 6">
            <a:extLst>
              <a:ext uri="{FF2B5EF4-FFF2-40B4-BE49-F238E27FC236}">
                <a16:creationId xmlns:a16="http://schemas.microsoft.com/office/drawing/2014/main" id="{7BFEA7A5-3F17-415D-9FE7-A1C5710216A2}"/>
              </a:ext>
            </a:extLst>
          </p:cNvPr>
          <p:cNvCxnSpPr/>
          <p:nvPr userDrawn="1"/>
        </p:nvCxnSpPr>
        <p:spPr>
          <a:xfrm>
            <a:off x="377825" y="1227932"/>
            <a:ext cx="11436350" cy="0"/>
          </a:xfrm>
          <a:prstGeom prst="line">
            <a:avLst/>
          </a:prstGeom>
          <a:ln w="317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01646989"/>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2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7825" y="313267"/>
            <a:ext cx="11436349" cy="914660"/>
          </a:xfrm>
        </p:spPr>
        <p:txBody>
          <a:bodyPr lIns="0" tIns="0" rIns="0" bIns="45720" anchor="b">
            <a:normAutofit/>
          </a:bodyPr>
          <a:lstStyle>
            <a:lvl1pPr>
              <a:defRPr sz="3600" b="0">
                <a:solidFill>
                  <a:schemeClr val="tx1"/>
                </a:solidFill>
                <a:latin typeface="Arial" panose="020B0604020202020204" pitchFamily="34" charset="0"/>
                <a:cs typeface="Arial" panose="020B0604020202020204" pitchFamily="34" charset="0"/>
              </a:defRPr>
            </a:lvl1pPr>
          </a:lstStyle>
          <a:p>
            <a:r>
              <a:rPr lang="en-US" dirty="0"/>
              <a:t>&lt;Slide Title&gt;</a:t>
            </a:r>
          </a:p>
        </p:txBody>
      </p:sp>
      <p:cxnSp>
        <p:nvCxnSpPr>
          <p:cNvPr id="10" name="Straight Connector 9">
            <a:extLst>
              <a:ext uri="{FF2B5EF4-FFF2-40B4-BE49-F238E27FC236}">
                <a16:creationId xmlns:a16="http://schemas.microsoft.com/office/drawing/2014/main" id="{A0D126F0-0D23-46CA-BFB7-A1BFB0B90603}"/>
              </a:ext>
            </a:extLst>
          </p:cNvPr>
          <p:cNvCxnSpPr/>
          <p:nvPr/>
        </p:nvCxnSpPr>
        <p:spPr>
          <a:xfrm>
            <a:off x="377825" y="1227932"/>
            <a:ext cx="11436350" cy="0"/>
          </a:xfrm>
          <a:prstGeom prst="line">
            <a:avLst/>
          </a:prstGeom>
          <a:ln w="31750">
            <a:solidFill>
              <a:srgbClr val="00857C"/>
            </a:solidFill>
          </a:ln>
        </p:spPr>
        <p:style>
          <a:lnRef idx="1">
            <a:schemeClr val="accent1"/>
          </a:lnRef>
          <a:fillRef idx="0">
            <a:schemeClr val="accent1"/>
          </a:fillRef>
          <a:effectRef idx="0">
            <a:schemeClr val="accent1"/>
          </a:effectRef>
          <a:fontRef idx="minor">
            <a:schemeClr val="tx1"/>
          </a:fontRef>
        </p:style>
      </p:cxnSp>
      <p:sp>
        <p:nvSpPr>
          <p:cNvPr id="12" name="Text Placeholder 4">
            <a:extLst>
              <a:ext uri="{FF2B5EF4-FFF2-40B4-BE49-F238E27FC236}">
                <a16:creationId xmlns:a16="http://schemas.microsoft.com/office/drawing/2014/main" id="{E3D41DD0-2BAD-40ED-B59C-AAADB26A054A}"/>
              </a:ext>
            </a:extLst>
          </p:cNvPr>
          <p:cNvSpPr>
            <a:spLocks noGrp="1"/>
          </p:cNvSpPr>
          <p:nvPr>
            <p:ph type="body" sz="quarter" idx="15" hasCustomPrompt="1"/>
          </p:nvPr>
        </p:nvSpPr>
        <p:spPr>
          <a:xfrm>
            <a:off x="7620000" y="-1"/>
            <a:ext cx="4572000" cy="252239"/>
          </a:xfrm>
        </p:spPr>
        <p:txBody>
          <a:bodyPr tIns="45720" rIns="137160">
            <a:noAutofit/>
          </a:bodyPr>
          <a:lstStyle>
            <a:lvl1pPr marL="0" indent="0" algn="r">
              <a:buFontTx/>
              <a:buNone/>
              <a:defRPr sz="1200">
                <a:latin typeface="Arial Narrow" panose="020B0606020202030204" pitchFamily="34" charset="0"/>
              </a:defRPr>
            </a:lvl1pPr>
            <a:lvl2pPr marL="609584" indent="0">
              <a:buFontTx/>
              <a:buNone/>
              <a:defRPr/>
            </a:lvl2pPr>
            <a:lvl3pPr marL="1217052" indent="0">
              <a:buFontTx/>
              <a:buNone/>
              <a:defRPr/>
            </a:lvl3pPr>
            <a:lvl4pPr marL="1680591" indent="0">
              <a:buFontTx/>
              <a:buNone/>
              <a:defRPr/>
            </a:lvl4pPr>
            <a:lvl5pPr marL="2142013" indent="0">
              <a:buFontTx/>
              <a:buNone/>
              <a:defRPr/>
            </a:lvl5pPr>
          </a:lstStyle>
          <a:p>
            <a:pPr lvl="0"/>
            <a:r>
              <a:rPr lang="en-US" dirty="0"/>
              <a:t>Label for locking</a:t>
            </a:r>
          </a:p>
        </p:txBody>
      </p:sp>
      <p:sp>
        <p:nvSpPr>
          <p:cNvPr id="7" name="Footer Placeholder 2">
            <a:extLst>
              <a:ext uri="{FF2B5EF4-FFF2-40B4-BE49-F238E27FC236}">
                <a16:creationId xmlns:a16="http://schemas.microsoft.com/office/drawing/2014/main" id="{922FE14F-A39F-4BF4-8EAE-B628F105CC12}"/>
              </a:ext>
            </a:extLst>
          </p:cNvPr>
          <p:cNvSpPr>
            <a:spLocks noGrp="1"/>
          </p:cNvSpPr>
          <p:nvPr>
            <p:ph type="ftr" sz="quarter" idx="3"/>
          </p:nvPr>
        </p:nvSpPr>
        <p:spPr>
          <a:xfrm>
            <a:off x="-2" y="6356350"/>
            <a:ext cx="12192001" cy="501650"/>
          </a:xfrm>
          <a:prstGeom prst="rect">
            <a:avLst/>
          </a:prstGeom>
        </p:spPr>
        <p:txBody>
          <a:bodyPr vert="horz" lIns="137160" tIns="0" rIns="137160" bIns="91440" rtlCol="0" anchor="b" anchorCtr="0"/>
          <a:lstStyle>
            <a:lvl1pPr algn="l">
              <a:defRPr sz="1000">
                <a:solidFill>
                  <a:schemeClr val="tx1"/>
                </a:solidFill>
                <a:latin typeface="Arial Narrow" panose="020B0606020202030204" pitchFamily="34" charset="0"/>
              </a:defRPr>
            </a:lvl1pPr>
          </a:lstStyle>
          <a:p>
            <a:endParaRPr lang="en-US" dirty="0"/>
          </a:p>
        </p:txBody>
      </p:sp>
      <p:cxnSp>
        <p:nvCxnSpPr>
          <p:cNvPr id="6" name="Straight Connector 5">
            <a:extLst>
              <a:ext uri="{FF2B5EF4-FFF2-40B4-BE49-F238E27FC236}">
                <a16:creationId xmlns:a16="http://schemas.microsoft.com/office/drawing/2014/main" id="{4EB9C006-BCA4-4C80-8B88-4E082E8ECFF4}"/>
              </a:ext>
            </a:extLst>
          </p:cNvPr>
          <p:cNvCxnSpPr/>
          <p:nvPr userDrawn="1"/>
        </p:nvCxnSpPr>
        <p:spPr>
          <a:xfrm>
            <a:off x="377825" y="1227932"/>
            <a:ext cx="11436350" cy="0"/>
          </a:xfrm>
          <a:prstGeom prst="line">
            <a:avLst/>
          </a:prstGeom>
          <a:ln w="31750">
            <a:solidFill>
              <a:srgbClr val="00857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78812584"/>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2-column">
    <p:spTree>
      <p:nvGrpSpPr>
        <p:cNvPr id="1" name=""/>
        <p:cNvGrpSpPr/>
        <p:nvPr/>
      </p:nvGrpSpPr>
      <p:grpSpPr>
        <a:xfrm>
          <a:off x="0" y="0"/>
          <a:ext cx="0" cy="0"/>
          <a:chOff x="0" y="0"/>
          <a:chExt cx="0" cy="0"/>
        </a:xfrm>
      </p:grpSpPr>
      <p:sp>
        <p:nvSpPr>
          <p:cNvPr id="12" name="Content Placeholder 2"/>
          <p:cNvSpPr>
            <a:spLocks noGrp="1"/>
          </p:cNvSpPr>
          <p:nvPr>
            <p:ph idx="13"/>
          </p:nvPr>
        </p:nvSpPr>
        <p:spPr>
          <a:xfrm>
            <a:off x="381001" y="1598085"/>
            <a:ext cx="5514564" cy="4482044"/>
          </a:xfrm>
          <a:prstGeom prst="rect">
            <a:avLst/>
          </a:prstGeom>
        </p:spPr>
        <p:txBody>
          <a:bodyPr lIns="0" tIns="0" rIns="0" bIns="0"/>
          <a:lstStyle>
            <a:lvl1pPr>
              <a:spcBef>
                <a:spcPts val="1200"/>
              </a:spcBef>
              <a:defRPr/>
            </a:lvl1pPr>
            <a:lvl2pPr marL="460424" indent="-233389">
              <a:buFont typeface="Arial Narrow" panose="020B0606020202030204" pitchFamily="34" charset="0"/>
              <a:buChar char="–"/>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2"/>
          <p:cNvSpPr>
            <a:spLocks noGrp="1"/>
          </p:cNvSpPr>
          <p:nvPr>
            <p:ph idx="1"/>
          </p:nvPr>
        </p:nvSpPr>
        <p:spPr>
          <a:xfrm>
            <a:off x="6307016" y="1598085"/>
            <a:ext cx="5514564" cy="4482044"/>
          </a:xfrm>
          <a:prstGeom prst="rect">
            <a:avLst/>
          </a:prstGeom>
        </p:spPr>
        <p:txBody>
          <a:bodyPr lIns="0" tIns="0" rIns="0" bIns="0"/>
          <a:lstStyle>
            <a:lvl1pPr>
              <a:spcBef>
                <a:spcPts val="1200"/>
              </a:spcBef>
              <a:defRPr/>
            </a:lvl1pPr>
            <a:lvl2pPr marL="460424" indent="-233389">
              <a:buFont typeface="Arial Narrow" panose="020B0606020202030204" pitchFamily="34" charset="0"/>
              <a:buChar char="–"/>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3" name="Straight Connector 12">
            <a:extLst>
              <a:ext uri="{FF2B5EF4-FFF2-40B4-BE49-F238E27FC236}">
                <a16:creationId xmlns:a16="http://schemas.microsoft.com/office/drawing/2014/main" id="{C260AA23-087E-4675-9E2F-DDEBC5D945D6}"/>
              </a:ext>
            </a:extLst>
          </p:cNvPr>
          <p:cNvCxnSpPr/>
          <p:nvPr/>
        </p:nvCxnSpPr>
        <p:spPr>
          <a:xfrm>
            <a:off x="377825" y="1227932"/>
            <a:ext cx="11436350" cy="0"/>
          </a:xfrm>
          <a:prstGeom prst="line">
            <a:avLst/>
          </a:prstGeom>
          <a:ln w="31750">
            <a:solidFill>
              <a:srgbClr val="00857C"/>
            </a:solidFill>
          </a:ln>
        </p:spPr>
        <p:style>
          <a:lnRef idx="1">
            <a:schemeClr val="accent1"/>
          </a:lnRef>
          <a:fillRef idx="0">
            <a:schemeClr val="accent1"/>
          </a:fillRef>
          <a:effectRef idx="0">
            <a:schemeClr val="accent1"/>
          </a:effectRef>
          <a:fontRef idx="minor">
            <a:schemeClr val="tx1"/>
          </a:fontRef>
        </p:style>
      </p:cxnSp>
      <p:sp>
        <p:nvSpPr>
          <p:cNvPr id="16" name="Title 1">
            <a:extLst>
              <a:ext uri="{FF2B5EF4-FFF2-40B4-BE49-F238E27FC236}">
                <a16:creationId xmlns:a16="http://schemas.microsoft.com/office/drawing/2014/main" id="{6CE5D1F0-AB30-43D1-A0AE-998C4E040FC2}"/>
              </a:ext>
            </a:extLst>
          </p:cNvPr>
          <p:cNvSpPr>
            <a:spLocks noGrp="1"/>
          </p:cNvSpPr>
          <p:nvPr>
            <p:ph type="title" hasCustomPrompt="1"/>
          </p:nvPr>
        </p:nvSpPr>
        <p:spPr>
          <a:xfrm>
            <a:off x="377825" y="313267"/>
            <a:ext cx="11436349" cy="914660"/>
          </a:xfrm>
        </p:spPr>
        <p:txBody>
          <a:bodyPr lIns="0" tIns="0" rIns="0" bIns="45720" anchor="b">
            <a:normAutofit/>
          </a:bodyPr>
          <a:lstStyle>
            <a:lvl1pPr>
              <a:defRPr sz="3600" b="0">
                <a:solidFill>
                  <a:schemeClr val="tx1"/>
                </a:solidFill>
                <a:latin typeface="Arial" panose="020B0604020202020204" pitchFamily="34" charset="0"/>
                <a:cs typeface="Arial" panose="020B0604020202020204" pitchFamily="34" charset="0"/>
              </a:defRPr>
            </a:lvl1pPr>
          </a:lstStyle>
          <a:p>
            <a:r>
              <a:rPr lang="en-US" dirty="0"/>
              <a:t>&lt;Slide Title&gt;</a:t>
            </a:r>
          </a:p>
        </p:txBody>
      </p:sp>
      <p:sp>
        <p:nvSpPr>
          <p:cNvPr id="17" name="Text Placeholder 4">
            <a:extLst>
              <a:ext uri="{FF2B5EF4-FFF2-40B4-BE49-F238E27FC236}">
                <a16:creationId xmlns:a16="http://schemas.microsoft.com/office/drawing/2014/main" id="{D1C18BB7-8B96-401D-A546-77E2D23E1CAA}"/>
              </a:ext>
            </a:extLst>
          </p:cNvPr>
          <p:cNvSpPr>
            <a:spLocks noGrp="1"/>
          </p:cNvSpPr>
          <p:nvPr>
            <p:ph type="body" sz="quarter" idx="15" hasCustomPrompt="1"/>
          </p:nvPr>
        </p:nvSpPr>
        <p:spPr>
          <a:xfrm>
            <a:off x="7620000" y="-1"/>
            <a:ext cx="4572000" cy="252239"/>
          </a:xfrm>
        </p:spPr>
        <p:txBody>
          <a:bodyPr tIns="45720" rIns="137160">
            <a:noAutofit/>
          </a:bodyPr>
          <a:lstStyle>
            <a:lvl1pPr marL="0" indent="0" algn="r">
              <a:buFontTx/>
              <a:buNone/>
              <a:defRPr sz="1200">
                <a:latin typeface="Arial Narrow" panose="020B0606020202030204" pitchFamily="34" charset="0"/>
              </a:defRPr>
            </a:lvl1pPr>
            <a:lvl2pPr marL="609584" indent="0">
              <a:buFontTx/>
              <a:buNone/>
              <a:defRPr/>
            </a:lvl2pPr>
            <a:lvl3pPr marL="1217052" indent="0">
              <a:buFontTx/>
              <a:buNone/>
              <a:defRPr/>
            </a:lvl3pPr>
            <a:lvl4pPr marL="1680591" indent="0">
              <a:buFontTx/>
              <a:buNone/>
              <a:defRPr/>
            </a:lvl4pPr>
            <a:lvl5pPr marL="2142013" indent="0">
              <a:buFontTx/>
              <a:buNone/>
              <a:defRPr/>
            </a:lvl5pPr>
          </a:lstStyle>
          <a:p>
            <a:pPr lvl="0"/>
            <a:r>
              <a:rPr lang="en-US" dirty="0"/>
              <a:t>Label for locking</a:t>
            </a:r>
          </a:p>
        </p:txBody>
      </p:sp>
      <p:sp>
        <p:nvSpPr>
          <p:cNvPr id="9" name="Footer Placeholder 2">
            <a:extLst>
              <a:ext uri="{FF2B5EF4-FFF2-40B4-BE49-F238E27FC236}">
                <a16:creationId xmlns:a16="http://schemas.microsoft.com/office/drawing/2014/main" id="{C36112B8-8E42-4B63-B721-4E1EF886376A}"/>
              </a:ext>
            </a:extLst>
          </p:cNvPr>
          <p:cNvSpPr>
            <a:spLocks noGrp="1"/>
          </p:cNvSpPr>
          <p:nvPr>
            <p:ph type="ftr" sz="quarter" idx="3"/>
          </p:nvPr>
        </p:nvSpPr>
        <p:spPr>
          <a:xfrm>
            <a:off x="-2" y="6356350"/>
            <a:ext cx="12192001" cy="501650"/>
          </a:xfrm>
          <a:prstGeom prst="rect">
            <a:avLst/>
          </a:prstGeom>
        </p:spPr>
        <p:txBody>
          <a:bodyPr vert="horz" lIns="137160" tIns="0" rIns="137160" bIns="91440" rtlCol="0" anchor="b" anchorCtr="0"/>
          <a:lstStyle>
            <a:lvl1pPr algn="l">
              <a:defRPr sz="1000">
                <a:solidFill>
                  <a:schemeClr val="tx1"/>
                </a:solidFill>
                <a:latin typeface="Arial Narrow" panose="020B0606020202030204" pitchFamily="34" charset="0"/>
              </a:defRPr>
            </a:lvl1pPr>
          </a:lstStyle>
          <a:p>
            <a:endParaRPr lang="en-US" dirty="0"/>
          </a:p>
        </p:txBody>
      </p:sp>
      <p:cxnSp>
        <p:nvCxnSpPr>
          <p:cNvPr id="10" name="Straight Connector 9">
            <a:extLst>
              <a:ext uri="{FF2B5EF4-FFF2-40B4-BE49-F238E27FC236}">
                <a16:creationId xmlns:a16="http://schemas.microsoft.com/office/drawing/2014/main" id="{ABBC311C-9C3E-4607-B096-DC8B72515904}"/>
              </a:ext>
            </a:extLst>
          </p:cNvPr>
          <p:cNvCxnSpPr/>
          <p:nvPr userDrawn="1"/>
        </p:nvCxnSpPr>
        <p:spPr>
          <a:xfrm>
            <a:off x="377825" y="1227932"/>
            <a:ext cx="11436350" cy="0"/>
          </a:xfrm>
          <a:prstGeom prst="line">
            <a:avLst/>
          </a:prstGeom>
          <a:ln w="31750">
            <a:solidFill>
              <a:srgbClr val="00857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3871390"/>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2 stacked text content">
    <p:spTree>
      <p:nvGrpSpPr>
        <p:cNvPr id="1" name=""/>
        <p:cNvGrpSpPr/>
        <p:nvPr/>
      </p:nvGrpSpPr>
      <p:grpSpPr>
        <a:xfrm>
          <a:off x="0" y="0"/>
          <a:ext cx="0" cy="0"/>
          <a:chOff x="0" y="0"/>
          <a:chExt cx="0" cy="0"/>
        </a:xfrm>
      </p:grpSpPr>
      <p:sp>
        <p:nvSpPr>
          <p:cNvPr id="9" name="Content Placeholder 2"/>
          <p:cNvSpPr>
            <a:spLocks noGrp="1"/>
          </p:cNvSpPr>
          <p:nvPr>
            <p:ph idx="15"/>
          </p:nvPr>
        </p:nvSpPr>
        <p:spPr>
          <a:xfrm>
            <a:off x="381000" y="1598084"/>
            <a:ext cx="11430000" cy="2622224"/>
          </a:xfrm>
          <a:prstGeom prst="rect">
            <a:avLst/>
          </a:prstGeom>
        </p:spPr>
        <p:txBody>
          <a:bodyPr lIns="0" tIns="0" rIns="0" bIns="0"/>
          <a:lstStyle>
            <a:lvl1pPr>
              <a:spcBef>
                <a:spcPts val="1200"/>
              </a:spcBef>
              <a:defRPr/>
            </a:lvl1pPr>
            <a:lvl2pPr marL="460424" indent="-233389">
              <a:buFont typeface="Arial Narrow" panose="020B0606020202030204" pitchFamily="34" charset="0"/>
              <a:buChar char="–"/>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p:cNvSpPr>
            <a:spLocks noGrp="1"/>
          </p:cNvSpPr>
          <p:nvPr>
            <p:ph idx="16"/>
          </p:nvPr>
        </p:nvSpPr>
        <p:spPr>
          <a:xfrm>
            <a:off x="377826" y="4392248"/>
            <a:ext cx="11433174" cy="1727200"/>
          </a:xfrm>
          <a:prstGeom prst="rect">
            <a:avLst/>
          </a:prstGeom>
        </p:spPr>
        <p:txBody>
          <a:bodyPr lIns="0" tIns="0" rIns="0" bIns="0"/>
          <a:lstStyle>
            <a:lvl1pPr>
              <a:spcBef>
                <a:spcPts val="1200"/>
              </a:spcBef>
              <a:defRPr/>
            </a:lvl1pPr>
            <a:lvl2pPr marL="460424" indent="-233389">
              <a:buFont typeface="Arial Narrow" panose="020B0606020202030204" pitchFamily="34" charset="0"/>
              <a:buChar char="–"/>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1">
            <a:extLst>
              <a:ext uri="{FF2B5EF4-FFF2-40B4-BE49-F238E27FC236}">
                <a16:creationId xmlns:a16="http://schemas.microsoft.com/office/drawing/2014/main" id="{ED8B0AF7-33D8-4EB8-97F6-21BCAD234435}"/>
              </a:ext>
            </a:extLst>
          </p:cNvPr>
          <p:cNvSpPr>
            <a:spLocks noGrp="1"/>
          </p:cNvSpPr>
          <p:nvPr>
            <p:ph type="title" hasCustomPrompt="1"/>
          </p:nvPr>
        </p:nvSpPr>
        <p:spPr>
          <a:xfrm>
            <a:off x="377825" y="313267"/>
            <a:ext cx="11436349" cy="914660"/>
          </a:xfrm>
        </p:spPr>
        <p:txBody>
          <a:bodyPr lIns="0" tIns="0" rIns="0" bIns="45720" anchor="b">
            <a:normAutofit/>
          </a:bodyPr>
          <a:lstStyle>
            <a:lvl1pPr>
              <a:defRPr sz="3600" b="0">
                <a:solidFill>
                  <a:schemeClr val="tx1"/>
                </a:solidFill>
                <a:latin typeface="Arial" panose="020B0604020202020204" pitchFamily="34" charset="0"/>
                <a:cs typeface="Arial" panose="020B0604020202020204" pitchFamily="34" charset="0"/>
              </a:defRPr>
            </a:lvl1pPr>
          </a:lstStyle>
          <a:p>
            <a:r>
              <a:rPr lang="en-US" dirty="0"/>
              <a:t>&lt;Slide Title&gt;</a:t>
            </a:r>
          </a:p>
        </p:txBody>
      </p:sp>
      <p:cxnSp>
        <p:nvCxnSpPr>
          <p:cNvPr id="13" name="Straight Connector 12">
            <a:extLst>
              <a:ext uri="{FF2B5EF4-FFF2-40B4-BE49-F238E27FC236}">
                <a16:creationId xmlns:a16="http://schemas.microsoft.com/office/drawing/2014/main" id="{65E91ED9-7601-4209-BA9A-3074EC6DAD40}"/>
              </a:ext>
            </a:extLst>
          </p:cNvPr>
          <p:cNvCxnSpPr/>
          <p:nvPr/>
        </p:nvCxnSpPr>
        <p:spPr>
          <a:xfrm>
            <a:off x="377825" y="1227932"/>
            <a:ext cx="11436350" cy="0"/>
          </a:xfrm>
          <a:prstGeom prst="line">
            <a:avLst/>
          </a:prstGeom>
          <a:ln w="31750">
            <a:solidFill>
              <a:srgbClr val="00857C"/>
            </a:solidFill>
          </a:ln>
        </p:spPr>
        <p:style>
          <a:lnRef idx="1">
            <a:schemeClr val="accent1"/>
          </a:lnRef>
          <a:fillRef idx="0">
            <a:schemeClr val="accent1"/>
          </a:fillRef>
          <a:effectRef idx="0">
            <a:schemeClr val="accent1"/>
          </a:effectRef>
          <a:fontRef idx="minor">
            <a:schemeClr val="tx1"/>
          </a:fontRef>
        </p:style>
      </p:cxnSp>
      <p:sp>
        <p:nvSpPr>
          <p:cNvPr id="16" name="Text Placeholder 4">
            <a:extLst>
              <a:ext uri="{FF2B5EF4-FFF2-40B4-BE49-F238E27FC236}">
                <a16:creationId xmlns:a16="http://schemas.microsoft.com/office/drawing/2014/main" id="{D1A9998E-C754-4ED1-9ABC-7B99E87CA2AE}"/>
              </a:ext>
            </a:extLst>
          </p:cNvPr>
          <p:cNvSpPr>
            <a:spLocks noGrp="1"/>
          </p:cNvSpPr>
          <p:nvPr>
            <p:ph type="body" sz="quarter" idx="17" hasCustomPrompt="1"/>
          </p:nvPr>
        </p:nvSpPr>
        <p:spPr>
          <a:xfrm>
            <a:off x="7620000" y="-1"/>
            <a:ext cx="4572000" cy="252239"/>
          </a:xfrm>
        </p:spPr>
        <p:txBody>
          <a:bodyPr tIns="45720" rIns="137160">
            <a:noAutofit/>
          </a:bodyPr>
          <a:lstStyle>
            <a:lvl1pPr marL="0" indent="0" algn="r">
              <a:buFontTx/>
              <a:buNone/>
              <a:defRPr sz="1200">
                <a:latin typeface="Arial Narrow" panose="020B0606020202030204" pitchFamily="34" charset="0"/>
              </a:defRPr>
            </a:lvl1pPr>
            <a:lvl2pPr marL="609584" indent="0">
              <a:buFontTx/>
              <a:buNone/>
              <a:defRPr/>
            </a:lvl2pPr>
            <a:lvl3pPr marL="1217052" indent="0">
              <a:buFontTx/>
              <a:buNone/>
              <a:defRPr/>
            </a:lvl3pPr>
            <a:lvl4pPr marL="1680591" indent="0">
              <a:buFontTx/>
              <a:buNone/>
              <a:defRPr/>
            </a:lvl4pPr>
            <a:lvl5pPr marL="2142013" indent="0">
              <a:buFontTx/>
              <a:buNone/>
              <a:defRPr/>
            </a:lvl5pPr>
          </a:lstStyle>
          <a:p>
            <a:pPr lvl="0"/>
            <a:r>
              <a:rPr lang="en-US" dirty="0"/>
              <a:t>Label for locking</a:t>
            </a:r>
          </a:p>
        </p:txBody>
      </p:sp>
      <p:sp>
        <p:nvSpPr>
          <p:cNvPr id="10" name="Footer Placeholder 2">
            <a:extLst>
              <a:ext uri="{FF2B5EF4-FFF2-40B4-BE49-F238E27FC236}">
                <a16:creationId xmlns:a16="http://schemas.microsoft.com/office/drawing/2014/main" id="{3B5BC054-C3FB-4A91-85D1-FAF830CF0E2C}"/>
              </a:ext>
            </a:extLst>
          </p:cNvPr>
          <p:cNvSpPr>
            <a:spLocks noGrp="1"/>
          </p:cNvSpPr>
          <p:nvPr>
            <p:ph type="ftr" sz="quarter" idx="3"/>
          </p:nvPr>
        </p:nvSpPr>
        <p:spPr>
          <a:xfrm>
            <a:off x="-2" y="6356350"/>
            <a:ext cx="12192001" cy="501650"/>
          </a:xfrm>
          <a:prstGeom prst="rect">
            <a:avLst/>
          </a:prstGeom>
        </p:spPr>
        <p:txBody>
          <a:bodyPr vert="horz" lIns="137160" tIns="0" rIns="137160" bIns="91440" rtlCol="0" anchor="b" anchorCtr="0"/>
          <a:lstStyle>
            <a:lvl1pPr algn="l">
              <a:defRPr sz="1000">
                <a:solidFill>
                  <a:schemeClr val="tx1"/>
                </a:solidFill>
                <a:latin typeface="Arial Narrow" panose="020B0606020202030204" pitchFamily="34" charset="0"/>
              </a:defRPr>
            </a:lvl1pPr>
          </a:lstStyle>
          <a:p>
            <a:endParaRPr lang="en-US" dirty="0"/>
          </a:p>
        </p:txBody>
      </p:sp>
      <p:cxnSp>
        <p:nvCxnSpPr>
          <p:cNvPr id="11" name="Straight Connector 10">
            <a:extLst>
              <a:ext uri="{FF2B5EF4-FFF2-40B4-BE49-F238E27FC236}">
                <a16:creationId xmlns:a16="http://schemas.microsoft.com/office/drawing/2014/main" id="{D218B27A-E61F-4A7A-9C40-3B70786CCF2C}"/>
              </a:ext>
            </a:extLst>
          </p:cNvPr>
          <p:cNvCxnSpPr/>
          <p:nvPr userDrawn="1"/>
        </p:nvCxnSpPr>
        <p:spPr>
          <a:xfrm>
            <a:off x="377825" y="1227932"/>
            <a:ext cx="11436350" cy="0"/>
          </a:xfrm>
          <a:prstGeom prst="line">
            <a:avLst/>
          </a:prstGeom>
          <a:ln w="31750">
            <a:solidFill>
              <a:srgbClr val="00857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87385071"/>
      </p:ext>
    </p:extLst>
  </p:cSld>
  <p:clrMapOvr>
    <a:masterClrMapping/>
  </p:clrMapOvr>
  <p:extLst>
    <p:ext uri="{DCECCB84-F9BA-43D5-87BE-67443E8EF086}">
      <p15:sldGuideLst xmlns:p15="http://schemas.microsoft.com/office/powerpoint/2012/main">
        <p15:guide id="3" pos="3840">
          <p15:clr>
            <a:srgbClr val="FBAE40"/>
          </p15:clr>
        </p15:guide>
        <p15:guide id="4" orient="horz" pos="27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14782341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26B05F-805C-454B-8399-48841D8ABC3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88316DC-3847-4C9C-968F-A3072A9ABB7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59E2F58-48BB-4FAB-82FA-540256AE33EF}"/>
              </a:ext>
            </a:extLst>
          </p:cNvPr>
          <p:cNvSpPr>
            <a:spLocks noGrp="1"/>
          </p:cNvSpPr>
          <p:nvPr>
            <p:ph type="dt" sz="half" idx="10"/>
          </p:nvPr>
        </p:nvSpPr>
        <p:spPr/>
        <p:txBody>
          <a:bodyPr/>
          <a:lstStyle/>
          <a:p>
            <a:fld id="{9451ADC2-692A-4E3C-AC67-B6BAD1E8EBDC}" type="datetimeFigureOut">
              <a:rPr lang="en-US" smtClean="0"/>
              <a:t>1/31/23</a:t>
            </a:fld>
            <a:endParaRPr lang="en-US"/>
          </a:p>
        </p:txBody>
      </p:sp>
      <p:sp>
        <p:nvSpPr>
          <p:cNvPr id="5" name="Footer Placeholder 4">
            <a:extLst>
              <a:ext uri="{FF2B5EF4-FFF2-40B4-BE49-F238E27FC236}">
                <a16:creationId xmlns:a16="http://schemas.microsoft.com/office/drawing/2014/main" id="{9C52D6AD-DB16-4C09-BF09-0F38F812658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0DAD659-9270-4085-91DB-AA7F4E8E4A20}"/>
              </a:ext>
            </a:extLst>
          </p:cNvPr>
          <p:cNvSpPr>
            <a:spLocks noGrp="1"/>
          </p:cNvSpPr>
          <p:nvPr>
            <p:ph type="sldNum" sz="quarter" idx="12"/>
          </p:nvPr>
        </p:nvSpPr>
        <p:spPr/>
        <p:txBody>
          <a:bodyPr/>
          <a:lstStyle/>
          <a:p>
            <a:fld id="{ADE219E0-24F0-4853-9517-89D29DD918E2}" type="slidenum">
              <a:rPr lang="en-US" smtClean="0"/>
              <a:t>‹#›</a:t>
            </a:fld>
            <a:endParaRPr lang="en-US"/>
          </a:p>
        </p:txBody>
      </p:sp>
    </p:spTree>
    <p:extLst>
      <p:ext uri="{BB962C8B-B14F-4D97-AF65-F5344CB8AC3E}">
        <p14:creationId xmlns:p14="http://schemas.microsoft.com/office/powerpoint/2010/main" val="224163126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3DF41B-D140-4412-B2ED-BD2CF7203F6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D90A9AD-73A8-4077-B81B-0254D9858BE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CC6C720-989E-4E7C-B476-CC096CF3156B}"/>
              </a:ext>
            </a:extLst>
          </p:cNvPr>
          <p:cNvSpPr>
            <a:spLocks noGrp="1"/>
          </p:cNvSpPr>
          <p:nvPr>
            <p:ph type="dt" sz="half" idx="10"/>
          </p:nvPr>
        </p:nvSpPr>
        <p:spPr/>
        <p:txBody>
          <a:bodyPr/>
          <a:lstStyle/>
          <a:p>
            <a:fld id="{9451ADC2-692A-4E3C-AC67-B6BAD1E8EBDC}" type="datetimeFigureOut">
              <a:rPr lang="en-US" smtClean="0"/>
              <a:t>1/31/23</a:t>
            </a:fld>
            <a:endParaRPr lang="en-US"/>
          </a:p>
        </p:txBody>
      </p:sp>
      <p:sp>
        <p:nvSpPr>
          <p:cNvPr id="5" name="Footer Placeholder 4">
            <a:extLst>
              <a:ext uri="{FF2B5EF4-FFF2-40B4-BE49-F238E27FC236}">
                <a16:creationId xmlns:a16="http://schemas.microsoft.com/office/drawing/2014/main" id="{8186A085-E0C3-41B1-B07C-432E97653A7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1CC4BE4-C5FD-44AE-BE82-7D54B2C91CA5}"/>
              </a:ext>
            </a:extLst>
          </p:cNvPr>
          <p:cNvSpPr>
            <a:spLocks noGrp="1"/>
          </p:cNvSpPr>
          <p:nvPr>
            <p:ph type="sldNum" sz="quarter" idx="12"/>
          </p:nvPr>
        </p:nvSpPr>
        <p:spPr/>
        <p:txBody>
          <a:bodyPr/>
          <a:lstStyle/>
          <a:p>
            <a:fld id="{ADE219E0-24F0-4853-9517-89D29DD918E2}" type="slidenum">
              <a:rPr lang="en-US" smtClean="0"/>
              <a:t>‹#›</a:t>
            </a:fld>
            <a:endParaRPr lang="en-US"/>
          </a:p>
        </p:txBody>
      </p:sp>
    </p:spTree>
    <p:extLst>
      <p:ext uri="{BB962C8B-B14F-4D97-AF65-F5344CB8AC3E}">
        <p14:creationId xmlns:p14="http://schemas.microsoft.com/office/powerpoint/2010/main" val="1687527581"/>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B3E610-C64C-44C6-8D04-2B3BA6BF2EBE}"/>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91302EAA-3A15-4946-852F-153C8960E22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405C092-BA31-49D6-AEF7-5856E1672C20}"/>
              </a:ext>
            </a:extLst>
          </p:cNvPr>
          <p:cNvSpPr>
            <a:spLocks noGrp="1"/>
          </p:cNvSpPr>
          <p:nvPr>
            <p:ph type="dt" sz="half" idx="10"/>
          </p:nvPr>
        </p:nvSpPr>
        <p:spPr/>
        <p:txBody>
          <a:bodyPr/>
          <a:lstStyle/>
          <a:p>
            <a:fld id="{9451ADC2-692A-4E3C-AC67-B6BAD1E8EBDC}" type="datetimeFigureOut">
              <a:rPr lang="en-US" smtClean="0"/>
              <a:t>1/31/23</a:t>
            </a:fld>
            <a:endParaRPr lang="en-US"/>
          </a:p>
        </p:txBody>
      </p:sp>
      <p:sp>
        <p:nvSpPr>
          <p:cNvPr id="5" name="Footer Placeholder 4">
            <a:extLst>
              <a:ext uri="{FF2B5EF4-FFF2-40B4-BE49-F238E27FC236}">
                <a16:creationId xmlns:a16="http://schemas.microsoft.com/office/drawing/2014/main" id="{330C50E3-F2DA-4658-B2E2-528E415D278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979F124-0ED7-4E5C-AE8E-8164E25100A3}"/>
              </a:ext>
            </a:extLst>
          </p:cNvPr>
          <p:cNvSpPr>
            <a:spLocks noGrp="1"/>
          </p:cNvSpPr>
          <p:nvPr>
            <p:ph type="sldNum" sz="quarter" idx="12"/>
          </p:nvPr>
        </p:nvSpPr>
        <p:spPr/>
        <p:txBody>
          <a:bodyPr/>
          <a:lstStyle/>
          <a:p>
            <a:fld id="{ADE219E0-24F0-4853-9517-89D29DD918E2}" type="slidenum">
              <a:rPr lang="en-US" smtClean="0"/>
              <a:t>‹#›</a:t>
            </a:fld>
            <a:endParaRPr lang="en-US"/>
          </a:p>
        </p:txBody>
      </p:sp>
    </p:spTree>
    <p:extLst>
      <p:ext uri="{BB962C8B-B14F-4D97-AF65-F5344CB8AC3E}">
        <p14:creationId xmlns:p14="http://schemas.microsoft.com/office/powerpoint/2010/main" val="386981737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616380-2F2F-4783-9091-10EAF8B36D7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FB1473D-33D4-46E2-9EF2-286F9C786963}"/>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2812904-4F1F-475D-B831-FD717D177820}"/>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BA4BE0BE-8A7A-4038-8C35-CFE35B320698}"/>
              </a:ext>
            </a:extLst>
          </p:cNvPr>
          <p:cNvSpPr>
            <a:spLocks noGrp="1"/>
          </p:cNvSpPr>
          <p:nvPr>
            <p:ph type="dt" sz="half" idx="10"/>
          </p:nvPr>
        </p:nvSpPr>
        <p:spPr/>
        <p:txBody>
          <a:bodyPr/>
          <a:lstStyle/>
          <a:p>
            <a:fld id="{9451ADC2-692A-4E3C-AC67-B6BAD1E8EBDC}" type="datetimeFigureOut">
              <a:rPr lang="en-US" smtClean="0"/>
              <a:t>1/31/23</a:t>
            </a:fld>
            <a:endParaRPr lang="en-US"/>
          </a:p>
        </p:txBody>
      </p:sp>
      <p:sp>
        <p:nvSpPr>
          <p:cNvPr id="6" name="Footer Placeholder 5">
            <a:extLst>
              <a:ext uri="{FF2B5EF4-FFF2-40B4-BE49-F238E27FC236}">
                <a16:creationId xmlns:a16="http://schemas.microsoft.com/office/drawing/2014/main" id="{E344BDE9-826A-479A-B0C2-49D97F6D538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717B3F3-4A49-4AE3-A89E-1C1037EB6B23}"/>
              </a:ext>
            </a:extLst>
          </p:cNvPr>
          <p:cNvSpPr>
            <a:spLocks noGrp="1"/>
          </p:cNvSpPr>
          <p:nvPr>
            <p:ph type="sldNum" sz="quarter" idx="12"/>
          </p:nvPr>
        </p:nvSpPr>
        <p:spPr/>
        <p:txBody>
          <a:bodyPr/>
          <a:lstStyle/>
          <a:p>
            <a:fld id="{ADE219E0-24F0-4853-9517-89D29DD918E2}" type="slidenum">
              <a:rPr lang="en-US" smtClean="0"/>
              <a:t>‹#›</a:t>
            </a:fld>
            <a:endParaRPr lang="en-US"/>
          </a:p>
        </p:txBody>
      </p:sp>
    </p:spTree>
    <p:extLst>
      <p:ext uri="{BB962C8B-B14F-4D97-AF65-F5344CB8AC3E}">
        <p14:creationId xmlns:p14="http://schemas.microsoft.com/office/powerpoint/2010/main" val="2960286591"/>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8258E9-D7AD-4AB5-8A1C-406F62E8805A}"/>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02E22F8-B0E7-4038-A457-BF87EF3E0EC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8D136FE-FFE9-48CC-A4B2-B430DB8F1369}"/>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7EBBA81-DEE3-4E25-8BE1-E4842564152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024F625A-B20D-4259-BC75-4A6283346AB7}"/>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0B6AE4F6-B086-43A4-83DC-405970C1CC6E}"/>
              </a:ext>
            </a:extLst>
          </p:cNvPr>
          <p:cNvSpPr>
            <a:spLocks noGrp="1"/>
          </p:cNvSpPr>
          <p:nvPr>
            <p:ph type="dt" sz="half" idx="10"/>
          </p:nvPr>
        </p:nvSpPr>
        <p:spPr/>
        <p:txBody>
          <a:bodyPr/>
          <a:lstStyle/>
          <a:p>
            <a:fld id="{9451ADC2-692A-4E3C-AC67-B6BAD1E8EBDC}" type="datetimeFigureOut">
              <a:rPr lang="en-US" smtClean="0"/>
              <a:t>1/31/23</a:t>
            </a:fld>
            <a:endParaRPr lang="en-US"/>
          </a:p>
        </p:txBody>
      </p:sp>
      <p:sp>
        <p:nvSpPr>
          <p:cNvPr id="8" name="Footer Placeholder 7">
            <a:extLst>
              <a:ext uri="{FF2B5EF4-FFF2-40B4-BE49-F238E27FC236}">
                <a16:creationId xmlns:a16="http://schemas.microsoft.com/office/drawing/2014/main" id="{DBA950EA-EA1D-4E73-9F5F-3CFCE7155980}"/>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0E43A02C-CBC9-45B6-9FCF-38A223E45C41}"/>
              </a:ext>
            </a:extLst>
          </p:cNvPr>
          <p:cNvSpPr>
            <a:spLocks noGrp="1"/>
          </p:cNvSpPr>
          <p:nvPr>
            <p:ph type="sldNum" sz="quarter" idx="12"/>
          </p:nvPr>
        </p:nvSpPr>
        <p:spPr/>
        <p:txBody>
          <a:bodyPr/>
          <a:lstStyle/>
          <a:p>
            <a:fld id="{ADE219E0-24F0-4853-9517-89D29DD918E2}" type="slidenum">
              <a:rPr lang="en-US" smtClean="0"/>
              <a:t>‹#›</a:t>
            </a:fld>
            <a:endParaRPr lang="en-US"/>
          </a:p>
        </p:txBody>
      </p:sp>
    </p:spTree>
    <p:extLst>
      <p:ext uri="{BB962C8B-B14F-4D97-AF65-F5344CB8AC3E}">
        <p14:creationId xmlns:p14="http://schemas.microsoft.com/office/powerpoint/2010/main" val="188519376"/>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1626FD-90F7-468C-9E30-4FB3F70B7D36}"/>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E9D33E2D-E824-4BC9-ACFE-EE2272EE8351}"/>
              </a:ext>
            </a:extLst>
          </p:cNvPr>
          <p:cNvSpPr>
            <a:spLocks noGrp="1"/>
          </p:cNvSpPr>
          <p:nvPr>
            <p:ph type="dt" sz="half" idx="10"/>
          </p:nvPr>
        </p:nvSpPr>
        <p:spPr/>
        <p:txBody>
          <a:bodyPr/>
          <a:lstStyle/>
          <a:p>
            <a:fld id="{9451ADC2-692A-4E3C-AC67-B6BAD1E8EBDC}" type="datetimeFigureOut">
              <a:rPr lang="en-US" smtClean="0"/>
              <a:t>1/31/23</a:t>
            </a:fld>
            <a:endParaRPr lang="en-US"/>
          </a:p>
        </p:txBody>
      </p:sp>
      <p:sp>
        <p:nvSpPr>
          <p:cNvPr id="4" name="Footer Placeholder 3">
            <a:extLst>
              <a:ext uri="{FF2B5EF4-FFF2-40B4-BE49-F238E27FC236}">
                <a16:creationId xmlns:a16="http://schemas.microsoft.com/office/drawing/2014/main" id="{50CBA406-EBA0-47A1-AB6D-F4F4623F8D62}"/>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47A2A22F-2C52-4F0F-8C1E-88D33E53B991}"/>
              </a:ext>
            </a:extLst>
          </p:cNvPr>
          <p:cNvSpPr>
            <a:spLocks noGrp="1"/>
          </p:cNvSpPr>
          <p:nvPr>
            <p:ph type="sldNum" sz="quarter" idx="12"/>
          </p:nvPr>
        </p:nvSpPr>
        <p:spPr/>
        <p:txBody>
          <a:bodyPr/>
          <a:lstStyle/>
          <a:p>
            <a:fld id="{ADE219E0-24F0-4853-9517-89D29DD918E2}" type="slidenum">
              <a:rPr lang="en-US" smtClean="0"/>
              <a:t>‹#›</a:t>
            </a:fld>
            <a:endParaRPr lang="en-US"/>
          </a:p>
        </p:txBody>
      </p:sp>
    </p:spTree>
    <p:extLst>
      <p:ext uri="{BB962C8B-B14F-4D97-AF65-F5344CB8AC3E}">
        <p14:creationId xmlns:p14="http://schemas.microsoft.com/office/powerpoint/2010/main" val="232640580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ABE5276-B047-4F38-9BC0-9EECD998880C}"/>
              </a:ext>
            </a:extLst>
          </p:cNvPr>
          <p:cNvSpPr>
            <a:spLocks noGrp="1"/>
          </p:cNvSpPr>
          <p:nvPr>
            <p:ph type="dt" sz="half" idx="10"/>
          </p:nvPr>
        </p:nvSpPr>
        <p:spPr/>
        <p:txBody>
          <a:bodyPr/>
          <a:lstStyle/>
          <a:p>
            <a:fld id="{9451ADC2-692A-4E3C-AC67-B6BAD1E8EBDC}" type="datetimeFigureOut">
              <a:rPr lang="en-US" smtClean="0"/>
              <a:t>1/31/23</a:t>
            </a:fld>
            <a:endParaRPr lang="en-US"/>
          </a:p>
        </p:txBody>
      </p:sp>
      <p:sp>
        <p:nvSpPr>
          <p:cNvPr id="3" name="Footer Placeholder 2">
            <a:extLst>
              <a:ext uri="{FF2B5EF4-FFF2-40B4-BE49-F238E27FC236}">
                <a16:creationId xmlns:a16="http://schemas.microsoft.com/office/drawing/2014/main" id="{A21FB153-D109-4182-8898-85962F1B797D}"/>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69985E5E-74A9-4BFD-AF7C-29ADFA87FAD3}"/>
              </a:ext>
            </a:extLst>
          </p:cNvPr>
          <p:cNvSpPr>
            <a:spLocks noGrp="1"/>
          </p:cNvSpPr>
          <p:nvPr>
            <p:ph type="sldNum" sz="quarter" idx="12"/>
          </p:nvPr>
        </p:nvSpPr>
        <p:spPr/>
        <p:txBody>
          <a:bodyPr/>
          <a:lstStyle/>
          <a:p>
            <a:fld id="{ADE219E0-24F0-4853-9517-89D29DD918E2}" type="slidenum">
              <a:rPr lang="en-US" smtClean="0"/>
              <a:t>‹#›</a:t>
            </a:fld>
            <a:endParaRPr lang="en-US"/>
          </a:p>
        </p:txBody>
      </p:sp>
    </p:spTree>
    <p:extLst>
      <p:ext uri="{BB962C8B-B14F-4D97-AF65-F5344CB8AC3E}">
        <p14:creationId xmlns:p14="http://schemas.microsoft.com/office/powerpoint/2010/main" val="4101294611"/>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6CCA2D-344E-4BE6-84D1-6D3C89B6808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81FC7A8-F040-46A8-A27B-20BE70F5EF7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D763D813-029C-44F8-BFAC-D3FE9978336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E2944D9-AED8-43EB-9908-EEDFAEBD6323}"/>
              </a:ext>
            </a:extLst>
          </p:cNvPr>
          <p:cNvSpPr>
            <a:spLocks noGrp="1"/>
          </p:cNvSpPr>
          <p:nvPr>
            <p:ph type="dt" sz="half" idx="10"/>
          </p:nvPr>
        </p:nvSpPr>
        <p:spPr/>
        <p:txBody>
          <a:bodyPr/>
          <a:lstStyle/>
          <a:p>
            <a:fld id="{9451ADC2-692A-4E3C-AC67-B6BAD1E8EBDC}" type="datetimeFigureOut">
              <a:rPr lang="en-US" smtClean="0"/>
              <a:t>1/31/23</a:t>
            </a:fld>
            <a:endParaRPr lang="en-US"/>
          </a:p>
        </p:txBody>
      </p:sp>
      <p:sp>
        <p:nvSpPr>
          <p:cNvPr id="6" name="Footer Placeholder 5">
            <a:extLst>
              <a:ext uri="{FF2B5EF4-FFF2-40B4-BE49-F238E27FC236}">
                <a16:creationId xmlns:a16="http://schemas.microsoft.com/office/drawing/2014/main" id="{89D18302-335B-4AF6-A3D5-B3C91099D06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C06EE19-DFA7-4CF4-92B9-44627B195533}"/>
              </a:ext>
            </a:extLst>
          </p:cNvPr>
          <p:cNvSpPr>
            <a:spLocks noGrp="1"/>
          </p:cNvSpPr>
          <p:nvPr>
            <p:ph type="sldNum" sz="quarter" idx="12"/>
          </p:nvPr>
        </p:nvSpPr>
        <p:spPr/>
        <p:txBody>
          <a:bodyPr/>
          <a:lstStyle/>
          <a:p>
            <a:fld id="{ADE219E0-24F0-4853-9517-89D29DD918E2}" type="slidenum">
              <a:rPr lang="en-US" smtClean="0"/>
              <a:t>‹#›</a:t>
            </a:fld>
            <a:endParaRPr lang="en-US"/>
          </a:p>
        </p:txBody>
      </p:sp>
    </p:spTree>
    <p:extLst>
      <p:ext uri="{BB962C8B-B14F-4D97-AF65-F5344CB8AC3E}">
        <p14:creationId xmlns:p14="http://schemas.microsoft.com/office/powerpoint/2010/main" val="3091261468"/>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41F4DD-A11F-4B8A-BF6C-FA7E74D482B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61A4BB4E-0918-4FB7-907A-7BABFA29D5C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3BCB214C-97F9-4187-B473-46183732579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6684320-7B04-4933-8364-A01ED907A842}"/>
              </a:ext>
            </a:extLst>
          </p:cNvPr>
          <p:cNvSpPr>
            <a:spLocks noGrp="1"/>
          </p:cNvSpPr>
          <p:nvPr>
            <p:ph type="dt" sz="half" idx="10"/>
          </p:nvPr>
        </p:nvSpPr>
        <p:spPr/>
        <p:txBody>
          <a:bodyPr/>
          <a:lstStyle/>
          <a:p>
            <a:fld id="{9451ADC2-692A-4E3C-AC67-B6BAD1E8EBDC}" type="datetimeFigureOut">
              <a:rPr lang="en-US" smtClean="0"/>
              <a:t>1/31/23</a:t>
            </a:fld>
            <a:endParaRPr lang="en-US"/>
          </a:p>
        </p:txBody>
      </p:sp>
      <p:sp>
        <p:nvSpPr>
          <p:cNvPr id="6" name="Footer Placeholder 5">
            <a:extLst>
              <a:ext uri="{FF2B5EF4-FFF2-40B4-BE49-F238E27FC236}">
                <a16:creationId xmlns:a16="http://schemas.microsoft.com/office/drawing/2014/main" id="{EB4C86D5-40D0-4DCC-A86C-094A5745964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6F05314-2939-4E43-81C8-CD7AFDCD409E}"/>
              </a:ext>
            </a:extLst>
          </p:cNvPr>
          <p:cNvSpPr>
            <a:spLocks noGrp="1"/>
          </p:cNvSpPr>
          <p:nvPr>
            <p:ph type="sldNum" sz="quarter" idx="12"/>
          </p:nvPr>
        </p:nvSpPr>
        <p:spPr/>
        <p:txBody>
          <a:bodyPr/>
          <a:lstStyle/>
          <a:p>
            <a:fld id="{ADE219E0-24F0-4853-9517-89D29DD918E2}" type="slidenum">
              <a:rPr lang="en-US" smtClean="0"/>
              <a:t>‹#›</a:t>
            </a:fld>
            <a:endParaRPr lang="en-US"/>
          </a:p>
        </p:txBody>
      </p:sp>
    </p:spTree>
    <p:extLst>
      <p:ext uri="{BB962C8B-B14F-4D97-AF65-F5344CB8AC3E}">
        <p14:creationId xmlns:p14="http://schemas.microsoft.com/office/powerpoint/2010/main" val="401079194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FA6A87-B0EC-4094-BBC0-648946A4B79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C3097AA8-2BA4-4D01-8F96-08FC4D13E41F}"/>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EF28A8D-0E67-43B9-ABA4-BFDD2BC1DF51}"/>
              </a:ext>
            </a:extLst>
          </p:cNvPr>
          <p:cNvSpPr>
            <a:spLocks noGrp="1"/>
          </p:cNvSpPr>
          <p:nvPr>
            <p:ph type="dt" sz="half" idx="10"/>
          </p:nvPr>
        </p:nvSpPr>
        <p:spPr/>
        <p:txBody>
          <a:bodyPr/>
          <a:lstStyle/>
          <a:p>
            <a:fld id="{9451ADC2-692A-4E3C-AC67-B6BAD1E8EBDC}" type="datetimeFigureOut">
              <a:rPr lang="en-US" smtClean="0"/>
              <a:t>1/31/23</a:t>
            </a:fld>
            <a:endParaRPr lang="en-US"/>
          </a:p>
        </p:txBody>
      </p:sp>
      <p:sp>
        <p:nvSpPr>
          <p:cNvPr id="5" name="Footer Placeholder 4">
            <a:extLst>
              <a:ext uri="{FF2B5EF4-FFF2-40B4-BE49-F238E27FC236}">
                <a16:creationId xmlns:a16="http://schemas.microsoft.com/office/drawing/2014/main" id="{48006EFE-6324-4CAA-85BF-79343D8392F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A6370CB-41DE-4774-A1F7-9C72303728E3}"/>
              </a:ext>
            </a:extLst>
          </p:cNvPr>
          <p:cNvSpPr>
            <a:spLocks noGrp="1"/>
          </p:cNvSpPr>
          <p:nvPr>
            <p:ph type="sldNum" sz="quarter" idx="12"/>
          </p:nvPr>
        </p:nvSpPr>
        <p:spPr/>
        <p:txBody>
          <a:bodyPr/>
          <a:lstStyle/>
          <a:p>
            <a:fld id="{ADE219E0-24F0-4853-9517-89D29DD918E2}" type="slidenum">
              <a:rPr lang="en-US" smtClean="0"/>
              <a:t>‹#›</a:t>
            </a:fld>
            <a:endParaRPr lang="en-US"/>
          </a:p>
        </p:txBody>
      </p:sp>
    </p:spTree>
    <p:extLst>
      <p:ext uri="{BB962C8B-B14F-4D97-AF65-F5344CB8AC3E}">
        <p14:creationId xmlns:p14="http://schemas.microsoft.com/office/powerpoint/2010/main" val="147826861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10.xml.rels><?xml version="1.0" encoding="UTF-8" standalone="yes"?>
<Relationships xmlns="http://schemas.openxmlformats.org/package/2006/relationships"><Relationship Id="rId8" Type="http://schemas.openxmlformats.org/officeDocument/2006/relationships/theme" Target="../theme/theme10.xml"/><Relationship Id="rId3" Type="http://schemas.openxmlformats.org/officeDocument/2006/relationships/slideLayout" Target="../slideLayouts/slideLayout104.xml"/><Relationship Id="rId7" Type="http://schemas.openxmlformats.org/officeDocument/2006/relationships/slideLayout" Target="../slideLayouts/slideLayout108.xml"/><Relationship Id="rId2" Type="http://schemas.openxmlformats.org/officeDocument/2006/relationships/slideLayout" Target="../slideLayouts/slideLayout103.xml"/><Relationship Id="rId1" Type="http://schemas.openxmlformats.org/officeDocument/2006/relationships/slideLayout" Target="../slideLayouts/slideLayout102.xml"/><Relationship Id="rId6" Type="http://schemas.openxmlformats.org/officeDocument/2006/relationships/slideLayout" Target="../slideLayouts/slideLayout107.xml"/><Relationship Id="rId5" Type="http://schemas.openxmlformats.org/officeDocument/2006/relationships/slideLayout" Target="../slideLayouts/slideLayout106.xml"/><Relationship Id="rId4" Type="http://schemas.openxmlformats.org/officeDocument/2006/relationships/slideLayout" Target="../slideLayouts/slideLayout105.xml"/></Relationships>
</file>

<file path=ppt/slideMasters/_rels/slideMaster11.xml.rels><?xml version="1.0" encoding="UTF-8" standalone="yes"?>
<Relationships xmlns="http://schemas.openxmlformats.org/package/2006/relationships"><Relationship Id="rId3" Type="http://schemas.openxmlformats.org/officeDocument/2006/relationships/slideLayout" Target="../slideLayouts/slideLayout111.xml"/><Relationship Id="rId2" Type="http://schemas.openxmlformats.org/officeDocument/2006/relationships/slideLayout" Target="../slideLayouts/slideLayout110.xml"/><Relationship Id="rId1" Type="http://schemas.openxmlformats.org/officeDocument/2006/relationships/slideLayout" Target="../slideLayouts/slideLayout109.xml"/><Relationship Id="rId5" Type="http://schemas.openxmlformats.org/officeDocument/2006/relationships/tags" Target="../tags/tag5.xml"/><Relationship Id="rId4"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3" Type="http://schemas.openxmlformats.org/officeDocument/2006/relationships/slideLayout" Target="../slideLayouts/slideLayout114.xml"/><Relationship Id="rId7" Type="http://schemas.openxmlformats.org/officeDocument/2006/relationships/theme" Target="../theme/theme12.xml"/><Relationship Id="rId2" Type="http://schemas.openxmlformats.org/officeDocument/2006/relationships/slideLayout" Target="../slideLayouts/slideLayout113.xml"/><Relationship Id="rId1" Type="http://schemas.openxmlformats.org/officeDocument/2006/relationships/slideLayout" Target="../slideLayouts/slideLayout112.xml"/><Relationship Id="rId6" Type="http://schemas.openxmlformats.org/officeDocument/2006/relationships/slideLayout" Target="../slideLayouts/slideLayout117.xml"/><Relationship Id="rId5" Type="http://schemas.openxmlformats.org/officeDocument/2006/relationships/slideLayout" Target="../slideLayouts/slideLayout116.xml"/><Relationship Id="rId4" Type="http://schemas.openxmlformats.org/officeDocument/2006/relationships/slideLayout" Target="../slideLayouts/slideLayout11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theme" Target="../theme/theme2.x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slideLayout" Target="../slideLayouts/slideLayout51.xml"/><Relationship Id="rId3" Type="http://schemas.openxmlformats.org/officeDocument/2006/relationships/slideLayout" Target="../slideLayouts/slideLayout41.xml"/><Relationship Id="rId7" Type="http://schemas.openxmlformats.org/officeDocument/2006/relationships/slideLayout" Target="../slideLayouts/slideLayout45.xml"/><Relationship Id="rId12" Type="http://schemas.openxmlformats.org/officeDocument/2006/relationships/slideLayout" Target="../slideLayouts/slideLayout50.xml"/><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5" Type="http://schemas.openxmlformats.org/officeDocument/2006/relationships/slideLayout" Target="../slideLayouts/slideLayout43.xml"/><Relationship Id="rId10" Type="http://schemas.openxmlformats.org/officeDocument/2006/relationships/slideLayout" Target="../slideLayouts/slideLayout48.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54.xml"/><Relationship Id="rId7" Type="http://schemas.openxmlformats.org/officeDocument/2006/relationships/theme" Target="../theme/theme4.xml"/><Relationship Id="rId2" Type="http://schemas.openxmlformats.org/officeDocument/2006/relationships/slideLayout" Target="../slideLayouts/slideLayout53.xml"/><Relationship Id="rId1" Type="http://schemas.openxmlformats.org/officeDocument/2006/relationships/slideLayout" Target="../slideLayouts/slideLayout52.xml"/><Relationship Id="rId6" Type="http://schemas.openxmlformats.org/officeDocument/2006/relationships/slideLayout" Target="../slideLayouts/slideLayout57.xml"/><Relationship Id="rId5" Type="http://schemas.openxmlformats.org/officeDocument/2006/relationships/slideLayout" Target="../slideLayouts/slideLayout56.xml"/><Relationship Id="rId4" Type="http://schemas.openxmlformats.org/officeDocument/2006/relationships/slideLayout" Target="../slideLayouts/slideLayout5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5.xml"/><Relationship Id="rId3" Type="http://schemas.openxmlformats.org/officeDocument/2006/relationships/slideLayout" Target="../slideLayouts/slideLayout60.xml"/><Relationship Id="rId7" Type="http://schemas.openxmlformats.org/officeDocument/2006/relationships/slideLayout" Target="../slideLayouts/slideLayout64.xml"/><Relationship Id="rId2" Type="http://schemas.openxmlformats.org/officeDocument/2006/relationships/slideLayout" Target="../slideLayouts/slideLayout59.xml"/><Relationship Id="rId1" Type="http://schemas.openxmlformats.org/officeDocument/2006/relationships/slideLayout" Target="../slideLayouts/slideLayout58.xml"/><Relationship Id="rId6" Type="http://schemas.openxmlformats.org/officeDocument/2006/relationships/slideLayout" Target="../slideLayouts/slideLayout63.xml"/><Relationship Id="rId5" Type="http://schemas.openxmlformats.org/officeDocument/2006/relationships/slideLayout" Target="../slideLayouts/slideLayout62.xml"/><Relationship Id="rId10" Type="http://schemas.openxmlformats.org/officeDocument/2006/relationships/image" Target="../media/image3.jpeg"/><Relationship Id="rId4" Type="http://schemas.openxmlformats.org/officeDocument/2006/relationships/slideLayout" Target="../slideLayouts/slideLayout61.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3.xml"/><Relationship Id="rId13" Type="http://schemas.openxmlformats.org/officeDocument/2006/relationships/slideLayout" Target="../slideLayouts/slideLayout78.xml"/><Relationship Id="rId3" Type="http://schemas.openxmlformats.org/officeDocument/2006/relationships/slideLayout" Target="../slideLayouts/slideLayout68.xml"/><Relationship Id="rId7" Type="http://schemas.openxmlformats.org/officeDocument/2006/relationships/slideLayout" Target="../slideLayouts/slideLayout72.xml"/><Relationship Id="rId12" Type="http://schemas.openxmlformats.org/officeDocument/2006/relationships/slideLayout" Target="../slideLayouts/slideLayout77.xml"/><Relationship Id="rId2" Type="http://schemas.openxmlformats.org/officeDocument/2006/relationships/slideLayout" Target="../slideLayouts/slideLayout67.xml"/><Relationship Id="rId1" Type="http://schemas.openxmlformats.org/officeDocument/2006/relationships/slideLayout" Target="../slideLayouts/slideLayout66.xml"/><Relationship Id="rId6" Type="http://schemas.openxmlformats.org/officeDocument/2006/relationships/slideLayout" Target="../slideLayouts/slideLayout71.xml"/><Relationship Id="rId11" Type="http://schemas.openxmlformats.org/officeDocument/2006/relationships/slideLayout" Target="../slideLayouts/slideLayout76.xml"/><Relationship Id="rId5" Type="http://schemas.openxmlformats.org/officeDocument/2006/relationships/slideLayout" Target="../slideLayouts/slideLayout70.xml"/><Relationship Id="rId10" Type="http://schemas.openxmlformats.org/officeDocument/2006/relationships/slideLayout" Target="../slideLayouts/slideLayout75.xml"/><Relationship Id="rId4" Type="http://schemas.openxmlformats.org/officeDocument/2006/relationships/slideLayout" Target="../slideLayouts/slideLayout69.xml"/><Relationship Id="rId9" Type="http://schemas.openxmlformats.org/officeDocument/2006/relationships/slideLayout" Target="../slideLayouts/slideLayout74.xml"/><Relationship Id="rId1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vmlDrawing" Target="../drawings/vmlDrawing1.vml"/><Relationship Id="rId3" Type="http://schemas.openxmlformats.org/officeDocument/2006/relationships/slideLayout" Target="../slideLayouts/slideLayout81.xml"/><Relationship Id="rId7" Type="http://schemas.openxmlformats.org/officeDocument/2006/relationships/theme" Target="../theme/theme7.xml"/><Relationship Id="rId12" Type="http://schemas.openxmlformats.org/officeDocument/2006/relationships/image" Target="../media/image5.png"/><Relationship Id="rId2" Type="http://schemas.openxmlformats.org/officeDocument/2006/relationships/slideLayout" Target="../slideLayouts/slideLayout80.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image" Target="../media/image4.emf"/><Relationship Id="rId5" Type="http://schemas.openxmlformats.org/officeDocument/2006/relationships/slideLayout" Target="../slideLayouts/slideLayout83.xml"/><Relationship Id="rId10" Type="http://schemas.openxmlformats.org/officeDocument/2006/relationships/oleObject" Target="../embeddings/oleObject1.bin"/><Relationship Id="rId4" Type="http://schemas.openxmlformats.org/officeDocument/2006/relationships/slideLayout" Target="../slideLayouts/slideLayout82.xml"/><Relationship Id="rId9" Type="http://schemas.openxmlformats.org/officeDocument/2006/relationships/tags" Target="../tags/tag3.xml"/></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87.xml"/><Relationship Id="rId2" Type="http://schemas.openxmlformats.org/officeDocument/2006/relationships/slideLayout" Target="../slideLayouts/slideLayout86.xml"/><Relationship Id="rId1" Type="http://schemas.openxmlformats.org/officeDocument/2006/relationships/slideLayout" Target="../slideLayouts/slideLayout85.xml"/><Relationship Id="rId6" Type="http://schemas.openxmlformats.org/officeDocument/2006/relationships/theme" Target="../theme/theme8.xml"/><Relationship Id="rId5" Type="http://schemas.openxmlformats.org/officeDocument/2006/relationships/slideLayout" Target="../slideLayouts/slideLayout89.xml"/><Relationship Id="rId4" Type="http://schemas.openxmlformats.org/officeDocument/2006/relationships/slideLayout" Target="../slideLayouts/slideLayout8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theme" Target="../theme/theme9.xml"/><Relationship Id="rId3" Type="http://schemas.openxmlformats.org/officeDocument/2006/relationships/slideLayout" Target="../slideLayouts/slideLayout92.xml"/><Relationship Id="rId7" Type="http://schemas.openxmlformats.org/officeDocument/2006/relationships/slideLayout" Target="../slideLayouts/slideLayout96.xml"/><Relationship Id="rId12" Type="http://schemas.openxmlformats.org/officeDocument/2006/relationships/slideLayout" Target="../slideLayouts/slideLayout101.xml"/><Relationship Id="rId2" Type="http://schemas.openxmlformats.org/officeDocument/2006/relationships/slideLayout" Target="../slideLayouts/slideLayout91.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5" Type="http://schemas.openxmlformats.org/officeDocument/2006/relationships/slideLayout" Target="../slideLayouts/slideLayout94.xml"/><Relationship Id="rId10" Type="http://schemas.openxmlformats.org/officeDocument/2006/relationships/slideLayout" Target="../slideLayouts/slideLayout99.xml"/><Relationship Id="rId4" Type="http://schemas.openxmlformats.org/officeDocument/2006/relationships/slideLayout" Target="../slideLayouts/slideLayout93.xml"/><Relationship Id="rId9" Type="http://schemas.openxmlformats.org/officeDocument/2006/relationships/slideLayout" Target="../slideLayouts/slideLayout9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8" name="Picture 7" descr="A close up of a sign&#10;&#10;Description automatically generated">
            <a:extLst>
              <a:ext uri="{FF2B5EF4-FFF2-40B4-BE49-F238E27FC236}">
                <a16:creationId xmlns:a16="http://schemas.microsoft.com/office/drawing/2014/main" id="{B4CCBE2E-CAAE-B74A-AD06-6C8F94F20E4C}"/>
              </a:ext>
            </a:extLst>
          </p:cNvPr>
          <p:cNvPicPr>
            <a:picLocks noChangeAspect="1"/>
          </p:cNvPicPr>
          <p:nvPr userDrawn="1"/>
        </p:nvPicPr>
        <p:blipFill>
          <a:blip r:embed="rId26">
            <a:alphaModFix amt="60000"/>
            <a:extLst>
              <a:ext uri="{28A0092B-C50C-407E-A947-70E740481C1C}">
                <a14:useLocalDpi xmlns:a14="http://schemas.microsoft.com/office/drawing/2010/main" val="0"/>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2444743874"/>
      </p:ext>
    </p:extLst>
  </p:cSld>
  <p:clrMap bg1="lt1" tx1="dk1" bg2="lt2" tx2="dk2" accent1="accent1" accent2="accent2" accent3="accent3" accent4="accent4" accent5="accent5" accent6="accent6" hlink="hlink" folHlink="folHlink"/>
  <p:sldLayoutIdLst>
    <p:sldLayoutId id="2147484509" r:id="rId1"/>
    <p:sldLayoutId id="2147484510" r:id="rId2"/>
    <p:sldLayoutId id="2147484511" r:id="rId3"/>
    <p:sldLayoutId id="2147484512" r:id="rId4"/>
    <p:sldLayoutId id="2147484513" r:id="rId5"/>
    <p:sldLayoutId id="2147484514" r:id="rId6"/>
    <p:sldLayoutId id="2147484515" r:id="rId7"/>
    <p:sldLayoutId id="2147484516" r:id="rId8"/>
    <p:sldLayoutId id="2147484517" r:id="rId9"/>
    <p:sldLayoutId id="2147484518" r:id="rId10"/>
    <p:sldLayoutId id="2147484519" r:id="rId11"/>
    <p:sldLayoutId id="2147484520" r:id="rId12"/>
    <p:sldLayoutId id="2147484521" r:id="rId13"/>
    <p:sldLayoutId id="2147484522" r:id="rId14"/>
    <p:sldLayoutId id="2147484523" r:id="rId15"/>
    <p:sldLayoutId id="2147484524" r:id="rId16"/>
    <p:sldLayoutId id="2147484525" r:id="rId17"/>
    <p:sldLayoutId id="2147484544" r:id="rId18"/>
    <p:sldLayoutId id="2147484545" r:id="rId19"/>
    <p:sldLayoutId id="2147484546" r:id="rId20"/>
    <p:sldLayoutId id="2147484547" r:id="rId21"/>
    <p:sldLayoutId id="2147484548" r:id="rId22"/>
    <p:sldLayoutId id="2147484549" r:id="rId23"/>
    <p:sldLayoutId id="2147484550" r:id="rId24"/>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Tree>
    <p:extLst>
      <p:ext uri="{BB962C8B-B14F-4D97-AF65-F5344CB8AC3E}">
        <p14:creationId xmlns:p14="http://schemas.microsoft.com/office/powerpoint/2010/main" val="1302228430"/>
      </p:ext>
    </p:extLst>
  </p:cSld>
  <p:clrMap bg1="lt1" tx1="dk1" bg2="dk2" tx2="lt2" accent1="accent1" accent2="accent2" accent3="accent3" accent4="accent4" accent5="accent5" accent6="accent6" hlink="hlink" folHlink="folHlink"/>
  <p:sldLayoutIdLst>
    <p:sldLayoutId id="2147484662" r:id="rId1"/>
    <p:sldLayoutId id="2147484663" r:id="rId2"/>
    <p:sldLayoutId id="2147484664" r:id="rId3"/>
    <p:sldLayoutId id="2147484665" r:id="rId4"/>
    <p:sldLayoutId id="2147484666" r:id="rId5"/>
    <p:sldLayoutId id="2147484667" r:id="rId6"/>
    <p:sldLayoutId id="2147484668" r:id="rId7"/>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 name="Title Placeholder 4"/>
          <p:cNvSpPr>
            <a:spLocks noGrp="1"/>
          </p:cNvSpPr>
          <p:nvPr>
            <p:ph type="title"/>
          </p:nvPr>
        </p:nvSpPr>
        <p:spPr>
          <a:xfrm>
            <a:off x="711200" y="15240"/>
            <a:ext cx="10844784" cy="802640"/>
          </a:xfrm>
          <a:prstGeom prst="rect">
            <a:avLst/>
          </a:prstGeom>
        </p:spPr>
        <p:txBody>
          <a:bodyPr lIns="0" anchor="b" anchorCtr="0">
            <a:noAutofit/>
          </a:bodyPr>
          <a:lstStyle/>
          <a:p>
            <a:r>
              <a:rPr kumimoji="0" lang="en-US" dirty="0"/>
              <a:t>CLICK TO EDIT MASTER TITLE STYLE</a:t>
            </a:r>
          </a:p>
        </p:txBody>
      </p:sp>
      <p:sp>
        <p:nvSpPr>
          <p:cNvPr id="9" name="Text Placeholder 8"/>
          <p:cNvSpPr>
            <a:spLocks noGrp="1"/>
          </p:cNvSpPr>
          <p:nvPr>
            <p:ph type="body" idx="1"/>
          </p:nvPr>
        </p:nvSpPr>
        <p:spPr>
          <a:xfrm>
            <a:off x="711200" y="1442720"/>
            <a:ext cx="10844784" cy="4374984"/>
          </a:xfrm>
          <a:prstGeom prst="rect">
            <a:avLst/>
          </a:prstGeom>
        </p:spPr>
        <p:txBody>
          <a:bodyPr lIns="0">
            <a:noAutofit/>
          </a:bodyPr>
          <a:lstStyle/>
          <a:p>
            <a:pPr lvl="0" eaLnBrk="1" latinLnBrk="0" hangingPunct="1"/>
            <a:r>
              <a:rPr kumimoji="0" lang="en-US" dirty="0"/>
              <a:t>Edit Master text styles</a:t>
            </a:r>
          </a:p>
          <a:p>
            <a:pPr lvl="1" eaLnBrk="1" latinLnBrk="0" hangingPunct="1"/>
            <a:r>
              <a:rPr kumimoji="0" lang="en-US" dirty="0"/>
              <a:t>Second level</a:t>
            </a:r>
          </a:p>
          <a:p>
            <a:pPr lvl="2" eaLnBrk="1" latinLnBrk="0" hangingPunct="1"/>
            <a:r>
              <a:rPr kumimoji="0" lang="en-US" dirty="0"/>
              <a:t>Third level</a:t>
            </a:r>
          </a:p>
          <a:p>
            <a:pPr lvl="3" eaLnBrk="1" latinLnBrk="0" hangingPunct="1"/>
            <a:r>
              <a:rPr kumimoji="0" lang="en-US" dirty="0"/>
              <a:t>Fourth level</a:t>
            </a:r>
          </a:p>
          <a:p>
            <a:pPr lvl="4" eaLnBrk="1" latinLnBrk="0" hangingPunct="1"/>
            <a:r>
              <a:rPr kumimoji="0" lang="en-US" dirty="0"/>
              <a:t>Fifth level</a:t>
            </a:r>
          </a:p>
        </p:txBody>
      </p:sp>
      <p:sp>
        <p:nvSpPr>
          <p:cNvPr id="22" name="Slide Number Placeholder 21"/>
          <p:cNvSpPr>
            <a:spLocks noGrp="1"/>
          </p:cNvSpPr>
          <p:nvPr>
            <p:ph type="sldNum" sz="quarter" idx="4"/>
          </p:nvPr>
        </p:nvSpPr>
        <p:spPr>
          <a:xfrm>
            <a:off x="11070194" y="6348646"/>
            <a:ext cx="609600" cy="476250"/>
          </a:xfrm>
          <a:prstGeom prst="rect">
            <a:avLst/>
          </a:prstGeom>
        </p:spPr>
        <p:txBody>
          <a:bodyPr anchor="b"/>
          <a:lstStyle>
            <a:lvl1pPr algn="r" eaLnBrk="1" latinLnBrk="0" hangingPunct="1">
              <a:defRPr kumimoji="0" sz="1100">
                <a:solidFill>
                  <a:srgbClr val="58585A"/>
                </a:solidFill>
                <a:effectLst/>
              </a:defRPr>
            </a:lvl1pPr>
          </a:lstStyle>
          <a:p>
            <a:fld id="{6F1E4F86-A831-49DA-96AB-4E5A3665936B}" type="slidenum">
              <a:rPr lang="en-US" smtClean="0"/>
              <a:pPr/>
              <a:t>‹#›</a:t>
            </a:fld>
            <a:endParaRPr lang="en-US" dirty="0"/>
          </a:p>
        </p:txBody>
      </p:sp>
      <p:sp>
        <p:nvSpPr>
          <p:cNvPr id="26" name="Line 26"/>
          <p:cNvSpPr>
            <a:spLocks noChangeShapeType="1"/>
          </p:cNvSpPr>
          <p:nvPr/>
        </p:nvSpPr>
        <p:spPr bwMode="auto">
          <a:xfrm>
            <a:off x="680484" y="958315"/>
            <a:ext cx="10898372" cy="0"/>
          </a:xfrm>
          <a:prstGeom prst="line">
            <a:avLst/>
          </a:prstGeom>
          <a:noFill/>
          <a:ln w="44450">
            <a:solidFill>
              <a:srgbClr val="9E9952"/>
            </a:solidFill>
            <a:round/>
            <a:headEnd/>
            <a:tailEnd/>
          </a:ln>
          <a:effectLst/>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ja-JP" altLang="en-US" sz="2800">
              <a:solidFill>
                <a:prstClr val="black"/>
              </a:solidFill>
              <a:cs typeface="Arial" charset="0"/>
            </a:endParaRPr>
          </a:p>
        </p:txBody>
      </p:sp>
      <p:sp>
        <p:nvSpPr>
          <p:cNvPr id="8" name="Line 26">
            <a:extLst>
              <a:ext uri="{FF2B5EF4-FFF2-40B4-BE49-F238E27FC236}">
                <a16:creationId xmlns:a16="http://schemas.microsoft.com/office/drawing/2014/main" id="{B05A2B24-26E5-144A-A3FB-29DE0AECB07B}"/>
              </a:ext>
            </a:extLst>
          </p:cNvPr>
          <p:cNvSpPr>
            <a:spLocks noChangeShapeType="1"/>
          </p:cNvSpPr>
          <p:nvPr userDrawn="1"/>
        </p:nvSpPr>
        <p:spPr bwMode="auto">
          <a:xfrm>
            <a:off x="680484" y="6541598"/>
            <a:ext cx="10898372" cy="0"/>
          </a:xfrm>
          <a:prstGeom prst="line">
            <a:avLst/>
          </a:prstGeom>
          <a:noFill/>
          <a:ln w="19050">
            <a:solidFill>
              <a:srgbClr val="9E9952"/>
            </a:solidFill>
            <a:round/>
            <a:headEnd/>
            <a:tailEnd/>
          </a:ln>
          <a:effectLst/>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ja-JP" altLang="en-US" sz="2800">
              <a:solidFill>
                <a:prstClr val="black"/>
              </a:solidFill>
              <a:cs typeface="Arial" charset="0"/>
            </a:endParaRPr>
          </a:p>
        </p:txBody>
      </p:sp>
    </p:spTree>
    <p:custDataLst>
      <p:tags r:id="rId5"/>
    </p:custDataLst>
    <p:extLst>
      <p:ext uri="{BB962C8B-B14F-4D97-AF65-F5344CB8AC3E}">
        <p14:creationId xmlns:p14="http://schemas.microsoft.com/office/powerpoint/2010/main" val="1140065271"/>
      </p:ext>
    </p:extLst>
  </p:cSld>
  <p:clrMap bg1="lt1" tx1="dk1" bg2="lt2" tx2="dk2" accent1="accent1" accent2="accent2" accent3="accent3" accent4="accent4" accent5="accent5" accent6="accent6" hlink="hlink" folHlink="folHlink"/>
  <p:sldLayoutIdLst>
    <p:sldLayoutId id="2147484670" r:id="rId1"/>
    <p:sldLayoutId id="2147484671" r:id="rId2"/>
    <p:sldLayoutId id="2147484672" r:id="rId3"/>
  </p:sldLayoutIdLst>
  <p:transition>
    <p:fade/>
  </p:transition>
  <p:hf hdr="0" dt="0"/>
  <p:txStyles>
    <p:titleStyle>
      <a:lvl1pPr algn="ctr" rtl="0" eaLnBrk="1" latinLnBrk="0" hangingPunct="1">
        <a:lnSpc>
          <a:spcPct val="90000"/>
        </a:lnSpc>
        <a:spcBef>
          <a:spcPct val="0"/>
        </a:spcBef>
        <a:buNone/>
        <a:defRPr kumimoji="0" sz="2800" b="1" kern="1200">
          <a:solidFill>
            <a:srgbClr val="58585A"/>
          </a:solidFill>
          <a:effectLst/>
          <a:latin typeface="+mj-lt"/>
          <a:ea typeface="+mj-ea"/>
          <a:cs typeface="+mj-cs"/>
        </a:defRPr>
      </a:lvl1pPr>
    </p:titleStyle>
    <p:bodyStyle>
      <a:lvl1pPr marL="203200" indent="-201613" algn="l" rtl="0" eaLnBrk="1" latinLnBrk="0" hangingPunct="1">
        <a:lnSpc>
          <a:spcPct val="90000"/>
        </a:lnSpc>
        <a:spcBef>
          <a:spcPts val="200"/>
        </a:spcBef>
        <a:spcAft>
          <a:spcPts val="600"/>
        </a:spcAft>
        <a:buClr>
          <a:srgbClr val="855D3E"/>
        </a:buClr>
        <a:buSzPct val="100000"/>
        <a:buFont typeface="Arial" panose="020B0604020202020204" pitchFamily="34" charset="0"/>
        <a:buChar char="•"/>
        <a:defRPr kumimoji="0" sz="2300" kern="1200">
          <a:solidFill>
            <a:schemeClr val="tx1">
              <a:lumMod val="65000"/>
              <a:lumOff val="35000"/>
            </a:schemeClr>
          </a:solidFill>
          <a:latin typeface="+mn-lt"/>
          <a:ea typeface="+mn-ea"/>
          <a:cs typeface="+mn-cs"/>
        </a:defRPr>
      </a:lvl1pPr>
      <a:lvl2pPr marL="511175" indent="-246063" algn="l" rtl="0" eaLnBrk="1" latinLnBrk="0" hangingPunct="1">
        <a:lnSpc>
          <a:spcPct val="90000"/>
        </a:lnSpc>
        <a:spcBef>
          <a:spcPts val="200"/>
        </a:spcBef>
        <a:spcAft>
          <a:spcPts val="600"/>
        </a:spcAft>
        <a:buClr>
          <a:srgbClr val="855D3E"/>
        </a:buClr>
        <a:buFont typeface="Arial" panose="020B0604020202020204" pitchFamily="34" charset="0"/>
        <a:buChar char="–"/>
        <a:defRPr kumimoji="0" sz="2000" kern="1200">
          <a:solidFill>
            <a:schemeClr val="tx1">
              <a:lumMod val="65000"/>
              <a:lumOff val="35000"/>
            </a:schemeClr>
          </a:solidFill>
          <a:latin typeface="+mn-lt"/>
          <a:ea typeface="+mn-ea"/>
          <a:cs typeface="+mn-cs"/>
        </a:defRPr>
      </a:lvl2pPr>
      <a:lvl3pPr marL="731838" indent="-176213" algn="l" rtl="0" eaLnBrk="1" latinLnBrk="0" hangingPunct="1">
        <a:lnSpc>
          <a:spcPct val="90000"/>
        </a:lnSpc>
        <a:spcBef>
          <a:spcPts val="200"/>
        </a:spcBef>
        <a:spcAft>
          <a:spcPts val="600"/>
        </a:spcAft>
        <a:buClr>
          <a:srgbClr val="855D3E"/>
        </a:buClr>
        <a:buSzPct val="100000"/>
        <a:buFont typeface="Arial" panose="020B0604020202020204" pitchFamily="34" charset="0"/>
        <a:buChar char="•"/>
        <a:defRPr kumimoji="0" sz="1800" kern="1200">
          <a:solidFill>
            <a:schemeClr val="tx1">
              <a:lumMod val="65000"/>
              <a:lumOff val="35000"/>
            </a:schemeClr>
          </a:solidFill>
          <a:latin typeface="+mn-lt"/>
          <a:ea typeface="+mn-ea"/>
          <a:cs typeface="+mn-cs"/>
        </a:defRPr>
      </a:lvl3pPr>
      <a:lvl4pPr marL="995363" indent="-173038" algn="l" rtl="0" eaLnBrk="1" latinLnBrk="0" hangingPunct="1">
        <a:lnSpc>
          <a:spcPct val="90000"/>
        </a:lnSpc>
        <a:spcBef>
          <a:spcPts val="200"/>
        </a:spcBef>
        <a:spcAft>
          <a:spcPts val="600"/>
        </a:spcAft>
        <a:buClr>
          <a:srgbClr val="855D3E"/>
        </a:buClr>
        <a:buFont typeface="Arial" panose="020B0604020202020204" pitchFamily="34" charset="0"/>
        <a:buChar char="–"/>
        <a:defRPr kumimoji="0" sz="1600" kern="1200">
          <a:solidFill>
            <a:schemeClr val="tx1">
              <a:lumMod val="65000"/>
              <a:lumOff val="35000"/>
            </a:schemeClr>
          </a:solidFill>
          <a:latin typeface="+mn-lt"/>
          <a:ea typeface="+mn-ea"/>
          <a:cs typeface="+mn-cs"/>
        </a:defRPr>
      </a:lvl4pPr>
      <a:lvl5pPr marL="1203325" indent="-150813" algn="l" rtl="0" eaLnBrk="1" latinLnBrk="0" hangingPunct="1">
        <a:lnSpc>
          <a:spcPct val="90000"/>
        </a:lnSpc>
        <a:spcBef>
          <a:spcPts val="200"/>
        </a:spcBef>
        <a:spcAft>
          <a:spcPts val="600"/>
        </a:spcAft>
        <a:buClr>
          <a:srgbClr val="855D3E"/>
        </a:buClr>
        <a:buSzPct val="100000"/>
        <a:buFont typeface="Arial" panose="020B0604020202020204" pitchFamily="34" charset="0"/>
        <a:buChar char="•"/>
        <a:defRPr kumimoji="0" sz="1600" kern="1200">
          <a:solidFill>
            <a:schemeClr val="tx1">
              <a:lumMod val="65000"/>
              <a:lumOff val="35000"/>
            </a:schemeClr>
          </a:solidFill>
          <a:latin typeface="+mn-lt"/>
          <a:ea typeface="+mn-ea"/>
          <a:cs typeface="+mn-cs"/>
        </a:defRPr>
      </a:lvl5pPr>
      <a:lvl6pPr marL="1508760" indent="-182880" algn="l" rtl="0" eaLnBrk="1" latinLnBrk="0" hangingPunct="1">
        <a:lnSpc>
          <a:spcPct val="100000"/>
        </a:lnSpc>
        <a:spcBef>
          <a:spcPct val="20000"/>
        </a:spcBef>
        <a:buClr>
          <a:schemeClr val="accent5"/>
        </a:buClr>
        <a:buFont typeface="Wingdings 2"/>
        <a:buChar char=""/>
        <a:defRPr kumimoji="0" sz="2000" kern="1200">
          <a:solidFill>
            <a:schemeClr val="tx1"/>
          </a:solidFill>
          <a:latin typeface="+mn-lt"/>
          <a:ea typeface="+mn-ea"/>
          <a:cs typeface="+mn-cs"/>
        </a:defRPr>
      </a:lvl6pPr>
      <a:lvl7pPr marL="1719072"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7pPr>
      <a:lvl8pPr marL="1920240"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8pPr>
      <a:lvl9pPr marL="2130552"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149DCF4C-E0F3-9543-96AC-16BB47958FC7}"/>
              </a:ext>
            </a:extLst>
          </p:cNvPr>
          <p:cNvSpPr>
            <a:spLocks noGrp="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dirty="0"/>
              <a:t>Click to edit Master title style</a:t>
            </a:r>
          </a:p>
        </p:txBody>
      </p:sp>
      <p:sp>
        <p:nvSpPr>
          <p:cNvPr id="8" name="Text Placeholder 2">
            <a:extLst>
              <a:ext uri="{FF2B5EF4-FFF2-40B4-BE49-F238E27FC236}">
                <a16:creationId xmlns:a16="http://schemas.microsoft.com/office/drawing/2014/main" id="{DE9748FD-8B46-154E-9168-B26F0CE45FC4}"/>
              </a:ext>
            </a:extLst>
          </p:cNvPr>
          <p:cNvSpPr>
            <a:spLocks noGrp="1"/>
          </p:cNvSpPr>
          <p:nvPr>
            <p:ph type="body" idx="1"/>
          </p:nvPr>
        </p:nvSpPr>
        <p:spPr bwMode="auto">
          <a:xfrm>
            <a:off x="609600" y="1600200"/>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dirty="0"/>
              <a:t>Click to edit Master text styles</a:t>
            </a:r>
          </a:p>
          <a:p>
            <a:pPr lvl="1"/>
            <a:r>
              <a:rPr lang="en-US" altLang="en-US" dirty="0"/>
              <a:t>Second level</a:t>
            </a:r>
          </a:p>
          <a:p>
            <a:pPr lvl="2"/>
            <a:r>
              <a:rPr lang="en-US" altLang="en-US" dirty="0"/>
              <a:t>Third level</a:t>
            </a:r>
          </a:p>
          <a:p>
            <a:pPr lvl="3"/>
            <a:r>
              <a:rPr lang="en-US" altLang="en-US" dirty="0"/>
              <a:t>Fourth level</a:t>
            </a:r>
          </a:p>
        </p:txBody>
      </p:sp>
    </p:spTree>
    <p:extLst>
      <p:ext uri="{BB962C8B-B14F-4D97-AF65-F5344CB8AC3E}">
        <p14:creationId xmlns:p14="http://schemas.microsoft.com/office/powerpoint/2010/main" val="3980894009"/>
      </p:ext>
    </p:extLst>
  </p:cSld>
  <p:clrMap bg1="lt1" tx1="dk1" bg2="lt2" tx2="dk2" accent1="accent1" accent2="accent2" accent3="accent3" accent4="accent4" accent5="accent5" accent6="accent6" hlink="hlink" folHlink="folHlink"/>
  <p:sldLayoutIdLst>
    <p:sldLayoutId id="2147484674" r:id="rId1"/>
    <p:sldLayoutId id="2147484675" r:id="rId2"/>
    <p:sldLayoutId id="2147484676" r:id="rId3"/>
    <p:sldLayoutId id="2147484677" r:id="rId4"/>
    <p:sldLayoutId id="2147484678" r:id="rId5"/>
    <p:sldLayoutId id="2147484679" r:id="rId6"/>
  </p:sldLayoutIdLst>
  <p:txStyles>
    <p:titleStyle>
      <a:lvl1pPr algn="ctr" defTabSz="914400" rtl="0" eaLnBrk="1" latinLnBrk="0" hangingPunct="1">
        <a:lnSpc>
          <a:spcPct val="90000"/>
        </a:lnSpc>
        <a:spcBef>
          <a:spcPct val="0"/>
        </a:spcBef>
        <a:buNone/>
        <a:defRPr sz="2800" b="1" kern="1200">
          <a:solidFill>
            <a:schemeClr val="tx2"/>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2400" b="1"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Clr>
          <a:schemeClr val="accent2"/>
        </a:buClr>
        <a:buFont typeface="Arial" panose="020B0604020202020204" pitchFamily="34" charset="0"/>
        <a:buChar char="•"/>
        <a:defRPr sz="2000" b="1"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Clr>
          <a:schemeClr val="accent2"/>
        </a:buClr>
        <a:buFont typeface="Courier New" panose="02070309020205020404" pitchFamily="49" charset="0"/>
        <a:buChar char="o"/>
        <a:defRPr sz="1600" b="1"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Clr>
          <a:schemeClr val="accent2"/>
        </a:buClr>
        <a:buFont typeface="Courier New" panose="02070309020205020404" pitchFamily="49" charset="0"/>
        <a:buChar char="o"/>
        <a:defRPr sz="1000" b="1"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F386A1A-DEC6-3449-80D5-07CC436D884D}"/>
              </a:ext>
            </a:extLst>
          </p:cNvPr>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E26D757-579E-2C4C-B9AA-394F7C27BF0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014CB69-EF4E-9C4F-947E-AACC8252C93F}"/>
              </a:ext>
            </a:extLst>
          </p:cNvPr>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0A69DFB7-5244-6745-9F37-EE2CBB7E3229}" type="datetimeFigureOut">
              <a:rPr lang="en-US" smtClean="0"/>
              <a:t>1/31/23</a:t>
            </a:fld>
            <a:endParaRPr lang="en-US"/>
          </a:p>
        </p:txBody>
      </p:sp>
      <p:sp>
        <p:nvSpPr>
          <p:cNvPr id="5" name="Footer Placeholder 4">
            <a:extLst>
              <a:ext uri="{FF2B5EF4-FFF2-40B4-BE49-F238E27FC236}">
                <a16:creationId xmlns:a16="http://schemas.microsoft.com/office/drawing/2014/main" id="{619B0366-8276-3A44-BD86-9F40327E2858}"/>
              </a:ext>
            </a:extLst>
          </p:cNvPr>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800243F0-C46D-3248-BE0C-4AB753CA6441}"/>
              </a:ext>
            </a:extLst>
          </p:cNvPr>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5BC41731-BAB7-1448-8879-77157DEE163E}" type="slidenum">
              <a:rPr lang="en-US" smtClean="0"/>
              <a:t>‹#›</a:t>
            </a:fld>
            <a:endParaRPr lang="en-US"/>
          </a:p>
        </p:txBody>
      </p:sp>
    </p:spTree>
    <p:extLst>
      <p:ext uri="{BB962C8B-B14F-4D97-AF65-F5344CB8AC3E}">
        <p14:creationId xmlns:p14="http://schemas.microsoft.com/office/powerpoint/2010/main" val="4035633192"/>
      </p:ext>
    </p:extLst>
  </p:cSld>
  <p:clrMap bg1="lt1" tx1="dk1" bg2="lt2" tx2="dk2" accent1="accent1" accent2="accent2" accent3="accent3" accent4="accent4" accent5="accent5" accent6="accent6" hlink="hlink" folHlink="folHlink"/>
  <p:sldLayoutIdLst>
    <p:sldLayoutId id="2147484577" r:id="rId1"/>
    <p:sldLayoutId id="2147484578" r:id="rId2"/>
    <p:sldLayoutId id="2147484579" r:id="rId3"/>
    <p:sldLayoutId id="2147484580" r:id="rId4"/>
    <p:sldLayoutId id="2147484581" r:id="rId5"/>
    <p:sldLayoutId id="2147484582" r:id="rId6"/>
    <p:sldLayoutId id="2147484583" r:id="rId7"/>
    <p:sldLayoutId id="2147484584" r:id="rId8"/>
    <p:sldLayoutId id="2147484585" r:id="rId9"/>
    <p:sldLayoutId id="2147484586" r:id="rId10"/>
    <p:sldLayoutId id="2147484587" r:id="rId11"/>
    <p:sldLayoutId id="2147484588" r:id="rId12"/>
    <p:sldLayoutId id="2147484589" r:id="rId13"/>
    <p:sldLayoutId id="2147484590" r:id="rId14"/>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gradFill rotWithShape="0">
          <a:gsLst>
            <a:gs pos="0">
              <a:srgbClr val="00001E"/>
            </a:gs>
            <a:gs pos="100000">
              <a:srgbClr val="000040"/>
            </a:gs>
          </a:gsLst>
          <a:lin ang="5400000" scaled="1"/>
        </a:gra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914400" y="609600"/>
            <a:ext cx="10363200" cy="1143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Rectangle 3"/>
          <p:cNvSpPr>
            <a:spLocks noGrp="1" noChangeArrowheads="1"/>
          </p:cNvSpPr>
          <p:nvPr>
            <p:ph type="body" idx="1"/>
          </p:nvPr>
        </p:nvSpPr>
        <p:spPr bwMode="auto">
          <a:xfrm>
            <a:off x="914400" y="1981200"/>
            <a:ext cx="10363200" cy="411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028" name="Rectangle 4"/>
          <p:cNvSpPr>
            <a:spLocks noGrp="1" noChangeArrowheads="1"/>
          </p:cNvSpPr>
          <p:nvPr>
            <p:ph type="dt" sz="half" idx="2"/>
          </p:nvPr>
        </p:nvSpPr>
        <p:spPr bwMode="auto">
          <a:xfrm>
            <a:off x="914400" y="6248400"/>
            <a:ext cx="2540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sz="1400" dirty="0"/>
            </a:lvl1pPr>
          </a:lstStyle>
          <a:p>
            <a:pPr eaLnBrk="0" fontAlgn="base" hangingPunct="0">
              <a:spcBef>
                <a:spcPct val="0"/>
              </a:spcBef>
              <a:spcAft>
                <a:spcPct val="0"/>
              </a:spcAft>
              <a:defRPr/>
            </a:pPr>
            <a:endParaRPr lang="en-US">
              <a:solidFill>
                <a:srgbClr val="000000"/>
              </a:solidFill>
            </a:endParaRPr>
          </a:p>
        </p:txBody>
      </p:sp>
      <p:sp>
        <p:nvSpPr>
          <p:cNvPr id="1029" name="Rectangle 5"/>
          <p:cNvSpPr>
            <a:spLocks noGrp="1" noChangeArrowheads="1"/>
          </p:cNvSpPr>
          <p:nvPr>
            <p:ph type="ftr" sz="quarter" idx="3"/>
          </p:nvPr>
        </p:nvSpPr>
        <p:spPr bwMode="auto">
          <a:xfrm>
            <a:off x="4165600" y="6248400"/>
            <a:ext cx="3860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a:defRPr sz="1400" dirty="0"/>
            </a:lvl1pPr>
          </a:lstStyle>
          <a:p>
            <a:pPr eaLnBrk="0" fontAlgn="base" hangingPunct="0">
              <a:spcBef>
                <a:spcPct val="0"/>
              </a:spcBef>
              <a:spcAft>
                <a:spcPct val="0"/>
              </a:spcAft>
              <a:defRPr/>
            </a:pPr>
            <a:endParaRPr lang="en-US">
              <a:solidFill>
                <a:srgbClr val="000000"/>
              </a:solidFill>
            </a:endParaRPr>
          </a:p>
        </p:txBody>
      </p:sp>
      <p:sp>
        <p:nvSpPr>
          <p:cNvPr id="1030" name="Rectangle 6"/>
          <p:cNvSpPr>
            <a:spLocks noGrp="1" noChangeArrowheads="1"/>
          </p:cNvSpPr>
          <p:nvPr>
            <p:ph type="sldNum" sz="quarter" idx="4"/>
          </p:nvPr>
        </p:nvSpPr>
        <p:spPr bwMode="auto">
          <a:xfrm>
            <a:off x="8737600" y="6248400"/>
            <a:ext cx="2540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400"/>
            </a:lvl1pPr>
          </a:lstStyle>
          <a:p>
            <a:pPr eaLnBrk="0" fontAlgn="base" hangingPunct="0">
              <a:spcBef>
                <a:spcPct val="0"/>
              </a:spcBef>
              <a:spcAft>
                <a:spcPct val="0"/>
              </a:spcAft>
              <a:defRPr/>
            </a:pPr>
            <a:fld id="{D669C0A3-6C44-419B-ACE2-A9843DEEFDE9}" type="slidenum">
              <a:rPr lang="en-US">
                <a:solidFill>
                  <a:srgbClr val="000000"/>
                </a:solidFill>
              </a:rPr>
              <a:pPr eaLnBrk="0" fontAlgn="base" hangingPunct="0">
                <a:spcBef>
                  <a:spcPct val="0"/>
                </a:spcBef>
                <a:spcAft>
                  <a:spcPct val="0"/>
                </a:spcAft>
                <a:defRPr/>
              </a:pPr>
              <a:t>‹#›</a:t>
            </a:fld>
            <a:endParaRPr lang="en-US" dirty="0">
              <a:solidFill>
                <a:srgbClr val="000000"/>
              </a:solidFill>
            </a:endParaRPr>
          </a:p>
        </p:txBody>
      </p:sp>
    </p:spTree>
    <p:extLst>
      <p:ext uri="{BB962C8B-B14F-4D97-AF65-F5344CB8AC3E}">
        <p14:creationId xmlns:p14="http://schemas.microsoft.com/office/powerpoint/2010/main" val="1683420693"/>
      </p:ext>
    </p:extLst>
  </p:cSld>
  <p:clrMap bg1="lt1" tx1="dk1" bg2="lt2" tx2="dk2" accent1="accent1" accent2="accent2" accent3="accent3" accent4="accent4" accent5="accent5" accent6="accent6" hlink="hlink" folHlink="folHlink"/>
  <p:sldLayoutIdLst>
    <p:sldLayoutId id="2147484592" r:id="rId1"/>
    <p:sldLayoutId id="2147484593" r:id="rId2"/>
    <p:sldLayoutId id="2147484594" r:id="rId3"/>
    <p:sldLayoutId id="2147484595" r:id="rId4"/>
    <p:sldLayoutId id="2147484596" r:id="rId5"/>
    <p:sldLayoutId id="2147484597" r:id="rId6"/>
    <p:sldLayoutId id="2147484598" r:id="rId7"/>
    <p:sldLayoutId id="2147484599" r:id="rId8"/>
    <p:sldLayoutId id="2147484600" r:id="rId9"/>
    <p:sldLayoutId id="2147484601" r:id="rId10"/>
    <p:sldLayoutId id="2147484602" r:id="rId11"/>
    <p:sldLayoutId id="2147484603" r:id="rId12"/>
    <p:sldLayoutId id="2147484604" r:id="rId13"/>
  </p:sldLayoutIdLst>
  <p:hf sldNum="0" hdr="0" ftr="0" dt="0"/>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Times New Roman" pitchFamily="18" charset="0"/>
        </a:defRPr>
      </a:lvl2pPr>
      <a:lvl3pPr algn="ctr" rtl="0" eaLnBrk="0" fontAlgn="base" hangingPunct="0">
        <a:spcBef>
          <a:spcPct val="0"/>
        </a:spcBef>
        <a:spcAft>
          <a:spcPct val="0"/>
        </a:spcAft>
        <a:defRPr sz="4400">
          <a:solidFill>
            <a:schemeClr val="tx2"/>
          </a:solidFill>
          <a:latin typeface="Times New Roman" pitchFamily="18" charset="0"/>
        </a:defRPr>
      </a:lvl3pPr>
      <a:lvl4pPr algn="ctr" rtl="0" eaLnBrk="0" fontAlgn="base" hangingPunct="0">
        <a:spcBef>
          <a:spcPct val="0"/>
        </a:spcBef>
        <a:spcAft>
          <a:spcPct val="0"/>
        </a:spcAft>
        <a:defRPr sz="4400">
          <a:solidFill>
            <a:schemeClr val="tx2"/>
          </a:solidFill>
          <a:latin typeface="Times New Roman" pitchFamily="18" charset="0"/>
        </a:defRPr>
      </a:lvl4pPr>
      <a:lvl5pPr algn="ctr" rtl="0" eaLnBrk="0" fontAlgn="base" hangingPunct="0">
        <a:spcBef>
          <a:spcPct val="0"/>
        </a:spcBef>
        <a:spcAft>
          <a:spcPct val="0"/>
        </a:spcAft>
        <a:defRPr sz="4400">
          <a:solidFill>
            <a:schemeClr val="tx2"/>
          </a:solidFill>
          <a:latin typeface="Times New Roman" pitchFamily="18" charset="0"/>
        </a:defRPr>
      </a:lvl5pPr>
      <a:lvl6pPr marL="457200" algn="ctr" rtl="0" eaLnBrk="0" fontAlgn="base" hangingPunct="0">
        <a:spcBef>
          <a:spcPct val="0"/>
        </a:spcBef>
        <a:spcAft>
          <a:spcPct val="0"/>
        </a:spcAft>
        <a:defRPr sz="4400">
          <a:solidFill>
            <a:schemeClr val="tx2"/>
          </a:solidFill>
          <a:latin typeface="Times New Roman" pitchFamily="18" charset="0"/>
        </a:defRPr>
      </a:lvl6pPr>
      <a:lvl7pPr marL="914400" algn="ctr" rtl="0" eaLnBrk="0" fontAlgn="base" hangingPunct="0">
        <a:spcBef>
          <a:spcPct val="0"/>
        </a:spcBef>
        <a:spcAft>
          <a:spcPct val="0"/>
        </a:spcAft>
        <a:defRPr sz="4400">
          <a:solidFill>
            <a:schemeClr val="tx2"/>
          </a:solidFill>
          <a:latin typeface="Times New Roman" pitchFamily="18" charset="0"/>
        </a:defRPr>
      </a:lvl7pPr>
      <a:lvl8pPr marL="1371600" algn="ctr" rtl="0" eaLnBrk="0" fontAlgn="base" hangingPunct="0">
        <a:spcBef>
          <a:spcPct val="0"/>
        </a:spcBef>
        <a:spcAft>
          <a:spcPct val="0"/>
        </a:spcAft>
        <a:defRPr sz="4400">
          <a:solidFill>
            <a:schemeClr val="tx2"/>
          </a:solidFill>
          <a:latin typeface="Times New Roman" pitchFamily="18" charset="0"/>
        </a:defRPr>
      </a:lvl8pPr>
      <a:lvl9pPr marL="1828800" algn="ctr" rtl="0" eaLnBrk="0" fontAlgn="base" hangingPunct="0">
        <a:spcBef>
          <a:spcPct val="0"/>
        </a:spcBef>
        <a:spcAft>
          <a:spcPct val="0"/>
        </a:spcAft>
        <a:defRPr sz="4400">
          <a:solidFill>
            <a:schemeClr val="tx2"/>
          </a:solidFill>
          <a:latin typeface="Times New Roman" pitchFamily="18"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eaLnBrk="0" fontAlgn="base" hangingPunct="0">
        <a:spcBef>
          <a:spcPct val="20000"/>
        </a:spcBef>
        <a:spcAft>
          <a:spcPct val="0"/>
        </a:spcAft>
        <a:buChar char="»"/>
        <a:defRPr sz="2000">
          <a:solidFill>
            <a:schemeClr val="tx1"/>
          </a:solidFill>
          <a:latin typeface="+mn-lt"/>
        </a:defRPr>
      </a:lvl6pPr>
      <a:lvl7pPr marL="2971800" indent="-228600" algn="l" rtl="0" eaLnBrk="0" fontAlgn="base" hangingPunct="0">
        <a:spcBef>
          <a:spcPct val="20000"/>
        </a:spcBef>
        <a:spcAft>
          <a:spcPct val="0"/>
        </a:spcAft>
        <a:buChar char="»"/>
        <a:defRPr sz="2000">
          <a:solidFill>
            <a:schemeClr val="tx1"/>
          </a:solidFill>
          <a:latin typeface="+mn-lt"/>
        </a:defRPr>
      </a:lvl7pPr>
      <a:lvl8pPr marL="3429000" indent="-228600" algn="l" rtl="0" eaLnBrk="0" fontAlgn="base" hangingPunct="0">
        <a:spcBef>
          <a:spcPct val="20000"/>
        </a:spcBef>
        <a:spcAft>
          <a:spcPct val="0"/>
        </a:spcAft>
        <a:buChar char="»"/>
        <a:defRPr sz="2000">
          <a:solidFill>
            <a:schemeClr val="tx1"/>
          </a:solidFill>
          <a:latin typeface="+mn-lt"/>
        </a:defRPr>
      </a:lvl8pPr>
      <a:lvl9pPr marL="3886200" indent="-228600" algn="l" rtl="0" eaLnBrk="0" fontAlgn="base" hangingPunct="0">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29169" y="188916"/>
            <a:ext cx="11133667" cy="1008061"/>
          </a:xfrm>
          <a:prstGeom prst="rect">
            <a:avLst/>
          </a:prstGeom>
        </p:spPr>
        <p:txBody>
          <a:bodyPr vert="horz" lIns="0" tIns="0" rIns="0" bIns="0" rtlCol="0" anchor="b">
            <a:noAutofit/>
          </a:bodyPr>
          <a:lstStyle/>
          <a:p>
            <a:r>
              <a:rPr lang="en-US" dirty="0"/>
              <a:t>Click to edit Master title style</a:t>
            </a:r>
            <a:endParaRPr lang="en-GB" dirty="0"/>
          </a:p>
        </p:txBody>
      </p:sp>
      <p:sp>
        <p:nvSpPr>
          <p:cNvPr id="3" name="Text Placeholder 2"/>
          <p:cNvSpPr>
            <a:spLocks noGrp="1"/>
          </p:cNvSpPr>
          <p:nvPr>
            <p:ph type="body" idx="1"/>
          </p:nvPr>
        </p:nvSpPr>
        <p:spPr>
          <a:xfrm>
            <a:off x="529169" y="1470025"/>
            <a:ext cx="11133667" cy="4656139"/>
          </a:xfrm>
          <a:prstGeom prst="rect">
            <a:avLst/>
          </a:prstGeom>
        </p:spPr>
        <p:txBody>
          <a:bodyPr vert="horz" lIns="0" tIns="0" rIns="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Slide Number Placeholder 3">
            <a:extLst>
              <a:ext uri="{FF2B5EF4-FFF2-40B4-BE49-F238E27FC236}">
                <a16:creationId xmlns:a16="http://schemas.microsoft.com/office/drawing/2014/main" id="{E3519A49-08BC-4E40-AD04-3B52DEE6B414}"/>
              </a:ext>
            </a:extLst>
          </p:cNvPr>
          <p:cNvSpPr>
            <a:spLocks noGrp="1"/>
          </p:cNvSpPr>
          <p:nvPr>
            <p:ph type="sldNum" sz="quarter" idx="4"/>
          </p:nvPr>
        </p:nvSpPr>
        <p:spPr>
          <a:xfrm>
            <a:off x="11856222" y="-14681"/>
            <a:ext cx="255180" cy="366183"/>
          </a:xfrm>
          <a:prstGeom prst="rect">
            <a:avLst/>
          </a:prstGeom>
        </p:spPr>
        <p:txBody>
          <a:bodyPr vert="horz" lIns="18288" tIns="18288" rIns="18288" bIns="18288" rtlCol="0" anchor="ctr"/>
          <a:lstStyle>
            <a:lvl1pPr algn="r">
              <a:defRPr sz="1067">
                <a:solidFill>
                  <a:schemeClr val="tx1"/>
                </a:solidFill>
              </a:defRPr>
            </a:lvl1pPr>
          </a:lstStyle>
          <a:p>
            <a:fld id="{A20F318D-AF3A-44CE-8FC7-7D05504DBF73}" type="slidenum">
              <a:rPr lang="en-GB" smtClean="0"/>
              <a:pPr/>
              <a:t>‹#›</a:t>
            </a:fld>
            <a:endParaRPr lang="en-GB" dirty="0"/>
          </a:p>
        </p:txBody>
      </p:sp>
    </p:spTree>
    <p:extLst>
      <p:ext uri="{BB962C8B-B14F-4D97-AF65-F5344CB8AC3E}">
        <p14:creationId xmlns:p14="http://schemas.microsoft.com/office/powerpoint/2010/main" val="916989548"/>
      </p:ext>
    </p:extLst>
  </p:cSld>
  <p:clrMap bg1="lt1" tx1="dk1" bg2="lt2" tx2="dk2" accent1="accent1" accent2="accent2" accent3="accent3" accent4="accent4" accent5="accent5" accent6="accent6" hlink="hlink" folHlink="folHlink"/>
  <p:sldLayoutIdLst>
    <p:sldLayoutId id="2147484606" r:id="rId1"/>
    <p:sldLayoutId id="2147484607" r:id="rId2"/>
    <p:sldLayoutId id="2147484608" r:id="rId3"/>
    <p:sldLayoutId id="2147484609" r:id="rId4"/>
    <p:sldLayoutId id="2147484610" r:id="rId5"/>
    <p:sldLayoutId id="2147484611" r:id="rId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354" rtl="0" eaLnBrk="1" latinLnBrk="0" hangingPunct="1">
        <a:spcBef>
          <a:spcPts val="400"/>
        </a:spcBef>
        <a:spcAft>
          <a:spcPts val="400"/>
        </a:spcAft>
        <a:buNone/>
        <a:defRPr sz="2800" b="1" kern="1200">
          <a:solidFill>
            <a:srgbClr val="000000"/>
          </a:solidFill>
          <a:latin typeface="+mj-lt"/>
          <a:ea typeface="+mj-ea"/>
          <a:cs typeface="+mj-cs"/>
        </a:defRPr>
      </a:lvl1pPr>
    </p:titleStyle>
    <p:bodyStyle>
      <a:lvl1pPr marL="177792" indent="-177792" algn="l" defTabSz="914354" rtl="0" eaLnBrk="1" latinLnBrk="0" hangingPunct="1">
        <a:spcBef>
          <a:spcPts val="600"/>
        </a:spcBef>
        <a:spcAft>
          <a:spcPts val="600"/>
        </a:spcAft>
        <a:buClr>
          <a:schemeClr val="tx2"/>
        </a:buClr>
        <a:buFont typeface="Arial" pitchFamily="34" charset="0"/>
        <a:buChar char="•"/>
        <a:defRPr sz="1867" kern="1200">
          <a:solidFill>
            <a:srgbClr val="000000"/>
          </a:solidFill>
          <a:latin typeface="+mn-lt"/>
          <a:ea typeface="+mn-ea"/>
          <a:cs typeface="+mn-cs"/>
        </a:defRPr>
      </a:lvl1pPr>
      <a:lvl2pPr marL="450827" indent="-273037" algn="l" defTabSz="914354" rtl="0" eaLnBrk="1" latinLnBrk="0" hangingPunct="1">
        <a:spcBef>
          <a:spcPts val="0"/>
        </a:spcBef>
        <a:spcAft>
          <a:spcPts val="600"/>
        </a:spcAft>
        <a:buClr>
          <a:schemeClr val="tx2"/>
        </a:buClr>
        <a:buFont typeface="Arial" pitchFamily="34" charset="0"/>
        <a:buChar char="–"/>
        <a:defRPr sz="1600" kern="1200">
          <a:solidFill>
            <a:srgbClr val="000000"/>
          </a:solidFill>
          <a:latin typeface="+mn-lt"/>
          <a:ea typeface="+mn-ea"/>
          <a:cs typeface="+mn-cs"/>
        </a:defRPr>
      </a:lvl2pPr>
      <a:lvl3pPr marL="628619" indent="-177792" algn="l" defTabSz="914354" rtl="0" eaLnBrk="1" latinLnBrk="0" hangingPunct="1">
        <a:spcBef>
          <a:spcPts val="0"/>
        </a:spcBef>
        <a:spcAft>
          <a:spcPts val="600"/>
        </a:spcAft>
        <a:buClr>
          <a:schemeClr val="tx2"/>
        </a:buClr>
        <a:buFont typeface="Arial" pitchFamily="34" charset="0"/>
        <a:buChar char="•"/>
        <a:tabLst>
          <a:tab pos="628619" algn="l"/>
        </a:tabLst>
        <a:defRPr sz="1400" kern="1200">
          <a:solidFill>
            <a:srgbClr val="000000"/>
          </a:solidFill>
          <a:latin typeface="+mn-lt"/>
          <a:ea typeface="+mn-ea"/>
          <a:cs typeface="+mn-cs"/>
        </a:defRPr>
      </a:lvl3pPr>
      <a:lvl4pPr marL="806411" indent="-177792" algn="l" defTabSz="914354" rtl="0" eaLnBrk="1" latinLnBrk="0" hangingPunct="1">
        <a:spcBef>
          <a:spcPts val="0"/>
        </a:spcBef>
        <a:spcAft>
          <a:spcPts val="600"/>
        </a:spcAft>
        <a:buClr>
          <a:schemeClr val="tx2"/>
        </a:buClr>
        <a:buFont typeface="Arial" pitchFamily="34" charset="0"/>
        <a:buChar char="–"/>
        <a:defRPr sz="1200" kern="1200">
          <a:solidFill>
            <a:srgbClr val="000000"/>
          </a:solidFill>
          <a:latin typeface="+mn-lt"/>
          <a:ea typeface="+mn-ea"/>
          <a:cs typeface="+mn-cs"/>
        </a:defRPr>
      </a:lvl4pPr>
      <a:lvl5pPr marL="984202" indent="-177792" algn="l" defTabSz="914354" rtl="0" eaLnBrk="1" latinLnBrk="0" hangingPunct="1">
        <a:spcBef>
          <a:spcPts val="0"/>
        </a:spcBef>
        <a:spcAft>
          <a:spcPts val="600"/>
        </a:spcAft>
        <a:buClr>
          <a:schemeClr val="tx2"/>
        </a:buClr>
        <a:buFont typeface="Arial" pitchFamily="34" charset="0"/>
        <a:buChar char="»"/>
        <a:defRPr sz="1067" kern="1200">
          <a:solidFill>
            <a:srgbClr val="000000"/>
          </a:solidFill>
          <a:latin typeface="+mn-lt"/>
          <a:ea typeface="+mn-ea"/>
          <a:cs typeface="+mn-cs"/>
        </a:defRPr>
      </a:lvl5pPr>
      <a:lvl6pPr marL="2514474" indent="-228589" algn="l" defTabSz="91435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52" indent="-228589" algn="l" defTabSz="91435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29" indent="-228589" algn="l" defTabSz="91435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06" indent="-228589" algn="l" defTabSz="91435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4">
          <p15:clr>
            <a:srgbClr val="F26B43"/>
          </p15:clr>
        </p15:guide>
        <p15:guide id="2" orient="horz" pos="564">
          <p15:clr>
            <a:srgbClr val="F26B43"/>
          </p15:clr>
        </p15:guide>
        <p15:guide id="3" orient="horz" pos="684">
          <p15:clr>
            <a:srgbClr val="F26B43"/>
          </p15:clr>
        </p15:guide>
        <p15:guide id="4" orient="horz" pos="2892">
          <p15:clr>
            <a:srgbClr val="F26B43"/>
          </p15:clr>
        </p15:guide>
        <p15:guide id="5" pos="240">
          <p15:clr>
            <a:srgbClr val="F26B43"/>
          </p15:clr>
        </p15:guide>
        <p15:guide id="6" pos="552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6E3C58E3-ACFB-4F71-ADB3-4B511453FF16}"/>
              </a:ext>
            </a:extLst>
          </p:cNvPr>
          <p:cNvPicPr>
            <a:picLocks noChangeAspect="1"/>
          </p:cNvPicPr>
          <p:nvPr userDrawn="1"/>
        </p:nvPicPr>
        <p:blipFill rotWithShape="1">
          <a:blip r:embed="rId10" cstate="email">
            <a:extLst>
              <a:ext uri="{28A0092B-C50C-407E-A947-70E740481C1C}">
                <a14:useLocalDpi xmlns:a14="http://schemas.microsoft.com/office/drawing/2010/main"/>
              </a:ext>
            </a:extLst>
          </a:blip>
          <a:srcRect/>
          <a:stretch/>
        </p:blipFill>
        <p:spPr>
          <a:xfrm>
            <a:off x="-1" y="6282796"/>
            <a:ext cx="12192001" cy="575204"/>
          </a:xfrm>
          <a:prstGeom prst="rect">
            <a:avLst/>
          </a:prstGeom>
        </p:spPr>
      </p:pic>
      <p:sp>
        <p:nvSpPr>
          <p:cNvPr id="2" name="Title Placeholder 1"/>
          <p:cNvSpPr>
            <a:spLocks noGrp="1"/>
          </p:cNvSpPr>
          <p:nvPr>
            <p:ph type="title"/>
          </p:nvPr>
        </p:nvSpPr>
        <p:spPr>
          <a:xfrm>
            <a:off x="331927" y="365125"/>
            <a:ext cx="11528146"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331927" y="1825625"/>
            <a:ext cx="11528146" cy="3961564"/>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Footer Placeholder 3">
            <a:extLst>
              <a:ext uri="{FF2B5EF4-FFF2-40B4-BE49-F238E27FC236}">
                <a16:creationId xmlns:a16="http://schemas.microsoft.com/office/drawing/2014/main" id="{E2572A24-23B4-3A42-A6B7-5E78B25C5C91}"/>
              </a:ext>
            </a:extLst>
          </p:cNvPr>
          <p:cNvSpPr>
            <a:spLocks noGrp="1"/>
          </p:cNvSpPr>
          <p:nvPr>
            <p:ph type="ftr" sz="quarter" idx="3"/>
          </p:nvPr>
        </p:nvSpPr>
        <p:spPr>
          <a:xfrm>
            <a:off x="5788660" y="6257925"/>
            <a:ext cx="3393439" cy="600075"/>
          </a:xfrm>
          <a:prstGeom prst="rect">
            <a:avLst/>
          </a:prstGeom>
        </p:spPr>
        <p:txBody>
          <a:bodyPr vert="horz" lIns="91440" tIns="45720" rIns="91440" bIns="45720" rtlCol="0" anchor="ctr"/>
          <a:lstStyle>
            <a:lvl1pPr algn="l">
              <a:defRPr lang="en-US" sz="800" b="1" smtClean="0">
                <a:solidFill>
                  <a:schemeClr val="bg1"/>
                </a:solidFill>
                <a:effectLst/>
              </a:defRPr>
            </a:lvl1pPr>
          </a:lstStyle>
          <a:p>
            <a:r>
              <a:rPr lang="en-US" dirty="0"/>
              <a:t>PRESENTED BY:</a:t>
            </a:r>
            <a:r>
              <a:rPr lang="en-US" sz="1400" b="0" dirty="0"/>
              <a:t> Dr Richard Finn</a:t>
            </a:r>
          </a:p>
        </p:txBody>
      </p:sp>
    </p:spTree>
    <p:extLst>
      <p:ext uri="{BB962C8B-B14F-4D97-AF65-F5344CB8AC3E}">
        <p14:creationId xmlns:p14="http://schemas.microsoft.com/office/powerpoint/2010/main" val="25192578"/>
      </p:ext>
    </p:extLst>
  </p:cSld>
  <p:clrMap bg1="lt1" tx1="dk1" bg2="lt2" tx2="dk2" accent1="accent1" accent2="accent2" accent3="accent3" accent4="accent4" accent5="accent5" accent6="accent6" hlink="hlink" folHlink="folHlink"/>
  <p:sldLayoutIdLst>
    <p:sldLayoutId id="2147484613" r:id="rId1"/>
    <p:sldLayoutId id="2147484614" r:id="rId2"/>
    <p:sldLayoutId id="2147484615" r:id="rId3"/>
    <p:sldLayoutId id="2147484616" r:id="rId4"/>
    <p:sldLayoutId id="2147484617" r:id="rId5"/>
    <p:sldLayoutId id="2147484618" r:id="rId6"/>
    <p:sldLayoutId id="2147484619" r:id="rId7"/>
    <p:sldLayoutId id="2147484620" r:id="rId8"/>
  </p:sldLayoutIdLst>
  <p:hf sldNum="0" hdr="0" dt="0"/>
  <p:txStyles>
    <p:titleStyle>
      <a:lvl1pPr algn="l" defTabSz="914400" rtl="0" eaLnBrk="1" latinLnBrk="0" hangingPunct="1">
        <a:lnSpc>
          <a:spcPct val="90000"/>
        </a:lnSpc>
        <a:spcBef>
          <a:spcPct val="0"/>
        </a:spcBef>
        <a:buNone/>
        <a:defRPr sz="3800" b="0" i="0" kern="1200" baseline="0">
          <a:solidFill>
            <a:schemeClr val="tx1"/>
          </a:solidFill>
          <a:latin typeface="+mj-lt"/>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a:buChar char="•"/>
        <a:defRPr sz="2800" b="0" i="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a:buChar char="•"/>
        <a:defRPr sz="2400" b="0" i="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a:buChar char="•"/>
        <a:defRPr sz="2000" b="0" i="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a:buChar char="•"/>
        <a:defRPr sz="1800" b="0" i="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7477">
          <p15:clr>
            <a:srgbClr val="F26B43"/>
          </p15:clr>
        </p15:guide>
        <p15:guide id="3" pos="206">
          <p15:clr>
            <a:srgbClr val="F26B43"/>
          </p15:clr>
        </p15:guide>
        <p15:guide id="4" orient="horz" pos="2160">
          <p15:clr>
            <a:srgbClr val="F26B43"/>
          </p15:clr>
        </p15:guide>
        <p15:guide id="5" orient="horz" pos="3652">
          <p15:clr>
            <a:srgbClr val="F26B43"/>
          </p15:clr>
        </p15:guide>
        <p15:guide id="6" orient="horz" pos="223">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E354394-7A16-4285-B3E6-E3A482C8D564}"/>
              </a:ext>
            </a:extLst>
          </p:cNvPr>
          <p:cNvSpPr>
            <a:spLocks noGrp="1"/>
          </p:cNvSpPr>
          <p:nvPr>
            <p:ph type="title"/>
          </p:nvPr>
        </p:nvSpPr>
        <p:spPr>
          <a:xfrm>
            <a:off x="529168" y="365126"/>
            <a:ext cx="11133666" cy="1325563"/>
          </a:xfrm>
          <a:prstGeom prst="rect">
            <a:avLst/>
          </a:prstGeom>
        </p:spPr>
        <p:txBody>
          <a:bodyPr vert="horz" lIns="91440" tIns="45720" rIns="91440" bIns="45720" rtlCol="0" anchor="ctr">
            <a:normAutofit/>
          </a:bodyPr>
          <a:lstStyle/>
          <a:p>
            <a:r>
              <a:rPr lang="en-US" dirty="0"/>
              <a:t>Click to edit Master title style</a:t>
            </a:r>
            <a:endParaRPr lang="fr-CH" dirty="0"/>
          </a:p>
        </p:txBody>
      </p:sp>
      <p:sp>
        <p:nvSpPr>
          <p:cNvPr id="3" name="Text Placeholder 2">
            <a:extLst>
              <a:ext uri="{FF2B5EF4-FFF2-40B4-BE49-F238E27FC236}">
                <a16:creationId xmlns:a16="http://schemas.microsoft.com/office/drawing/2014/main" id="{A8CD83A3-4B31-45FD-A34F-6C3A5394E949}"/>
              </a:ext>
            </a:extLst>
          </p:cNvPr>
          <p:cNvSpPr>
            <a:spLocks noGrp="1"/>
          </p:cNvSpPr>
          <p:nvPr>
            <p:ph type="body" idx="1"/>
          </p:nvPr>
        </p:nvSpPr>
        <p:spPr>
          <a:xfrm>
            <a:off x="529168" y="1825625"/>
            <a:ext cx="11133666" cy="4351339"/>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CH" dirty="0"/>
          </a:p>
        </p:txBody>
      </p:sp>
      <p:sp>
        <p:nvSpPr>
          <p:cNvPr id="10" name="Footer Placeholder 4">
            <a:extLst>
              <a:ext uri="{FF2B5EF4-FFF2-40B4-BE49-F238E27FC236}">
                <a16:creationId xmlns:a16="http://schemas.microsoft.com/office/drawing/2014/main" id="{872A0CA4-7BF4-4C32-923E-623008F5ED0A}"/>
              </a:ext>
            </a:extLst>
          </p:cNvPr>
          <p:cNvSpPr>
            <a:spLocks noGrp="1"/>
          </p:cNvSpPr>
          <p:nvPr>
            <p:ph type="ftr" sz="quarter" idx="3"/>
          </p:nvPr>
        </p:nvSpPr>
        <p:spPr>
          <a:xfrm>
            <a:off x="529168" y="6356351"/>
            <a:ext cx="4535703" cy="365125"/>
          </a:xfrm>
          <a:prstGeom prst="rect">
            <a:avLst/>
          </a:prstGeom>
        </p:spPr>
        <p:txBody>
          <a:bodyPr vert="horz" lIns="91440" tIns="45720" rIns="91440" bIns="45720" rtlCol="0" anchor="ctr"/>
          <a:lstStyle>
            <a:lvl1pPr algn="l">
              <a:defRPr sz="1200">
                <a:solidFill>
                  <a:schemeClr val="bg1">
                    <a:lumMod val="50000"/>
                  </a:schemeClr>
                </a:solidFill>
              </a:defRPr>
            </a:lvl1pPr>
          </a:lstStyle>
          <a:p>
            <a:endParaRPr lang="en-US" dirty="0"/>
          </a:p>
        </p:txBody>
      </p:sp>
      <p:sp>
        <p:nvSpPr>
          <p:cNvPr id="11" name="Text Placeholder 13">
            <a:extLst>
              <a:ext uri="{FF2B5EF4-FFF2-40B4-BE49-F238E27FC236}">
                <a16:creationId xmlns:a16="http://schemas.microsoft.com/office/drawing/2014/main" id="{AEB39B84-4A64-4E90-B55D-D5C99B21C797}"/>
              </a:ext>
            </a:extLst>
          </p:cNvPr>
          <p:cNvSpPr txBox="1">
            <a:spLocks/>
          </p:cNvSpPr>
          <p:nvPr userDrawn="1"/>
        </p:nvSpPr>
        <p:spPr>
          <a:xfrm>
            <a:off x="6197602" y="6311905"/>
            <a:ext cx="5465232" cy="390525"/>
          </a:xfrm>
          <a:prstGeom prst="rect">
            <a:avLst/>
          </a:prstGeom>
        </p:spPr>
        <p:txBody>
          <a:bodyPr lIns="0" tIns="0" rIns="0" bIns="0" anchor="b">
            <a:noAutofit/>
          </a:bodyPr>
          <a:lstStyle>
            <a:lvl1pPr marL="0" indent="0" algn="r" defTabSz="762244" rtl="0" eaLnBrk="1" latinLnBrk="0" hangingPunct="1">
              <a:lnSpc>
                <a:spcPct val="90000"/>
              </a:lnSpc>
              <a:spcBef>
                <a:spcPts val="0"/>
              </a:spcBef>
              <a:spcAft>
                <a:spcPts val="0"/>
              </a:spcAft>
              <a:buFont typeface="Arial" panose="020B0604020202020204" pitchFamily="34" charset="0"/>
              <a:buNone/>
              <a:defRPr sz="889" b="0" kern="1200">
                <a:solidFill>
                  <a:srgbClr val="000000"/>
                </a:solidFill>
                <a:latin typeface="+mn-lt"/>
                <a:ea typeface="+mn-ea"/>
                <a:cs typeface="+mn-cs"/>
              </a:defRPr>
            </a:lvl1pPr>
            <a:lvl2pPr marL="571683" indent="-190561" algn="l" defTabSz="762244" rtl="0" eaLnBrk="1" latinLnBrk="0" hangingPunct="1">
              <a:lnSpc>
                <a:spcPct val="90000"/>
              </a:lnSpc>
              <a:spcBef>
                <a:spcPts val="417"/>
              </a:spcBef>
              <a:buFont typeface="Arial" panose="020B0604020202020204" pitchFamily="34" charset="0"/>
              <a:buChar char="•"/>
              <a:defRPr sz="2000" kern="1200">
                <a:solidFill>
                  <a:srgbClr val="005383"/>
                </a:solidFill>
                <a:latin typeface="+mn-lt"/>
                <a:ea typeface="+mn-ea"/>
                <a:cs typeface="+mn-cs"/>
              </a:defRPr>
            </a:lvl2pPr>
            <a:lvl3pPr marL="952805" indent="-190561" algn="l" defTabSz="762244" rtl="0" eaLnBrk="1" latinLnBrk="0" hangingPunct="1">
              <a:lnSpc>
                <a:spcPct val="90000"/>
              </a:lnSpc>
              <a:spcBef>
                <a:spcPts val="417"/>
              </a:spcBef>
              <a:buFont typeface="Arial" panose="020B0604020202020204" pitchFamily="34" charset="0"/>
              <a:buChar char="•"/>
              <a:defRPr sz="1600" kern="1200">
                <a:solidFill>
                  <a:srgbClr val="005383"/>
                </a:solidFill>
                <a:latin typeface="+mn-lt"/>
                <a:ea typeface="+mn-ea"/>
                <a:cs typeface="+mn-cs"/>
              </a:defRPr>
            </a:lvl3pPr>
            <a:lvl4pPr marL="1333927" indent="-190561" algn="l" defTabSz="762244" rtl="0" eaLnBrk="1" latinLnBrk="0" hangingPunct="1">
              <a:lnSpc>
                <a:spcPct val="90000"/>
              </a:lnSpc>
              <a:spcBef>
                <a:spcPts val="417"/>
              </a:spcBef>
              <a:buFont typeface="Arial" panose="020B0604020202020204" pitchFamily="34" charset="0"/>
              <a:buChar char="•"/>
              <a:defRPr sz="1400" kern="1200">
                <a:solidFill>
                  <a:srgbClr val="005383"/>
                </a:solidFill>
                <a:latin typeface="+mn-lt"/>
                <a:ea typeface="+mn-ea"/>
                <a:cs typeface="+mn-cs"/>
              </a:defRPr>
            </a:lvl4pPr>
            <a:lvl5pPr marL="1715049" indent="-190561" algn="l" defTabSz="762244" rtl="0" eaLnBrk="1" latinLnBrk="0" hangingPunct="1">
              <a:lnSpc>
                <a:spcPct val="90000"/>
              </a:lnSpc>
              <a:spcBef>
                <a:spcPts val="417"/>
              </a:spcBef>
              <a:buFont typeface="Arial" panose="020B0604020202020204" pitchFamily="34" charset="0"/>
              <a:buChar char="•"/>
              <a:defRPr sz="1400" kern="1200">
                <a:solidFill>
                  <a:srgbClr val="005383"/>
                </a:solidFill>
                <a:latin typeface="+mn-lt"/>
                <a:ea typeface="+mn-ea"/>
                <a:cs typeface="+mn-cs"/>
              </a:defRPr>
            </a:lvl5pPr>
            <a:lvl6pPr marL="2096171" indent="-190561" algn="l" defTabSz="762244"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6pPr>
            <a:lvl7pPr marL="2477292" indent="-190561" algn="l" defTabSz="762244"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7pPr>
            <a:lvl8pPr marL="2858414" indent="-190561" algn="l" defTabSz="762244"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8pPr>
            <a:lvl9pPr marL="3239536" indent="-190561" algn="l" defTabSz="762244"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9pPr>
          </a:lstStyle>
          <a:p>
            <a:endParaRPr lang="en-GB" sz="1066" dirty="0"/>
          </a:p>
        </p:txBody>
      </p:sp>
    </p:spTree>
    <p:extLst>
      <p:ext uri="{BB962C8B-B14F-4D97-AF65-F5344CB8AC3E}">
        <p14:creationId xmlns:p14="http://schemas.microsoft.com/office/powerpoint/2010/main" val="2351111716"/>
      </p:ext>
    </p:extLst>
  </p:cSld>
  <p:clrMap bg1="lt1" tx1="dk1" bg2="lt2" tx2="dk2" accent1="accent1" accent2="accent2" accent3="accent3" accent4="accent4" accent5="accent5" accent6="accent6" hlink="hlink" folHlink="folHlink"/>
  <p:sldLayoutIdLst>
    <p:sldLayoutId id="2147484622" r:id="rId1"/>
    <p:sldLayoutId id="2147484623" r:id="rId2"/>
    <p:sldLayoutId id="2147484624" r:id="rId3"/>
    <p:sldLayoutId id="2147484625" r:id="rId4"/>
    <p:sldLayoutId id="2147484626" r:id="rId5"/>
    <p:sldLayoutId id="2147484627" r:id="rId6"/>
    <p:sldLayoutId id="2147484628" r:id="rId7"/>
    <p:sldLayoutId id="2147484629" r:id="rId8"/>
    <p:sldLayoutId id="2147484630" r:id="rId9"/>
    <p:sldLayoutId id="2147484631" r:id="rId10"/>
    <p:sldLayoutId id="2147484632" r:id="rId11"/>
    <p:sldLayoutId id="2147484633" r:id="rId12"/>
    <p:sldLayoutId id="2147484634" r:id="rId13"/>
  </p:sldLayoutIdLst>
  <p:hf sldNum="0" hdr="0" dt="0"/>
  <p:txStyles>
    <p:titleStyle>
      <a:lvl1pPr algn="l" defTabSz="914388" rtl="0" eaLnBrk="1" latinLnBrk="0" hangingPunct="1">
        <a:lnSpc>
          <a:spcPct val="90000"/>
        </a:lnSpc>
        <a:spcBef>
          <a:spcPct val="0"/>
        </a:spcBef>
        <a:buNone/>
        <a:defRPr sz="3839" b="1" kern="1200">
          <a:solidFill>
            <a:srgbClr val="78C3DE"/>
          </a:solidFill>
          <a:latin typeface="+mj-lt"/>
          <a:ea typeface="+mj-ea"/>
          <a:cs typeface="+mj-cs"/>
        </a:defRPr>
      </a:lvl1pPr>
    </p:titleStyle>
    <p:bodyStyle>
      <a:lvl1pPr marL="228597" indent="-228597" algn="l" defTabSz="914388" rtl="0" eaLnBrk="1" latinLnBrk="0" hangingPunct="1">
        <a:lnSpc>
          <a:spcPct val="90000"/>
        </a:lnSpc>
        <a:spcBef>
          <a:spcPts val="1000"/>
        </a:spcBef>
        <a:buFont typeface="Arial" panose="020B0604020202020204" pitchFamily="34" charset="0"/>
        <a:buChar char="•"/>
        <a:defRPr sz="2399" kern="1200">
          <a:solidFill>
            <a:srgbClr val="005383"/>
          </a:solidFill>
          <a:latin typeface="+mn-lt"/>
          <a:ea typeface="+mn-ea"/>
          <a:cs typeface="+mn-cs"/>
        </a:defRPr>
      </a:lvl1pPr>
      <a:lvl2pPr marL="685791" indent="-228597" algn="l" defTabSz="914388" rtl="0" eaLnBrk="1" latinLnBrk="0" hangingPunct="1">
        <a:lnSpc>
          <a:spcPct val="90000"/>
        </a:lnSpc>
        <a:spcBef>
          <a:spcPts val="500"/>
        </a:spcBef>
        <a:buFont typeface="Arial" panose="020B0604020202020204" pitchFamily="34" charset="0"/>
        <a:buChar char="–"/>
        <a:defRPr sz="2159" kern="1200">
          <a:solidFill>
            <a:srgbClr val="005383"/>
          </a:solidFill>
          <a:latin typeface="+mn-lt"/>
          <a:ea typeface="+mn-ea"/>
          <a:cs typeface="+mn-cs"/>
        </a:defRPr>
      </a:lvl2pPr>
      <a:lvl3pPr marL="1142985" indent="-228597" algn="l" defTabSz="914388" rtl="0" eaLnBrk="1" latinLnBrk="0" hangingPunct="1">
        <a:lnSpc>
          <a:spcPct val="90000"/>
        </a:lnSpc>
        <a:spcBef>
          <a:spcPts val="500"/>
        </a:spcBef>
        <a:buFont typeface="Arial" panose="020B0604020202020204" pitchFamily="34" charset="0"/>
        <a:buChar char="•"/>
        <a:defRPr sz="1919" kern="1200">
          <a:solidFill>
            <a:srgbClr val="005383"/>
          </a:solidFill>
          <a:latin typeface="+mn-lt"/>
          <a:ea typeface="+mn-ea"/>
          <a:cs typeface="+mn-cs"/>
        </a:defRPr>
      </a:lvl3pPr>
      <a:lvl4pPr marL="1600179" indent="-228597" algn="l" defTabSz="914388" rtl="0" eaLnBrk="1" latinLnBrk="0" hangingPunct="1">
        <a:lnSpc>
          <a:spcPct val="90000"/>
        </a:lnSpc>
        <a:spcBef>
          <a:spcPts val="500"/>
        </a:spcBef>
        <a:buFont typeface="Arial" panose="020B0604020202020204" pitchFamily="34" charset="0"/>
        <a:buChar char="•"/>
        <a:defRPr sz="1679" kern="1200">
          <a:solidFill>
            <a:srgbClr val="005383"/>
          </a:solidFill>
          <a:latin typeface="+mn-lt"/>
          <a:ea typeface="+mn-ea"/>
          <a:cs typeface="+mn-cs"/>
        </a:defRPr>
      </a:lvl4pPr>
      <a:lvl5pPr marL="2057373" indent="-228597" algn="l" defTabSz="914388" rtl="0" eaLnBrk="1" latinLnBrk="0" hangingPunct="1">
        <a:lnSpc>
          <a:spcPct val="90000"/>
        </a:lnSpc>
        <a:spcBef>
          <a:spcPts val="500"/>
        </a:spcBef>
        <a:buFont typeface="Arial" panose="020B0604020202020204" pitchFamily="34" charset="0"/>
        <a:buChar char="•"/>
        <a:defRPr sz="1679" kern="1200">
          <a:solidFill>
            <a:srgbClr val="005383"/>
          </a:solidFill>
          <a:latin typeface="+mn-lt"/>
          <a:ea typeface="+mn-ea"/>
          <a:cs typeface="+mn-cs"/>
        </a:defRPr>
      </a:lvl5pPr>
      <a:lvl6pPr marL="2514567" indent="-228597" algn="l" defTabSz="914388"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1759" indent="-228597" algn="l" defTabSz="914388"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8953" indent="-228597" algn="l" defTabSz="914388"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6147" indent="-228597" algn="l" defTabSz="914388"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fr-FR"/>
      </a:defPPr>
      <a:lvl1pPr marL="0" algn="l" defTabSz="914388" rtl="0" eaLnBrk="1" latinLnBrk="0" hangingPunct="1">
        <a:defRPr sz="1799" kern="1200">
          <a:solidFill>
            <a:schemeClr val="tx1"/>
          </a:solidFill>
          <a:latin typeface="+mn-lt"/>
          <a:ea typeface="+mn-ea"/>
          <a:cs typeface="+mn-cs"/>
        </a:defRPr>
      </a:lvl1pPr>
      <a:lvl2pPr marL="457194" algn="l" defTabSz="914388" rtl="0" eaLnBrk="1" latinLnBrk="0" hangingPunct="1">
        <a:defRPr sz="1799" kern="1200">
          <a:solidFill>
            <a:schemeClr val="tx1"/>
          </a:solidFill>
          <a:latin typeface="+mn-lt"/>
          <a:ea typeface="+mn-ea"/>
          <a:cs typeface="+mn-cs"/>
        </a:defRPr>
      </a:lvl2pPr>
      <a:lvl3pPr marL="914388" algn="l" defTabSz="914388" rtl="0" eaLnBrk="1" latinLnBrk="0" hangingPunct="1">
        <a:defRPr sz="1799" kern="1200">
          <a:solidFill>
            <a:schemeClr val="tx1"/>
          </a:solidFill>
          <a:latin typeface="+mn-lt"/>
          <a:ea typeface="+mn-ea"/>
          <a:cs typeface="+mn-cs"/>
        </a:defRPr>
      </a:lvl3pPr>
      <a:lvl4pPr marL="1371582" algn="l" defTabSz="914388" rtl="0" eaLnBrk="1" latinLnBrk="0" hangingPunct="1">
        <a:defRPr sz="1799" kern="1200">
          <a:solidFill>
            <a:schemeClr val="tx1"/>
          </a:solidFill>
          <a:latin typeface="+mn-lt"/>
          <a:ea typeface="+mn-ea"/>
          <a:cs typeface="+mn-cs"/>
        </a:defRPr>
      </a:lvl4pPr>
      <a:lvl5pPr marL="1828776" algn="l" defTabSz="914388" rtl="0" eaLnBrk="1" latinLnBrk="0" hangingPunct="1">
        <a:defRPr sz="1799" kern="1200">
          <a:solidFill>
            <a:schemeClr val="tx1"/>
          </a:solidFill>
          <a:latin typeface="+mn-lt"/>
          <a:ea typeface="+mn-ea"/>
          <a:cs typeface="+mn-cs"/>
        </a:defRPr>
      </a:lvl5pPr>
      <a:lvl6pPr marL="2285970" algn="l" defTabSz="914388" rtl="0" eaLnBrk="1" latinLnBrk="0" hangingPunct="1">
        <a:defRPr sz="1799" kern="1200">
          <a:solidFill>
            <a:schemeClr val="tx1"/>
          </a:solidFill>
          <a:latin typeface="+mn-lt"/>
          <a:ea typeface="+mn-ea"/>
          <a:cs typeface="+mn-cs"/>
        </a:defRPr>
      </a:lvl6pPr>
      <a:lvl7pPr marL="2743164" algn="l" defTabSz="914388" rtl="0" eaLnBrk="1" latinLnBrk="0" hangingPunct="1">
        <a:defRPr sz="1799" kern="1200">
          <a:solidFill>
            <a:schemeClr val="tx1"/>
          </a:solidFill>
          <a:latin typeface="+mn-lt"/>
          <a:ea typeface="+mn-ea"/>
          <a:cs typeface="+mn-cs"/>
        </a:defRPr>
      </a:lvl7pPr>
      <a:lvl8pPr marL="3200356" algn="l" defTabSz="914388" rtl="0" eaLnBrk="1" latinLnBrk="0" hangingPunct="1">
        <a:defRPr sz="1799" kern="1200">
          <a:solidFill>
            <a:schemeClr val="tx1"/>
          </a:solidFill>
          <a:latin typeface="+mn-lt"/>
          <a:ea typeface="+mn-ea"/>
          <a:cs typeface="+mn-cs"/>
        </a:defRPr>
      </a:lvl8pPr>
      <a:lvl9pPr marL="3657550" algn="l" defTabSz="914388" rtl="0" eaLnBrk="1" latinLnBrk="0" hangingPunct="1">
        <a:defRPr sz="1799"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646B8DF-DE55-4942-AC4C-93785FA19B19}"/>
              </a:ext>
            </a:extLst>
          </p:cNvPr>
          <p:cNvGraphicFramePr>
            <a:graphicFrameLocks noChangeAspect="1"/>
          </p:cNvGraphicFramePr>
          <p:nvPr userDrawn="1">
            <p:custDataLst>
              <p:tags r:id="rId9"/>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 name="think-cell Slide" r:id="rId10" imgW="592" imgH="591" progId="TCLayout.ActiveDocument.1">
                  <p:embed/>
                </p:oleObj>
              </mc:Choice>
              <mc:Fallback>
                <p:oleObj name="think-cell Slide" r:id="rId10" imgW="592" imgH="591" progId="TCLayout.ActiveDocument.1">
                  <p:embed/>
                  <p:pic>
                    <p:nvPicPr>
                      <p:cNvPr id="7" name="Object 6" hidden="1">
                        <a:extLst>
                          <a:ext uri="{FF2B5EF4-FFF2-40B4-BE49-F238E27FC236}">
                            <a16:creationId xmlns:a16="http://schemas.microsoft.com/office/drawing/2014/main" id="{A646B8DF-DE55-4942-AC4C-93785FA19B19}"/>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34E7D2D6-7C48-4E81-B298-73268FCAC58B}"/>
              </a:ext>
            </a:extLst>
          </p:cNvPr>
          <p:cNvSpPr>
            <a:spLocks noGrp="1"/>
          </p:cNvSpPr>
          <p:nvPr userDrawn="1">
            <p:ph type="title"/>
          </p:nvPr>
        </p:nvSpPr>
        <p:spPr>
          <a:xfrm>
            <a:off x="640080" y="365124"/>
            <a:ext cx="10972800" cy="1371600"/>
          </a:xfrm>
          <a:prstGeom prst="rect">
            <a:avLst/>
          </a:prstGeom>
        </p:spPr>
        <p:txBody>
          <a:bodyPr vert="horz" lIns="91440" tIns="45720" rIns="91440" bIns="45720" rtlCol="0" anchor="ctr">
            <a:noAutofit/>
          </a:bodyPr>
          <a:lstStyle/>
          <a:p>
            <a:r>
              <a:rPr lang="en-US" dirty="0"/>
              <a:t>Click to edit Master title style</a:t>
            </a:r>
          </a:p>
        </p:txBody>
      </p:sp>
      <p:sp>
        <p:nvSpPr>
          <p:cNvPr id="3" name="Text Placeholder 2">
            <a:extLst>
              <a:ext uri="{FF2B5EF4-FFF2-40B4-BE49-F238E27FC236}">
                <a16:creationId xmlns:a16="http://schemas.microsoft.com/office/drawing/2014/main" id="{3C2BD162-260B-459B-AFCC-55DA16A13613}"/>
              </a:ext>
            </a:extLst>
          </p:cNvPr>
          <p:cNvSpPr>
            <a:spLocks noGrp="1"/>
          </p:cNvSpPr>
          <p:nvPr userDrawn="1">
            <p:ph type="body" idx="1"/>
          </p:nvPr>
        </p:nvSpPr>
        <p:spPr>
          <a:xfrm>
            <a:off x="640080" y="1825625"/>
            <a:ext cx="10972800" cy="4023360"/>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7D608DB3-8625-42CD-B269-7A764B719C70}"/>
              </a:ext>
            </a:extLst>
          </p:cNvPr>
          <p:cNvSpPr>
            <a:spLocks noGrp="1"/>
          </p:cNvSpPr>
          <p:nvPr userDrawn="1">
            <p:ph type="sldNum" sz="quarter" idx="4"/>
          </p:nvPr>
        </p:nvSpPr>
        <p:spPr>
          <a:xfrm>
            <a:off x="11083564" y="217034"/>
            <a:ext cx="874486" cy="365125"/>
          </a:xfrm>
          <a:prstGeom prst="rect">
            <a:avLst/>
          </a:prstGeom>
        </p:spPr>
        <p:txBody>
          <a:bodyPr vert="horz" lIns="91440" tIns="45720" rIns="91440" bIns="45720" rtlCol="0" anchor="t" anchorCtr="0"/>
          <a:lstStyle>
            <a:lvl1pPr algn="r">
              <a:defRPr sz="800" b="0">
                <a:solidFill>
                  <a:srgbClr val="002557"/>
                </a:solidFill>
                <a:latin typeface="Arial" panose="020B0604020202020204" pitchFamily="34" charset="0"/>
                <a:cs typeface="Arial" panose="020B0604020202020204" pitchFamily="34" charset="0"/>
              </a:defRPr>
            </a:lvl1pPr>
          </a:lstStyle>
          <a:p>
            <a:r>
              <a:rPr lang="en-US"/>
              <a:t>PAGE </a:t>
            </a:r>
            <a:fld id="{BE33F7A0-71F0-446B-9DE8-6D75BE64EE0F}" type="slidenum">
              <a:rPr lang="en-US" smtClean="0"/>
              <a:pPr/>
              <a:t>‹#›</a:t>
            </a:fld>
            <a:endParaRPr lang="en-US" dirty="0"/>
          </a:p>
        </p:txBody>
      </p:sp>
      <p:pic>
        <p:nvPicPr>
          <p:cNvPr id="15" name="Picture 14">
            <a:extLst>
              <a:ext uri="{FF2B5EF4-FFF2-40B4-BE49-F238E27FC236}">
                <a16:creationId xmlns:a16="http://schemas.microsoft.com/office/drawing/2014/main" id="{32823C6C-73E3-42A3-83A3-6A4C934D2334}"/>
              </a:ext>
            </a:extLst>
          </p:cNvPr>
          <p:cNvPicPr>
            <a:picLocks noChangeAspect="1"/>
          </p:cNvPicPr>
          <p:nvPr userDrawn="1"/>
        </p:nvPicPr>
        <p:blipFill>
          <a:blip r:embed="rId12" cstate="print">
            <a:extLst>
              <a:ext uri="{28A0092B-C50C-407E-A947-70E740481C1C}">
                <a14:useLocalDpi xmlns:a14="http://schemas.microsoft.com/office/drawing/2010/main" val="0"/>
              </a:ext>
            </a:extLst>
          </a:blip>
          <a:srcRect/>
          <a:stretch/>
        </p:blipFill>
        <p:spPr>
          <a:xfrm>
            <a:off x="0" y="6235383"/>
            <a:ext cx="12198096" cy="635317"/>
          </a:xfrm>
          <a:prstGeom prst="rect">
            <a:avLst/>
          </a:prstGeom>
        </p:spPr>
      </p:pic>
      <p:sp>
        <p:nvSpPr>
          <p:cNvPr id="4" name="TextBox 3">
            <a:extLst>
              <a:ext uri="{FF2B5EF4-FFF2-40B4-BE49-F238E27FC236}">
                <a16:creationId xmlns:a16="http://schemas.microsoft.com/office/drawing/2014/main" id="{3C84D898-A908-4F9B-8BFC-D0A350053FE5}"/>
              </a:ext>
            </a:extLst>
          </p:cNvPr>
          <p:cNvSpPr txBox="1"/>
          <p:nvPr userDrawn="1"/>
        </p:nvSpPr>
        <p:spPr>
          <a:xfrm>
            <a:off x="3275950" y="6446454"/>
            <a:ext cx="696546" cy="92333"/>
          </a:xfrm>
          <a:prstGeom prst="rect">
            <a:avLst/>
          </a:prstGeom>
          <a:noFill/>
        </p:spPr>
        <p:txBody>
          <a:bodyPr wrap="square" lIns="0" tIns="0" rIns="0" bIns="0" rtlCol="0">
            <a:spAutoFit/>
          </a:bodyPr>
          <a:lstStyle/>
          <a:p>
            <a:r>
              <a:rPr lang="en-US" sz="600" b="1" dirty="0">
                <a:solidFill>
                  <a:srgbClr val="002557"/>
                </a:solidFill>
              </a:rPr>
              <a:t>PRESENTED BY:</a:t>
            </a:r>
          </a:p>
        </p:txBody>
      </p:sp>
    </p:spTree>
    <p:extLst>
      <p:ext uri="{BB962C8B-B14F-4D97-AF65-F5344CB8AC3E}">
        <p14:creationId xmlns:p14="http://schemas.microsoft.com/office/powerpoint/2010/main" val="3405342599"/>
      </p:ext>
    </p:extLst>
  </p:cSld>
  <p:clrMap bg1="lt1" tx1="dk1" bg2="lt2" tx2="dk2" accent1="accent1" accent2="accent2" accent3="accent3" accent4="accent4" accent5="accent5" accent6="accent6" hlink="hlink" folHlink="folHlink"/>
  <p:sldLayoutIdLst>
    <p:sldLayoutId id="2147484636" r:id="rId1"/>
    <p:sldLayoutId id="2147484637" r:id="rId2"/>
    <p:sldLayoutId id="2147484638" r:id="rId3"/>
    <p:sldLayoutId id="2147484639" r:id="rId4"/>
    <p:sldLayoutId id="2147484640" r:id="rId5"/>
    <p:sldLayoutId id="2147484641" r:id="rId6"/>
  </p:sldLayoutIdLst>
  <p:hf hdr="0" dt="0"/>
  <p:txStyles>
    <p:titleStyle>
      <a:lvl1pPr algn="l" defTabSz="914400" rtl="0" eaLnBrk="1" latinLnBrk="0" hangingPunct="1">
        <a:lnSpc>
          <a:spcPct val="90000"/>
        </a:lnSpc>
        <a:spcBef>
          <a:spcPct val="0"/>
        </a:spcBef>
        <a:buNone/>
        <a:defRPr sz="3600" b="1" kern="1200">
          <a:solidFill>
            <a:srgbClr val="002557"/>
          </a:solidFill>
          <a:latin typeface="Arial" panose="020B0604020202020204" pitchFamily="34" charset="0"/>
          <a:ea typeface="+mj-ea"/>
          <a:cs typeface="Arial" panose="020B0604020202020204" pitchFamily="34" charset="0"/>
        </a:defRPr>
      </a:lvl1pPr>
    </p:titleStyle>
    <p:bodyStyle>
      <a:lvl1pPr marL="342900" indent="-342900" algn="l" defTabSz="914400" rtl="0" eaLnBrk="1" latinLnBrk="0" hangingPunct="1">
        <a:lnSpc>
          <a:spcPct val="100000"/>
        </a:lnSpc>
        <a:spcBef>
          <a:spcPts val="1000"/>
        </a:spcBef>
        <a:buClrTx/>
        <a:buFont typeface="Arial" panose="020B0604020202020204" pitchFamily="34" charset="0"/>
        <a:buChar char="•"/>
        <a:defRPr lang="en-US" sz="2400" kern="1200" dirty="0">
          <a:solidFill>
            <a:srgbClr val="00255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Tx/>
        <a:buFont typeface="Wingdings" panose="05000000000000000000" pitchFamily="2" charset="2"/>
        <a:buChar char="§"/>
        <a:defRPr lang="en-US" sz="2400" kern="1200" dirty="0">
          <a:solidFill>
            <a:srgbClr val="002557"/>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Tx/>
        <a:buFont typeface="Courier New" panose="02070309020205020404" pitchFamily="49" charset="0"/>
        <a:buChar char="o"/>
        <a:defRPr lang="en-US" sz="1800" kern="1200" dirty="0">
          <a:solidFill>
            <a:srgbClr val="002557"/>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Tx/>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Tx/>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1000" y="304800"/>
            <a:ext cx="11429999" cy="914400"/>
          </a:xfrm>
          <a:prstGeom prst="rect">
            <a:avLst/>
          </a:prstGeom>
        </p:spPr>
        <p:txBody>
          <a:bodyPr vert="horz" lIns="0" tIns="0" rIns="0" bIns="0" rtlCol="0" anchor="b" anchorCtr="0">
            <a:normAutofit/>
          </a:bodyPr>
          <a:lstStyle/>
          <a:p>
            <a:r>
              <a:rPr lang="en-US"/>
              <a:t>Click to edit Master title style</a:t>
            </a:r>
            <a:endParaRPr lang="en-US" dirty="0"/>
          </a:p>
        </p:txBody>
      </p:sp>
      <p:sp>
        <p:nvSpPr>
          <p:cNvPr id="4" name="Text Placeholder 3"/>
          <p:cNvSpPr>
            <a:spLocks noGrp="1"/>
          </p:cNvSpPr>
          <p:nvPr>
            <p:ph type="body" idx="1"/>
          </p:nvPr>
        </p:nvSpPr>
        <p:spPr>
          <a:xfrm>
            <a:off x="381000" y="1597152"/>
            <a:ext cx="11430000" cy="4425696"/>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2">
            <a:extLst>
              <a:ext uri="{FF2B5EF4-FFF2-40B4-BE49-F238E27FC236}">
                <a16:creationId xmlns:a16="http://schemas.microsoft.com/office/drawing/2014/main" id="{C76D9B4B-4A0C-41A0-BA56-6CDF747D6F73}"/>
              </a:ext>
            </a:extLst>
          </p:cNvPr>
          <p:cNvSpPr>
            <a:spLocks noGrp="1"/>
          </p:cNvSpPr>
          <p:nvPr>
            <p:ph type="ftr" sz="quarter" idx="3"/>
          </p:nvPr>
        </p:nvSpPr>
        <p:spPr>
          <a:xfrm>
            <a:off x="-2" y="6356350"/>
            <a:ext cx="12192001" cy="501650"/>
          </a:xfrm>
          <a:prstGeom prst="rect">
            <a:avLst/>
          </a:prstGeom>
        </p:spPr>
        <p:txBody>
          <a:bodyPr vert="horz" lIns="137160" tIns="0" rIns="137160" bIns="91440" rtlCol="0" anchor="b" anchorCtr="0"/>
          <a:lstStyle>
            <a:lvl1pPr algn="l">
              <a:defRPr sz="1000">
                <a:solidFill>
                  <a:schemeClr val="tx1"/>
                </a:solidFill>
                <a:latin typeface="Arial Narrow" panose="020B0606020202030204" pitchFamily="34" charset="0"/>
              </a:defRPr>
            </a:lvl1pPr>
          </a:lstStyle>
          <a:p>
            <a:endParaRPr lang="en-US" dirty="0"/>
          </a:p>
        </p:txBody>
      </p:sp>
    </p:spTree>
    <p:extLst>
      <p:ext uri="{BB962C8B-B14F-4D97-AF65-F5344CB8AC3E}">
        <p14:creationId xmlns:p14="http://schemas.microsoft.com/office/powerpoint/2010/main" val="1314045199"/>
      </p:ext>
    </p:extLst>
  </p:cSld>
  <p:clrMap bg1="lt1" tx1="dk1" bg2="lt2" tx2="dk2" accent1="accent1" accent2="accent2" accent3="accent3" accent4="accent4" accent5="accent5" accent6="accent6" hlink="hlink" folHlink="folHlink"/>
  <p:sldLayoutIdLst>
    <p:sldLayoutId id="2147484643" r:id="rId1"/>
    <p:sldLayoutId id="2147484644" r:id="rId2"/>
    <p:sldLayoutId id="2147484645" r:id="rId3"/>
    <p:sldLayoutId id="2147484646" r:id="rId4"/>
    <p:sldLayoutId id="2147484647" r:id="rId5"/>
  </p:sldLayoutIdLst>
  <p:hf hdr="0" dt="0"/>
  <p:txStyles>
    <p:titleStyle>
      <a:lvl1pPr algn="l" defTabSz="457250" rtl="0" eaLnBrk="1" latinLnBrk="0" hangingPunct="1">
        <a:lnSpc>
          <a:spcPct val="90000"/>
        </a:lnSpc>
        <a:spcBef>
          <a:spcPct val="0"/>
        </a:spcBef>
        <a:buNone/>
        <a:defRPr sz="3600" b="0" kern="600" spc="51">
          <a:solidFill>
            <a:schemeClr val="tx1"/>
          </a:solidFill>
          <a:effectLst/>
          <a:latin typeface="Arial" panose="020B0604020202020204" pitchFamily="34" charset="0"/>
          <a:ea typeface="+mj-ea"/>
          <a:cs typeface="Arial" panose="020B0604020202020204" pitchFamily="34" charset="0"/>
        </a:defRPr>
      </a:lvl1pPr>
    </p:titleStyle>
    <p:bodyStyle>
      <a:lvl1pPr marL="225425" indent="-225425" algn="l" defTabSz="457250" rtl="0" eaLnBrk="1" latinLnBrk="0" hangingPunct="1">
        <a:lnSpc>
          <a:spcPct val="100000"/>
        </a:lnSpc>
        <a:spcBef>
          <a:spcPts val="0"/>
        </a:spcBef>
        <a:buClr>
          <a:schemeClr val="tx2"/>
        </a:buClr>
        <a:buSzPct val="95000"/>
        <a:buFont typeface="Arial Black" panose="020B0A04020102020204" pitchFamily="34" charset="0"/>
        <a:buChar char="•"/>
        <a:defRPr sz="2400" kern="600" spc="31">
          <a:solidFill>
            <a:schemeClr val="tx1"/>
          </a:solidFill>
          <a:latin typeface="Arial" panose="020B0604020202020204" pitchFamily="34" charset="0"/>
          <a:ea typeface="+mn-ea"/>
          <a:cs typeface="Arial" panose="020B0604020202020204" pitchFamily="34" charset="0"/>
        </a:defRPr>
      </a:lvl1pPr>
      <a:lvl2pPr marL="829035" indent="-219451" algn="l" defTabSz="457250" rtl="0" eaLnBrk="1" latinLnBrk="0" hangingPunct="1">
        <a:lnSpc>
          <a:spcPct val="100000"/>
        </a:lnSpc>
        <a:spcBef>
          <a:spcPts val="0"/>
        </a:spcBef>
        <a:buClr>
          <a:schemeClr val="tx2"/>
        </a:buClr>
        <a:buSzPct val="100000"/>
        <a:buFont typeface="Arial Narrow" panose="020B0606020202030204" pitchFamily="34" charset="0"/>
        <a:buChar char="–"/>
        <a:defRPr sz="2000" kern="600" spc="31">
          <a:solidFill>
            <a:schemeClr val="tx1"/>
          </a:solidFill>
          <a:latin typeface="Arial" panose="020B0604020202020204" pitchFamily="34" charset="0"/>
          <a:ea typeface="+mn-ea"/>
          <a:cs typeface="Arial" panose="020B0604020202020204" pitchFamily="34" charset="0"/>
        </a:defRPr>
      </a:lvl2pPr>
      <a:lvl3pPr marL="1375799" indent="-158747" algn="l" defTabSz="457250" rtl="0" eaLnBrk="1" latinLnBrk="0" hangingPunct="1">
        <a:lnSpc>
          <a:spcPct val="100000"/>
        </a:lnSpc>
        <a:spcBef>
          <a:spcPts val="0"/>
        </a:spcBef>
        <a:buClr>
          <a:schemeClr val="tx2"/>
        </a:buClr>
        <a:buSzPct val="95000"/>
        <a:buFont typeface="Wingdings" panose="05000000000000000000" pitchFamily="2" charset="2"/>
        <a:buChar char="§"/>
        <a:defRPr sz="1800" kern="600" spc="31">
          <a:solidFill>
            <a:schemeClr val="tx1"/>
          </a:solidFill>
          <a:latin typeface="Arial" panose="020B0604020202020204" pitchFamily="34" charset="0"/>
          <a:ea typeface="+mn-ea"/>
          <a:cs typeface="Arial" panose="020B0604020202020204" pitchFamily="34" charset="0"/>
        </a:defRPr>
      </a:lvl3pPr>
      <a:lvl4pPr marL="1828754" indent="-148163" algn="l" defTabSz="457250" rtl="0" eaLnBrk="1" latinLnBrk="0" hangingPunct="1">
        <a:lnSpc>
          <a:spcPct val="100000"/>
        </a:lnSpc>
        <a:spcBef>
          <a:spcPts val="0"/>
        </a:spcBef>
        <a:buClr>
          <a:schemeClr val="tx2"/>
        </a:buClr>
        <a:buSzPct val="100000"/>
        <a:buFont typeface="Arial Narrow" panose="020B0606020202030204" pitchFamily="34" charset="0"/>
        <a:buChar char="–"/>
        <a:tabLst/>
        <a:defRPr sz="1600" kern="600" spc="31">
          <a:solidFill>
            <a:schemeClr val="tx1"/>
          </a:solidFill>
          <a:latin typeface="Arial" panose="020B0604020202020204" pitchFamily="34" charset="0"/>
          <a:ea typeface="+mn-ea"/>
          <a:cs typeface="Arial" panose="020B0604020202020204" pitchFamily="34" charset="0"/>
        </a:defRPr>
      </a:lvl4pPr>
      <a:lvl5pPr marL="2290176" indent="-148163" algn="l" defTabSz="457250" rtl="0" eaLnBrk="1" latinLnBrk="0" hangingPunct="1">
        <a:lnSpc>
          <a:spcPct val="100000"/>
        </a:lnSpc>
        <a:spcBef>
          <a:spcPts val="0"/>
        </a:spcBef>
        <a:buClr>
          <a:schemeClr val="tx2"/>
        </a:buClr>
        <a:buSzPct val="90000"/>
        <a:buFont typeface="Arial Black" panose="020B0A04020102020204" pitchFamily="34" charset="0"/>
        <a:buChar char="•"/>
        <a:defRPr sz="1400" kern="600" spc="31">
          <a:solidFill>
            <a:schemeClr val="tx1"/>
          </a:solidFill>
          <a:latin typeface="Arial" panose="020B0604020202020204" pitchFamily="34" charset="0"/>
          <a:ea typeface="+mn-ea"/>
          <a:cs typeface="Arial" panose="020B0604020202020204" pitchFamily="34" charset="0"/>
        </a:defRPr>
      </a:lvl5pPr>
      <a:lvl6pPr marL="2514872" indent="-228625" algn="l" defTabSz="457250" rtl="0" eaLnBrk="1" latinLnBrk="0" hangingPunct="1">
        <a:spcBef>
          <a:spcPct val="20000"/>
        </a:spcBef>
        <a:buFont typeface="Arial"/>
        <a:buChar char="•"/>
        <a:defRPr sz="2000" kern="1200">
          <a:solidFill>
            <a:schemeClr val="tx1"/>
          </a:solidFill>
          <a:latin typeface="+mn-lt"/>
          <a:ea typeface="+mn-ea"/>
          <a:cs typeface="+mn-cs"/>
        </a:defRPr>
      </a:lvl6pPr>
      <a:lvl7pPr marL="2972122" indent="-228625" algn="l" defTabSz="457250" rtl="0" eaLnBrk="1" latinLnBrk="0" hangingPunct="1">
        <a:spcBef>
          <a:spcPct val="20000"/>
        </a:spcBef>
        <a:buFont typeface="Arial"/>
        <a:buChar char="•"/>
        <a:defRPr sz="2000" kern="1200">
          <a:solidFill>
            <a:schemeClr val="tx1"/>
          </a:solidFill>
          <a:latin typeface="+mn-lt"/>
          <a:ea typeface="+mn-ea"/>
          <a:cs typeface="+mn-cs"/>
        </a:defRPr>
      </a:lvl7pPr>
      <a:lvl8pPr marL="3429372" indent="-228625" algn="l" defTabSz="457250" rtl="0" eaLnBrk="1" latinLnBrk="0" hangingPunct="1">
        <a:spcBef>
          <a:spcPct val="20000"/>
        </a:spcBef>
        <a:buFont typeface="Arial"/>
        <a:buChar char="•"/>
        <a:defRPr sz="2000" kern="1200">
          <a:solidFill>
            <a:schemeClr val="tx1"/>
          </a:solidFill>
          <a:latin typeface="+mn-lt"/>
          <a:ea typeface="+mn-ea"/>
          <a:cs typeface="+mn-cs"/>
        </a:defRPr>
      </a:lvl8pPr>
      <a:lvl9pPr marL="3886621" indent="-228625" algn="l" defTabSz="45725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50" rtl="0" eaLnBrk="1" latinLnBrk="0" hangingPunct="1">
        <a:defRPr sz="1867" kern="1200">
          <a:solidFill>
            <a:schemeClr val="tx1"/>
          </a:solidFill>
          <a:latin typeface="+mn-lt"/>
          <a:ea typeface="+mn-ea"/>
          <a:cs typeface="+mn-cs"/>
        </a:defRPr>
      </a:lvl1pPr>
      <a:lvl2pPr marL="457250" algn="l" defTabSz="457250" rtl="0" eaLnBrk="1" latinLnBrk="0" hangingPunct="1">
        <a:defRPr sz="1867" kern="1200">
          <a:solidFill>
            <a:schemeClr val="tx1"/>
          </a:solidFill>
          <a:latin typeface="+mn-lt"/>
          <a:ea typeface="+mn-ea"/>
          <a:cs typeface="+mn-cs"/>
        </a:defRPr>
      </a:lvl2pPr>
      <a:lvl3pPr marL="914498" algn="l" defTabSz="457250" rtl="0" eaLnBrk="1" latinLnBrk="0" hangingPunct="1">
        <a:defRPr sz="1867" kern="1200">
          <a:solidFill>
            <a:schemeClr val="tx1"/>
          </a:solidFill>
          <a:latin typeface="+mn-lt"/>
          <a:ea typeface="+mn-ea"/>
          <a:cs typeface="+mn-cs"/>
        </a:defRPr>
      </a:lvl3pPr>
      <a:lvl4pPr marL="1371748" algn="l" defTabSz="457250" rtl="0" eaLnBrk="1" latinLnBrk="0" hangingPunct="1">
        <a:defRPr sz="1867" kern="1200">
          <a:solidFill>
            <a:schemeClr val="tx1"/>
          </a:solidFill>
          <a:latin typeface="+mn-lt"/>
          <a:ea typeface="+mn-ea"/>
          <a:cs typeface="+mn-cs"/>
        </a:defRPr>
      </a:lvl4pPr>
      <a:lvl5pPr marL="1828998" algn="l" defTabSz="457250" rtl="0" eaLnBrk="1" latinLnBrk="0" hangingPunct="1">
        <a:defRPr sz="1867" kern="1200">
          <a:solidFill>
            <a:schemeClr val="tx1"/>
          </a:solidFill>
          <a:latin typeface="+mn-lt"/>
          <a:ea typeface="+mn-ea"/>
          <a:cs typeface="+mn-cs"/>
        </a:defRPr>
      </a:lvl5pPr>
      <a:lvl6pPr marL="2286248" algn="l" defTabSz="457250" rtl="0" eaLnBrk="1" latinLnBrk="0" hangingPunct="1">
        <a:defRPr sz="1867" kern="1200">
          <a:solidFill>
            <a:schemeClr val="tx1"/>
          </a:solidFill>
          <a:latin typeface="+mn-lt"/>
          <a:ea typeface="+mn-ea"/>
          <a:cs typeface="+mn-cs"/>
        </a:defRPr>
      </a:lvl6pPr>
      <a:lvl7pPr marL="2743497" algn="l" defTabSz="457250" rtl="0" eaLnBrk="1" latinLnBrk="0" hangingPunct="1">
        <a:defRPr sz="1867" kern="1200">
          <a:solidFill>
            <a:schemeClr val="tx1"/>
          </a:solidFill>
          <a:latin typeface="+mn-lt"/>
          <a:ea typeface="+mn-ea"/>
          <a:cs typeface="+mn-cs"/>
        </a:defRPr>
      </a:lvl7pPr>
      <a:lvl8pPr marL="3200747" algn="l" defTabSz="457250" rtl="0" eaLnBrk="1" latinLnBrk="0" hangingPunct="1">
        <a:defRPr sz="1867" kern="1200">
          <a:solidFill>
            <a:schemeClr val="tx1"/>
          </a:solidFill>
          <a:latin typeface="+mn-lt"/>
          <a:ea typeface="+mn-ea"/>
          <a:cs typeface="+mn-cs"/>
        </a:defRPr>
      </a:lvl8pPr>
      <a:lvl9pPr marL="3657997" algn="l" defTabSz="457250" rtl="0" eaLnBrk="1" latinLnBrk="0" hangingPunct="1">
        <a:defRPr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7" pos="3840">
          <p15:clr>
            <a:srgbClr val="F26B43"/>
          </p15:clr>
        </p15:guide>
        <p15:guide id="8" orient="horz" pos="192">
          <p15:clr>
            <a:srgbClr val="F26B43"/>
          </p15:clr>
        </p15:guide>
        <p15:guide id="9" pos="240">
          <p15:clr>
            <a:srgbClr val="F26B43"/>
          </p15:clr>
        </p15:guide>
        <p15:guide id="10" pos="7440">
          <p15:clr>
            <a:srgbClr val="F26B43"/>
          </p15:clr>
        </p15:guide>
        <p15:guide id="11" orient="horz" pos="1008">
          <p15:clr>
            <a:srgbClr val="F26B43"/>
          </p15:clr>
        </p15:guide>
        <p15:guide id="12" orient="horz" pos="768">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F677595-D29F-4D6E-84DA-39EEAC9A5C9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BD42168-5311-4F35-A219-92D438832D0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86434B8-D513-4839-99FD-7CF0A8BAFE7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451ADC2-692A-4E3C-AC67-B6BAD1E8EBDC}" type="datetimeFigureOut">
              <a:rPr lang="en-US" smtClean="0"/>
              <a:t>1/31/23</a:t>
            </a:fld>
            <a:endParaRPr lang="en-US"/>
          </a:p>
        </p:txBody>
      </p:sp>
      <p:sp>
        <p:nvSpPr>
          <p:cNvPr id="5" name="Footer Placeholder 4">
            <a:extLst>
              <a:ext uri="{FF2B5EF4-FFF2-40B4-BE49-F238E27FC236}">
                <a16:creationId xmlns:a16="http://schemas.microsoft.com/office/drawing/2014/main" id="{E7023624-EFFB-49B6-9A67-907AB0997F1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0329C97D-AD47-414F-919D-0AFE53C49BF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DE219E0-24F0-4853-9517-89D29DD918E2}" type="slidenum">
              <a:rPr lang="en-US" smtClean="0"/>
              <a:t>‹#›</a:t>
            </a:fld>
            <a:endParaRPr lang="en-US"/>
          </a:p>
        </p:txBody>
      </p:sp>
    </p:spTree>
    <p:extLst>
      <p:ext uri="{BB962C8B-B14F-4D97-AF65-F5344CB8AC3E}">
        <p14:creationId xmlns:p14="http://schemas.microsoft.com/office/powerpoint/2010/main" val="1923359202"/>
      </p:ext>
    </p:extLst>
  </p:cSld>
  <p:clrMap bg1="lt1" tx1="dk1" bg2="lt2" tx2="dk2" accent1="accent1" accent2="accent2" accent3="accent3" accent4="accent4" accent5="accent5" accent6="accent6" hlink="hlink" folHlink="folHlink"/>
  <p:sldLayoutIdLst>
    <p:sldLayoutId id="2147484649" r:id="rId1"/>
    <p:sldLayoutId id="2147484650" r:id="rId2"/>
    <p:sldLayoutId id="2147484651" r:id="rId3"/>
    <p:sldLayoutId id="2147484652" r:id="rId4"/>
    <p:sldLayoutId id="2147484653" r:id="rId5"/>
    <p:sldLayoutId id="2147484654" r:id="rId6"/>
    <p:sldLayoutId id="2147484655" r:id="rId7"/>
    <p:sldLayoutId id="2147484656" r:id="rId8"/>
    <p:sldLayoutId id="2147484657" r:id="rId9"/>
    <p:sldLayoutId id="2147484658" r:id="rId10"/>
    <p:sldLayoutId id="2147484659" r:id="rId11"/>
    <p:sldLayoutId id="2147484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6.xml"/><Relationship Id="rId1" Type="http://schemas.openxmlformats.org/officeDocument/2006/relationships/tags" Target="../tags/tag9.xml"/></Relationships>
</file>

<file path=ppt/slides/_rels/slide10.xml.rels><?xml version="1.0" encoding="UTF-8" standalone="yes"?>
<Relationships xmlns="http://schemas.openxmlformats.org/package/2006/relationships"><Relationship Id="rId3" Type="http://schemas.openxmlformats.org/officeDocument/2006/relationships/image" Target="../media/image24.jpg"/><Relationship Id="rId2" Type="http://schemas.openxmlformats.org/officeDocument/2006/relationships/image" Target="../media/image23.jpg"/><Relationship Id="rId1" Type="http://schemas.openxmlformats.org/officeDocument/2006/relationships/slideLayout" Target="../slideLayouts/slideLayout7.xml"/><Relationship Id="rId5" Type="http://schemas.openxmlformats.org/officeDocument/2006/relationships/image" Target="../media/image26.jpg"/><Relationship Id="rId4" Type="http://schemas.openxmlformats.org/officeDocument/2006/relationships/image" Target="../media/image25.jpg"/></Relationships>
</file>

<file path=ppt/slides/_rels/slide100.xml.rels><?xml version="1.0" encoding="UTF-8" standalone="yes"?>
<Relationships xmlns="http://schemas.openxmlformats.org/package/2006/relationships"><Relationship Id="rId3" Type="http://schemas.openxmlformats.org/officeDocument/2006/relationships/image" Target="../media/image25.jpg"/><Relationship Id="rId2" Type="http://schemas.openxmlformats.org/officeDocument/2006/relationships/image" Target="../media/image19.jpg"/><Relationship Id="rId1" Type="http://schemas.openxmlformats.org/officeDocument/2006/relationships/slideLayout" Target="../slideLayouts/slideLayout6.xml"/></Relationships>
</file>

<file path=ppt/slides/_rels/slide101.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Layout" Target="../slideLayouts/slideLayout2.xml"/></Relationships>
</file>

<file path=ppt/slides/_rels/slide102.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Layout" Target="../slideLayouts/slideLayout2.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109.xml"/></Relationships>
</file>

<file path=ppt/slides/_rels/slide104.xml.rels><?xml version="1.0" encoding="UTF-8" standalone="yes"?>
<Relationships xmlns="http://schemas.openxmlformats.org/package/2006/relationships"><Relationship Id="rId2" Type="http://schemas.openxmlformats.org/officeDocument/2006/relationships/image" Target="../media/image84.tiff"/><Relationship Id="rId1" Type="http://schemas.openxmlformats.org/officeDocument/2006/relationships/slideLayout" Target="../slideLayouts/slideLayout113.xml"/></Relationships>
</file>

<file path=ppt/slides/_rels/slide105.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30.xml"/><Relationship Id="rId1" Type="http://schemas.openxmlformats.org/officeDocument/2006/relationships/slideLayout" Target="../slideLayouts/slideLayout113.xml"/></Relationships>
</file>

<file path=ppt/slides/_rels/slide106.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31.xml"/><Relationship Id="rId1" Type="http://schemas.openxmlformats.org/officeDocument/2006/relationships/slideLayout" Target="../slideLayouts/slideLayout113.xml"/></Relationships>
</file>

<file path=ppt/slides/_rels/slide107.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7.png"/><Relationship Id="rId1" Type="http://schemas.openxmlformats.org/officeDocument/2006/relationships/slideLayout" Target="../slideLayouts/slideLayout113.xml"/><Relationship Id="rId4" Type="http://schemas.openxmlformats.org/officeDocument/2006/relationships/image" Target="../media/image89.png"/></Relationships>
</file>

<file path=ppt/slides/_rels/slide108.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32.xml"/><Relationship Id="rId1" Type="http://schemas.openxmlformats.org/officeDocument/2006/relationships/slideLayout" Target="../slideLayouts/slideLayout113.xml"/><Relationship Id="rId6" Type="http://schemas.openxmlformats.org/officeDocument/2006/relationships/image" Target="../media/image92.jpg"/><Relationship Id="rId5" Type="http://schemas.openxmlformats.org/officeDocument/2006/relationships/image" Target="../media/image91.png"/><Relationship Id="rId4" Type="http://schemas.microsoft.com/office/2007/relationships/hdphoto" Target="../media/hdphoto4.wdp"/></Relationships>
</file>

<file path=ppt/slides/_rels/slide109.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93.png"/><Relationship Id="rId1" Type="http://schemas.openxmlformats.org/officeDocument/2006/relationships/slideLayout" Target="../slideLayouts/slideLayout11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0.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Layout" Target="../slideLayouts/slideLayout113.xml"/></Relationships>
</file>

<file path=ppt/slides/_rels/slide111.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Layout" Target="../slideLayouts/slideLayout113.xml"/></Relationships>
</file>

<file path=ppt/slides/_rels/slide112.xml.rels><?xml version="1.0" encoding="UTF-8" standalone="yes"?>
<Relationships xmlns="http://schemas.openxmlformats.org/package/2006/relationships"><Relationship Id="rId3" Type="http://schemas.openxmlformats.org/officeDocument/2006/relationships/image" Target="../media/image97.emf"/><Relationship Id="rId2" Type="http://schemas.openxmlformats.org/officeDocument/2006/relationships/notesSlide" Target="../notesSlides/notesSlide33.xml"/><Relationship Id="rId1" Type="http://schemas.openxmlformats.org/officeDocument/2006/relationships/slideLayout" Target="../slideLayouts/slideLayout117.xml"/><Relationship Id="rId4" Type="http://schemas.openxmlformats.org/officeDocument/2006/relationships/image" Target="../media/image98.png"/></Relationships>
</file>

<file path=ppt/slides/_rels/slide113.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Layout" Target="../slideLayouts/slideLayout113.xml"/></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113.xml"/></Relationships>
</file>

<file path=ppt/slides/_rels/slide115.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Layout" Target="../slideLayouts/slideLayout113.xml"/></Relationships>
</file>

<file path=ppt/slides/_rels/slide116.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34.xml"/><Relationship Id="rId1" Type="http://schemas.openxmlformats.org/officeDocument/2006/relationships/slideLayout" Target="../slideLayouts/slideLayout113.xml"/><Relationship Id="rId6" Type="http://schemas.openxmlformats.org/officeDocument/2006/relationships/image" Target="../media/image92.jpg"/><Relationship Id="rId5" Type="http://schemas.openxmlformats.org/officeDocument/2006/relationships/image" Target="../media/image91.png"/><Relationship Id="rId4" Type="http://schemas.microsoft.com/office/2007/relationships/hdphoto" Target="../media/hdphoto4.wdp"/></Relationships>
</file>

<file path=ppt/slides/_rels/slide117.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13.xml"/></Relationships>
</file>

<file path=ppt/slides/_rels/slide118.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Layout" Target="../slideLayouts/slideLayout113.xml"/></Relationships>
</file>

<file path=ppt/slides/_rels/slide119.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36.xml"/><Relationship Id="rId1" Type="http://schemas.openxmlformats.org/officeDocument/2006/relationships/slideLayout" Target="../slideLayouts/slideLayout113.xml"/><Relationship Id="rId6" Type="http://schemas.microsoft.com/office/2007/relationships/hdphoto" Target="../media/hdphoto5.wdp"/><Relationship Id="rId5" Type="http://schemas.openxmlformats.org/officeDocument/2006/relationships/image" Target="../media/image104.png"/><Relationship Id="rId4" Type="http://schemas.openxmlformats.org/officeDocument/2006/relationships/image" Target="../media/image103.png"/></Relationships>
</file>

<file path=ppt/slides/_rels/slide12.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Layout" Target="../slideLayouts/slideLayout6.xml"/></Relationships>
</file>

<file path=ppt/slides/_rels/slide120.xml.rels><?xml version="1.0" encoding="UTF-8" standalone="yes"?>
<Relationships xmlns="http://schemas.openxmlformats.org/package/2006/relationships"><Relationship Id="rId8" Type="http://schemas.openxmlformats.org/officeDocument/2006/relationships/image" Target="../media/image108.png"/><Relationship Id="rId3" Type="http://schemas.openxmlformats.org/officeDocument/2006/relationships/image" Target="../media/image105.png"/><Relationship Id="rId7" Type="http://schemas.microsoft.com/office/2007/relationships/hdphoto" Target="../media/hdphoto7.wdp"/><Relationship Id="rId2" Type="http://schemas.openxmlformats.org/officeDocument/2006/relationships/notesSlide" Target="../notesSlides/notesSlide37.xml"/><Relationship Id="rId1" Type="http://schemas.openxmlformats.org/officeDocument/2006/relationships/slideLayout" Target="../slideLayouts/slideLayout113.xml"/><Relationship Id="rId6" Type="http://schemas.openxmlformats.org/officeDocument/2006/relationships/image" Target="../media/image107.png"/><Relationship Id="rId5" Type="http://schemas.openxmlformats.org/officeDocument/2006/relationships/image" Target="../media/image106.png"/><Relationship Id="rId4" Type="http://schemas.microsoft.com/office/2007/relationships/hdphoto" Target="../media/hdphoto6.wdp"/><Relationship Id="rId9" Type="http://schemas.microsoft.com/office/2007/relationships/hdphoto" Target="../media/hdphoto8.wdp"/></Relationships>
</file>

<file path=ppt/slides/_rels/slide121.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13.xml"/></Relationships>
</file>

<file path=ppt/slides/_rels/slide122.xml.rels><?xml version="1.0" encoding="UTF-8" standalone="yes"?>
<Relationships xmlns="http://schemas.openxmlformats.org/package/2006/relationships"><Relationship Id="rId2" Type="http://schemas.openxmlformats.org/officeDocument/2006/relationships/image" Target="../media/image109.png"/><Relationship Id="rId1" Type="http://schemas.openxmlformats.org/officeDocument/2006/relationships/slideLayout" Target="../slideLayouts/slideLayout113.xml"/></Relationships>
</file>

<file path=ppt/slides/_rels/slide12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1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3.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http://www.anes.ucla.edu/dept/Geffen-med-logo(cmyk).gif" TargetMode="External"/><Relationship Id="rId2" Type="http://schemas.openxmlformats.org/officeDocument/2006/relationships/image" Target="../media/image27.png"/><Relationship Id="rId1" Type="http://schemas.openxmlformats.org/officeDocument/2006/relationships/slideLayout" Target="../slideLayouts/slideLayout3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1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3.xml"/><Relationship Id="rId1" Type="http://schemas.openxmlformats.org/officeDocument/2006/relationships/slideLayout" Target="../slideLayouts/slideLayout38.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5.xml"/></Relationships>
</file>

<file path=ppt/slides/_rels/slide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Layout" Target="../slideLayouts/slideLayout6.xml"/><Relationship Id="rId1" Type="http://schemas.openxmlformats.org/officeDocument/2006/relationships/tags" Target="../tags/tag10.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3.xml"/></Relationships>
</file>

<file path=ppt/slides/_rels/slide2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6.xml"/><Relationship Id="rId1" Type="http://schemas.openxmlformats.org/officeDocument/2006/relationships/slideLayout" Target="../slideLayouts/slideLayout57.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2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7.xml"/><Relationship Id="rId1" Type="http://schemas.openxmlformats.org/officeDocument/2006/relationships/slideLayout" Target="../slideLayouts/slideLayout68.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80.xml"/><Relationship Id="rId2" Type="http://schemas.openxmlformats.org/officeDocument/2006/relationships/tags" Target="../tags/tag15.xml"/><Relationship Id="rId1" Type="http://schemas.openxmlformats.org/officeDocument/2006/relationships/vmlDrawing" Target="../drawings/vmlDrawing3.vml"/><Relationship Id="rId6" Type="http://schemas.openxmlformats.org/officeDocument/2006/relationships/image" Target="../media/image4.emf"/><Relationship Id="rId5" Type="http://schemas.openxmlformats.org/officeDocument/2006/relationships/oleObject" Target="../embeddings/oleObject3.bin"/><Relationship Id="rId4" Type="http://schemas.openxmlformats.org/officeDocument/2006/relationships/notesSlide" Target="../notesSlides/notesSlide8.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81.xml"/><Relationship Id="rId2" Type="http://schemas.openxmlformats.org/officeDocument/2006/relationships/tags" Target="../tags/tag16.xml"/><Relationship Id="rId1" Type="http://schemas.openxmlformats.org/officeDocument/2006/relationships/vmlDrawing" Target="../drawings/vmlDrawing4.vml"/><Relationship Id="rId6" Type="http://schemas.openxmlformats.org/officeDocument/2006/relationships/image" Target="../media/image4.emf"/><Relationship Id="rId5" Type="http://schemas.openxmlformats.org/officeDocument/2006/relationships/oleObject" Target="../embeddings/oleObject4.bin"/><Relationship Id="rId4" Type="http://schemas.openxmlformats.org/officeDocument/2006/relationships/notesSlide" Target="../notesSlides/notesSlide9.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80.xml"/><Relationship Id="rId2" Type="http://schemas.openxmlformats.org/officeDocument/2006/relationships/tags" Target="../tags/tag17.xml"/><Relationship Id="rId1" Type="http://schemas.openxmlformats.org/officeDocument/2006/relationships/vmlDrawing" Target="../drawings/vmlDrawing5.vml"/><Relationship Id="rId6" Type="http://schemas.openxmlformats.org/officeDocument/2006/relationships/image" Target="../media/image4.emf"/><Relationship Id="rId5" Type="http://schemas.openxmlformats.org/officeDocument/2006/relationships/oleObject" Target="../embeddings/oleObject5.bin"/><Relationship Id="rId4" Type="http://schemas.openxmlformats.org/officeDocument/2006/relationships/notesSlide" Target="../notesSlides/notesSlide10.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80.xml"/><Relationship Id="rId2" Type="http://schemas.openxmlformats.org/officeDocument/2006/relationships/tags" Target="../tags/tag18.xml"/><Relationship Id="rId1" Type="http://schemas.openxmlformats.org/officeDocument/2006/relationships/vmlDrawing" Target="../drawings/vmlDrawing6.vml"/><Relationship Id="rId6" Type="http://schemas.openxmlformats.org/officeDocument/2006/relationships/image" Target="../media/image4.emf"/><Relationship Id="rId5" Type="http://schemas.openxmlformats.org/officeDocument/2006/relationships/oleObject" Target="../embeddings/oleObject6.bin"/><Relationship Id="rId4" Type="http://schemas.openxmlformats.org/officeDocument/2006/relationships/notesSlide" Target="../notesSlides/notesSlide11.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81.xml"/><Relationship Id="rId2" Type="http://schemas.openxmlformats.org/officeDocument/2006/relationships/tags" Target="../tags/tag19.xml"/><Relationship Id="rId1" Type="http://schemas.openxmlformats.org/officeDocument/2006/relationships/vmlDrawing" Target="../drawings/vmlDrawing7.vml"/><Relationship Id="rId6" Type="http://schemas.openxmlformats.org/officeDocument/2006/relationships/image" Target="../media/image4.emf"/><Relationship Id="rId5" Type="http://schemas.openxmlformats.org/officeDocument/2006/relationships/oleObject" Target="../embeddings/oleObject7.bin"/><Relationship Id="rId4" Type="http://schemas.openxmlformats.org/officeDocument/2006/relationships/notesSlide" Target="../notesSlides/notesSlide12.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80.xml"/><Relationship Id="rId2" Type="http://schemas.openxmlformats.org/officeDocument/2006/relationships/tags" Target="../tags/tag20.xml"/><Relationship Id="rId1" Type="http://schemas.openxmlformats.org/officeDocument/2006/relationships/vmlDrawing" Target="../drawings/vmlDrawing8.vml"/><Relationship Id="rId6" Type="http://schemas.openxmlformats.org/officeDocument/2006/relationships/image" Target="../media/image4.emf"/><Relationship Id="rId5" Type="http://schemas.openxmlformats.org/officeDocument/2006/relationships/oleObject" Target="../embeddings/oleObject8.bin"/><Relationship Id="rId4" Type="http://schemas.openxmlformats.org/officeDocument/2006/relationships/notesSlide" Target="../notesSlides/notesSlide1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8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82.xml"/></Relationships>
</file>

<file path=ppt/slides/_rels/slide32.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Layout" Target="../slideLayouts/slideLayout31.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8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8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84.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8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84.xml"/></Relationships>
</file>

<file path=ppt/slides/_rels/slide3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6.xml"/><Relationship Id="rId1" Type="http://schemas.openxmlformats.org/officeDocument/2006/relationships/slideLayout" Target="../slideLayouts/slideLayout83.xml"/><Relationship Id="rId4" Type="http://schemas.openxmlformats.org/officeDocument/2006/relationships/chart" Target="../charts/chart2.xml"/></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87.xml"/><Relationship Id="rId1" Type="http://schemas.openxmlformats.org/officeDocument/2006/relationships/vmlDrawing" Target="../drawings/vmlDrawing9.vml"/><Relationship Id="rId4" Type="http://schemas.openxmlformats.org/officeDocument/2006/relationships/image" Target="../media/image35.emf"/></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11.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image" Target="../media/image22.jpg"/><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90.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91.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12.xml"/></Relationships>
</file>

<file path=ppt/slides/_rels/slide50.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91.xml"/></Relationships>
</file>

<file path=ppt/slides/_rels/slide5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90.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93.xml"/></Relationships>
</file>

<file path=ppt/slides/_rels/slide53.xml.rels><?xml version="1.0" encoding="UTF-8" standalone="yes"?>
<Relationships xmlns="http://schemas.openxmlformats.org/package/2006/relationships"><Relationship Id="rId3" Type="http://schemas.openxmlformats.org/officeDocument/2006/relationships/image" Target="../media/image40.emf"/><Relationship Id="rId2" Type="http://schemas.openxmlformats.org/officeDocument/2006/relationships/notesSlide" Target="../notesSlides/notesSlide17.xml"/><Relationship Id="rId1" Type="http://schemas.openxmlformats.org/officeDocument/2006/relationships/slideLayout" Target="../slideLayouts/slideLayout101.xml"/><Relationship Id="rId6" Type="http://schemas.microsoft.com/office/2007/relationships/hdphoto" Target="../media/hdphoto2.wdp"/><Relationship Id="rId5" Type="http://schemas.openxmlformats.org/officeDocument/2006/relationships/image" Target="../media/image42.png"/><Relationship Id="rId4" Type="http://schemas.openxmlformats.org/officeDocument/2006/relationships/image" Target="../media/image41.png"/></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01.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93.xml"/></Relationships>
</file>

<file path=ppt/slides/_rels/slide56.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8.xml"/><Relationship Id="rId1" Type="http://schemas.openxmlformats.org/officeDocument/2006/relationships/slideLayout" Target="../slideLayouts/slideLayout101.xml"/><Relationship Id="rId5" Type="http://schemas.openxmlformats.org/officeDocument/2006/relationships/image" Target="../media/image45.png"/><Relationship Id="rId4" Type="http://schemas.openxmlformats.org/officeDocument/2006/relationships/image" Target="../media/image44.png"/></Relationships>
</file>

<file path=ppt/slides/_rels/slide57.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96.xml"/></Relationships>
</file>

<file path=ppt/slides/_rels/slide58.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96.xml"/></Relationships>
</file>

<file path=ppt/slides/_rels/slide59.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96.xml"/></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13.xml"/></Relationships>
</file>

<file path=ppt/slides/_rels/slide60.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96.xml"/></Relationships>
</file>

<file path=ppt/slides/_rels/slide61.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96.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101.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93.xml"/></Relationships>
</file>

<file path=ppt/slides/_rels/slide64.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93.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93.xml"/></Relationships>
</file>

<file path=ppt/slides/_rels/slide66.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52.png"/><Relationship Id="rId1" Type="http://schemas.openxmlformats.org/officeDocument/2006/relationships/slideLayout" Target="../slideLayouts/slideLayout101.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101.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9.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14.xml"/></Relationships>
</file>

<file path=ppt/slides/_rels/slide70.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Layout" Target="../slideLayouts/slideLayout6.xml"/></Relationships>
</file>

<file path=ppt/slides/_rels/slide72.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102.xml"/></Relationships>
</file>

<file path=ppt/slides/_rels/slide74.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103.xml"/></Relationships>
</file>

<file path=ppt/slides/_rels/slide75.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103.xml"/></Relationships>
</file>

<file path=ppt/slides/_rels/slide76.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103.xml"/></Relationships>
</file>

<file path=ppt/slides/_rels/slide77.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9.xml"/><Relationship Id="rId1" Type="http://schemas.openxmlformats.org/officeDocument/2006/relationships/slideLayout" Target="../slideLayouts/slideLayout105.xml"/><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image" Target="../media/image58.png"/></Relationships>
</file>

<file path=ppt/slides/_rels/slide78.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20.xml"/><Relationship Id="rId1" Type="http://schemas.openxmlformats.org/officeDocument/2006/relationships/slideLayout" Target="../slideLayouts/slideLayout107.xml"/><Relationship Id="rId4" Type="http://schemas.openxmlformats.org/officeDocument/2006/relationships/image" Target="../media/image62.png"/></Relationships>
</file>

<file path=ppt/slides/_rels/slide79.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21.xml"/><Relationship Id="rId1" Type="http://schemas.openxmlformats.org/officeDocument/2006/relationships/slideLayout" Target="../slideLayouts/slideLayout105.xml"/><Relationship Id="rId4" Type="http://schemas.openxmlformats.org/officeDocument/2006/relationships/image" Target="../media/image64.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22.xml"/><Relationship Id="rId1" Type="http://schemas.openxmlformats.org/officeDocument/2006/relationships/slideLayout" Target="../slideLayouts/slideLayout106.xml"/><Relationship Id="rId4" Type="http://schemas.openxmlformats.org/officeDocument/2006/relationships/image" Target="../media/image66.png"/></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08.xml"/></Relationships>
</file>

<file path=ppt/slides/_rels/slide82.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24.xml"/><Relationship Id="rId1" Type="http://schemas.openxmlformats.org/officeDocument/2006/relationships/slideLayout" Target="../slideLayouts/slideLayout103.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103.xml"/></Relationships>
</file>

<file path=ppt/slides/_rels/slide84.xml.rels><?xml version="1.0" encoding="UTF-8" standalone="yes"?>
<Relationships xmlns="http://schemas.openxmlformats.org/package/2006/relationships"><Relationship Id="rId3" Type="http://schemas.openxmlformats.org/officeDocument/2006/relationships/image" Target="../media/image69.jpg"/><Relationship Id="rId2" Type="http://schemas.openxmlformats.org/officeDocument/2006/relationships/image" Target="../media/image68.jpg"/><Relationship Id="rId1" Type="http://schemas.openxmlformats.org/officeDocument/2006/relationships/slideLayout" Target="../slideLayouts/slideLayout105.xml"/></Relationships>
</file>

<file path=ppt/slides/_rels/slide85.xml.rels><?xml version="1.0" encoding="UTF-8" standalone="yes"?>
<Relationships xmlns="http://schemas.openxmlformats.org/package/2006/relationships"><Relationship Id="rId3" Type="http://schemas.openxmlformats.org/officeDocument/2006/relationships/image" Target="../media/image70.jpg"/><Relationship Id="rId2" Type="http://schemas.openxmlformats.org/officeDocument/2006/relationships/notesSlide" Target="../notesSlides/notesSlide25.xml"/><Relationship Id="rId1" Type="http://schemas.openxmlformats.org/officeDocument/2006/relationships/slideLayout" Target="../slideLayouts/slideLayout105.xml"/><Relationship Id="rId4" Type="http://schemas.openxmlformats.org/officeDocument/2006/relationships/image" Target="../media/image71.jpg"/></Relationships>
</file>

<file path=ppt/slides/_rels/slide86.xml.rels><?xml version="1.0" encoding="UTF-8" standalone="yes"?>
<Relationships xmlns="http://schemas.openxmlformats.org/package/2006/relationships"><Relationship Id="rId3" Type="http://schemas.openxmlformats.org/officeDocument/2006/relationships/image" Target="../media/image71.jpg"/><Relationship Id="rId2" Type="http://schemas.openxmlformats.org/officeDocument/2006/relationships/image" Target="../media/image70.jpg"/><Relationship Id="rId1" Type="http://schemas.openxmlformats.org/officeDocument/2006/relationships/slideLayout" Target="../slideLayouts/slideLayout105.xml"/><Relationship Id="rId4" Type="http://schemas.openxmlformats.org/officeDocument/2006/relationships/image" Target="../media/image72.png"/></Relationships>
</file>

<file path=ppt/slides/_rels/slide87.xml.rels><?xml version="1.0" encoding="UTF-8" standalone="yes"?>
<Relationships xmlns="http://schemas.openxmlformats.org/package/2006/relationships"><Relationship Id="rId3" Type="http://schemas.openxmlformats.org/officeDocument/2006/relationships/image" Target="../media/image74.jpg"/><Relationship Id="rId2" Type="http://schemas.openxmlformats.org/officeDocument/2006/relationships/image" Target="../media/image73.jpg"/><Relationship Id="rId1" Type="http://schemas.openxmlformats.org/officeDocument/2006/relationships/slideLayout" Target="../slideLayouts/slideLayout105.xml"/></Relationships>
</file>

<file path=ppt/slides/_rels/slide88.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26.xml"/><Relationship Id="rId1" Type="http://schemas.openxmlformats.org/officeDocument/2006/relationships/slideLayout" Target="../slideLayouts/slideLayout105.xml"/><Relationship Id="rId5" Type="http://schemas.openxmlformats.org/officeDocument/2006/relationships/image" Target="../media/image77.png"/><Relationship Id="rId4" Type="http://schemas.openxmlformats.org/officeDocument/2006/relationships/image" Target="../media/image76.png"/></Relationships>
</file>

<file path=ppt/slides/_rels/slide89.xml.rels><?xml version="1.0" encoding="UTF-8" standalone="yes"?>
<Relationships xmlns="http://schemas.openxmlformats.org/package/2006/relationships"><Relationship Id="rId2" Type="http://schemas.openxmlformats.org/officeDocument/2006/relationships/image" Target="../media/image78.jpg"/><Relationship Id="rId1" Type="http://schemas.openxmlformats.org/officeDocument/2006/relationships/slideLayout" Target="../slideLayouts/slideLayout105.xml"/></Relationships>
</file>

<file path=ppt/slides/_rels/slide9.xml.rels><?xml version="1.0" encoding="UTF-8" standalone="yes"?>
<Relationships xmlns="http://schemas.openxmlformats.org/package/2006/relationships"><Relationship Id="rId3" Type="http://schemas.openxmlformats.org/officeDocument/2006/relationships/image" Target="../media/image18.jpg"/><Relationship Id="rId7" Type="http://schemas.openxmlformats.org/officeDocument/2006/relationships/image" Target="../media/image22.jpg"/><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image" Target="../media/image21.jpg"/><Relationship Id="rId5" Type="http://schemas.openxmlformats.org/officeDocument/2006/relationships/image" Target="../media/image20.jpg"/><Relationship Id="rId4" Type="http://schemas.openxmlformats.org/officeDocument/2006/relationships/image" Target="../media/image19.jpg"/></Relationships>
</file>

<file path=ppt/slides/_rels/slide90.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105.xml"/></Relationships>
</file>

<file path=ppt/slides/_rels/slide91.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0.png"/><Relationship Id="rId1" Type="http://schemas.openxmlformats.org/officeDocument/2006/relationships/slideLayout" Target="../slideLayouts/slideLayout105.xml"/></Relationships>
</file>

<file path=ppt/slides/_rels/slide92.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27.xml"/><Relationship Id="rId1" Type="http://schemas.openxmlformats.org/officeDocument/2006/relationships/slideLayout" Target="../slideLayouts/slideLayout105.xml"/><Relationship Id="rId4" Type="http://schemas.openxmlformats.org/officeDocument/2006/relationships/image" Target="../media/image83.png"/></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05.xml"/></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07.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105.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7.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image" Target="../media/image22.jpg"/><Relationship Id="rId1" Type="http://schemas.openxmlformats.org/officeDocument/2006/relationships/slideLayout" Target="../slideLayouts/slideLayout6.xml"/></Relationships>
</file>

<file path=ppt/slides/_rels/slide98.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Layout" Target="../slideLayouts/slideLayout2.xml"/></Relationships>
</file>

<file path=ppt/slides/_rels/slide99.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4">
            <a:extLst>
              <a:ext uri="{FF2B5EF4-FFF2-40B4-BE49-F238E27FC236}">
                <a16:creationId xmlns:a16="http://schemas.microsoft.com/office/drawing/2014/main" id="{45FFA0E9-3A99-EA4E-901A-E81B0F17160D}"/>
              </a:ext>
            </a:extLst>
          </p:cNvPr>
          <p:cNvSpPr>
            <a:spLocks noGrp="1" noChangeArrowheads="1"/>
          </p:cNvSpPr>
          <p:nvPr>
            <p:ph type="title"/>
          </p:nvPr>
        </p:nvSpPr>
        <p:spPr>
          <a:xfrm>
            <a:off x="-26623" y="457200"/>
            <a:ext cx="12192000" cy="1143000"/>
          </a:xfrm>
        </p:spPr>
        <p:txBody>
          <a:bodyPr wrap="square" anchor="ctr">
            <a:noAutofit/>
          </a:bodyPr>
          <a:lstStyle/>
          <a:p>
            <a:r>
              <a:rPr lang="en-US" sz="4000" dirty="0"/>
              <a:t>Cases from the Community: Investigators </a:t>
            </a:r>
            <a:br>
              <a:rPr lang="en-US" sz="4000" dirty="0"/>
            </a:br>
            <a:r>
              <a:rPr lang="en-US" sz="4000" dirty="0"/>
              <a:t>Discuss Available Research Guiding the Care </a:t>
            </a:r>
            <a:br>
              <a:rPr lang="en-US" sz="4000" dirty="0"/>
            </a:br>
            <a:r>
              <a:rPr lang="en-US" sz="4000" dirty="0"/>
              <a:t>of Patients with Hepatobiliary Cancers</a:t>
            </a:r>
          </a:p>
        </p:txBody>
      </p:sp>
      <p:sp>
        <p:nvSpPr>
          <p:cNvPr id="12" name="Text Box 3">
            <a:extLst>
              <a:ext uri="{FF2B5EF4-FFF2-40B4-BE49-F238E27FC236}">
                <a16:creationId xmlns:a16="http://schemas.microsoft.com/office/drawing/2014/main" id="{7E30105C-B3D1-1C45-996D-9E0E654A891B}"/>
              </a:ext>
            </a:extLst>
          </p:cNvPr>
          <p:cNvSpPr txBox="1">
            <a:spLocks noChangeArrowheads="1"/>
          </p:cNvSpPr>
          <p:nvPr/>
        </p:nvSpPr>
        <p:spPr bwMode="auto">
          <a:xfrm>
            <a:off x="3261360" y="5778746"/>
            <a:ext cx="566928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Robin K (Katie) Kelley, MD</a:t>
            </a:r>
          </a:p>
        </p:txBody>
      </p:sp>
      <p:sp>
        <p:nvSpPr>
          <p:cNvPr id="13" name="Text Box 7">
            <a:extLst>
              <a:ext uri="{FF2B5EF4-FFF2-40B4-BE49-F238E27FC236}">
                <a16:creationId xmlns:a16="http://schemas.microsoft.com/office/drawing/2014/main" id="{A5E19C6F-C502-CD4A-A2BB-D7430F1BC538}"/>
              </a:ext>
            </a:extLst>
          </p:cNvPr>
          <p:cNvSpPr txBox="1">
            <a:spLocks noChangeArrowheads="1"/>
          </p:cNvSpPr>
          <p:nvPr/>
        </p:nvSpPr>
        <p:spPr bwMode="auto">
          <a:xfrm>
            <a:off x="4647392" y="3883645"/>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6" name="Text Box 6">
            <a:extLst>
              <a:ext uri="{FF2B5EF4-FFF2-40B4-BE49-F238E27FC236}">
                <a16:creationId xmlns:a16="http://schemas.microsoft.com/office/drawing/2014/main" id="{35F8A6CD-FCA1-E840-88A9-EDC709243AF5}"/>
              </a:ext>
            </a:extLst>
          </p:cNvPr>
          <p:cNvSpPr txBox="1">
            <a:spLocks noChangeArrowheads="1"/>
          </p:cNvSpPr>
          <p:nvPr/>
        </p:nvSpPr>
        <p:spPr bwMode="auto">
          <a:xfrm>
            <a:off x="0" y="2791527"/>
            <a:ext cx="12192000" cy="942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Friday, January 20, 2023</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6:00 PM – 7:30 PM PT</a:t>
            </a:r>
            <a:endPar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endParaRPr>
          </a:p>
        </p:txBody>
      </p:sp>
      <p:sp>
        <p:nvSpPr>
          <p:cNvPr id="8" name="Rectangle 4">
            <a:extLst>
              <a:ext uri="{FF2B5EF4-FFF2-40B4-BE49-F238E27FC236}">
                <a16:creationId xmlns:a16="http://schemas.microsoft.com/office/drawing/2014/main" id="{5778C5BE-6C70-DB44-845F-5BFB22C55505}"/>
              </a:ext>
            </a:extLst>
          </p:cNvPr>
          <p:cNvSpPr txBox="1">
            <a:spLocks noChangeArrowheads="1"/>
          </p:cNvSpPr>
          <p:nvPr/>
        </p:nvSpPr>
        <p:spPr bwMode="auto">
          <a:xfrm>
            <a:off x="0" y="1828800"/>
            <a:ext cx="12192000" cy="880585"/>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220"/>
              </a:lnSpc>
              <a:spcBef>
                <a:spcPct val="0"/>
              </a:spcBef>
              <a:spcAft>
                <a:spcPct val="0"/>
              </a:spcAft>
              <a:buClr>
                <a:srgbClr val="000000"/>
              </a:buClr>
              <a:buSzPct val="45000"/>
              <a:buFont typeface="Wingdings" pitchFamily="-72" charset="2"/>
              <a:buNone/>
              <a:tabLst/>
              <a:defRPr/>
            </a:pPr>
            <a: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t>Part 3 of a 3-Part CME Symposium Series Held in Conjunction </a:t>
            </a:r>
            <a:b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br>
            <a: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t>with the 2023 ASCO Gastrointestinal Cancers Symposium</a:t>
            </a:r>
          </a:p>
        </p:txBody>
      </p:sp>
      <p:sp>
        <p:nvSpPr>
          <p:cNvPr id="9" name="Text Box 6">
            <a:extLst>
              <a:ext uri="{FF2B5EF4-FFF2-40B4-BE49-F238E27FC236}">
                <a16:creationId xmlns:a16="http://schemas.microsoft.com/office/drawing/2014/main" id="{DA643E66-527F-8143-B289-74DF2BD163FA}"/>
              </a:ext>
            </a:extLst>
          </p:cNvPr>
          <p:cNvSpPr txBox="1">
            <a:spLocks noChangeArrowheads="1"/>
          </p:cNvSpPr>
          <p:nvPr/>
        </p:nvSpPr>
        <p:spPr bwMode="auto">
          <a:xfrm>
            <a:off x="152400" y="4364513"/>
            <a:ext cx="120396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2">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Richard S Finn, MD</a:t>
            </a:r>
          </a:p>
          <a:p>
            <a:pPr marL="0" marR="0" lvl="0" indent="0" algn="ctr" defTabSz="914400" rtl="0" eaLnBrk="0" fontAlgn="base" latinLnBrk="0" hangingPunct="0">
              <a:lnSpc>
                <a:spcPts val="3640"/>
              </a:lnSpc>
              <a:spcBef>
                <a:spcPct val="0"/>
              </a:spcBef>
              <a:spcAft>
                <a:spcPct val="0"/>
              </a:spcAft>
              <a:buClrTx/>
              <a:buSzTx/>
              <a:buFontTx/>
              <a:buNone/>
              <a:tabLst/>
              <a:defRPr/>
            </a:pPr>
            <a:r>
              <a:rPr kumimoji="0" lang="en-US" sz="31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Lipika</a:t>
            </a: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 Goyal, MD, MPhil</a:t>
            </a:r>
          </a:p>
          <a:p>
            <a:pPr marL="0" marR="0" lvl="0" indent="0" algn="ctr" defTabSz="914400" rtl="0" eaLnBrk="0" fontAlgn="base" latinLnBrk="0" hangingPunct="0">
              <a:lnSpc>
                <a:spcPts val="36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Professor Arndt Vogel, MD</a:t>
            </a:r>
          </a:p>
        </p:txBody>
      </p:sp>
    </p:spTree>
    <p:custDataLst>
      <p:tags r:id="rId1"/>
    </p:custDataLst>
    <p:extLst>
      <p:ext uri="{BB962C8B-B14F-4D97-AF65-F5344CB8AC3E}">
        <p14:creationId xmlns:p14="http://schemas.microsoft.com/office/powerpoint/2010/main" val="42315670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a:extLst>
              <a:ext uri="{FF2B5EF4-FFF2-40B4-BE49-F238E27FC236}">
                <a16:creationId xmlns:a16="http://schemas.microsoft.com/office/drawing/2014/main" id="{5F393BBF-6A83-2537-019D-E0F366D0EC74}"/>
              </a:ext>
            </a:extLst>
          </p:cNvPr>
          <p:cNvSpPr txBox="1"/>
          <p:nvPr/>
        </p:nvSpPr>
        <p:spPr>
          <a:xfrm>
            <a:off x="8912262" y="3868722"/>
            <a:ext cx="3155856"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Liudmila</a:t>
            </a: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N Schafer, M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Saint Luke’s Cancer Institute</a:t>
            </a:r>
            <a:b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b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Kansas City, Missouri </a:t>
            </a:r>
          </a:p>
        </p:txBody>
      </p:sp>
      <p:pic>
        <p:nvPicPr>
          <p:cNvPr id="29" name="Picture 28" descr="A picture containing wall, indoor, person, posing&#10;&#10;Description automatically generated">
            <a:extLst>
              <a:ext uri="{FF2B5EF4-FFF2-40B4-BE49-F238E27FC236}">
                <a16:creationId xmlns:a16="http://schemas.microsoft.com/office/drawing/2014/main" id="{33769EDC-8A34-CD09-CAC3-2031F2D51DBF}"/>
              </a:ext>
            </a:extLst>
          </p:cNvPr>
          <p:cNvPicPr>
            <a:picLocks noChangeAspect="1"/>
          </p:cNvPicPr>
          <p:nvPr/>
        </p:nvPicPr>
        <p:blipFill>
          <a:blip r:embed="rId2"/>
          <a:stretch>
            <a:fillRect/>
          </a:stretch>
        </p:blipFill>
        <p:spPr>
          <a:xfrm>
            <a:off x="6337210" y="3868722"/>
            <a:ext cx="2552192" cy="1435608"/>
          </a:xfrm>
          <a:prstGeom prst="rect">
            <a:avLst/>
          </a:prstGeom>
          <a:effectLst>
            <a:outerShdw blurRad="50800" dist="38100" dir="2700000" algn="tl" rotWithShape="0">
              <a:prstClr val="black">
                <a:alpha val="40000"/>
              </a:prstClr>
            </a:outerShdw>
          </a:effectLst>
        </p:spPr>
      </p:pic>
      <p:pic>
        <p:nvPicPr>
          <p:cNvPr id="3" name="Picture 2" descr="A person wearing headphones&#10;&#10;Description automatically generated with medium confidence">
            <a:extLst>
              <a:ext uri="{FF2B5EF4-FFF2-40B4-BE49-F238E27FC236}">
                <a16:creationId xmlns:a16="http://schemas.microsoft.com/office/drawing/2014/main" id="{554B2E4C-DC2A-4401-A829-61DDCE5598DF}"/>
              </a:ext>
            </a:extLst>
          </p:cNvPr>
          <p:cNvPicPr>
            <a:picLocks noChangeAspect="1"/>
          </p:cNvPicPr>
          <p:nvPr/>
        </p:nvPicPr>
        <p:blipFill>
          <a:blip r:embed="rId3"/>
          <a:stretch>
            <a:fillRect/>
          </a:stretch>
        </p:blipFill>
        <p:spPr>
          <a:xfrm>
            <a:off x="6337210" y="1478382"/>
            <a:ext cx="2551176" cy="1435037"/>
          </a:xfrm>
          <a:prstGeom prst="rect">
            <a:avLst/>
          </a:prstGeom>
          <a:effectLst>
            <a:outerShdw blurRad="50800" dist="38100" dir="2700000" algn="tl" rotWithShape="0">
              <a:prstClr val="black">
                <a:alpha val="40000"/>
              </a:prstClr>
            </a:outerShdw>
          </a:effectLst>
        </p:spPr>
      </p:pic>
      <p:sp>
        <p:nvSpPr>
          <p:cNvPr id="4" name="TextBox 3">
            <a:extLst>
              <a:ext uri="{FF2B5EF4-FFF2-40B4-BE49-F238E27FC236}">
                <a16:creationId xmlns:a16="http://schemas.microsoft.com/office/drawing/2014/main" id="{0BBFE49A-9964-3F19-B394-1FA3E33DE922}"/>
              </a:ext>
            </a:extLst>
          </p:cNvPr>
          <p:cNvSpPr txBox="1"/>
          <p:nvPr/>
        </p:nvSpPr>
        <p:spPr>
          <a:xfrm>
            <a:off x="8912262" y="1478382"/>
            <a:ext cx="3155856"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Priya Rudolph, M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Georgia Cancer Specialist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hens, Georgia</a:t>
            </a:r>
          </a:p>
        </p:txBody>
      </p:sp>
      <p:pic>
        <p:nvPicPr>
          <p:cNvPr id="6" name="Picture 5" descr="A person wearing headphones&#10;&#10;Description automatically generated with low confidence">
            <a:extLst>
              <a:ext uri="{FF2B5EF4-FFF2-40B4-BE49-F238E27FC236}">
                <a16:creationId xmlns:a16="http://schemas.microsoft.com/office/drawing/2014/main" id="{EC1B235B-27CD-A8C3-7077-C5F1410B255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9145" y="3868722"/>
            <a:ext cx="2551176" cy="1435037"/>
          </a:xfrm>
          <a:prstGeom prst="rect">
            <a:avLst/>
          </a:prstGeom>
          <a:effectLst>
            <a:outerShdw blurRad="50800" dist="38100" dir="2700000" algn="tl" rotWithShape="0">
              <a:prstClr val="black">
                <a:alpha val="40000"/>
              </a:prstClr>
            </a:outerShdw>
          </a:effectLst>
        </p:spPr>
      </p:pic>
      <p:sp>
        <p:nvSpPr>
          <p:cNvPr id="7" name="TextBox 6">
            <a:extLst>
              <a:ext uri="{FF2B5EF4-FFF2-40B4-BE49-F238E27FC236}">
                <a16:creationId xmlns:a16="http://schemas.microsoft.com/office/drawing/2014/main" id="{AEA64033-C057-BB63-7DF8-255B8E4CDA6C}"/>
              </a:ext>
            </a:extLst>
          </p:cNvPr>
          <p:cNvSpPr txBox="1"/>
          <p:nvPr/>
        </p:nvSpPr>
        <p:spPr>
          <a:xfrm>
            <a:off x="3064197" y="3868722"/>
            <a:ext cx="3179516" cy="10772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Niyati</a:t>
            </a: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A </a:t>
            </a:r>
            <a:r>
              <a:rPr kumimoji="0" lang="en-US" sz="1600" b="1"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Nathwani</a:t>
            </a: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M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Carolina Blood and Cancer Care Associate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Charlotte, North Carolina </a:t>
            </a:r>
          </a:p>
        </p:txBody>
      </p:sp>
      <p:sp>
        <p:nvSpPr>
          <p:cNvPr id="11" name="TextBox 10">
            <a:extLst>
              <a:ext uri="{FF2B5EF4-FFF2-40B4-BE49-F238E27FC236}">
                <a16:creationId xmlns:a16="http://schemas.microsoft.com/office/drawing/2014/main" id="{867D70D5-8979-814E-BCC8-7A0352FBEBE1}"/>
              </a:ext>
            </a:extLst>
          </p:cNvPr>
          <p:cNvSpPr txBox="1"/>
          <p:nvPr/>
        </p:nvSpPr>
        <p:spPr>
          <a:xfrm>
            <a:off x="3063181" y="1478382"/>
            <a:ext cx="2475747" cy="107721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Times New Roman" panose="02020603050405020304" pitchFamily="18" charset="0"/>
                <a:cs typeface="Calibri" panose="020F0502020204030204" pitchFamily="34" charset="0"/>
              </a:rPr>
              <a:t>Joseph Martins, M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1D1C1D"/>
                </a:solidFill>
                <a:effectLst/>
                <a:uLnTx/>
                <a:uFillTx/>
                <a:latin typeface="Calibri" panose="020F0502020204030204" pitchFamily="34" charset="0"/>
                <a:ea typeface="+mn-ea"/>
                <a:cs typeface="Calibri" panose="020F0502020204030204" pitchFamily="34" charset="0"/>
              </a:rPr>
              <a:t>UT Health Science Center</a:t>
            </a:r>
            <a:b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br>
            <a:r>
              <a:rPr kumimoji="0" lang="en-US" sz="1600" b="0" i="0" u="none" strike="noStrike" kern="1200" cap="none" spc="0" normalizeH="0" baseline="0" noProof="0" dirty="0">
                <a:ln>
                  <a:noFill/>
                </a:ln>
                <a:solidFill>
                  <a:srgbClr val="1D1C1D"/>
                </a:solidFill>
                <a:effectLst/>
                <a:uLnTx/>
                <a:uFillTx/>
                <a:latin typeface="Calibri" panose="020F0502020204030204" pitchFamily="34" charset="0"/>
                <a:ea typeface="+mn-ea"/>
                <a:cs typeface="Calibri" panose="020F0502020204030204" pitchFamily="34" charset="0"/>
              </a:rPr>
              <a:t>Tyler, Texas</a:t>
            </a:r>
            <a:endPar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Times New Roman" panose="02020603050405020304" pitchFamily="18"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Times New Roman" panose="02020603050405020304" pitchFamily="18" charset="0"/>
              <a:cs typeface="Calibri" panose="020F0502020204030204" pitchFamily="34" charset="0"/>
            </a:endParaRPr>
          </a:p>
        </p:txBody>
      </p:sp>
      <p:pic>
        <p:nvPicPr>
          <p:cNvPr id="12" name="Picture 11" descr="A person wearing headphones&#10;&#10;Description automatically generated with medium confidence">
            <a:extLst>
              <a:ext uri="{FF2B5EF4-FFF2-40B4-BE49-F238E27FC236}">
                <a16:creationId xmlns:a16="http://schemas.microsoft.com/office/drawing/2014/main" id="{B3EBBA33-0B9B-9243-B619-54997C96EBFD}"/>
              </a:ext>
            </a:extLst>
          </p:cNvPr>
          <p:cNvPicPr>
            <a:picLocks noChangeAspect="1"/>
          </p:cNvPicPr>
          <p:nvPr/>
        </p:nvPicPr>
        <p:blipFill>
          <a:blip r:embed="rId5"/>
          <a:stretch>
            <a:fillRect/>
          </a:stretch>
        </p:blipFill>
        <p:spPr>
          <a:xfrm>
            <a:off x="488129" y="1478382"/>
            <a:ext cx="2552192" cy="1435608"/>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41249112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6D99EA41-950A-FC4F-9049-A7DC9674DA45}"/>
              </a:ext>
            </a:extLst>
          </p:cNvPr>
          <p:cNvSpPr/>
          <p:nvPr/>
        </p:nvSpPr>
        <p:spPr bwMode="auto">
          <a:xfrm>
            <a:off x="3860100" y="463385"/>
            <a:ext cx="7795034" cy="1990054"/>
          </a:xfrm>
          <a:prstGeom prst="rect">
            <a:avLst/>
          </a:prstGeom>
          <a:solidFill>
            <a:srgbClr val="1599B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S PGothic" charset="0"/>
              <a:cs typeface="+mn-cs"/>
            </a:endParaRPr>
          </a:p>
        </p:txBody>
      </p:sp>
      <p:sp>
        <p:nvSpPr>
          <p:cNvPr id="14" name="Title 1">
            <a:extLst>
              <a:ext uri="{FF2B5EF4-FFF2-40B4-BE49-F238E27FC236}">
                <a16:creationId xmlns:a16="http://schemas.microsoft.com/office/drawing/2014/main" id="{95846D9E-D007-AA40-B7BA-36E748F96750}"/>
              </a:ext>
            </a:extLst>
          </p:cNvPr>
          <p:cNvSpPr>
            <a:spLocks noGrp="1"/>
          </p:cNvSpPr>
          <p:nvPr>
            <p:ph type="title"/>
          </p:nvPr>
        </p:nvSpPr>
        <p:spPr>
          <a:xfrm>
            <a:off x="4007881" y="1138187"/>
            <a:ext cx="7647253" cy="1095726"/>
          </a:xfrm>
        </p:spPr>
        <p:txBody>
          <a:bodyPr lIns="91440" tIns="91440" rIns="91440" bIns="182880"/>
          <a:lstStyle/>
          <a:p>
            <a:pPr algn="l"/>
            <a:r>
              <a:rPr lang="en-US" sz="2800" dirty="0">
                <a:solidFill>
                  <a:schemeClr val="bg1"/>
                </a:solidFill>
              </a:rPr>
              <a:t>53-year-old man with recurrent metastatic cholangiocarcinoma with a BRAF V600E mutation treated with dabrafenib/trametinib</a:t>
            </a:r>
            <a:br>
              <a:rPr lang="en-US" sz="2600" dirty="0">
                <a:solidFill>
                  <a:schemeClr val="bg1"/>
                </a:solidFill>
                <a:effectLst/>
                <a:latin typeface="Calibri" panose="020F0502020204030204" pitchFamily="34" charset="0"/>
                <a:cs typeface="Calibri" panose="020F0502020204030204" pitchFamily="34" charset="0"/>
              </a:rPr>
            </a:br>
            <a:endParaRPr lang="en-US" sz="2600" dirty="0">
              <a:solidFill>
                <a:schemeClr val="bg1"/>
              </a:solidFill>
              <a:latin typeface="Calibri" panose="020F0502020204030204" pitchFamily="34" charset="0"/>
              <a:cs typeface="Calibri" panose="020F0502020204030204" pitchFamily="34" charset="0"/>
            </a:endParaRPr>
          </a:p>
        </p:txBody>
      </p:sp>
      <p:sp>
        <p:nvSpPr>
          <p:cNvPr id="7" name="Rectangle 6">
            <a:extLst>
              <a:ext uri="{FF2B5EF4-FFF2-40B4-BE49-F238E27FC236}">
                <a16:creationId xmlns:a16="http://schemas.microsoft.com/office/drawing/2014/main" id="{C3C85040-99B6-270D-1813-0E9EFC13D4FF}"/>
              </a:ext>
            </a:extLst>
          </p:cNvPr>
          <p:cNvSpPr/>
          <p:nvPr/>
        </p:nvSpPr>
        <p:spPr bwMode="auto">
          <a:xfrm>
            <a:off x="3873956" y="3537335"/>
            <a:ext cx="7795034" cy="1799713"/>
          </a:xfrm>
          <a:prstGeom prst="rect">
            <a:avLst/>
          </a:prstGeom>
          <a:solidFill>
            <a:srgbClr val="1599B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S PGothic" charset="0"/>
              <a:cs typeface="+mn-cs"/>
            </a:endParaRPr>
          </a:p>
        </p:txBody>
      </p:sp>
      <p:sp>
        <p:nvSpPr>
          <p:cNvPr id="9" name="Title 1">
            <a:extLst>
              <a:ext uri="{FF2B5EF4-FFF2-40B4-BE49-F238E27FC236}">
                <a16:creationId xmlns:a16="http://schemas.microsoft.com/office/drawing/2014/main" id="{78621A71-974F-CBB6-0411-9258E996E147}"/>
              </a:ext>
            </a:extLst>
          </p:cNvPr>
          <p:cNvSpPr txBox="1">
            <a:spLocks/>
          </p:cNvSpPr>
          <p:nvPr/>
        </p:nvSpPr>
        <p:spPr bwMode="auto">
          <a:xfrm>
            <a:off x="4056045" y="3960618"/>
            <a:ext cx="7647253" cy="1095726"/>
          </a:xfrm>
          <a:prstGeom prst="rect">
            <a:avLst/>
          </a:prstGeom>
          <a:noFill/>
          <a:ln w="9525">
            <a:noFill/>
            <a:miter lim="800000"/>
            <a:headEnd/>
            <a:tailEnd/>
          </a:ln>
        </p:spPr>
        <p:txBody>
          <a:bodyPr vert="horz" wrap="square" lIns="91440" tIns="91440" rIns="91440" bIns="18288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l"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800" b="1" i="0" u="none" strike="noStrike" kern="0" cap="none" spc="0" normalizeH="0" baseline="0" noProof="0" dirty="0">
                <a:ln>
                  <a:noFill/>
                </a:ln>
                <a:solidFill>
                  <a:srgbClr val="FFFFFF"/>
                </a:solidFill>
                <a:effectLst/>
                <a:uLnTx/>
                <a:uFillTx/>
                <a:latin typeface="Calibri"/>
                <a:ea typeface="MS PGothic" pitchFamily="34" charset="-128"/>
                <a:cs typeface="Calibri"/>
              </a:rPr>
              <a:t>64-year-old woman with cholangiocarcinoma </a:t>
            </a:r>
            <a:br>
              <a:rPr kumimoji="0" lang="en-US" sz="2800" b="1" i="0" u="none" strike="noStrike" kern="0" cap="none" spc="0" normalizeH="0" baseline="0" noProof="0" dirty="0">
                <a:ln>
                  <a:noFill/>
                </a:ln>
                <a:solidFill>
                  <a:srgbClr val="FFFFFF"/>
                </a:solidFill>
                <a:effectLst/>
                <a:uLnTx/>
                <a:uFillTx/>
                <a:latin typeface="Calibri"/>
                <a:ea typeface="MS PGothic" pitchFamily="34" charset="-128"/>
                <a:cs typeface="Calibri"/>
              </a:rPr>
            </a:br>
            <a:r>
              <a:rPr kumimoji="0" lang="en-US" sz="2800" b="1" i="0" u="none" strike="noStrike" kern="0" cap="none" spc="0" normalizeH="0" baseline="0" noProof="0" dirty="0">
                <a:ln>
                  <a:noFill/>
                </a:ln>
                <a:solidFill>
                  <a:srgbClr val="FFFFFF"/>
                </a:solidFill>
                <a:effectLst/>
                <a:uLnTx/>
                <a:uFillTx/>
                <a:latin typeface="Calibri"/>
                <a:ea typeface="MS PGothic" pitchFamily="34" charset="-128"/>
                <a:cs typeface="Calibri"/>
              </a:rPr>
              <a:t>with an IDH1 mutation is treated with ivosidenib    </a:t>
            </a:r>
          </a:p>
        </p:txBody>
      </p:sp>
      <p:grpSp>
        <p:nvGrpSpPr>
          <p:cNvPr id="10" name="Group 9">
            <a:extLst>
              <a:ext uri="{FF2B5EF4-FFF2-40B4-BE49-F238E27FC236}">
                <a16:creationId xmlns:a16="http://schemas.microsoft.com/office/drawing/2014/main" id="{C44A41B5-6632-3C20-F421-A8E8C48B439A}"/>
              </a:ext>
            </a:extLst>
          </p:cNvPr>
          <p:cNvGrpSpPr/>
          <p:nvPr/>
        </p:nvGrpSpPr>
        <p:grpSpPr>
          <a:xfrm>
            <a:off x="218661" y="3329609"/>
            <a:ext cx="3462723" cy="2737311"/>
            <a:chOff x="218661" y="3329609"/>
            <a:chExt cx="3462723" cy="2737311"/>
          </a:xfrm>
        </p:grpSpPr>
        <p:sp>
          <p:nvSpPr>
            <p:cNvPr id="5" name="TextBox 4">
              <a:extLst>
                <a:ext uri="{FF2B5EF4-FFF2-40B4-BE49-F238E27FC236}">
                  <a16:creationId xmlns:a16="http://schemas.microsoft.com/office/drawing/2014/main" id="{FB9F9004-4DDC-E344-3174-A04D4F0F0B20}"/>
                </a:ext>
              </a:extLst>
            </p:cNvPr>
            <p:cNvSpPr txBox="1"/>
            <p:nvPr/>
          </p:nvSpPr>
          <p:spPr>
            <a:xfrm>
              <a:off x="536866" y="5420589"/>
              <a:ext cx="3144518" cy="64633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2060"/>
                  </a:solidFill>
                  <a:effectLst/>
                  <a:uLnTx/>
                  <a:uFillTx/>
                  <a:latin typeface="Calibri"/>
                  <a:ea typeface="+mn-ea"/>
                  <a:cs typeface="+mn-cs"/>
                </a:rPr>
                <a:t>Dr </a:t>
              </a:r>
              <a:r>
                <a:rPr kumimoji="0" lang="en-US" sz="1800" b="1" i="0" u="none" strike="noStrike" kern="1200" cap="none" spc="0" normalizeH="0" baseline="0" noProof="0" dirty="0" err="1">
                  <a:ln>
                    <a:noFill/>
                  </a:ln>
                  <a:solidFill>
                    <a:srgbClr val="002060"/>
                  </a:solidFill>
                  <a:effectLst/>
                  <a:uLnTx/>
                  <a:uFillTx/>
                  <a:latin typeface="Calibri"/>
                  <a:ea typeface="+mn-ea"/>
                  <a:cs typeface="+mn-cs"/>
                </a:rPr>
                <a:t>Niyati</a:t>
              </a:r>
              <a:r>
                <a:rPr kumimoji="0" lang="en-US" sz="1800" b="1" i="0" u="none" strike="noStrike" kern="1200" cap="none" spc="0" normalizeH="0" baseline="0" noProof="0" dirty="0">
                  <a:ln>
                    <a:noFill/>
                  </a:ln>
                  <a:solidFill>
                    <a:srgbClr val="002060"/>
                  </a:solidFill>
                  <a:effectLst/>
                  <a:uLnTx/>
                  <a:uFillTx/>
                  <a:latin typeface="Calibri"/>
                  <a:ea typeface="+mn-ea"/>
                  <a:cs typeface="+mn-cs"/>
                </a:rPr>
                <a:t> </a:t>
              </a:r>
              <a:r>
                <a:rPr kumimoji="0" lang="en-US" sz="1800" b="1" i="0" u="none" strike="noStrike" kern="1200" cap="none" spc="0" normalizeH="0" baseline="0" noProof="0" dirty="0" err="1">
                  <a:ln>
                    <a:noFill/>
                  </a:ln>
                  <a:solidFill>
                    <a:srgbClr val="002060"/>
                  </a:solidFill>
                  <a:effectLst/>
                  <a:uLnTx/>
                  <a:uFillTx/>
                  <a:latin typeface="Calibri"/>
                  <a:ea typeface="+mn-ea"/>
                  <a:cs typeface="+mn-cs"/>
                </a:rPr>
                <a:t>Nathwani</a:t>
              </a:r>
              <a:r>
                <a:rPr kumimoji="0" lang="en-US" sz="1800" b="1" i="0" u="none" strike="noStrike" kern="1200" cap="none" spc="0" normalizeH="0" baseline="0" noProof="0" dirty="0">
                  <a:ln>
                    <a:noFill/>
                  </a:ln>
                  <a:solidFill>
                    <a:srgbClr val="002060"/>
                  </a:solidFill>
                  <a:effectLst/>
                  <a:uLnTx/>
                  <a:uFillTx/>
                  <a:latin typeface="Calibri"/>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2060"/>
                  </a:solidFill>
                  <a:effectLst/>
                  <a:uLnTx/>
                  <a:uFillTx/>
                  <a:latin typeface="Calibri"/>
                  <a:ea typeface="+mn-ea"/>
                  <a:cs typeface="+mn-cs"/>
                </a:rPr>
                <a:t>(Charlotte, North Carolina)</a:t>
              </a:r>
            </a:p>
          </p:txBody>
        </p:sp>
        <p:sp>
          <p:nvSpPr>
            <p:cNvPr id="6" name="TextBox 5">
              <a:extLst>
                <a:ext uri="{FF2B5EF4-FFF2-40B4-BE49-F238E27FC236}">
                  <a16:creationId xmlns:a16="http://schemas.microsoft.com/office/drawing/2014/main" id="{3FA0FF52-44CE-B0AF-1FF3-C2EFED822457}"/>
                </a:ext>
              </a:extLst>
            </p:cNvPr>
            <p:cNvSpPr txBox="1"/>
            <p:nvPr/>
          </p:nvSpPr>
          <p:spPr>
            <a:xfrm>
              <a:off x="218661" y="3329609"/>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p:txBody>
        </p:sp>
      </p:grpSp>
      <p:grpSp>
        <p:nvGrpSpPr>
          <p:cNvPr id="11" name="Group 10">
            <a:extLst>
              <a:ext uri="{FF2B5EF4-FFF2-40B4-BE49-F238E27FC236}">
                <a16:creationId xmlns:a16="http://schemas.microsoft.com/office/drawing/2014/main" id="{16309D43-4535-46F0-2E7F-80430B570E4D}"/>
              </a:ext>
            </a:extLst>
          </p:cNvPr>
          <p:cNvGrpSpPr/>
          <p:nvPr/>
        </p:nvGrpSpPr>
        <p:grpSpPr>
          <a:xfrm>
            <a:off x="216375" y="327992"/>
            <a:ext cx="3462723" cy="2737311"/>
            <a:chOff x="218661" y="3329609"/>
            <a:chExt cx="3462723" cy="2737311"/>
          </a:xfrm>
        </p:grpSpPr>
        <p:sp>
          <p:nvSpPr>
            <p:cNvPr id="12" name="TextBox 11">
              <a:extLst>
                <a:ext uri="{FF2B5EF4-FFF2-40B4-BE49-F238E27FC236}">
                  <a16:creationId xmlns:a16="http://schemas.microsoft.com/office/drawing/2014/main" id="{418E3E79-21D4-62C1-6526-D6A408783687}"/>
                </a:ext>
              </a:extLst>
            </p:cNvPr>
            <p:cNvSpPr txBox="1"/>
            <p:nvPr/>
          </p:nvSpPr>
          <p:spPr>
            <a:xfrm>
              <a:off x="536866" y="5420589"/>
              <a:ext cx="3144518" cy="64633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2060"/>
                  </a:solidFill>
                  <a:effectLst/>
                  <a:uLnTx/>
                  <a:uFillTx/>
                  <a:latin typeface="Calibri"/>
                  <a:ea typeface="+mn-ea"/>
                  <a:cs typeface="+mn-cs"/>
                </a:rPr>
                <a:t>Dr </a:t>
              </a:r>
              <a:r>
                <a:rPr kumimoji="0" lang="en-US" sz="1800" b="1" i="0" u="none" strike="noStrike" kern="1200" cap="none" spc="0" normalizeH="0" baseline="0" noProof="0" dirty="0" err="1">
                  <a:ln>
                    <a:noFill/>
                  </a:ln>
                  <a:solidFill>
                    <a:srgbClr val="002060"/>
                  </a:solidFill>
                  <a:effectLst/>
                  <a:uLnTx/>
                  <a:uFillTx/>
                  <a:latin typeface="Calibri"/>
                  <a:ea typeface="+mn-ea"/>
                  <a:cs typeface="+mn-cs"/>
                </a:rPr>
                <a:t>Farshid</a:t>
              </a:r>
              <a:r>
                <a:rPr kumimoji="0" lang="en-US" sz="1800" b="1" i="0" u="none" strike="noStrike" kern="1200" cap="none" spc="0" normalizeH="0" baseline="0" noProof="0" dirty="0">
                  <a:ln>
                    <a:noFill/>
                  </a:ln>
                  <a:solidFill>
                    <a:srgbClr val="002060"/>
                  </a:solidFill>
                  <a:effectLst/>
                  <a:uLnTx/>
                  <a:uFillTx/>
                  <a:latin typeface="Calibri"/>
                  <a:ea typeface="+mn-ea"/>
                  <a:cs typeface="+mn-cs"/>
                </a:rPr>
                <a:t> </a:t>
              </a:r>
              <a:r>
                <a:rPr kumimoji="0" lang="en-US" sz="1800" b="1" i="0" u="none" strike="noStrike" kern="1200" cap="none" spc="0" normalizeH="0" baseline="0" noProof="0" dirty="0" err="1">
                  <a:ln>
                    <a:noFill/>
                  </a:ln>
                  <a:solidFill>
                    <a:srgbClr val="002060"/>
                  </a:solidFill>
                  <a:effectLst/>
                  <a:uLnTx/>
                  <a:uFillTx/>
                  <a:latin typeface="Calibri"/>
                  <a:ea typeface="+mn-ea"/>
                  <a:cs typeface="+mn-cs"/>
                </a:rPr>
                <a:t>Dayyani</a:t>
              </a:r>
              <a:endParaRPr kumimoji="0" lang="en-US" sz="1800" b="1" i="0" u="none" strike="noStrike" kern="1200" cap="none" spc="0" normalizeH="0" baseline="0" noProof="0" dirty="0">
                <a:ln>
                  <a:noFill/>
                </a:ln>
                <a:solidFill>
                  <a:srgbClr val="002060"/>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2060"/>
                  </a:solidFill>
                  <a:effectLst/>
                  <a:uLnTx/>
                  <a:uFillTx/>
                  <a:latin typeface="Calibri"/>
                  <a:ea typeface="+mn-ea"/>
                  <a:cs typeface="+mn-cs"/>
                </a:rPr>
                <a:t>(Orange, California)</a:t>
              </a:r>
            </a:p>
          </p:txBody>
        </p:sp>
        <p:sp>
          <p:nvSpPr>
            <p:cNvPr id="16" name="TextBox 15">
              <a:extLst>
                <a:ext uri="{FF2B5EF4-FFF2-40B4-BE49-F238E27FC236}">
                  <a16:creationId xmlns:a16="http://schemas.microsoft.com/office/drawing/2014/main" id="{67B2FD31-55EF-8528-E1A2-7C8E9F125398}"/>
                </a:ext>
              </a:extLst>
            </p:cNvPr>
            <p:cNvSpPr txBox="1"/>
            <p:nvPr/>
          </p:nvSpPr>
          <p:spPr>
            <a:xfrm>
              <a:off x="218661" y="3329609"/>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p:txBody>
        </p:sp>
      </p:grpSp>
      <p:pic>
        <p:nvPicPr>
          <p:cNvPr id="4" name="Picture 3" descr="A person wearing headphones&#10;&#10;Description automatically generated">
            <a:extLst>
              <a:ext uri="{FF2B5EF4-FFF2-40B4-BE49-F238E27FC236}">
                <a16:creationId xmlns:a16="http://schemas.microsoft.com/office/drawing/2014/main" id="{877F6F8E-485A-2F1D-88C0-1E8C540D8666}"/>
              </a:ext>
            </a:extLst>
          </p:cNvPr>
          <p:cNvPicPr>
            <a:picLocks noChangeAspect="1"/>
          </p:cNvPicPr>
          <p:nvPr/>
        </p:nvPicPr>
        <p:blipFill>
          <a:blip r:embed="rId2"/>
          <a:stretch>
            <a:fillRect/>
          </a:stretch>
        </p:blipFill>
        <p:spPr>
          <a:xfrm>
            <a:off x="478952" y="579880"/>
            <a:ext cx="3199491" cy="1799713"/>
          </a:xfrm>
          <a:prstGeom prst="rect">
            <a:avLst/>
          </a:prstGeom>
          <a:effectLst>
            <a:outerShdw blurRad="50800" dist="38100" dir="2700000" algn="tl" rotWithShape="0">
              <a:prstClr val="black">
                <a:alpha val="40000"/>
              </a:prstClr>
            </a:outerShdw>
          </a:effectLst>
        </p:spPr>
      </p:pic>
      <p:pic>
        <p:nvPicPr>
          <p:cNvPr id="8" name="Picture 7" descr="A person wearing headphones&#10;&#10;Description automatically generated with low confidence">
            <a:extLst>
              <a:ext uri="{FF2B5EF4-FFF2-40B4-BE49-F238E27FC236}">
                <a16:creationId xmlns:a16="http://schemas.microsoft.com/office/drawing/2014/main" id="{1521D341-EABB-EA36-897A-6F4F61DF057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8952" y="3514275"/>
            <a:ext cx="3199491" cy="1845835"/>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17440409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77CC42-B382-094E-87BE-7E42C0D145BA}"/>
              </a:ext>
            </a:extLst>
          </p:cNvPr>
          <p:cNvSpPr>
            <a:spLocks noGrp="1"/>
          </p:cNvSpPr>
          <p:nvPr>
            <p:ph type="title"/>
          </p:nvPr>
        </p:nvSpPr>
        <p:spPr>
          <a:xfrm>
            <a:off x="912286" y="0"/>
            <a:ext cx="10358967" cy="1143000"/>
          </a:xfrm>
        </p:spPr>
        <p:txBody>
          <a:bodyPr/>
          <a:lstStyle/>
          <a:p>
            <a:r>
              <a:rPr lang="en-US" dirty="0"/>
              <a:t>QUESTIONS FOR THE FACULTY </a:t>
            </a:r>
          </a:p>
        </p:txBody>
      </p:sp>
      <p:sp>
        <p:nvSpPr>
          <p:cNvPr id="4" name="Content Placeholder 2">
            <a:extLst>
              <a:ext uri="{FF2B5EF4-FFF2-40B4-BE49-F238E27FC236}">
                <a16:creationId xmlns:a16="http://schemas.microsoft.com/office/drawing/2014/main" id="{31DB941D-D5E9-D7BE-776C-374E7A37BA5B}"/>
              </a:ext>
            </a:extLst>
          </p:cNvPr>
          <p:cNvSpPr txBox="1">
            <a:spLocks/>
          </p:cNvSpPr>
          <p:nvPr/>
        </p:nvSpPr>
        <p:spPr bwMode="auto">
          <a:xfrm>
            <a:off x="3571555" y="1221832"/>
            <a:ext cx="8271753" cy="1828730"/>
          </a:xfrm>
          <a:prstGeom prst="rect">
            <a:avLst/>
          </a:prstGeom>
          <a:noFill/>
          <a:ln w="9525">
            <a:noFill/>
            <a:miter lim="800000"/>
            <a:headEnd/>
            <a:tailEnd/>
          </a:ln>
        </p:spPr>
        <p:txBody>
          <a:bodyPr vert="horz" wrap="square" lIns="137160" tIns="0" rIns="137160" bIns="0" numCol="1" anchor="t" anchorCtr="0" compatLnSpc="1">
            <a:prstTxWarp prst="textNoShape">
              <a:avLst/>
            </a:prstTxWarp>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l"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kumimoji="0" lang="en-US" sz="2200" b="1" i="1" u="none" strike="noStrike" kern="1200" cap="none" spc="0" normalizeH="0" baseline="0" noProof="0" dirty="0">
                <a:ln>
                  <a:noFill/>
                </a:ln>
                <a:solidFill>
                  <a:srgbClr val="3333CC"/>
                </a:solidFill>
                <a:effectLst/>
                <a:uLnTx/>
                <a:uFillTx/>
                <a:latin typeface="Calibri" charset="0"/>
                <a:ea typeface="MS PGothic" pitchFamily="34" charset="-128"/>
              </a:rPr>
              <a:t>“He had a great quick response. Within 4 weeks, his CA19-9 normalized, and the MRD assay turned negative. He trucked along for about a year, but more recently his </a:t>
            </a:r>
            <a:r>
              <a:rPr kumimoji="0" lang="en-US" sz="2200" b="1" i="1" u="none" strike="noStrike" kern="1200" cap="none" spc="0" normalizeH="0" baseline="0" noProof="0" dirty="0" err="1">
                <a:ln>
                  <a:noFill/>
                </a:ln>
                <a:solidFill>
                  <a:srgbClr val="3333CC"/>
                </a:solidFill>
                <a:effectLst/>
                <a:uLnTx/>
                <a:uFillTx/>
                <a:latin typeface="Calibri" charset="0"/>
                <a:ea typeface="MS PGothic" pitchFamily="34" charset="-128"/>
              </a:rPr>
              <a:t>Signatera</a:t>
            </a:r>
            <a:r>
              <a:rPr kumimoji="0" lang="en-US" sz="2200" b="1" i="1" u="none" strike="noStrike" kern="1200" cap="none" spc="0" normalizeH="0" baseline="0" noProof="0" dirty="0">
                <a:ln>
                  <a:noFill/>
                </a:ln>
                <a:solidFill>
                  <a:srgbClr val="3333CC"/>
                </a:solidFill>
                <a:effectLst/>
                <a:uLnTx/>
                <a:uFillTx/>
                <a:latin typeface="Calibri" charset="0"/>
                <a:ea typeface="MS PGothic" pitchFamily="34" charset="-128"/>
              </a:rPr>
              <a:t> has slowly gone up. I repeated his liquid biopsy, and the BRAF clone is gone and his original p53-mutant clone is taking over. The question is, do you continue dabrafenib/trametinib or switch to another regimen?”</a:t>
            </a:r>
          </a:p>
        </p:txBody>
      </p:sp>
      <p:sp>
        <p:nvSpPr>
          <p:cNvPr id="9" name="TextBox 8">
            <a:extLst>
              <a:ext uri="{FF2B5EF4-FFF2-40B4-BE49-F238E27FC236}">
                <a16:creationId xmlns:a16="http://schemas.microsoft.com/office/drawing/2014/main" id="{C7B63D41-AF09-77DE-D866-A535957369BE}"/>
              </a:ext>
            </a:extLst>
          </p:cNvPr>
          <p:cNvSpPr txBox="1"/>
          <p:nvPr/>
        </p:nvSpPr>
        <p:spPr>
          <a:xfrm>
            <a:off x="912286" y="2808433"/>
            <a:ext cx="2660904"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Farshid</a:t>
            </a: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a:t>
            </a:r>
            <a:r>
              <a:rPr kumimoji="0" lang="en-US" sz="1600" b="1"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Dayyani</a:t>
            </a: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MD, PhD</a:t>
            </a:r>
          </a:p>
        </p:txBody>
      </p:sp>
      <p:pic>
        <p:nvPicPr>
          <p:cNvPr id="5" name="Picture 4" descr="A person wearing headphones&#10;&#10;Description automatically generated">
            <a:extLst>
              <a:ext uri="{FF2B5EF4-FFF2-40B4-BE49-F238E27FC236}">
                <a16:creationId xmlns:a16="http://schemas.microsoft.com/office/drawing/2014/main" id="{6ED9BE73-7936-5D31-8F5F-E27D2BDF313D}"/>
              </a:ext>
            </a:extLst>
          </p:cNvPr>
          <p:cNvPicPr>
            <a:picLocks noChangeAspect="1"/>
          </p:cNvPicPr>
          <p:nvPr/>
        </p:nvPicPr>
        <p:blipFill>
          <a:blip r:embed="rId2"/>
          <a:stretch>
            <a:fillRect/>
          </a:stretch>
        </p:blipFill>
        <p:spPr>
          <a:xfrm>
            <a:off x="912286" y="1221831"/>
            <a:ext cx="2659269" cy="1495838"/>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62534486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77CC42-B382-094E-87BE-7E42C0D145BA}"/>
              </a:ext>
            </a:extLst>
          </p:cNvPr>
          <p:cNvSpPr>
            <a:spLocks noGrp="1"/>
          </p:cNvSpPr>
          <p:nvPr>
            <p:ph type="title"/>
          </p:nvPr>
        </p:nvSpPr>
        <p:spPr>
          <a:xfrm>
            <a:off x="912286" y="0"/>
            <a:ext cx="10358967" cy="1143000"/>
          </a:xfrm>
        </p:spPr>
        <p:txBody>
          <a:bodyPr/>
          <a:lstStyle/>
          <a:p>
            <a:r>
              <a:rPr lang="en-US" dirty="0"/>
              <a:t>QUESTIONS FOR THE FACULTY </a:t>
            </a:r>
          </a:p>
        </p:txBody>
      </p:sp>
      <p:sp>
        <p:nvSpPr>
          <p:cNvPr id="4" name="Content Placeholder 2">
            <a:extLst>
              <a:ext uri="{FF2B5EF4-FFF2-40B4-BE49-F238E27FC236}">
                <a16:creationId xmlns:a16="http://schemas.microsoft.com/office/drawing/2014/main" id="{31DB941D-D5E9-D7BE-776C-374E7A37BA5B}"/>
              </a:ext>
            </a:extLst>
          </p:cNvPr>
          <p:cNvSpPr txBox="1">
            <a:spLocks/>
          </p:cNvSpPr>
          <p:nvPr/>
        </p:nvSpPr>
        <p:spPr bwMode="auto">
          <a:xfrm>
            <a:off x="3571555" y="1221832"/>
            <a:ext cx="8271753" cy="1828730"/>
          </a:xfrm>
          <a:prstGeom prst="rect">
            <a:avLst/>
          </a:prstGeom>
          <a:noFill/>
          <a:ln w="9525">
            <a:noFill/>
            <a:miter lim="800000"/>
            <a:headEnd/>
            <a:tailEnd/>
          </a:ln>
        </p:spPr>
        <p:txBody>
          <a:bodyPr vert="horz" wrap="square" lIns="137160" tIns="0" rIns="137160" bIns="0" numCol="1" anchor="t" anchorCtr="0" compatLnSpc="1">
            <a:prstTxWarp prst="textNoShape">
              <a:avLst/>
            </a:prstTxWarp>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l"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kumimoji="0" lang="en-US" sz="2200" b="1" i="1" u="none" strike="noStrike" kern="1200" cap="none" spc="0" normalizeH="0" baseline="0" noProof="0" dirty="0">
                <a:ln>
                  <a:noFill/>
                </a:ln>
                <a:solidFill>
                  <a:srgbClr val="3333CC"/>
                </a:solidFill>
                <a:effectLst/>
                <a:uLnTx/>
                <a:uFillTx/>
                <a:latin typeface="Calibri" charset="0"/>
                <a:ea typeface="MS PGothic" pitchFamily="34" charset="-128"/>
              </a:rPr>
              <a:t>“She’s currently getting concurrent treatment with radiation and capecitabine. We also did biomarker testing, which did show an IDH1 mutation. Should we use </a:t>
            </a:r>
            <a:r>
              <a:rPr kumimoji="0" lang="en-US" sz="2200" b="1" i="1" u="none" strike="noStrike" kern="1200" cap="none" spc="0" normalizeH="0" baseline="0" noProof="0" dirty="0" err="1">
                <a:ln>
                  <a:noFill/>
                </a:ln>
                <a:solidFill>
                  <a:srgbClr val="3333CC"/>
                </a:solidFill>
                <a:effectLst/>
                <a:uLnTx/>
                <a:uFillTx/>
                <a:latin typeface="Calibri" charset="0"/>
                <a:ea typeface="MS PGothic" pitchFamily="34" charset="-128"/>
              </a:rPr>
              <a:t>ivosidenib</a:t>
            </a:r>
            <a:r>
              <a:rPr kumimoji="0" lang="en-US" sz="2200" b="1" i="1" u="none" strike="noStrike" kern="1200" cap="none" spc="0" normalizeH="0" baseline="0" noProof="0" dirty="0">
                <a:ln>
                  <a:noFill/>
                </a:ln>
                <a:solidFill>
                  <a:srgbClr val="3333CC"/>
                </a:solidFill>
                <a:effectLst/>
                <a:uLnTx/>
                <a:uFillTx/>
                <a:latin typeface="Calibri" charset="0"/>
                <a:ea typeface="MS PGothic" pitchFamily="34" charset="-128"/>
              </a:rPr>
              <a:t> after completing concurrent chemoradiation? I’m guessing there’s no differentiation syndrome with this agent in cholangiocarcinoma, but what is their experience with this?”</a:t>
            </a:r>
          </a:p>
        </p:txBody>
      </p:sp>
      <p:sp>
        <p:nvSpPr>
          <p:cNvPr id="9" name="TextBox 8">
            <a:extLst>
              <a:ext uri="{FF2B5EF4-FFF2-40B4-BE49-F238E27FC236}">
                <a16:creationId xmlns:a16="http://schemas.microsoft.com/office/drawing/2014/main" id="{C7B63D41-AF09-77DE-D866-A535957369BE}"/>
              </a:ext>
            </a:extLst>
          </p:cNvPr>
          <p:cNvSpPr txBox="1"/>
          <p:nvPr/>
        </p:nvSpPr>
        <p:spPr>
          <a:xfrm>
            <a:off x="912286" y="2808433"/>
            <a:ext cx="2660904"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Niyati</a:t>
            </a: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A </a:t>
            </a:r>
            <a:r>
              <a:rPr kumimoji="0" lang="en-US" sz="1600" b="1"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Nathwani</a:t>
            </a: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MD </a:t>
            </a:r>
          </a:p>
        </p:txBody>
      </p:sp>
      <p:pic>
        <p:nvPicPr>
          <p:cNvPr id="6" name="Picture 5" descr="A person wearing headphones&#10;&#10;Description automatically generated with low confidence">
            <a:extLst>
              <a:ext uri="{FF2B5EF4-FFF2-40B4-BE49-F238E27FC236}">
                <a16:creationId xmlns:a16="http://schemas.microsoft.com/office/drawing/2014/main" id="{38E78E04-DA7F-7A73-5634-35AF30B150B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10651" y="1221831"/>
            <a:ext cx="2660904" cy="1496759"/>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413272419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32751B8-7D68-4867-8CC6-FAD5F703E42F}"/>
              </a:ext>
            </a:extLst>
          </p:cNvPr>
          <p:cNvSpPr>
            <a:spLocks noGrp="1"/>
          </p:cNvSpPr>
          <p:nvPr>
            <p:ph type="ctrTitle"/>
          </p:nvPr>
        </p:nvSpPr>
        <p:spPr/>
        <p:txBody>
          <a:bodyPr/>
          <a:lstStyle/>
          <a:p>
            <a:br>
              <a:rPr lang="en-US" sz="4000" b="0" i="0" u="none" strike="noStrike" baseline="0" dirty="0">
                <a:solidFill>
                  <a:schemeClr val="tx1"/>
                </a:solidFill>
                <a:latin typeface="DIN OT Medium"/>
              </a:rPr>
            </a:br>
            <a:r>
              <a:rPr lang="en-US" sz="4000" b="0" i="0" u="none" strike="noStrike" baseline="0" dirty="0">
                <a:solidFill>
                  <a:schemeClr val="tx1"/>
                </a:solidFill>
                <a:latin typeface="DIN OT Medium"/>
              </a:rPr>
              <a:t>Integration of Targeted Therapy into the Management of Advanced BTCs </a:t>
            </a:r>
            <a:endParaRPr lang="en-US" sz="4000" dirty="0">
              <a:solidFill>
                <a:schemeClr val="tx1"/>
              </a:solidFill>
            </a:endParaRPr>
          </a:p>
        </p:txBody>
      </p:sp>
      <p:sp>
        <p:nvSpPr>
          <p:cNvPr id="6" name="Subtitle 5">
            <a:extLst>
              <a:ext uri="{FF2B5EF4-FFF2-40B4-BE49-F238E27FC236}">
                <a16:creationId xmlns:a16="http://schemas.microsoft.com/office/drawing/2014/main" id="{6DBAC752-8102-49A7-93D3-820EE224082A}"/>
              </a:ext>
            </a:extLst>
          </p:cNvPr>
          <p:cNvSpPr>
            <a:spLocks noGrp="1"/>
          </p:cNvSpPr>
          <p:nvPr>
            <p:ph type="subTitle" idx="1"/>
          </p:nvPr>
        </p:nvSpPr>
        <p:spPr/>
        <p:txBody>
          <a:bodyPr/>
          <a:lstStyle/>
          <a:p>
            <a:r>
              <a:rPr lang="en-US" dirty="0"/>
              <a:t>Lipika Goyal, MD, </a:t>
            </a:r>
            <a:r>
              <a:rPr lang="en-US" dirty="0" err="1"/>
              <a:t>Mphil</a:t>
            </a:r>
            <a:endParaRPr lang="en-US" dirty="0"/>
          </a:p>
          <a:p>
            <a:r>
              <a:rPr lang="en-US" dirty="0"/>
              <a:t>Associate Professor</a:t>
            </a:r>
          </a:p>
          <a:p>
            <a:r>
              <a:rPr lang="en-US" dirty="0"/>
              <a:t>Director of Gastrointestinal Oncology</a:t>
            </a:r>
          </a:p>
          <a:p>
            <a:r>
              <a:rPr lang="en-US" dirty="0"/>
              <a:t>Stanford School of Medicine</a:t>
            </a:r>
          </a:p>
          <a:p>
            <a:r>
              <a:rPr lang="en-US" dirty="0"/>
              <a:t>Research to Practice CME</a:t>
            </a:r>
            <a:endParaRPr lang="en-US" sz="1800" b="0" i="0" u="none" strike="noStrike" baseline="0" dirty="0">
              <a:latin typeface="DIN OT"/>
            </a:endParaRPr>
          </a:p>
          <a:p>
            <a:pPr algn="ctr"/>
            <a:r>
              <a:rPr lang="en-US" sz="1800" b="0" i="0" u="none" strike="noStrike" baseline="0" dirty="0">
                <a:latin typeface="DIN OT"/>
              </a:rPr>
              <a:t> </a:t>
            </a:r>
            <a:r>
              <a:rPr lang="en-US" sz="1800" b="1" i="0" u="none" strike="noStrike" baseline="0" dirty="0">
                <a:latin typeface="DIN OT"/>
              </a:rPr>
              <a:t>2023 ASCO Gastrointestinal Cancers Symposium </a:t>
            </a:r>
          </a:p>
          <a:p>
            <a:pPr algn="ctr"/>
            <a:r>
              <a:rPr lang="en-US" sz="1800" b="1" dirty="0">
                <a:latin typeface="DIN OT"/>
              </a:rPr>
              <a:t>January 20, 2023</a:t>
            </a:r>
            <a:endParaRPr lang="en-US" dirty="0"/>
          </a:p>
        </p:txBody>
      </p:sp>
      <p:sp>
        <p:nvSpPr>
          <p:cNvPr id="2" name="Title 1">
            <a:extLst>
              <a:ext uri="{FF2B5EF4-FFF2-40B4-BE49-F238E27FC236}">
                <a16:creationId xmlns:a16="http://schemas.microsoft.com/office/drawing/2014/main" id="{11E98429-1A99-C980-D7FE-8E7911570FF1}"/>
              </a:ext>
            </a:extLst>
          </p:cNvPr>
          <p:cNvSpPr txBox="1">
            <a:spLocks/>
          </p:cNvSpPr>
          <p:nvPr/>
        </p:nvSpPr>
        <p:spPr>
          <a:xfrm>
            <a:off x="711200" y="15240"/>
            <a:ext cx="10844784" cy="802640"/>
          </a:xfrm>
          <a:prstGeom prst="rect">
            <a:avLst/>
          </a:prstGeom>
        </p:spPr>
        <p:txBody>
          <a:bodyPr lIns="0" anchor="b" anchorCtr="0">
            <a:noAutofit/>
          </a:bodyPr>
          <a:lstStyle>
            <a:lvl1pPr algn="ctr" rtl="0" eaLnBrk="1" latinLnBrk="0" hangingPunct="1">
              <a:lnSpc>
                <a:spcPct val="85000"/>
              </a:lnSpc>
              <a:spcBef>
                <a:spcPct val="0"/>
              </a:spcBef>
              <a:buNone/>
              <a:defRPr kumimoji="0" lang="en-US" sz="3600" b="1" kern="1200" dirty="0">
                <a:solidFill>
                  <a:srgbClr val="9E9952"/>
                </a:solidFill>
                <a:effectLst/>
                <a:latin typeface="+mj-lt"/>
                <a:ea typeface="+mj-ea"/>
                <a:cs typeface="+mj-cs"/>
              </a:defRPr>
            </a:lvl1pPr>
          </a:lstStyle>
          <a:p>
            <a:pPr marL="0" marR="0" lvl="0" indent="0" algn="ctr" defTabSz="914400" rtl="0" eaLnBrk="1" fontAlgn="auto" latinLnBrk="0" hangingPunct="1">
              <a:lnSpc>
                <a:spcPct val="85000"/>
              </a:lnSpc>
              <a:spcBef>
                <a:spcPct val="0"/>
              </a:spcBef>
              <a:spcAft>
                <a:spcPts val="0"/>
              </a:spcAft>
              <a:buClrTx/>
              <a:buSzTx/>
              <a:buFontTx/>
              <a:buNone/>
              <a:tabLst/>
              <a:defRPr/>
            </a:pPr>
            <a:endParaRPr kumimoji="0" lang="en-US" sz="3600" b="1" i="0" u="none" strike="noStrike" kern="1200" cap="none" spc="0" normalizeH="0" baseline="0" noProof="0" dirty="0">
              <a:ln>
                <a:noFill/>
              </a:ln>
              <a:solidFill>
                <a:srgbClr val="9E9952"/>
              </a:solidFill>
              <a:effectLst/>
              <a:uLnTx/>
              <a:uFillTx/>
              <a:latin typeface="Arial"/>
              <a:ea typeface="+mj-ea"/>
              <a:cs typeface="+mj-cs"/>
            </a:endParaRPr>
          </a:p>
        </p:txBody>
      </p:sp>
    </p:spTree>
    <p:extLst>
      <p:ext uri="{BB962C8B-B14F-4D97-AF65-F5344CB8AC3E}">
        <p14:creationId xmlns:p14="http://schemas.microsoft.com/office/powerpoint/2010/main" val="719830567"/>
      </p:ext>
    </p:extLst>
  </p:cSld>
  <p:clrMapOvr>
    <a:masterClrMapping/>
  </p:clrMapOvr>
  <p:transition>
    <p:fade/>
  </p:transition>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002DDB-0E48-4D60-8D67-7476D3B0EDEF}"/>
              </a:ext>
            </a:extLst>
          </p:cNvPr>
          <p:cNvSpPr>
            <a:spLocks noGrp="1"/>
          </p:cNvSpPr>
          <p:nvPr>
            <p:ph type="title"/>
          </p:nvPr>
        </p:nvSpPr>
        <p:spPr/>
        <p:txBody>
          <a:bodyPr/>
          <a:lstStyle/>
          <a:p>
            <a:r>
              <a:rPr lang="en-US" altLang="en-US" sz="2800" dirty="0">
                <a:solidFill>
                  <a:srgbClr val="000000"/>
                </a:solidFill>
                <a:ea typeface="ＭＳ Ｐゴシック" panose="020B0600070205080204" pitchFamily="34" charset="-128"/>
                <a:cs typeface="Times New Roman" panose="02020603050405020304" pitchFamily="18" charset="0"/>
                <a:sym typeface="Calibri" panose="020F0502020204030204" pitchFamily="34" charset="0"/>
              </a:rPr>
              <a:t>Systemic Therapy for Cholangiocarcinoma</a:t>
            </a:r>
            <a:endParaRPr lang="en-GB" dirty="0"/>
          </a:p>
        </p:txBody>
      </p:sp>
      <p:sp>
        <p:nvSpPr>
          <p:cNvPr id="4" name="Text Placeholder 3">
            <a:extLst>
              <a:ext uri="{FF2B5EF4-FFF2-40B4-BE49-F238E27FC236}">
                <a16:creationId xmlns:a16="http://schemas.microsoft.com/office/drawing/2014/main" id="{224610C9-F0D2-4373-A32B-40CFA78205EB}"/>
              </a:ext>
            </a:extLst>
          </p:cNvPr>
          <p:cNvSpPr>
            <a:spLocks noGrp="1"/>
          </p:cNvSpPr>
          <p:nvPr>
            <p:ph type="body" sz="quarter" idx="10"/>
          </p:nvPr>
        </p:nvSpPr>
        <p:spPr>
          <a:xfrm>
            <a:off x="691487" y="6091579"/>
            <a:ext cx="10972800" cy="398673"/>
          </a:xfrm>
        </p:spPr>
        <p:txBody>
          <a:bodyPr/>
          <a:lstStyle/>
          <a:p>
            <a:r>
              <a:rPr lang="en-US" dirty="0"/>
              <a:t>BRAF, v-raf murine sarcoma viral oncogene homolog B; CAR, chimeric antigen receptor; FGFR2, fibroblast growth factor receptor 2; FOLFOX, folinic acid, fluorouracil and oxaliplatin; HER2, human epidermal growth factor receptor; IDH, isocitrate dehydrogenase; </a:t>
            </a:r>
            <a:r>
              <a:rPr lang="en-US" sz="1050" dirty="0">
                <a:solidFill>
                  <a:schemeClr val="tx2"/>
                </a:solidFill>
              </a:rPr>
              <a:t>MAPK, mitogen-activated protein kinase; </a:t>
            </a:r>
            <a:r>
              <a:rPr lang="en-US" dirty="0"/>
              <a:t>NTRK, neurotrophic tyrosine kinase; PI3K, phosphatidylinositol-3-kinase; RET, rearranged during transfection.</a:t>
            </a:r>
            <a:br>
              <a:rPr lang="en-US" dirty="0"/>
            </a:br>
            <a:r>
              <a:rPr lang="en-US" dirty="0"/>
              <a:t>Image credit: Clipart Panda. </a:t>
            </a:r>
            <a:endParaRPr lang="en-GB" dirty="0"/>
          </a:p>
          <a:p>
            <a:endParaRPr lang="en-GB" dirty="0"/>
          </a:p>
        </p:txBody>
      </p:sp>
      <p:pic>
        <p:nvPicPr>
          <p:cNvPr id="5" name="Picture 4">
            <a:extLst>
              <a:ext uri="{FF2B5EF4-FFF2-40B4-BE49-F238E27FC236}">
                <a16:creationId xmlns:a16="http://schemas.microsoft.com/office/drawing/2014/main" id="{E76F2FE0-FF37-491A-A312-86CE95F5DFFD}"/>
              </a:ext>
            </a:extLst>
          </p:cNvPr>
          <p:cNvPicPr>
            <a:picLocks noChangeAspect="1"/>
          </p:cNvPicPr>
          <p:nvPr/>
        </p:nvPicPr>
        <p:blipFill>
          <a:blip r:embed="rId2"/>
          <a:stretch>
            <a:fillRect/>
          </a:stretch>
        </p:blipFill>
        <p:spPr>
          <a:xfrm>
            <a:off x="7885442" y="2231637"/>
            <a:ext cx="2465130" cy="3354378"/>
          </a:xfrm>
          <a:prstGeom prst="rect">
            <a:avLst/>
          </a:prstGeom>
        </p:spPr>
      </p:pic>
      <p:pic>
        <p:nvPicPr>
          <p:cNvPr id="6" name="Picture 5">
            <a:extLst>
              <a:ext uri="{FF2B5EF4-FFF2-40B4-BE49-F238E27FC236}">
                <a16:creationId xmlns:a16="http://schemas.microsoft.com/office/drawing/2014/main" id="{087505DA-C90F-4942-AAD9-06593933A560}"/>
              </a:ext>
            </a:extLst>
          </p:cNvPr>
          <p:cNvPicPr>
            <a:picLocks noChangeAspect="1"/>
          </p:cNvPicPr>
          <p:nvPr/>
        </p:nvPicPr>
        <p:blipFill>
          <a:blip r:embed="rId2"/>
          <a:stretch>
            <a:fillRect/>
          </a:stretch>
        </p:blipFill>
        <p:spPr>
          <a:xfrm>
            <a:off x="5048597" y="2276797"/>
            <a:ext cx="2465130" cy="3354378"/>
          </a:xfrm>
          <a:prstGeom prst="rect">
            <a:avLst/>
          </a:prstGeom>
        </p:spPr>
      </p:pic>
      <p:pic>
        <p:nvPicPr>
          <p:cNvPr id="7" name="Picture 6">
            <a:extLst>
              <a:ext uri="{FF2B5EF4-FFF2-40B4-BE49-F238E27FC236}">
                <a16:creationId xmlns:a16="http://schemas.microsoft.com/office/drawing/2014/main" id="{3C897B9E-A4F9-423B-9D4D-B1C9610F9BD6}"/>
              </a:ext>
            </a:extLst>
          </p:cNvPr>
          <p:cNvPicPr>
            <a:picLocks noChangeAspect="1"/>
          </p:cNvPicPr>
          <p:nvPr/>
        </p:nvPicPr>
        <p:blipFill>
          <a:blip r:embed="rId2"/>
          <a:stretch>
            <a:fillRect/>
          </a:stretch>
        </p:blipFill>
        <p:spPr>
          <a:xfrm>
            <a:off x="2183931" y="2276797"/>
            <a:ext cx="2465130" cy="3354378"/>
          </a:xfrm>
          <a:prstGeom prst="rect">
            <a:avLst/>
          </a:prstGeom>
        </p:spPr>
      </p:pic>
      <p:sp>
        <p:nvSpPr>
          <p:cNvPr id="8" name="TextBox 3">
            <a:extLst>
              <a:ext uri="{FF2B5EF4-FFF2-40B4-BE49-F238E27FC236}">
                <a16:creationId xmlns:a16="http://schemas.microsoft.com/office/drawing/2014/main" id="{C2855D4A-DC3B-4D05-96E5-C64B720570C6}"/>
              </a:ext>
            </a:extLst>
          </p:cNvPr>
          <p:cNvSpPr txBox="1">
            <a:spLocks noChangeArrowheads="1"/>
          </p:cNvSpPr>
          <p:nvPr/>
        </p:nvSpPr>
        <p:spPr bwMode="auto">
          <a:xfrm>
            <a:off x="2029718" y="1571357"/>
            <a:ext cx="2834684"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sz="3200">
                <a:solidFill>
                  <a:schemeClr val="tx1"/>
                </a:solidFill>
                <a:latin typeface="Arial" panose="020B0604020202020204" pitchFamily="34" charset="0"/>
                <a:ea typeface="ＭＳ Ｐゴシック" panose="020B0600070205080204" pitchFamily="34" charset="-128"/>
              </a:defRPr>
            </a:lvl1pPr>
            <a:lvl2pPr marL="742950" indent="-285750">
              <a:spcBef>
                <a:spcPct val="20000"/>
              </a:spcBef>
              <a:buChar char="–"/>
              <a:defRPr sz="2800">
                <a:solidFill>
                  <a:schemeClr val="tx1"/>
                </a:solidFill>
                <a:latin typeface="Arial" panose="020B0604020202020204" pitchFamily="34" charset="0"/>
                <a:ea typeface="ＭＳ Ｐゴシック" panose="020B0600070205080204" pitchFamily="34" charset="-128"/>
              </a:defRPr>
            </a:lvl2pPr>
            <a:lvl3pPr marL="1143000" indent="-228600">
              <a:spcBef>
                <a:spcPct val="20000"/>
              </a:spcBef>
              <a:buChar char="•"/>
              <a:defRPr sz="2400">
                <a:solidFill>
                  <a:schemeClr val="tx1"/>
                </a:solidFill>
                <a:latin typeface="Arial" panose="020B0604020202020204" pitchFamily="34" charset="0"/>
                <a:ea typeface="ＭＳ Ｐゴシック" panose="020B0600070205080204" pitchFamily="34" charset="-128"/>
              </a:defRPr>
            </a:lvl3pPr>
            <a:lvl4pPr marL="1600200" indent="-228600">
              <a:spcBef>
                <a:spcPct val="20000"/>
              </a:spcBef>
              <a:buChar char="–"/>
              <a:defRPr sz="2000">
                <a:solidFill>
                  <a:schemeClr val="tx1"/>
                </a:solidFill>
                <a:latin typeface="Arial" panose="020B0604020202020204" pitchFamily="34" charset="0"/>
                <a:ea typeface="ＭＳ Ｐゴシック" panose="020B0600070205080204" pitchFamily="34" charset="-128"/>
              </a:defRPr>
            </a:lvl4pPr>
            <a:lvl5pPr marL="2057400" indent="-228600">
              <a:spcBef>
                <a:spcPct val="20000"/>
              </a:spcBef>
              <a:buChar char="»"/>
              <a:defRPr sz="20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altLang="en-US" sz="2000" b="1" i="0" u="none" strike="noStrike" kern="1200" cap="none" spc="0" normalizeH="0" baseline="0" noProof="0" dirty="0">
                <a:ln>
                  <a:noFill/>
                </a:ln>
                <a:solidFill>
                  <a:srgbClr val="212121"/>
                </a:solidFill>
                <a:effectLst/>
                <a:uLnTx/>
                <a:uFillTx/>
                <a:latin typeface="Arial" panose="020B0604020202020204"/>
                <a:ea typeface="ＭＳ Ｐゴシック" panose="020B0600070205080204" pitchFamily="34" charset="-128"/>
                <a:cs typeface="Times New Roman" panose="02020603050405020304" pitchFamily="18" charset="0"/>
              </a:rPr>
              <a:t>Cytotoxic Chemotherapy</a:t>
            </a:r>
          </a:p>
        </p:txBody>
      </p:sp>
      <p:sp>
        <p:nvSpPr>
          <p:cNvPr id="9" name="TextBox 8">
            <a:extLst>
              <a:ext uri="{FF2B5EF4-FFF2-40B4-BE49-F238E27FC236}">
                <a16:creationId xmlns:a16="http://schemas.microsoft.com/office/drawing/2014/main" id="{CBFE59A5-30DE-4073-9312-0E5BFC8F0BA3}"/>
              </a:ext>
            </a:extLst>
          </p:cNvPr>
          <p:cNvSpPr txBox="1">
            <a:spLocks noChangeArrowheads="1"/>
          </p:cNvSpPr>
          <p:nvPr/>
        </p:nvSpPr>
        <p:spPr bwMode="auto">
          <a:xfrm>
            <a:off x="5138751" y="1571357"/>
            <a:ext cx="2352355"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sz="3200">
                <a:solidFill>
                  <a:schemeClr val="tx1"/>
                </a:solidFill>
                <a:latin typeface="Arial" panose="020B0604020202020204" pitchFamily="34" charset="0"/>
                <a:ea typeface="ＭＳ Ｐゴシック" panose="020B0600070205080204" pitchFamily="34" charset="-128"/>
              </a:defRPr>
            </a:lvl1pPr>
            <a:lvl2pPr marL="742950" indent="-285750">
              <a:spcBef>
                <a:spcPct val="20000"/>
              </a:spcBef>
              <a:buChar char="–"/>
              <a:defRPr sz="2800">
                <a:solidFill>
                  <a:schemeClr val="tx1"/>
                </a:solidFill>
                <a:latin typeface="Arial" panose="020B0604020202020204" pitchFamily="34" charset="0"/>
                <a:ea typeface="ＭＳ Ｐゴシック" panose="020B0600070205080204" pitchFamily="34" charset="-128"/>
              </a:defRPr>
            </a:lvl2pPr>
            <a:lvl3pPr marL="1143000" indent="-228600">
              <a:spcBef>
                <a:spcPct val="20000"/>
              </a:spcBef>
              <a:buChar char="•"/>
              <a:defRPr sz="2400">
                <a:solidFill>
                  <a:schemeClr val="tx1"/>
                </a:solidFill>
                <a:latin typeface="Arial" panose="020B0604020202020204" pitchFamily="34" charset="0"/>
                <a:ea typeface="ＭＳ Ｐゴシック" panose="020B0600070205080204" pitchFamily="34" charset="-128"/>
              </a:defRPr>
            </a:lvl3pPr>
            <a:lvl4pPr marL="1600200" indent="-228600">
              <a:spcBef>
                <a:spcPct val="20000"/>
              </a:spcBef>
              <a:buChar char="–"/>
              <a:defRPr sz="2000">
                <a:solidFill>
                  <a:schemeClr val="tx1"/>
                </a:solidFill>
                <a:latin typeface="Arial" panose="020B0604020202020204" pitchFamily="34" charset="0"/>
                <a:ea typeface="ＭＳ Ｐゴシック" panose="020B0600070205080204" pitchFamily="34" charset="-128"/>
              </a:defRPr>
            </a:lvl4pPr>
            <a:lvl5pPr marL="2057400" indent="-228600">
              <a:spcBef>
                <a:spcPct val="20000"/>
              </a:spcBef>
              <a:buChar char="»"/>
              <a:defRPr sz="20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altLang="en-US" sz="2000" b="1" i="0" u="none" strike="noStrike" kern="1200" cap="none" spc="0" normalizeH="0" baseline="0" noProof="0" dirty="0">
                <a:ln>
                  <a:noFill/>
                </a:ln>
                <a:solidFill>
                  <a:srgbClr val="212121"/>
                </a:solidFill>
                <a:effectLst/>
                <a:uLnTx/>
                <a:uFillTx/>
                <a:latin typeface="Arial" panose="020B0604020202020204"/>
                <a:ea typeface="ＭＳ Ｐゴシック" panose="020B0600070205080204" pitchFamily="34" charset="-128"/>
                <a:cs typeface="Times New Roman" panose="02020603050405020304" pitchFamily="18" charset="0"/>
              </a:rPr>
              <a:t>Targeted</a:t>
            </a: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altLang="en-US" sz="2000" b="1" i="0" u="none" strike="noStrike" kern="1200" cap="none" spc="0" normalizeH="0" baseline="0" noProof="0" dirty="0">
                <a:ln>
                  <a:noFill/>
                </a:ln>
                <a:solidFill>
                  <a:srgbClr val="212121"/>
                </a:solidFill>
                <a:effectLst/>
                <a:uLnTx/>
                <a:uFillTx/>
                <a:latin typeface="Arial" panose="020B0604020202020204"/>
                <a:ea typeface="ＭＳ Ｐゴシック" panose="020B0600070205080204" pitchFamily="34" charset="-128"/>
                <a:cs typeface="Times New Roman" panose="02020603050405020304" pitchFamily="18" charset="0"/>
              </a:rPr>
              <a:t>Therapy</a:t>
            </a:r>
          </a:p>
        </p:txBody>
      </p:sp>
      <p:sp>
        <p:nvSpPr>
          <p:cNvPr id="10" name="TextBox 9">
            <a:extLst>
              <a:ext uri="{FF2B5EF4-FFF2-40B4-BE49-F238E27FC236}">
                <a16:creationId xmlns:a16="http://schemas.microsoft.com/office/drawing/2014/main" id="{2E4D0D81-6B52-4CAA-88A7-EB7A63C7DC60}"/>
              </a:ext>
            </a:extLst>
          </p:cNvPr>
          <p:cNvSpPr txBox="1">
            <a:spLocks noChangeArrowheads="1"/>
          </p:cNvSpPr>
          <p:nvPr/>
        </p:nvSpPr>
        <p:spPr bwMode="auto">
          <a:xfrm>
            <a:off x="8070285" y="1725245"/>
            <a:ext cx="2188775"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sz="3200">
                <a:solidFill>
                  <a:schemeClr val="tx1"/>
                </a:solidFill>
                <a:latin typeface="Arial" panose="020B0604020202020204" pitchFamily="34" charset="0"/>
                <a:ea typeface="ＭＳ Ｐゴシック" panose="020B0600070205080204" pitchFamily="34" charset="-128"/>
              </a:defRPr>
            </a:lvl1pPr>
            <a:lvl2pPr marL="742950" indent="-285750">
              <a:spcBef>
                <a:spcPct val="20000"/>
              </a:spcBef>
              <a:buChar char="–"/>
              <a:defRPr sz="2800">
                <a:solidFill>
                  <a:schemeClr val="tx1"/>
                </a:solidFill>
                <a:latin typeface="Arial" panose="020B0604020202020204" pitchFamily="34" charset="0"/>
                <a:ea typeface="ＭＳ Ｐゴシック" panose="020B0600070205080204" pitchFamily="34" charset="-128"/>
              </a:defRPr>
            </a:lvl2pPr>
            <a:lvl3pPr marL="1143000" indent="-228600">
              <a:spcBef>
                <a:spcPct val="20000"/>
              </a:spcBef>
              <a:buChar char="•"/>
              <a:defRPr sz="2400">
                <a:solidFill>
                  <a:schemeClr val="tx1"/>
                </a:solidFill>
                <a:latin typeface="Arial" panose="020B0604020202020204" pitchFamily="34" charset="0"/>
                <a:ea typeface="ＭＳ Ｐゴシック" panose="020B0600070205080204" pitchFamily="34" charset="-128"/>
              </a:defRPr>
            </a:lvl3pPr>
            <a:lvl4pPr marL="1600200" indent="-228600">
              <a:spcBef>
                <a:spcPct val="20000"/>
              </a:spcBef>
              <a:buChar char="–"/>
              <a:defRPr sz="2000">
                <a:solidFill>
                  <a:schemeClr val="tx1"/>
                </a:solidFill>
                <a:latin typeface="Arial" panose="020B0604020202020204" pitchFamily="34" charset="0"/>
                <a:ea typeface="ＭＳ Ｐゴシック" panose="020B0600070205080204" pitchFamily="34" charset="-128"/>
              </a:defRPr>
            </a:lvl4pPr>
            <a:lvl5pPr marL="2057400" indent="-228600">
              <a:spcBef>
                <a:spcPct val="20000"/>
              </a:spcBef>
              <a:buChar char="»"/>
              <a:defRPr sz="20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altLang="en-US" sz="2000" b="1" i="0" u="none" strike="noStrike" kern="1200" cap="none" spc="0" normalizeH="0" baseline="0" noProof="0" dirty="0">
                <a:ln>
                  <a:noFill/>
                </a:ln>
                <a:solidFill>
                  <a:srgbClr val="212121"/>
                </a:solidFill>
                <a:effectLst/>
                <a:uLnTx/>
                <a:uFillTx/>
                <a:latin typeface="Arial" panose="020B0604020202020204"/>
                <a:ea typeface="ＭＳ Ｐゴシック" panose="020B0600070205080204" pitchFamily="34" charset="-128"/>
                <a:cs typeface="Times New Roman" panose="02020603050405020304" pitchFamily="18" charset="0"/>
              </a:rPr>
              <a:t>Immunotherapy</a:t>
            </a:r>
          </a:p>
        </p:txBody>
      </p:sp>
      <p:sp>
        <p:nvSpPr>
          <p:cNvPr id="11" name="TextBox 10">
            <a:extLst>
              <a:ext uri="{FF2B5EF4-FFF2-40B4-BE49-F238E27FC236}">
                <a16:creationId xmlns:a16="http://schemas.microsoft.com/office/drawing/2014/main" id="{9A8148C2-B0AF-4396-B018-739A85AE7946}"/>
              </a:ext>
            </a:extLst>
          </p:cNvPr>
          <p:cNvSpPr txBox="1">
            <a:spLocks noChangeArrowheads="1"/>
          </p:cNvSpPr>
          <p:nvPr/>
        </p:nvSpPr>
        <p:spPr bwMode="auto">
          <a:xfrm>
            <a:off x="2479013" y="3817460"/>
            <a:ext cx="1960563" cy="15696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chemeClr val="tx1"/>
                </a:solidFill>
                <a:latin typeface="Arial" panose="020B0604020202020204" pitchFamily="34" charset="0"/>
                <a:ea typeface="ＭＳ Ｐゴシック" panose="020B0600070205080204" pitchFamily="34" charset="-128"/>
              </a:defRPr>
            </a:lvl1pPr>
            <a:lvl2pPr marL="742950" indent="-285750">
              <a:spcBef>
                <a:spcPct val="20000"/>
              </a:spcBef>
              <a:buChar char="–"/>
              <a:defRPr sz="2800">
                <a:solidFill>
                  <a:schemeClr val="tx1"/>
                </a:solidFill>
                <a:latin typeface="Arial" panose="020B0604020202020204" pitchFamily="34" charset="0"/>
                <a:ea typeface="ＭＳ Ｐゴシック" panose="020B0600070205080204" pitchFamily="34" charset="-128"/>
              </a:defRPr>
            </a:lvl2pPr>
            <a:lvl3pPr marL="1143000" indent="-228600">
              <a:spcBef>
                <a:spcPct val="20000"/>
              </a:spcBef>
              <a:buChar char="•"/>
              <a:defRPr sz="2400">
                <a:solidFill>
                  <a:schemeClr val="tx1"/>
                </a:solidFill>
                <a:latin typeface="Arial" panose="020B0604020202020204" pitchFamily="34" charset="0"/>
                <a:ea typeface="ＭＳ Ｐゴシック" panose="020B0600070205080204" pitchFamily="34" charset="-128"/>
              </a:defRPr>
            </a:lvl3pPr>
            <a:lvl4pPr marL="1600200" indent="-228600">
              <a:spcBef>
                <a:spcPct val="20000"/>
              </a:spcBef>
              <a:buChar char="–"/>
              <a:defRPr sz="2000">
                <a:solidFill>
                  <a:schemeClr val="tx1"/>
                </a:solidFill>
                <a:latin typeface="Arial" panose="020B0604020202020204" pitchFamily="34" charset="0"/>
                <a:ea typeface="ＭＳ Ｐゴシック" panose="020B0600070205080204" pitchFamily="34" charset="-128"/>
              </a:defRPr>
            </a:lvl4pPr>
            <a:lvl5pPr marL="2057400" indent="-228600">
              <a:spcBef>
                <a:spcPct val="20000"/>
              </a:spcBef>
              <a:buChar char="»"/>
              <a:defRPr sz="20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endParaRPr kumimoji="0" lang="en-US" altLang="en-US" sz="1600" b="0" i="0" u="none" strike="noStrike" kern="1200" cap="none" spc="0" normalizeH="0" baseline="0" noProof="0" dirty="0">
              <a:ln>
                <a:noFill/>
              </a:ln>
              <a:solidFill>
                <a:srgbClr val="212121"/>
              </a:solidFill>
              <a:effectLst/>
              <a:uLnTx/>
              <a:uFillTx/>
              <a:latin typeface="Arial" panose="020B0604020202020204"/>
              <a:ea typeface="ＭＳ Ｐゴシック" panose="020B0600070205080204" pitchFamily="34" charset="-128"/>
              <a:cs typeface="Times New Roman" panose="02020603050405020304" pitchFamily="18" charset="0"/>
            </a:endParaRP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altLang="en-US" sz="1600" b="0" i="0" u="none" strike="noStrike" kern="1200" cap="none" spc="0" normalizeH="0" baseline="0" noProof="0" dirty="0">
                <a:ln>
                  <a:noFill/>
                </a:ln>
                <a:solidFill>
                  <a:srgbClr val="212121"/>
                </a:solidFill>
                <a:effectLst/>
                <a:uLnTx/>
                <a:uFillTx/>
                <a:latin typeface="Arial" panose="020B0604020202020204"/>
                <a:ea typeface="ＭＳ Ｐゴシック" panose="020B0600070205080204" pitchFamily="34" charset="-128"/>
                <a:cs typeface="Times New Roman" panose="02020603050405020304" pitchFamily="18" charset="0"/>
              </a:rPr>
              <a:t>Gemcitabine/</a:t>
            </a: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altLang="en-US" sz="1600" b="0" i="0" u="none" strike="noStrike" kern="1200" cap="none" spc="0" normalizeH="0" baseline="0" noProof="0" dirty="0">
                <a:ln>
                  <a:noFill/>
                </a:ln>
                <a:solidFill>
                  <a:srgbClr val="212121"/>
                </a:solidFill>
                <a:effectLst/>
                <a:uLnTx/>
                <a:uFillTx/>
                <a:latin typeface="Arial" panose="020B0604020202020204"/>
                <a:ea typeface="ＭＳ Ｐゴシック" panose="020B0600070205080204" pitchFamily="34" charset="-128"/>
                <a:cs typeface="Times New Roman" panose="02020603050405020304" pitchFamily="18" charset="0"/>
              </a:rPr>
              <a:t>Cisplatin</a:t>
            </a:r>
            <a:br>
              <a:rPr kumimoji="0" lang="en-US" altLang="en-US" sz="1600" b="0" i="0" u="none" strike="noStrike" kern="1200" cap="none" spc="0" normalizeH="0" baseline="0" noProof="0" dirty="0">
                <a:ln>
                  <a:noFill/>
                </a:ln>
                <a:solidFill>
                  <a:srgbClr val="212121"/>
                </a:solidFill>
                <a:effectLst/>
                <a:uLnTx/>
                <a:uFillTx/>
                <a:latin typeface="Arial" panose="020B0604020202020204"/>
                <a:ea typeface="ＭＳ Ｐゴシック" panose="020B0600070205080204" pitchFamily="34" charset="-128"/>
                <a:cs typeface="Times New Roman" panose="02020603050405020304" pitchFamily="18" charset="0"/>
              </a:rPr>
            </a:br>
            <a:r>
              <a:rPr kumimoji="0" lang="en-US" altLang="en-US" sz="1600" b="0" i="0" u="none" strike="noStrike" kern="1200" cap="none" spc="0" normalizeH="0" baseline="0" noProof="0" dirty="0">
                <a:ln>
                  <a:noFill/>
                </a:ln>
                <a:solidFill>
                  <a:srgbClr val="212121"/>
                </a:solidFill>
                <a:effectLst/>
                <a:uLnTx/>
                <a:uFillTx/>
                <a:latin typeface="Arial" panose="020B0604020202020204"/>
                <a:ea typeface="ＭＳ Ｐゴシック" panose="020B0600070205080204" pitchFamily="34" charset="-128"/>
                <a:cs typeface="Times New Roman" panose="02020603050405020304" pitchFamily="18" charset="0"/>
              </a:rPr>
              <a:t>(± Durvalumab)</a:t>
            </a: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altLang="en-US" sz="1600" b="0" i="0" u="none" strike="noStrike" kern="1200" cap="none" spc="0" normalizeH="0" baseline="0" noProof="0" dirty="0">
                <a:ln>
                  <a:noFill/>
                </a:ln>
                <a:solidFill>
                  <a:srgbClr val="000000"/>
                </a:solidFill>
                <a:effectLst/>
                <a:uLnTx/>
                <a:uFillTx/>
                <a:latin typeface="Arial" panose="020B0604020202020204"/>
                <a:ea typeface="ＭＳ Ｐゴシック" panose="020B0600070205080204" pitchFamily="34" charset="-128"/>
                <a:cs typeface="Times New Roman" panose="02020603050405020304" pitchFamily="18" charset="0"/>
                <a:sym typeface="Calibri" panose="020F0502020204030204" pitchFamily="34" charset="0"/>
              </a:rPr>
              <a:t>FOLFOX</a:t>
            </a: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altLang="en-US" sz="1600" b="0" i="0" u="none" strike="noStrike" kern="1200" cap="none" spc="0" normalizeH="0" baseline="0" noProof="0" dirty="0" err="1">
                <a:ln>
                  <a:noFill/>
                </a:ln>
                <a:solidFill>
                  <a:srgbClr val="000000"/>
                </a:solidFill>
                <a:effectLst/>
                <a:uLnTx/>
                <a:uFillTx/>
                <a:latin typeface="Arial" panose="020B0604020202020204"/>
                <a:ea typeface="ＭＳ Ｐゴシック" panose="020B0600070205080204" pitchFamily="34" charset="-128"/>
                <a:cs typeface="Times New Roman" panose="02020603050405020304" pitchFamily="18" charset="0"/>
                <a:sym typeface="Calibri" panose="020F0502020204030204" pitchFamily="34" charset="0"/>
              </a:rPr>
              <a:t>Nal</a:t>
            </a:r>
            <a:r>
              <a:rPr kumimoji="0" lang="en-US" altLang="en-US" sz="1600" b="0" i="0" u="none" strike="noStrike" kern="1200" cap="none" spc="0" normalizeH="0" baseline="0" noProof="0" dirty="0">
                <a:ln>
                  <a:noFill/>
                </a:ln>
                <a:solidFill>
                  <a:srgbClr val="000000"/>
                </a:solidFill>
                <a:effectLst/>
                <a:uLnTx/>
                <a:uFillTx/>
                <a:latin typeface="Arial" panose="020B0604020202020204"/>
                <a:ea typeface="ＭＳ Ｐゴシック" panose="020B0600070205080204" pitchFamily="34" charset="-128"/>
                <a:cs typeface="Times New Roman" panose="02020603050405020304" pitchFamily="18" charset="0"/>
                <a:sym typeface="Calibri" panose="020F0502020204030204" pitchFamily="34" charset="0"/>
              </a:rPr>
              <a:t>-IRI/5-FU</a:t>
            </a:r>
          </a:p>
        </p:txBody>
      </p:sp>
      <p:sp>
        <p:nvSpPr>
          <p:cNvPr id="12" name="Rectangle 11">
            <a:extLst>
              <a:ext uri="{FF2B5EF4-FFF2-40B4-BE49-F238E27FC236}">
                <a16:creationId xmlns:a16="http://schemas.microsoft.com/office/drawing/2014/main" id="{B93B0BC2-106C-43AC-A2E5-21312BF5F658}"/>
              </a:ext>
            </a:extLst>
          </p:cNvPr>
          <p:cNvSpPr>
            <a:spLocks noChangeArrowheads="1"/>
          </p:cNvSpPr>
          <p:nvPr/>
        </p:nvSpPr>
        <p:spPr bwMode="auto">
          <a:xfrm>
            <a:off x="5483443" y="4086908"/>
            <a:ext cx="1735137" cy="1169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chemeClr val="tx1"/>
                </a:solidFill>
                <a:latin typeface="Arial" panose="020B0604020202020204" pitchFamily="34" charset="0"/>
                <a:ea typeface="ＭＳ Ｐゴシック" panose="020B0600070205080204" pitchFamily="34" charset="-128"/>
              </a:defRPr>
            </a:lvl1pPr>
            <a:lvl2pPr marL="742950" indent="-285750">
              <a:spcBef>
                <a:spcPct val="20000"/>
              </a:spcBef>
              <a:buChar char="–"/>
              <a:defRPr sz="2800">
                <a:solidFill>
                  <a:schemeClr val="tx1"/>
                </a:solidFill>
                <a:latin typeface="Arial" panose="020B0604020202020204" pitchFamily="34" charset="0"/>
                <a:ea typeface="ＭＳ Ｐゴシック" panose="020B0600070205080204" pitchFamily="34" charset="-128"/>
              </a:defRPr>
            </a:lvl2pPr>
            <a:lvl3pPr marL="1143000" indent="-228600">
              <a:spcBef>
                <a:spcPct val="20000"/>
              </a:spcBef>
              <a:buChar char="•"/>
              <a:defRPr sz="2400">
                <a:solidFill>
                  <a:schemeClr val="tx1"/>
                </a:solidFill>
                <a:latin typeface="Arial" panose="020B0604020202020204" pitchFamily="34" charset="0"/>
                <a:ea typeface="ＭＳ Ｐゴシック" panose="020B0600070205080204" pitchFamily="34" charset="-128"/>
              </a:defRPr>
            </a:lvl3pPr>
            <a:lvl4pPr marL="1600200" indent="-228600">
              <a:spcBef>
                <a:spcPct val="20000"/>
              </a:spcBef>
              <a:buChar char="–"/>
              <a:defRPr sz="2000">
                <a:solidFill>
                  <a:schemeClr val="tx1"/>
                </a:solidFill>
                <a:latin typeface="Arial" panose="020B0604020202020204" pitchFamily="34" charset="0"/>
                <a:ea typeface="ＭＳ Ｐゴシック" panose="020B0600070205080204" pitchFamily="34" charset="-128"/>
              </a:defRPr>
            </a:lvl4pPr>
            <a:lvl5pPr marL="2057400" indent="-228600">
              <a:spcBef>
                <a:spcPct val="20000"/>
              </a:spcBef>
              <a:buChar char="»"/>
              <a:defRPr sz="20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9pPr>
          </a:lstStyle>
          <a:p>
            <a:pPr marL="0" marR="0" lvl="0" indent="0" algn="ctr" defTabSz="914400" rtl="0" eaLnBrk="1" fontAlgn="auto" latinLnBrk="0" hangingPunct="1">
              <a:lnSpc>
                <a:spcPct val="100000"/>
              </a:lnSpc>
              <a:spcBef>
                <a:spcPts val="400"/>
              </a:spcBef>
              <a:spcAft>
                <a:spcPts val="0"/>
              </a:spcAft>
              <a:buClr>
                <a:srgbClr val="000000"/>
              </a:buClr>
              <a:buSzTx/>
              <a:buFontTx/>
              <a:buNone/>
              <a:tabLst/>
              <a:defRPr/>
            </a:pPr>
            <a:r>
              <a:rPr kumimoji="0" lang="en-US" altLang="en-US" sz="1500" b="0" i="0" u="none" strike="noStrike" kern="1200" cap="none" spc="0" normalizeH="0" baseline="0" noProof="0" dirty="0">
                <a:ln>
                  <a:noFill/>
                </a:ln>
                <a:solidFill>
                  <a:srgbClr val="000000"/>
                </a:solidFill>
                <a:effectLst/>
                <a:uLnTx/>
                <a:uFillTx/>
                <a:latin typeface="Arial" panose="020B0604020202020204"/>
                <a:ea typeface="ＭＳ Ｐゴシック" panose="020B0600070205080204" pitchFamily="34" charset="-128"/>
                <a:cs typeface="Times New Roman" panose="02020603050405020304" pitchFamily="18" charset="0"/>
                <a:sym typeface="Calibri" panose="020F0502020204030204" pitchFamily="34" charset="0"/>
              </a:rPr>
              <a:t>FGFR2, IDH1,</a:t>
            </a:r>
          </a:p>
          <a:p>
            <a:pPr marL="0" marR="0" lvl="0" indent="0" algn="ctr" defTabSz="914400" rtl="0" eaLnBrk="1" fontAlgn="auto" latinLnBrk="0" hangingPunct="1">
              <a:lnSpc>
                <a:spcPct val="100000"/>
              </a:lnSpc>
              <a:spcBef>
                <a:spcPts val="400"/>
              </a:spcBef>
              <a:spcAft>
                <a:spcPts val="0"/>
              </a:spcAft>
              <a:buClr>
                <a:srgbClr val="000000"/>
              </a:buClr>
              <a:buSzTx/>
              <a:buFontTx/>
              <a:buNone/>
              <a:tabLst/>
              <a:defRPr/>
            </a:pPr>
            <a:r>
              <a:rPr kumimoji="0" lang="en-US" altLang="en-US" sz="1500" b="0" i="0" u="none" strike="noStrike" kern="1200" cap="none" spc="0" normalizeH="0" baseline="0" noProof="0" dirty="0">
                <a:ln>
                  <a:noFill/>
                </a:ln>
                <a:solidFill>
                  <a:srgbClr val="000000"/>
                </a:solidFill>
                <a:effectLst/>
                <a:uLnTx/>
                <a:uFillTx/>
                <a:latin typeface="Arial" panose="020B0604020202020204"/>
                <a:ea typeface="ＭＳ Ｐゴシック" panose="020B0600070205080204" pitchFamily="34" charset="-128"/>
                <a:cs typeface="Times New Roman" panose="02020603050405020304" pitchFamily="18" charset="0"/>
                <a:sym typeface="Calibri" panose="020F0502020204030204" pitchFamily="34" charset="0"/>
              </a:rPr>
              <a:t>BRAF, HER2</a:t>
            </a:r>
          </a:p>
          <a:p>
            <a:pPr marL="0" marR="0" lvl="0" indent="0" algn="ctr" defTabSz="914400" rtl="0" eaLnBrk="1" fontAlgn="auto" latinLnBrk="0" hangingPunct="1">
              <a:lnSpc>
                <a:spcPct val="100000"/>
              </a:lnSpc>
              <a:spcBef>
                <a:spcPts val="400"/>
              </a:spcBef>
              <a:spcAft>
                <a:spcPts val="0"/>
              </a:spcAft>
              <a:buClr>
                <a:srgbClr val="000000"/>
              </a:buClr>
              <a:buSzTx/>
              <a:buFontTx/>
              <a:buNone/>
              <a:tabLst/>
              <a:defRPr/>
            </a:pPr>
            <a:r>
              <a:rPr kumimoji="0" lang="en-US" altLang="en-US" sz="1500" b="0" i="0" u="none" strike="noStrike" kern="1200" cap="none" spc="0" normalizeH="0" baseline="0" noProof="0" dirty="0">
                <a:ln>
                  <a:noFill/>
                </a:ln>
                <a:solidFill>
                  <a:srgbClr val="000000"/>
                </a:solidFill>
                <a:effectLst/>
                <a:uLnTx/>
                <a:uFillTx/>
                <a:latin typeface="Arial" panose="020B0604020202020204"/>
                <a:ea typeface="ＭＳ Ｐゴシック" panose="020B0600070205080204" pitchFamily="34" charset="-128"/>
                <a:cs typeface="Times New Roman" panose="02020603050405020304" pitchFamily="18" charset="0"/>
                <a:sym typeface="Calibri" panose="020F0502020204030204" pitchFamily="34" charset="0"/>
              </a:rPr>
              <a:t>NTRK, RET</a:t>
            </a:r>
          </a:p>
          <a:p>
            <a:pPr marL="0" marR="0" lvl="0" indent="0" algn="ctr" defTabSz="914400" rtl="0" eaLnBrk="1" fontAlgn="auto" latinLnBrk="0" hangingPunct="1">
              <a:lnSpc>
                <a:spcPct val="100000"/>
              </a:lnSpc>
              <a:spcBef>
                <a:spcPts val="400"/>
              </a:spcBef>
              <a:spcAft>
                <a:spcPts val="0"/>
              </a:spcAft>
              <a:buClr>
                <a:srgbClr val="000000"/>
              </a:buClr>
              <a:buSzTx/>
              <a:buFontTx/>
              <a:buNone/>
              <a:tabLst/>
              <a:defRPr/>
            </a:pPr>
            <a:r>
              <a:rPr kumimoji="0" lang="en-US" altLang="en-US" sz="1500" b="0" i="0" u="none" strike="noStrike" kern="1200" cap="none" spc="0" normalizeH="0" baseline="0" noProof="0" dirty="0">
                <a:ln>
                  <a:noFill/>
                </a:ln>
                <a:solidFill>
                  <a:srgbClr val="000000"/>
                </a:solidFill>
                <a:effectLst/>
                <a:uLnTx/>
                <a:uFillTx/>
                <a:latin typeface="Arial" panose="020B0604020202020204"/>
                <a:ea typeface="ＭＳ Ｐゴシック" panose="020B0600070205080204" pitchFamily="34" charset="-128"/>
                <a:cs typeface="Times New Roman" panose="02020603050405020304" pitchFamily="18" charset="0"/>
                <a:sym typeface="Calibri" panose="020F0502020204030204" pitchFamily="34" charset="0"/>
              </a:rPr>
              <a:t>and more </a:t>
            </a:r>
          </a:p>
        </p:txBody>
      </p:sp>
      <p:sp>
        <p:nvSpPr>
          <p:cNvPr id="13" name="Rectangle 12">
            <a:extLst>
              <a:ext uri="{FF2B5EF4-FFF2-40B4-BE49-F238E27FC236}">
                <a16:creationId xmlns:a16="http://schemas.microsoft.com/office/drawing/2014/main" id="{4673B62A-BDFA-43E4-974F-0DD59B0FC5E3}"/>
              </a:ext>
            </a:extLst>
          </p:cNvPr>
          <p:cNvSpPr>
            <a:spLocks noChangeArrowheads="1"/>
          </p:cNvSpPr>
          <p:nvPr/>
        </p:nvSpPr>
        <p:spPr bwMode="auto">
          <a:xfrm>
            <a:off x="8161797" y="3953986"/>
            <a:ext cx="1954213" cy="14516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chemeClr val="tx1"/>
                </a:solidFill>
                <a:latin typeface="Arial" panose="020B0604020202020204" pitchFamily="34" charset="0"/>
                <a:ea typeface="ＭＳ Ｐゴシック" panose="020B0600070205080204" pitchFamily="34" charset="-128"/>
              </a:defRPr>
            </a:lvl1pPr>
            <a:lvl2pPr marL="742950" indent="-285750">
              <a:spcBef>
                <a:spcPct val="20000"/>
              </a:spcBef>
              <a:buChar char="–"/>
              <a:defRPr sz="2800">
                <a:solidFill>
                  <a:schemeClr val="tx1"/>
                </a:solidFill>
                <a:latin typeface="Arial" panose="020B0604020202020204" pitchFamily="34" charset="0"/>
                <a:ea typeface="ＭＳ Ｐゴシック" panose="020B0600070205080204" pitchFamily="34" charset="-128"/>
              </a:defRPr>
            </a:lvl2pPr>
            <a:lvl3pPr marL="1143000" indent="-228600">
              <a:spcBef>
                <a:spcPct val="20000"/>
              </a:spcBef>
              <a:buChar char="•"/>
              <a:defRPr sz="2400">
                <a:solidFill>
                  <a:schemeClr val="tx1"/>
                </a:solidFill>
                <a:latin typeface="Arial" panose="020B0604020202020204" pitchFamily="34" charset="0"/>
                <a:ea typeface="ＭＳ Ｐゴシック" panose="020B0600070205080204" pitchFamily="34" charset="-128"/>
              </a:defRPr>
            </a:lvl3pPr>
            <a:lvl4pPr marL="1600200" indent="-228600">
              <a:spcBef>
                <a:spcPct val="20000"/>
              </a:spcBef>
              <a:buChar char="–"/>
              <a:defRPr sz="2000">
                <a:solidFill>
                  <a:schemeClr val="tx1"/>
                </a:solidFill>
                <a:latin typeface="Arial" panose="020B0604020202020204" pitchFamily="34" charset="0"/>
                <a:ea typeface="ＭＳ Ｐゴシック" panose="020B0600070205080204" pitchFamily="34" charset="-128"/>
              </a:defRPr>
            </a:lvl4pPr>
            <a:lvl5pPr marL="2057400" indent="-228600">
              <a:spcBef>
                <a:spcPct val="20000"/>
              </a:spcBef>
              <a:buChar char="»"/>
              <a:defRPr sz="20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ＭＳ Ｐゴシック" panose="020B0600070205080204" pitchFamily="34" charset="-128"/>
              </a:defRPr>
            </a:lvl9pPr>
          </a:lstStyle>
          <a:p>
            <a:pPr marL="0" marR="0" lvl="0" indent="0" algn="ctr" defTabSz="914400" rtl="0" eaLnBrk="1" fontAlgn="auto" latinLnBrk="0" hangingPunct="1">
              <a:lnSpc>
                <a:spcPct val="100000"/>
              </a:lnSpc>
              <a:spcBef>
                <a:spcPts val="400"/>
              </a:spcBef>
              <a:spcAft>
                <a:spcPts val="0"/>
              </a:spcAft>
              <a:buClr>
                <a:srgbClr val="000000"/>
              </a:buClr>
              <a:buSzTx/>
              <a:buFontTx/>
              <a:buNone/>
              <a:tabLst/>
              <a:defRPr/>
            </a:pPr>
            <a:r>
              <a:rPr kumimoji="0" lang="en-US" altLang="en-US" sz="1500" b="0" i="0" u="none" strike="noStrike" kern="1200" cap="none" spc="0" normalizeH="0" baseline="0" noProof="0" dirty="0">
                <a:ln>
                  <a:noFill/>
                </a:ln>
                <a:solidFill>
                  <a:srgbClr val="000000"/>
                </a:solidFill>
                <a:effectLst/>
                <a:uLnTx/>
                <a:uFillTx/>
                <a:latin typeface="Arial" panose="020B0604020202020204"/>
                <a:ea typeface="ＭＳ Ｐゴシック" panose="020B0600070205080204" pitchFamily="34" charset="-128"/>
                <a:cs typeface="Times New Roman" panose="02020603050405020304" pitchFamily="18" charset="0"/>
                <a:sym typeface="Calibri" panose="020F0502020204030204" pitchFamily="34" charset="0"/>
              </a:rPr>
              <a:t>Pembrolizumab</a:t>
            </a:r>
          </a:p>
          <a:p>
            <a:pPr marL="0" marR="0" lvl="0" indent="0" algn="ctr" defTabSz="914400" rtl="0" eaLnBrk="1" fontAlgn="auto" latinLnBrk="0" hangingPunct="1">
              <a:lnSpc>
                <a:spcPct val="100000"/>
              </a:lnSpc>
              <a:spcBef>
                <a:spcPts val="400"/>
              </a:spcBef>
              <a:spcAft>
                <a:spcPts val="0"/>
              </a:spcAft>
              <a:buClr>
                <a:srgbClr val="000000"/>
              </a:buClr>
              <a:buSzTx/>
              <a:buFontTx/>
              <a:buNone/>
              <a:tabLst/>
              <a:defRPr/>
            </a:pPr>
            <a:r>
              <a:rPr kumimoji="0" lang="en-US" altLang="en-US" sz="1500" b="0" i="0" u="none" strike="noStrike" kern="1200" cap="none" spc="0" normalizeH="0" baseline="0" noProof="0" dirty="0">
                <a:ln>
                  <a:noFill/>
                </a:ln>
                <a:solidFill>
                  <a:srgbClr val="000000"/>
                </a:solidFill>
                <a:effectLst/>
                <a:uLnTx/>
                <a:uFillTx/>
                <a:latin typeface="Arial" panose="020B0604020202020204"/>
                <a:ea typeface="ＭＳ Ｐゴシック" panose="020B0600070205080204" pitchFamily="34" charset="-128"/>
                <a:cs typeface="Times New Roman" panose="02020603050405020304" pitchFamily="18" charset="0"/>
                <a:sym typeface="Calibri" panose="020F0502020204030204" pitchFamily="34" charset="0"/>
              </a:rPr>
              <a:t>for MSI-H</a:t>
            </a:r>
          </a:p>
          <a:p>
            <a:pPr marL="0" marR="0" lvl="0" indent="0" algn="ctr" defTabSz="914400" rtl="0" eaLnBrk="1" fontAlgn="auto" latinLnBrk="0" hangingPunct="1">
              <a:lnSpc>
                <a:spcPct val="100000"/>
              </a:lnSpc>
              <a:spcBef>
                <a:spcPts val="400"/>
              </a:spcBef>
              <a:spcAft>
                <a:spcPts val="0"/>
              </a:spcAft>
              <a:buClr>
                <a:srgbClr val="000000"/>
              </a:buClr>
              <a:buSzTx/>
              <a:buFontTx/>
              <a:buNone/>
              <a:tabLst/>
              <a:defRPr/>
            </a:pPr>
            <a:r>
              <a:rPr kumimoji="0" lang="en-US" altLang="en-US" sz="1500" b="0" i="0" u="none" strike="noStrike" kern="1200" cap="none" spc="0" normalizeH="0" baseline="0" noProof="0" dirty="0">
                <a:ln>
                  <a:noFill/>
                </a:ln>
                <a:solidFill>
                  <a:srgbClr val="000000"/>
                </a:solidFill>
                <a:effectLst/>
                <a:uLnTx/>
                <a:uFillTx/>
                <a:latin typeface="Arial" panose="020B0604020202020204"/>
                <a:ea typeface="ＭＳ Ｐゴシック" panose="020B0600070205080204" pitchFamily="34" charset="-128"/>
                <a:cs typeface="Times New Roman" panose="02020603050405020304" pitchFamily="18" charset="0"/>
                <a:sym typeface="Calibri" panose="020F0502020204030204" pitchFamily="34" charset="0"/>
              </a:rPr>
              <a:t>Durvalumab+</a:t>
            </a:r>
          </a:p>
          <a:p>
            <a:pPr marL="0" marR="0" lvl="0" indent="0" algn="ctr" defTabSz="914400" rtl="0" eaLnBrk="1" fontAlgn="auto" latinLnBrk="0" hangingPunct="1">
              <a:lnSpc>
                <a:spcPct val="100000"/>
              </a:lnSpc>
              <a:spcBef>
                <a:spcPts val="400"/>
              </a:spcBef>
              <a:spcAft>
                <a:spcPts val="0"/>
              </a:spcAft>
              <a:buClr>
                <a:srgbClr val="000000"/>
              </a:buClr>
              <a:buSzTx/>
              <a:buFontTx/>
              <a:buNone/>
              <a:tabLst/>
              <a:defRPr/>
            </a:pPr>
            <a:r>
              <a:rPr kumimoji="0" lang="en-US" altLang="en-US" sz="1500" b="0" i="0" u="none" strike="noStrike" kern="1200" cap="none" spc="0" normalizeH="0" baseline="0" noProof="0" dirty="0">
                <a:ln>
                  <a:noFill/>
                </a:ln>
                <a:solidFill>
                  <a:srgbClr val="000000"/>
                </a:solidFill>
                <a:effectLst/>
                <a:uLnTx/>
                <a:uFillTx/>
                <a:latin typeface="Arial" panose="020B0604020202020204"/>
                <a:ea typeface="ＭＳ Ｐゴシック" panose="020B0600070205080204" pitchFamily="34" charset="-128"/>
                <a:cs typeface="Times New Roman" panose="02020603050405020304" pitchFamily="18" charset="0"/>
                <a:sym typeface="Calibri" panose="020F0502020204030204" pitchFamily="34" charset="0"/>
              </a:rPr>
              <a:t>Gemcitabine/</a:t>
            </a:r>
          </a:p>
          <a:p>
            <a:pPr marL="0" marR="0" lvl="0" indent="0" algn="ctr" defTabSz="914400" rtl="0" eaLnBrk="1" fontAlgn="auto" latinLnBrk="0" hangingPunct="1">
              <a:lnSpc>
                <a:spcPct val="100000"/>
              </a:lnSpc>
              <a:spcBef>
                <a:spcPts val="400"/>
              </a:spcBef>
              <a:spcAft>
                <a:spcPts val="0"/>
              </a:spcAft>
              <a:buClr>
                <a:srgbClr val="000000"/>
              </a:buClr>
              <a:buSzTx/>
              <a:buFontTx/>
              <a:buNone/>
              <a:tabLst/>
              <a:defRPr/>
            </a:pPr>
            <a:r>
              <a:rPr kumimoji="0" lang="en-US" altLang="en-US" sz="1500" b="0" i="0" u="none" strike="noStrike" kern="1200" cap="none" spc="0" normalizeH="0" baseline="0" noProof="0" dirty="0">
                <a:ln>
                  <a:noFill/>
                </a:ln>
                <a:solidFill>
                  <a:srgbClr val="000000"/>
                </a:solidFill>
                <a:effectLst/>
                <a:uLnTx/>
                <a:uFillTx/>
                <a:latin typeface="Arial" panose="020B0604020202020204"/>
                <a:ea typeface="ＭＳ Ｐゴシック" panose="020B0600070205080204" pitchFamily="34" charset="-128"/>
                <a:cs typeface="Times New Roman" panose="02020603050405020304" pitchFamily="18" charset="0"/>
                <a:sym typeface="Calibri" panose="020F0502020204030204" pitchFamily="34" charset="0"/>
              </a:rPr>
              <a:t>Cisplatin </a:t>
            </a:r>
          </a:p>
        </p:txBody>
      </p:sp>
      <p:sp>
        <p:nvSpPr>
          <p:cNvPr id="14" name="Oval 13">
            <a:extLst>
              <a:ext uri="{FF2B5EF4-FFF2-40B4-BE49-F238E27FC236}">
                <a16:creationId xmlns:a16="http://schemas.microsoft.com/office/drawing/2014/main" id="{6EBDA2BF-8857-43B6-9A24-96C9C96B9C3F}"/>
              </a:ext>
            </a:extLst>
          </p:cNvPr>
          <p:cNvSpPr/>
          <p:nvPr/>
        </p:nvSpPr>
        <p:spPr>
          <a:xfrm>
            <a:off x="4737265" y="1374857"/>
            <a:ext cx="3057723" cy="4611162"/>
          </a:xfrm>
          <a:prstGeom prst="ellipse">
            <a:avLst/>
          </a:prstGeom>
          <a:noFill/>
          <a:ln w="28575">
            <a:solidFill>
              <a:srgbClr val="E29E2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News Gothic MT" panose="020B0503020103020203" pitchFamily="34" charset="0"/>
              <a:ea typeface="+mn-ea"/>
              <a:cs typeface="Times New Roman" panose="02020603050405020304" pitchFamily="18" charset="0"/>
            </a:endParaRPr>
          </a:p>
        </p:txBody>
      </p:sp>
    </p:spTree>
    <p:extLst>
      <p:ext uri="{BB962C8B-B14F-4D97-AF65-F5344CB8AC3E}">
        <p14:creationId xmlns:p14="http://schemas.microsoft.com/office/powerpoint/2010/main" val="29508800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DFE809-6604-4099-BF38-3EF09291FF3F}"/>
              </a:ext>
            </a:extLst>
          </p:cNvPr>
          <p:cNvSpPr>
            <a:spLocks noGrp="1"/>
          </p:cNvSpPr>
          <p:nvPr>
            <p:ph type="title"/>
          </p:nvPr>
        </p:nvSpPr>
        <p:spPr/>
        <p:txBody>
          <a:bodyPr/>
          <a:lstStyle/>
          <a:p>
            <a:r>
              <a:rPr lang="en-US" altLang="en-US" dirty="0">
                <a:cs typeface="Times New Roman" pitchFamily="18" charset="0"/>
              </a:rPr>
              <a:t>Anatomic Classification of Biliary Tract Cancer</a:t>
            </a:r>
            <a:endParaRPr lang="en-GB" dirty="0"/>
          </a:p>
        </p:txBody>
      </p:sp>
      <p:sp>
        <p:nvSpPr>
          <p:cNvPr id="4" name="Text Placeholder 3">
            <a:extLst>
              <a:ext uri="{FF2B5EF4-FFF2-40B4-BE49-F238E27FC236}">
                <a16:creationId xmlns:a16="http://schemas.microsoft.com/office/drawing/2014/main" id="{B55B85EF-080B-4593-B05F-4B0B814D90E9}"/>
              </a:ext>
            </a:extLst>
          </p:cNvPr>
          <p:cNvSpPr>
            <a:spLocks noGrp="1"/>
          </p:cNvSpPr>
          <p:nvPr>
            <p:ph type="body" sz="quarter" idx="10"/>
          </p:nvPr>
        </p:nvSpPr>
        <p:spPr>
          <a:xfrm>
            <a:off x="0" y="6459327"/>
            <a:ext cx="10972800" cy="398673"/>
          </a:xfrm>
        </p:spPr>
        <p:txBody>
          <a:bodyPr/>
          <a:lstStyle/>
          <a:p>
            <a:r>
              <a:rPr lang="en-US" dirty="0"/>
              <a:t>Goyal L, et al. </a:t>
            </a:r>
            <a:r>
              <a:rPr lang="en-US" i="1" dirty="0"/>
              <a:t>N </a:t>
            </a:r>
            <a:r>
              <a:rPr lang="en-US" i="1" dirty="0" err="1"/>
              <a:t>Engl</a:t>
            </a:r>
            <a:r>
              <a:rPr lang="en-US" i="1" dirty="0"/>
              <a:t> J Med,</a:t>
            </a:r>
            <a:r>
              <a:rPr lang="en-US" dirty="0"/>
              <a:t> 2022</a:t>
            </a:r>
            <a:endParaRPr lang="en-GB" dirty="0"/>
          </a:p>
        </p:txBody>
      </p:sp>
      <p:pic>
        <p:nvPicPr>
          <p:cNvPr id="5" name="Picture 4">
            <a:extLst>
              <a:ext uri="{FF2B5EF4-FFF2-40B4-BE49-F238E27FC236}">
                <a16:creationId xmlns:a16="http://schemas.microsoft.com/office/drawing/2014/main" id="{B205D981-1FEA-4E37-A737-4DA069E2EB0A}"/>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2589239" y="1289715"/>
            <a:ext cx="7013522" cy="4932120"/>
          </a:xfrm>
          <a:prstGeom prst="rect">
            <a:avLst/>
          </a:prstGeom>
        </p:spPr>
      </p:pic>
    </p:spTree>
    <p:extLst>
      <p:ext uri="{BB962C8B-B14F-4D97-AF65-F5344CB8AC3E}">
        <p14:creationId xmlns:p14="http://schemas.microsoft.com/office/powerpoint/2010/main" val="1663239981"/>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7" name="Group 86">
            <a:extLst>
              <a:ext uri="{FF2B5EF4-FFF2-40B4-BE49-F238E27FC236}">
                <a16:creationId xmlns:a16="http://schemas.microsoft.com/office/drawing/2014/main" id="{C0A85231-DEE3-4797-A3F9-ADD28DB7B809}"/>
              </a:ext>
            </a:extLst>
          </p:cNvPr>
          <p:cNvGrpSpPr/>
          <p:nvPr/>
        </p:nvGrpSpPr>
        <p:grpSpPr>
          <a:xfrm>
            <a:off x="3871488" y="1600200"/>
            <a:ext cx="4483269" cy="2784347"/>
            <a:chOff x="4076032" y="1600200"/>
            <a:chExt cx="4483269" cy="2784347"/>
          </a:xfrm>
        </p:grpSpPr>
        <p:sp>
          <p:nvSpPr>
            <p:cNvPr id="5" name="Freeform 200">
              <a:extLst>
                <a:ext uri="{FF2B5EF4-FFF2-40B4-BE49-F238E27FC236}">
                  <a16:creationId xmlns:a16="http://schemas.microsoft.com/office/drawing/2014/main" id="{E9FC1EA3-CB63-4270-A201-4BD19C7ED1D7}"/>
                </a:ext>
              </a:extLst>
            </p:cNvPr>
            <p:cNvSpPr/>
            <p:nvPr/>
          </p:nvSpPr>
          <p:spPr>
            <a:xfrm>
              <a:off x="4076032" y="1600200"/>
              <a:ext cx="4483269" cy="2752344"/>
            </a:xfrm>
            <a:custGeom>
              <a:avLst/>
              <a:gdLst>
                <a:gd name="connsiteX0" fmla="*/ 9144 w 3406140"/>
                <a:gd name="connsiteY0" fmla="*/ 1918716 h 2723388"/>
                <a:gd name="connsiteX1" fmla="*/ 73152 w 3406140"/>
                <a:gd name="connsiteY1" fmla="*/ 1653540 h 2723388"/>
                <a:gd name="connsiteX2" fmla="*/ 45720 w 3406140"/>
                <a:gd name="connsiteY2" fmla="*/ 1306068 h 2723388"/>
                <a:gd name="connsiteX3" fmla="*/ 18288 w 3406140"/>
                <a:gd name="connsiteY3" fmla="*/ 839724 h 2723388"/>
                <a:gd name="connsiteX4" fmla="*/ 146304 w 3406140"/>
                <a:gd name="connsiteY4" fmla="*/ 419100 h 2723388"/>
                <a:gd name="connsiteX5" fmla="*/ 548640 w 3406140"/>
                <a:gd name="connsiteY5" fmla="*/ 89916 h 2723388"/>
                <a:gd name="connsiteX6" fmla="*/ 1060704 w 3406140"/>
                <a:gd name="connsiteY6" fmla="*/ 7620 h 2723388"/>
                <a:gd name="connsiteX7" fmla="*/ 1856232 w 3406140"/>
                <a:gd name="connsiteY7" fmla="*/ 135636 h 2723388"/>
                <a:gd name="connsiteX8" fmla="*/ 2167128 w 3406140"/>
                <a:gd name="connsiteY8" fmla="*/ 108204 h 2723388"/>
                <a:gd name="connsiteX9" fmla="*/ 2404872 w 3406140"/>
                <a:gd name="connsiteY9" fmla="*/ 99060 h 2723388"/>
                <a:gd name="connsiteX10" fmla="*/ 2807208 w 3406140"/>
                <a:gd name="connsiteY10" fmla="*/ 144780 h 2723388"/>
                <a:gd name="connsiteX11" fmla="*/ 3182112 w 3406140"/>
                <a:gd name="connsiteY11" fmla="*/ 291084 h 2723388"/>
                <a:gd name="connsiteX12" fmla="*/ 3383280 w 3406140"/>
                <a:gd name="connsiteY12" fmla="*/ 473964 h 2723388"/>
                <a:gd name="connsiteX13" fmla="*/ 3044952 w 3406140"/>
                <a:gd name="connsiteY13" fmla="*/ 739140 h 2723388"/>
                <a:gd name="connsiteX14" fmla="*/ 2724912 w 3406140"/>
                <a:gd name="connsiteY14" fmla="*/ 894588 h 2723388"/>
                <a:gd name="connsiteX15" fmla="*/ 2423160 w 3406140"/>
                <a:gd name="connsiteY15" fmla="*/ 1068324 h 2723388"/>
                <a:gd name="connsiteX16" fmla="*/ 2212848 w 3406140"/>
                <a:gd name="connsiteY16" fmla="*/ 1187196 h 2723388"/>
                <a:gd name="connsiteX17" fmla="*/ 2093976 w 3406140"/>
                <a:gd name="connsiteY17" fmla="*/ 1232916 h 2723388"/>
                <a:gd name="connsiteX18" fmla="*/ 2002536 w 3406140"/>
                <a:gd name="connsiteY18" fmla="*/ 1315212 h 2723388"/>
                <a:gd name="connsiteX19" fmla="*/ 1947672 w 3406140"/>
                <a:gd name="connsiteY19" fmla="*/ 1415796 h 2723388"/>
                <a:gd name="connsiteX20" fmla="*/ 1737360 w 3406140"/>
                <a:gd name="connsiteY20" fmla="*/ 1562100 h 2723388"/>
                <a:gd name="connsiteX21" fmla="*/ 1463040 w 3406140"/>
                <a:gd name="connsiteY21" fmla="*/ 1827276 h 2723388"/>
                <a:gd name="connsiteX22" fmla="*/ 1078992 w 3406140"/>
                <a:gd name="connsiteY22" fmla="*/ 1991868 h 2723388"/>
                <a:gd name="connsiteX23" fmla="*/ 777240 w 3406140"/>
                <a:gd name="connsiteY23" fmla="*/ 2339340 h 2723388"/>
                <a:gd name="connsiteX24" fmla="*/ 576072 w 3406140"/>
                <a:gd name="connsiteY24" fmla="*/ 2549652 h 2723388"/>
                <a:gd name="connsiteX25" fmla="*/ 402336 w 3406140"/>
                <a:gd name="connsiteY25" fmla="*/ 2714244 h 2723388"/>
                <a:gd name="connsiteX26" fmla="*/ 192024 w 3406140"/>
                <a:gd name="connsiteY26" fmla="*/ 2604516 h 2723388"/>
                <a:gd name="connsiteX27" fmla="*/ 45720 w 3406140"/>
                <a:gd name="connsiteY27" fmla="*/ 2293620 h 2723388"/>
                <a:gd name="connsiteX28" fmla="*/ 18288 w 3406140"/>
                <a:gd name="connsiteY28" fmla="*/ 2110740 h 2723388"/>
                <a:gd name="connsiteX29" fmla="*/ 9144 w 3406140"/>
                <a:gd name="connsiteY29" fmla="*/ 1918716 h 2723388"/>
                <a:gd name="connsiteX0" fmla="*/ 9144 w 3375660"/>
                <a:gd name="connsiteY0" fmla="*/ 1918716 h 2723388"/>
                <a:gd name="connsiteX1" fmla="*/ 73152 w 3375660"/>
                <a:gd name="connsiteY1" fmla="*/ 1653540 h 2723388"/>
                <a:gd name="connsiteX2" fmla="*/ 45720 w 3375660"/>
                <a:gd name="connsiteY2" fmla="*/ 1306068 h 2723388"/>
                <a:gd name="connsiteX3" fmla="*/ 18288 w 3375660"/>
                <a:gd name="connsiteY3" fmla="*/ 839724 h 2723388"/>
                <a:gd name="connsiteX4" fmla="*/ 146304 w 3375660"/>
                <a:gd name="connsiteY4" fmla="*/ 419100 h 2723388"/>
                <a:gd name="connsiteX5" fmla="*/ 548640 w 3375660"/>
                <a:gd name="connsiteY5" fmla="*/ 89916 h 2723388"/>
                <a:gd name="connsiteX6" fmla="*/ 1060704 w 3375660"/>
                <a:gd name="connsiteY6" fmla="*/ 7620 h 2723388"/>
                <a:gd name="connsiteX7" fmla="*/ 1856232 w 3375660"/>
                <a:gd name="connsiteY7" fmla="*/ 135636 h 2723388"/>
                <a:gd name="connsiteX8" fmla="*/ 2167128 w 3375660"/>
                <a:gd name="connsiteY8" fmla="*/ 108204 h 2723388"/>
                <a:gd name="connsiteX9" fmla="*/ 2404872 w 3375660"/>
                <a:gd name="connsiteY9" fmla="*/ 99060 h 2723388"/>
                <a:gd name="connsiteX10" fmla="*/ 2807208 w 3375660"/>
                <a:gd name="connsiteY10" fmla="*/ 144780 h 2723388"/>
                <a:gd name="connsiteX11" fmla="*/ 3182112 w 3375660"/>
                <a:gd name="connsiteY11" fmla="*/ 291084 h 2723388"/>
                <a:gd name="connsiteX12" fmla="*/ 3352800 w 3375660"/>
                <a:gd name="connsiteY12" fmla="*/ 457200 h 2723388"/>
                <a:gd name="connsiteX13" fmla="*/ 3044952 w 3375660"/>
                <a:gd name="connsiteY13" fmla="*/ 739140 h 2723388"/>
                <a:gd name="connsiteX14" fmla="*/ 2724912 w 3375660"/>
                <a:gd name="connsiteY14" fmla="*/ 894588 h 2723388"/>
                <a:gd name="connsiteX15" fmla="*/ 2423160 w 3375660"/>
                <a:gd name="connsiteY15" fmla="*/ 1068324 h 2723388"/>
                <a:gd name="connsiteX16" fmla="*/ 2212848 w 3375660"/>
                <a:gd name="connsiteY16" fmla="*/ 1187196 h 2723388"/>
                <a:gd name="connsiteX17" fmla="*/ 2093976 w 3375660"/>
                <a:gd name="connsiteY17" fmla="*/ 1232916 h 2723388"/>
                <a:gd name="connsiteX18" fmla="*/ 2002536 w 3375660"/>
                <a:gd name="connsiteY18" fmla="*/ 1315212 h 2723388"/>
                <a:gd name="connsiteX19" fmla="*/ 1947672 w 3375660"/>
                <a:gd name="connsiteY19" fmla="*/ 1415796 h 2723388"/>
                <a:gd name="connsiteX20" fmla="*/ 1737360 w 3375660"/>
                <a:gd name="connsiteY20" fmla="*/ 1562100 h 2723388"/>
                <a:gd name="connsiteX21" fmla="*/ 1463040 w 3375660"/>
                <a:gd name="connsiteY21" fmla="*/ 1827276 h 2723388"/>
                <a:gd name="connsiteX22" fmla="*/ 1078992 w 3375660"/>
                <a:gd name="connsiteY22" fmla="*/ 1991868 h 2723388"/>
                <a:gd name="connsiteX23" fmla="*/ 777240 w 3375660"/>
                <a:gd name="connsiteY23" fmla="*/ 2339340 h 2723388"/>
                <a:gd name="connsiteX24" fmla="*/ 576072 w 3375660"/>
                <a:gd name="connsiteY24" fmla="*/ 2549652 h 2723388"/>
                <a:gd name="connsiteX25" fmla="*/ 402336 w 3375660"/>
                <a:gd name="connsiteY25" fmla="*/ 2714244 h 2723388"/>
                <a:gd name="connsiteX26" fmla="*/ 192024 w 3375660"/>
                <a:gd name="connsiteY26" fmla="*/ 2604516 h 2723388"/>
                <a:gd name="connsiteX27" fmla="*/ 45720 w 3375660"/>
                <a:gd name="connsiteY27" fmla="*/ 2293620 h 2723388"/>
                <a:gd name="connsiteX28" fmla="*/ 18288 w 3375660"/>
                <a:gd name="connsiteY28" fmla="*/ 2110740 h 2723388"/>
                <a:gd name="connsiteX29" fmla="*/ 9144 w 3375660"/>
                <a:gd name="connsiteY29" fmla="*/ 1918716 h 2723388"/>
                <a:gd name="connsiteX0" fmla="*/ 9144 w 3362452"/>
                <a:gd name="connsiteY0" fmla="*/ 1918716 h 2723388"/>
                <a:gd name="connsiteX1" fmla="*/ 73152 w 3362452"/>
                <a:gd name="connsiteY1" fmla="*/ 1653540 h 2723388"/>
                <a:gd name="connsiteX2" fmla="*/ 45720 w 3362452"/>
                <a:gd name="connsiteY2" fmla="*/ 1306068 h 2723388"/>
                <a:gd name="connsiteX3" fmla="*/ 18288 w 3362452"/>
                <a:gd name="connsiteY3" fmla="*/ 839724 h 2723388"/>
                <a:gd name="connsiteX4" fmla="*/ 146304 w 3362452"/>
                <a:gd name="connsiteY4" fmla="*/ 419100 h 2723388"/>
                <a:gd name="connsiteX5" fmla="*/ 548640 w 3362452"/>
                <a:gd name="connsiteY5" fmla="*/ 89916 h 2723388"/>
                <a:gd name="connsiteX6" fmla="*/ 1060704 w 3362452"/>
                <a:gd name="connsiteY6" fmla="*/ 7620 h 2723388"/>
                <a:gd name="connsiteX7" fmla="*/ 1856232 w 3362452"/>
                <a:gd name="connsiteY7" fmla="*/ 135636 h 2723388"/>
                <a:gd name="connsiteX8" fmla="*/ 2167128 w 3362452"/>
                <a:gd name="connsiteY8" fmla="*/ 108204 h 2723388"/>
                <a:gd name="connsiteX9" fmla="*/ 2404872 w 3362452"/>
                <a:gd name="connsiteY9" fmla="*/ 99060 h 2723388"/>
                <a:gd name="connsiteX10" fmla="*/ 2807208 w 3362452"/>
                <a:gd name="connsiteY10" fmla="*/ 144780 h 2723388"/>
                <a:gd name="connsiteX11" fmla="*/ 3182112 w 3362452"/>
                <a:gd name="connsiteY11" fmla="*/ 291084 h 2723388"/>
                <a:gd name="connsiteX12" fmla="*/ 3352800 w 3362452"/>
                <a:gd name="connsiteY12" fmla="*/ 457200 h 2723388"/>
                <a:gd name="connsiteX13" fmla="*/ 3124200 w 3362452"/>
                <a:gd name="connsiteY13" fmla="*/ 762000 h 2723388"/>
                <a:gd name="connsiteX14" fmla="*/ 2724912 w 3362452"/>
                <a:gd name="connsiteY14" fmla="*/ 894588 h 2723388"/>
                <a:gd name="connsiteX15" fmla="*/ 2423160 w 3362452"/>
                <a:gd name="connsiteY15" fmla="*/ 1068324 h 2723388"/>
                <a:gd name="connsiteX16" fmla="*/ 2212848 w 3362452"/>
                <a:gd name="connsiteY16" fmla="*/ 1187196 h 2723388"/>
                <a:gd name="connsiteX17" fmla="*/ 2093976 w 3362452"/>
                <a:gd name="connsiteY17" fmla="*/ 1232916 h 2723388"/>
                <a:gd name="connsiteX18" fmla="*/ 2002536 w 3362452"/>
                <a:gd name="connsiteY18" fmla="*/ 1315212 h 2723388"/>
                <a:gd name="connsiteX19" fmla="*/ 1947672 w 3362452"/>
                <a:gd name="connsiteY19" fmla="*/ 1415796 h 2723388"/>
                <a:gd name="connsiteX20" fmla="*/ 1737360 w 3362452"/>
                <a:gd name="connsiteY20" fmla="*/ 1562100 h 2723388"/>
                <a:gd name="connsiteX21" fmla="*/ 1463040 w 3362452"/>
                <a:gd name="connsiteY21" fmla="*/ 1827276 h 2723388"/>
                <a:gd name="connsiteX22" fmla="*/ 1078992 w 3362452"/>
                <a:gd name="connsiteY22" fmla="*/ 1991868 h 2723388"/>
                <a:gd name="connsiteX23" fmla="*/ 777240 w 3362452"/>
                <a:gd name="connsiteY23" fmla="*/ 2339340 h 2723388"/>
                <a:gd name="connsiteX24" fmla="*/ 576072 w 3362452"/>
                <a:gd name="connsiteY24" fmla="*/ 2549652 h 2723388"/>
                <a:gd name="connsiteX25" fmla="*/ 402336 w 3362452"/>
                <a:gd name="connsiteY25" fmla="*/ 2714244 h 2723388"/>
                <a:gd name="connsiteX26" fmla="*/ 192024 w 3362452"/>
                <a:gd name="connsiteY26" fmla="*/ 2604516 h 2723388"/>
                <a:gd name="connsiteX27" fmla="*/ 45720 w 3362452"/>
                <a:gd name="connsiteY27" fmla="*/ 2293620 h 2723388"/>
                <a:gd name="connsiteX28" fmla="*/ 18288 w 3362452"/>
                <a:gd name="connsiteY28" fmla="*/ 2110740 h 2723388"/>
                <a:gd name="connsiteX29" fmla="*/ 9144 w 3362452"/>
                <a:gd name="connsiteY29" fmla="*/ 1918716 h 2723388"/>
                <a:gd name="connsiteX0" fmla="*/ 9144 w 3362452"/>
                <a:gd name="connsiteY0" fmla="*/ 1918716 h 2723388"/>
                <a:gd name="connsiteX1" fmla="*/ 73152 w 3362452"/>
                <a:gd name="connsiteY1" fmla="*/ 1653540 h 2723388"/>
                <a:gd name="connsiteX2" fmla="*/ 45720 w 3362452"/>
                <a:gd name="connsiteY2" fmla="*/ 1306068 h 2723388"/>
                <a:gd name="connsiteX3" fmla="*/ 18288 w 3362452"/>
                <a:gd name="connsiteY3" fmla="*/ 839724 h 2723388"/>
                <a:gd name="connsiteX4" fmla="*/ 146304 w 3362452"/>
                <a:gd name="connsiteY4" fmla="*/ 419100 h 2723388"/>
                <a:gd name="connsiteX5" fmla="*/ 548640 w 3362452"/>
                <a:gd name="connsiteY5" fmla="*/ 89916 h 2723388"/>
                <a:gd name="connsiteX6" fmla="*/ 1060704 w 3362452"/>
                <a:gd name="connsiteY6" fmla="*/ 7620 h 2723388"/>
                <a:gd name="connsiteX7" fmla="*/ 1856232 w 3362452"/>
                <a:gd name="connsiteY7" fmla="*/ 135636 h 2723388"/>
                <a:gd name="connsiteX8" fmla="*/ 2167128 w 3362452"/>
                <a:gd name="connsiteY8" fmla="*/ 108204 h 2723388"/>
                <a:gd name="connsiteX9" fmla="*/ 2404872 w 3362452"/>
                <a:gd name="connsiteY9" fmla="*/ 99060 h 2723388"/>
                <a:gd name="connsiteX10" fmla="*/ 2807208 w 3362452"/>
                <a:gd name="connsiteY10" fmla="*/ 144780 h 2723388"/>
                <a:gd name="connsiteX11" fmla="*/ 3182112 w 3362452"/>
                <a:gd name="connsiteY11" fmla="*/ 291084 h 2723388"/>
                <a:gd name="connsiteX12" fmla="*/ 3352800 w 3362452"/>
                <a:gd name="connsiteY12" fmla="*/ 457200 h 2723388"/>
                <a:gd name="connsiteX13" fmla="*/ 3124200 w 3362452"/>
                <a:gd name="connsiteY13" fmla="*/ 762000 h 2723388"/>
                <a:gd name="connsiteX14" fmla="*/ 2743200 w 3362452"/>
                <a:gd name="connsiteY14" fmla="*/ 914400 h 2723388"/>
                <a:gd name="connsiteX15" fmla="*/ 2423160 w 3362452"/>
                <a:gd name="connsiteY15" fmla="*/ 1068324 h 2723388"/>
                <a:gd name="connsiteX16" fmla="*/ 2212848 w 3362452"/>
                <a:gd name="connsiteY16" fmla="*/ 1187196 h 2723388"/>
                <a:gd name="connsiteX17" fmla="*/ 2093976 w 3362452"/>
                <a:gd name="connsiteY17" fmla="*/ 1232916 h 2723388"/>
                <a:gd name="connsiteX18" fmla="*/ 2002536 w 3362452"/>
                <a:gd name="connsiteY18" fmla="*/ 1315212 h 2723388"/>
                <a:gd name="connsiteX19" fmla="*/ 1947672 w 3362452"/>
                <a:gd name="connsiteY19" fmla="*/ 1415796 h 2723388"/>
                <a:gd name="connsiteX20" fmla="*/ 1737360 w 3362452"/>
                <a:gd name="connsiteY20" fmla="*/ 1562100 h 2723388"/>
                <a:gd name="connsiteX21" fmla="*/ 1463040 w 3362452"/>
                <a:gd name="connsiteY21" fmla="*/ 1827276 h 2723388"/>
                <a:gd name="connsiteX22" fmla="*/ 1078992 w 3362452"/>
                <a:gd name="connsiteY22" fmla="*/ 1991868 h 2723388"/>
                <a:gd name="connsiteX23" fmla="*/ 777240 w 3362452"/>
                <a:gd name="connsiteY23" fmla="*/ 2339340 h 2723388"/>
                <a:gd name="connsiteX24" fmla="*/ 576072 w 3362452"/>
                <a:gd name="connsiteY24" fmla="*/ 2549652 h 2723388"/>
                <a:gd name="connsiteX25" fmla="*/ 402336 w 3362452"/>
                <a:gd name="connsiteY25" fmla="*/ 2714244 h 2723388"/>
                <a:gd name="connsiteX26" fmla="*/ 192024 w 3362452"/>
                <a:gd name="connsiteY26" fmla="*/ 2604516 h 2723388"/>
                <a:gd name="connsiteX27" fmla="*/ 45720 w 3362452"/>
                <a:gd name="connsiteY27" fmla="*/ 2293620 h 2723388"/>
                <a:gd name="connsiteX28" fmla="*/ 18288 w 3362452"/>
                <a:gd name="connsiteY28" fmla="*/ 2110740 h 2723388"/>
                <a:gd name="connsiteX29" fmla="*/ 9144 w 3362452"/>
                <a:gd name="connsiteY29" fmla="*/ 1918716 h 2723388"/>
                <a:gd name="connsiteX0" fmla="*/ 9144 w 3362452"/>
                <a:gd name="connsiteY0" fmla="*/ 1918716 h 2676144"/>
                <a:gd name="connsiteX1" fmla="*/ 73152 w 3362452"/>
                <a:gd name="connsiteY1" fmla="*/ 1653540 h 2676144"/>
                <a:gd name="connsiteX2" fmla="*/ 45720 w 3362452"/>
                <a:gd name="connsiteY2" fmla="*/ 1306068 h 2676144"/>
                <a:gd name="connsiteX3" fmla="*/ 18288 w 3362452"/>
                <a:gd name="connsiteY3" fmla="*/ 839724 h 2676144"/>
                <a:gd name="connsiteX4" fmla="*/ 146304 w 3362452"/>
                <a:gd name="connsiteY4" fmla="*/ 419100 h 2676144"/>
                <a:gd name="connsiteX5" fmla="*/ 548640 w 3362452"/>
                <a:gd name="connsiteY5" fmla="*/ 89916 h 2676144"/>
                <a:gd name="connsiteX6" fmla="*/ 1060704 w 3362452"/>
                <a:gd name="connsiteY6" fmla="*/ 7620 h 2676144"/>
                <a:gd name="connsiteX7" fmla="*/ 1856232 w 3362452"/>
                <a:gd name="connsiteY7" fmla="*/ 135636 h 2676144"/>
                <a:gd name="connsiteX8" fmla="*/ 2167128 w 3362452"/>
                <a:gd name="connsiteY8" fmla="*/ 108204 h 2676144"/>
                <a:gd name="connsiteX9" fmla="*/ 2404872 w 3362452"/>
                <a:gd name="connsiteY9" fmla="*/ 99060 h 2676144"/>
                <a:gd name="connsiteX10" fmla="*/ 2807208 w 3362452"/>
                <a:gd name="connsiteY10" fmla="*/ 144780 h 2676144"/>
                <a:gd name="connsiteX11" fmla="*/ 3182112 w 3362452"/>
                <a:gd name="connsiteY11" fmla="*/ 291084 h 2676144"/>
                <a:gd name="connsiteX12" fmla="*/ 3352800 w 3362452"/>
                <a:gd name="connsiteY12" fmla="*/ 457200 h 2676144"/>
                <a:gd name="connsiteX13" fmla="*/ 3124200 w 3362452"/>
                <a:gd name="connsiteY13" fmla="*/ 762000 h 2676144"/>
                <a:gd name="connsiteX14" fmla="*/ 2743200 w 3362452"/>
                <a:gd name="connsiteY14" fmla="*/ 914400 h 2676144"/>
                <a:gd name="connsiteX15" fmla="*/ 2423160 w 3362452"/>
                <a:gd name="connsiteY15" fmla="*/ 1068324 h 2676144"/>
                <a:gd name="connsiteX16" fmla="*/ 2212848 w 3362452"/>
                <a:gd name="connsiteY16" fmla="*/ 1187196 h 2676144"/>
                <a:gd name="connsiteX17" fmla="*/ 2093976 w 3362452"/>
                <a:gd name="connsiteY17" fmla="*/ 1232916 h 2676144"/>
                <a:gd name="connsiteX18" fmla="*/ 2002536 w 3362452"/>
                <a:gd name="connsiteY18" fmla="*/ 1315212 h 2676144"/>
                <a:gd name="connsiteX19" fmla="*/ 1947672 w 3362452"/>
                <a:gd name="connsiteY19" fmla="*/ 1415796 h 2676144"/>
                <a:gd name="connsiteX20" fmla="*/ 1737360 w 3362452"/>
                <a:gd name="connsiteY20" fmla="*/ 1562100 h 2676144"/>
                <a:gd name="connsiteX21" fmla="*/ 1463040 w 3362452"/>
                <a:gd name="connsiteY21" fmla="*/ 1827276 h 2676144"/>
                <a:gd name="connsiteX22" fmla="*/ 1078992 w 3362452"/>
                <a:gd name="connsiteY22" fmla="*/ 1991868 h 2676144"/>
                <a:gd name="connsiteX23" fmla="*/ 777240 w 3362452"/>
                <a:gd name="connsiteY23" fmla="*/ 2339340 h 2676144"/>
                <a:gd name="connsiteX24" fmla="*/ 576072 w 3362452"/>
                <a:gd name="connsiteY24" fmla="*/ 2549652 h 2676144"/>
                <a:gd name="connsiteX25" fmla="*/ 381000 w 3362452"/>
                <a:gd name="connsiteY25" fmla="*/ 2667000 h 2676144"/>
                <a:gd name="connsiteX26" fmla="*/ 192024 w 3362452"/>
                <a:gd name="connsiteY26" fmla="*/ 2604516 h 2676144"/>
                <a:gd name="connsiteX27" fmla="*/ 45720 w 3362452"/>
                <a:gd name="connsiteY27" fmla="*/ 2293620 h 2676144"/>
                <a:gd name="connsiteX28" fmla="*/ 18288 w 3362452"/>
                <a:gd name="connsiteY28" fmla="*/ 2110740 h 2676144"/>
                <a:gd name="connsiteX29" fmla="*/ 9144 w 3362452"/>
                <a:gd name="connsiteY29" fmla="*/ 1918716 h 2676144"/>
                <a:gd name="connsiteX0" fmla="*/ 9144 w 3362452"/>
                <a:gd name="connsiteY0" fmla="*/ 1918716 h 2752344"/>
                <a:gd name="connsiteX1" fmla="*/ 73152 w 3362452"/>
                <a:gd name="connsiteY1" fmla="*/ 1653540 h 2752344"/>
                <a:gd name="connsiteX2" fmla="*/ 45720 w 3362452"/>
                <a:gd name="connsiteY2" fmla="*/ 1306068 h 2752344"/>
                <a:gd name="connsiteX3" fmla="*/ 18288 w 3362452"/>
                <a:gd name="connsiteY3" fmla="*/ 839724 h 2752344"/>
                <a:gd name="connsiteX4" fmla="*/ 146304 w 3362452"/>
                <a:gd name="connsiteY4" fmla="*/ 419100 h 2752344"/>
                <a:gd name="connsiteX5" fmla="*/ 548640 w 3362452"/>
                <a:gd name="connsiteY5" fmla="*/ 89916 h 2752344"/>
                <a:gd name="connsiteX6" fmla="*/ 1060704 w 3362452"/>
                <a:gd name="connsiteY6" fmla="*/ 7620 h 2752344"/>
                <a:gd name="connsiteX7" fmla="*/ 1856232 w 3362452"/>
                <a:gd name="connsiteY7" fmla="*/ 135636 h 2752344"/>
                <a:gd name="connsiteX8" fmla="*/ 2167128 w 3362452"/>
                <a:gd name="connsiteY8" fmla="*/ 108204 h 2752344"/>
                <a:gd name="connsiteX9" fmla="*/ 2404872 w 3362452"/>
                <a:gd name="connsiteY9" fmla="*/ 99060 h 2752344"/>
                <a:gd name="connsiteX10" fmla="*/ 2807208 w 3362452"/>
                <a:gd name="connsiteY10" fmla="*/ 144780 h 2752344"/>
                <a:gd name="connsiteX11" fmla="*/ 3182112 w 3362452"/>
                <a:gd name="connsiteY11" fmla="*/ 291084 h 2752344"/>
                <a:gd name="connsiteX12" fmla="*/ 3352800 w 3362452"/>
                <a:gd name="connsiteY12" fmla="*/ 457200 h 2752344"/>
                <a:gd name="connsiteX13" fmla="*/ 3124200 w 3362452"/>
                <a:gd name="connsiteY13" fmla="*/ 762000 h 2752344"/>
                <a:gd name="connsiteX14" fmla="*/ 2743200 w 3362452"/>
                <a:gd name="connsiteY14" fmla="*/ 914400 h 2752344"/>
                <a:gd name="connsiteX15" fmla="*/ 2423160 w 3362452"/>
                <a:gd name="connsiteY15" fmla="*/ 1068324 h 2752344"/>
                <a:gd name="connsiteX16" fmla="*/ 2212848 w 3362452"/>
                <a:gd name="connsiteY16" fmla="*/ 1187196 h 2752344"/>
                <a:gd name="connsiteX17" fmla="*/ 2093976 w 3362452"/>
                <a:gd name="connsiteY17" fmla="*/ 1232916 h 2752344"/>
                <a:gd name="connsiteX18" fmla="*/ 2002536 w 3362452"/>
                <a:gd name="connsiteY18" fmla="*/ 1315212 h 2752344"/>
                <a:gd name="connsiteX19" fmla="*/ 1947672 w 3362452"/>
                <a:gd name="connsiteY19" fmla="*/ 1415796 h 2752344"/>
                <a:gd name="connsiteX20" fmla="*/ 1737360 w 3362452"/>
                <a:gd name="connsiteY20" fmla="*/ 1562100 h 2752344"/>
                <a:gd name="connsiteX21" fmla="*/ 1463040 w 3362452"/>
                <a:gd name="connsiteY21" fmla="*/ 1827276 h 2752344"/>
                <a:gd name="connsiteX22" fmla="*/ 1078992 w 3362452"/>
                <a:gd name="connsiteY22" fmla="*/ 1991868 h 2752344"/>
                <a:gd name="connsiteX23" fmla="*/ 777240 w 3362452"/>
                <a:gd name="connsiteY23" fmla="*/ 2339340 h 2752344"/>
                <a:gd name="connsiteX24" fmla="*/ 576072 w 3362452"/>
                <a:gd name="connsiteY24" fmla="*/ 2549652 h 2752344"/>
                <a:gd name="connsiteX25" fmla="*/ 381000 w 3362452"/>
                <a:gd name="connsiteY25" fmla="*/ 2743200 h 2752344"/>
                <a:gd name="connsiteX26" fmla="*/ 192024 w 3362452"/>
                <a:gd name="connsiteY26" fmla="*/ 2604516 h 2752344"/>
                <a:gd name="connsiteX27" fmla="*/ 45720 w 3362452"/>
                <a:gd name="connsiteY27" fmla="*/ 2293620 h 2752344"/>
                <a:gd name="connsiteX28" fmla="*/ 18288 w 3362452"/>
                <a:gd name="connsiteY28" fmla="*/ 2110740 h 2752344"/>
                <a:gd name="connsiteX29" fmla="*/ 9144 w 3362452"/>
                <a:gd name="connsiteY29" fmla="*/ 1918716 h 2752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362452" h="2752344">
                  <a:moveTo>
                    <a:pt x="9144" y="1918716"/>
                  </a:moveTo>
                  <a:cubicBezTo>
                    <a:pt x="18288" y="1842516"/>
                    <a:pt x="67056" y="1755648"/>
                    <a:pt x="73152" y="1653540"/>
                  </a:cubicBezTo>
                  <a:cubicBezTo>
                    <a:pt x="79248" y="1551432"/>
                    <a:pt x="54864" y="1441704"/>
                    <a:pt x="45720" y="1306068"/>
                  </a:cubicBezTo>
                  <a:cubicBezTo>
                    <a:pt x="36576" y="1170432"/>
                    <a:pt x="1524" y="987552"/>
                    <a:pt x="18288" y="839724"/>
                  </a:cubicBezTo>
                  <a:cubicBezTo>
                    <a:pt x="35052" y="691896"/>
                    <a:pt x="57912" y="544068"/>
                    <a:pt x="146304" y="419100"/>
                  </a:cubicBezTo>
                  <a:cubicBezTo>
                    <a:pt x="234696" y="294132"/>
                    <a:pt x="396240" y="158496"/>
                    <a:pt x="548640" y="89916"/>
                  </a:cubicBezTo>
                  <a:cubicBezTo>
                    <a:pt x="701040" y="21336"/>
                    <a:pt x="842772" y="0"/>
                    <a:pt x="1060704" y="7620"/>
                  </a:cubicBezTo>
                  <a:cubicBezTo>
                    <a:pt x="1278636" y="15240"/>
                    <a:pt x="1671828" y="118872"/>
                    <a:pt x="1856232" y="135636"/>
                  </a:cubicBezTo>
                  <a:lnTo>
                    <a:pt x="2167128" y="108204"/>
                  </a:lnTo>
                  <a:cubicBezTo>
                    <a:pt x="2258568" y="102108"/>
                    <a:pt x="2298192" y="92964"/>
                    <a:pt x="2404872" y="99060"/>
                  </a:cubicBezTo>
                  <a:cubicBezTo>
                    <a:pt x="2511552" y="105156"/>
                    <a:pt x="2677668" y="112776"/>
                    <a:pt x="2807208" y="144780"/>
                  </a:cubicBezTo>
                  <a:cubicBezTo>
                    <a:pt x="2936748" y="176784"/>
                    <a:pt x="3091180" y="239014"/>
                    <a:pt x="3182112" y="291084"/>
                  </a:cubicBezTo>
                  <a:cubicBezTo>
                    <a:pt x="3273044" y="343154"/>
                    <a:pt x="3362452" y="378714"/>
                    <a:pt x="3352800" y="457200"/>
                  </a:cubicBezTo>
                  <a:cubicBezTo>
                    <a:pt x="3343148" y="535686"/>
                    <a:pt x="3225800" y="685800"/>
                    <a:pt x="3124200" y="762000"/>
                  </a:cubicBezTo>
                  <a:cubicBezTo>
                    <a:pt x="3022600" y="838200"/>
                    <a:pt x="2860040" y="863346"/>
                    <a:pt x="2743200" y="914400"/>
                  </a:cubicBezTo>
                  <a:cubicBezTo>
                    <a:pt x="2626360" y="965454"/>
                    <a:pt x="2423160" y="1068324"/>
                    <a:pt x="2423160" y="1068324"/>
                  </a:cubicBezTo>
                  <a:cubicBezTo>
                    <a:pt x="2337816" y="1117092"/>
                    <a:pt x="2267712" y="1159764"/>
                    <a:pt x="2212848" y="1187196"/>
                  </a:cubicBezTo>
                  <a:cubicBezTo>
                    <a:pt x="2157984" y="1214628"/>
                    <a:pt x="2129028" y="1211580"/>
                    <a:pt x="2093976" y="1232916"/>
                  </a:cubicBezTo>
                  <a:cubicBezTo>
                    <a:pt x="2058924" y="1254252"/>
                    <a:pt x="2026920" y="1284732"/>
                    <a:pt x="2002536" y="1315212"/>
                  </a:cubicBezTo>
                  <a:cubicBezTo>
                    <a:pt x="1978152" y="1345692"/>
                    <a:pt x="1991868" y="1374648"/>
                    <a:pt x="1947672" y="1415796"/>
                  </a:cubicBezTo>
                  <a:cubicBezTo>
                    <a:pt x="1903476" y="1456944"/>
                    <a:pt x="1818132" y="1493520"/>
                    <a:pt x="1737360" y="1562100"/>
                  </a:cubicBezTo>
                  <a:cubicBezTo>
                    <a:pt x="1656588" y="1630680"/>
                    <a:pt x="1572768" y="1755648"/>
                    <a:pt x="1463040" y="1827276"/>
                  </a:cubicBezTo>
                  <a:cubicBezTo>
                    <a:pt x="1353312" y="1898904"/>
                    <a:pt x="1193292" y="1906524"/>
                    <a:pt x="1078992" y="1991868"/>
                  </a:cubicBezTo>
                  <a:cubicBezTo>
                    <a:pt x="964692" y="2077212"/>
                    <a:pt x="861060" y="2246376"/>
                    <a:pt x="777240" y="2339340"/>
                  </a:cubicBezTo>
                  <a:cubicBezTo>
                    <a:pt x="693420" y="2432304"/>
                    <a:pt x="642112" y="2482342"/>
                    <a:pt x="576072" y="2549652"/>
                  </a:cubicBezTo>
                  <a:cubicBezTo>
                    <a:pt x="510032" y="2616962"/>
                    <a:pt x="445008" y="2734056"/>
                    <a:pt x="381000" y="2743200"/>
                  </a:cubicBezTo>
                  <a:cubicBezTo>
                    <a:pt x="316992" y="2752344"/>
                    <a:pt x="247904" y="2679446"/>
                    <a:pt x="192024" y="2604516"/>
                  </a:cubicBezTo>
                  <a:cubicBezTo>
                    <a:pt x="136144" y="2529586"/>
                    <a:pt x="74676" y="2375916"/>
                    <a:pt x="45720" y="2293620"/>
                  </a:cubicBezTo>
                  <a:cubicBezTo>
                    <a:pt x="16764" y="2211324"/>
                    <a:pt x="22860" y="2177796"/>
                    <a:pt x="18288" y="2110740"/>
                  </a:cubicBezTo>
                  <a:cubicBezTo>
                    <a:pt x="13716" y="2043684"/>
                    <a:pt x="0" y="1994916"/>
                    <a:pt x="9144" y="1918716"/>
                  </a:cubicBezTo>
                  <a:close/>
                </a:path>
              </a:pathLst>
            </a:custGeom>
            <a:solidFill>
              <a:srgbClr val="C0504D">
                <a:lumMod val="60000"/>
                <a:lumOff val="40000"/>
              </a:srgbClr>
            </a:solidFill>
            <a:ln w="25400" cap="flat" cmpd="sng" algn="ctr">
              <a:solidFill>
                <a:srgbClr val="C0504D">
                  <a:lumMod val="75000"/>
                  <a:alpha val="42000"/>
                </a:srgbClr>
              </a:solidFill>
              <a:prstDash val="solid"/>
            </a:ln>
            <a:effectLst>
              <a:innerShdw blurRad="647700" dist="50800" dir="2700000">
                <a:prstClr val="black">
                  <a:alpha val="37000"/>
                </a:prstClr>
              </a:innerShdw>
            </a:effectLst>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0" cap="none" spc="0" normalizeH="0" baseline="0" noProof="0" dirty="0">
                <a:ln>
                  <a:noFill/>
                </a:ln>
                <a:solidFill>
                  <a:prstClr val="white"/>
                </a:solidFill>
                <a:effectLst/>
                <a:uLnTx/>
                <a:uFillTx/>
                <a:latin typeface="News Gothic MT" panose="020B0503020103020203" pitchFamily="34" charset="0"/>
                <a:ea typeface="MS PGothic" charset="0"/>
                <a:cs typeface="+mn-cs"/>
              </a:endParaRPr>
            </a:p>
          </p:txBody>
        </p:sp>
        <p:sp>
          <p:nvSpPr>
            <p:cNvPr id="6" name="Freeform 201">
              <a:extLst>
                <a:ext uri="{FF2B5EF4-FFF2-40B4-BE49-F238E27FC236}">
                  <a16:creationId xmlns:a16="http://schemas.microsoft.com/office/drawing/2014/main" id="{F4617EA0-5695-415A-943D-980BB8F3D527}"/>
                </a:ext>
              </a:extLst>
            </p:cNvPr>
            <p:cNvSpPr/>
            <p:nvPr/>
          </p:nvSpPr>
          <p:spPr>
            <a:xfrm>
              <a:off x="6066973" y="2050541"/>
              <a:ext cx="2422827" cy="966978"/>
            </a:xfrm>
            <a:custGeom>
              <a:avLst/>
              <a:gdLst>
                <a:gd name="connsiteX0" fmla="*/ 1833372 w 1851660"/>
                <a:gd name="connsiteY0" fmla="*/ 16764 h 960120"/>
                <a:gd name="connsiteX1" fmla="*/ 1705356 w 1851660"/>
                <a:gd name="connsiteY1" fmla="*/ 35052 h 960120"/>
                <a:gd name="connsiteX2" fmla="*/ 1312164 w 1851660"/>
                <a:gd name="connsiteY2" fmla="*/ 227076 h 960120"/>
                <a:gd name="connsiteX3" fmla="*/ 1074420 w 1851660"/>
                <a:gd name="connsiteY3" fmla="*/ 391668 h 960120"/>
                <a:gd name="connsiteX4" fmla="*/ 790956 w 1851660"/>
                <a:gd name="connsiteY4" fmla="*/ 473964 h 960120"/>
                <a:gd name="connsiteX5" fmla="*/ 644652 w 1851660"/>
                <a:gd name="connsiteY5" fmla="*/ 528828 h 960120"/>
                <a:gd name="connsiteX6" fmla="*/ 416052 w 1851660"/>
                <a:gd name="connsiteY6" fmla="*/ 647700 h 960120"/>
                <a:gd name="connsiteX7" fmla="*/ 132588 w 1851660"/>
                <a:gd name="connsiteY7" fmla="*/ 748284 h 960120"/>
                <a:gd name="connsiteX8" fmla="*/ 22860 w 1851660"/>
                <a:gd name="connsiteY8" fmla="*/ 858012 h 960120"/>
                <a:gd name="connsiteX9" fmla="*/ 59436 w 1851660"/>
                <a:gd name="connsiteY9" fmla="*/ 949452 h 960120"/>
                <a:gd name="connsiteX10" fmla="*/ 379476 w 1851660"/>
                <a:gd name="connsiteY10" fmla="*/ 912876 h 960120"/>
                <a:gd name="connsiteX11" fmla="*/ 809244 w 1851660"/>
                <a:gd name="connsiteY11" fmla="*/ 665988 h 960120"/>
                <a:gd name="connsiteX12" fmla="*/ 1120140 w 1851660"/>
                <a:gd name="connsiteY12" fmla="*/ 519684 h 960120"/>
                <a:gd name="connsiteX13" fmla="*/ 1293876 w 1851660"/>
                <a:gd name="connsiteY13" fmla="*/ 355092 h 960120"/>
                <a:gd name="connsiteX14" fmla="*/ 1577340 w 1851660"/>
                <a:gd name="connsiteY14" fmla="*/ 199644 h 960120"/>
                <a:gd name="connsiteX15" fmla="*/ 1732788 w 1851660"/>
                <a:gd name="connsiteY15" fmla="*/ 153924 h 960120"/>
                <a:gd name="connsiteX16" fmla="*/ 1815084 w 1851660"/>
                <a:gd name="connsiteY16" fmla="*/ 99060 h 960120"/>
                <a:gd name="connsiteX17" fmla="*/ 1833372 w 1851660"/>
                <a:gd name="connsiteY17" fmla="*/ 16764 h 960120"/>
                <a:gd name="connsiteX0" fmla="*/ 1833372 w 1851660"/>
                <a:gd name="connsiteY0" fmla="*/ 16764 h 960120"/>
                <a:gd name="connsiteX1" fmla="*/ 1705356 w 1851660"/>
                <a:gd name="connsiteY1" fmla="*/ 35052 h 960120"/>
                <a:gd name="connsiteX2" fmla="*/ 1312164 w 1851660"/>
                <a:gd name="connsiteY2" fmla="*/ 227076 h 960120"/>
                <a:gd name="connsiteX3" fmla="*/ 1074420 w 1851660"/>
                <a:gd name="connsiteY3" fmla="*/ 391668 h 960120"/>
                <a:gd name="connsiteX4" fmla="*/ 790956 w 1851660"/>
                <a:gd name="connsiteY4" fmla="*/ 473964 h 960120"/>
                <a:gd name="connsiteX5" fmla="*/ 644652 w 1851660"/>
                <a:gd name="connsiteY5" fmla="*/ 528828 h 960120"/>
                <a:gd name="connsiteX6" fmla="*/ 416052 w 1851660"/>
                <a:gd name="connsiteY6" fmla="*/ 647700 h 960120"/>
                <a:gd name="connsiteX7" fmla="*/ 132588 w 1851660"/>
                <a:gd name="connsiteY7" fmla="*/ 748284 h 960120"/>
                <a:gd name="connsiteX8" fmla="*/ 22860 w 1851660"/>
                <a:gd name="connsiteY8" fmla="*/ 858012 h 960120"/>
                <a:gd name="connsiteX9" fmla="*/ 59436 w 1851660"/>
                <a:gd name="connsiteY9" fmla="*/ 949452 h 960120"/>
                <a:gd name="connsiteX10" fmla="*/ 379476 w 1851660"/>
                <a:gd name="connsiteY10" fmla="*/ 912876 h 960120"/>
                <a:gd name="connsiteX11" fmla="*/ 809244 w 1851660"/>
                <a:gd name="connsiteY11" fmla="*/ 665988 h 960120"/>
                <a:gd name="connsiteX12" fmla="*/ 1120140 w 1851660"/>
                <a:gd name="connsiteY12" fmla="*/ 519684 h 960120"/>
                <a:gd name="connsiteX13" fmla="*/ 1295400 w 1851660"/>
                <a:gd name="connsiteY13" fmla="*/ 381000 h 960120"/>
                <a:gd name="connsiteX14" fmla="*/ 1577340 w 1851660"/>
                <a:gd name="connsiteY14" fmla="*/ 199644 h 960120"/>
                <a:gd name="connsiteX15" fmla="*/ 1732788 w 1851660"/>
                <a:gd name="connsiteY15" fmla="*/ 153924 h 960120"/>
                <a:gd name="connsiteX16" fmla="*/ 1815084 w 1851660"/>
                <a:gd name="connsiteY16" fmla="*/ 99060 h 960120"/>
                <a:gd name="connsiteX17" fmla="*/ 1833372 w 1851660"/>
                <a:gd name="connsiteY17" fmla="*/ 16764 h 960120"/>
                <a:gd name="connsiteX0" fmla="*/ 1833372 w 1851660"/>
                <a:gd name="connsiteY0" fmla="*/ 16764 h 960120"/>
                <a:gd name="connsiteX1" fmla="*/ 1705356 w 1851660"/>
                <a:gd name="connsiteY1" fmla="*/ 35052 h 960120"/>
                <a:gd name="connsiteX2" fmla="*/ 1312164 w 1851660"/>
                <a:gd name="connsiteY2" fmla="*/ 227076 h 960120"/>
                <a:gd name="connsiteX3" fmla="*/ 1074420 w 1851660"/>
                <a:gd name="connsiteY3" fmla="*/ 391668 h 960120"/>
                <a:gd name="connsiteX4" fmla="*/ 790956 w 1851660"/>
                <a:gd name="connsiteY4" fmla="*/ 473964 h 960120"/>
                <a:gd name="connsiteX5" fmla="*/ 644652 w 1851660"/>
                <a:gd name="connsiteY5" fmla="*/ 528828 h 960120"/>
                <a:gd name="connsiteX6" fmla="*/ 416052 w 1851660"/>
                <a:gd name="connsiteY6" fmla="*/ 647700 h 960120"/>
                <a:gd name="connsiteX7" fmla="*/ 132588 w 1851660"/>
                <a:gd name="connsiteY7" fmla="*/ 748284 h 960120"/>
                <a:gd name="connsiteX8" fmla="*/ 22860 w 1851660"/>
                <a:gd name="connsiteY8" fmla="*/ 858012 h 960120"/>
                <a:gd name="connsiteX9" fmla="*/ 59436 w 1851660"/>
                <a:gd name="connsiteY9" fmla="*/ 949452 h 960120"/>
                <a:gd name="connsiteX10" fmla="*/ 379476 w 1851660"/>
                <a:gd name="connsiteY10" fmla="*/ 912876 h 960120"/>
                <a:gd name="connsiteX11" fmla="*/ 809244 w 1851660"/>
                <a:gd name="connsiteY11" fmla="*/ 665988 h 960120"/>
                <a:gd name="connsiteX12" fmla="*/ 1120140 w 1851660"/>
                <a:gd name="connsiteY12" fmla="*/ 519684 h 960120"/>
                <a:gd name="connsiteX13" fmla="*/ 1295400 w 1851660"/>
                <a:gd name="connsiteY13" fmla="*/ 381000 h 960120"/>
                <a:gd name="connsiteX14" fmla="*/ 1600200 w 1851660"/>
                <a:gd name="connsiteY14" fmla="*/ 304800 h 960120"/>
                <a:gd name="connsiteX15" fmla="*/ 1732788 w 1851660"/>
                <a:gd name="connsiteY15" fmla="*/ 153924 h 960120"/>
                <a:gd name="connsiteX16" fmla="*/ 1815084 w 1851660"/>
                <a:gd name="connsiteY16" fmla="*/ 99060 h 960120"/>
                <a:gd name="connsiteX17" fmla="*/ 1833372 w 1851660"/>
                <a:gd name="connsiteY17" fmla="*/ 16764 h 960120"/>
                <a:gd name="connsiteX0" fmla="*/ 1833372 w 1851660"/>
                <a:gd name="connsiteY0" fmla="*/ 16764 h 960120"/>
                <a:gd name="connsiteX1" fmla="*/ 1705356 w 1851660"/>
                <a:gd name="connsiteY1" fmla="*/ 35052 h 960120"/>
                <a:gd name="connsiteX2" fmla="*/ 1312164 w 1851660"/>
                <a:gd name="connsiteY2" fmla="*/ 227076 h 960120"/>
                <a:gd name="connsiteX3" fmla="*/ 1074420 w 1851660"/>
                <a:gd name="connsiteY3" fmla="*/ 391668 h 960120"/>
                <a:gd name="connsiteX4" fmla="*/ 790956 w 1851660"/>
                <a:gd name="connsiteY4" fmla="*/ 473964 h 960120"/>
                <a:gd name="connsiteX5" fmla="*/ 644652 w 1851660"/>
                <a:gd name="connsiteY5" fmla="*/ 528828 h 960120"/>
                <a:gd name="connsiteX6" fmla="*/ 416052 w 1851660"/>
                <a:gd name="connsiteY6" fmla="*/ 647700 h 960120"/>
                <a:gd name="connsiteX7" fmla="*/ 132588 w 1851660"/>
                <a:gd name="connsiteY7" fmla="*/ 748284 h 960120"/>
                <a:gd name="connsiteX8" fmla="*/ 22860 w 1851660"/>
                <a:gd name="connsiteY8" fmla="*/ 858012 h 960120"/>
                <a:gd name="connsiteX9" fmla="*/ 59436 w 1851660"/>
                <a:gd name="connsiteY9" fmla="*/ 949452 h 960120"/>
                <a:gd name="connsiteX10" fmla="*/ 379476 w 1851660"/>
                <a:gd name="connsiteY10" fmla="*/ 912876 h 960120"/>
                <a:gd name="connsiteX11" fmla="*/ 809244 w 1851660"/>
                <a:gd name="connsiteY11" fmla="*/ 665988 h 960120"/>
                <a:gd name="connsiteX12" fmla="*/ 1120140 w 1851660"/>
                <a:gd name="connsiteY12" fmla="*/ 519684 h 960120"/>
                <a:gd name="connsiteX13" fmla="*/ 1295400 w 1851660"/>
                <a:gd name="connsiteY13" fmla="*/ 381000 h 960120"/>
                <a:gd name="connsiteX14" fmla="*/ 1600200 w 1851660"/>
                <a:gd name="connsiteY14" fmla="*/ 304800 h 960120"/>
                <a:gd name="connsiteX15" fmla="*/ 1732788 w 1851660"/>
                <a:gd name="connsiteY15" fmla="*/ 153924 h 960120"/>
                <a:gd name="connsiteX16" fmla="*/ 1815084 w 1851660"/>
                <a:gd name="connsiteY16" fmla="*/ 99060 h 960120"/>
                <a:gd name="connsiteX17" fmla="*/ 1833372 w 1851660"/>
                <a:gd name="connsiteY17" fmla="*/ 16764 h 960120"/>
                <a:gd name="connsiteX0" fmla="*/ 1833372 w 1851660"/>
                <a:gd name="connsiteY0" fmla="*/ 16764 h 960120"/>
                <a:gd name="connsiteX1" fmla="*/ 1705356 w 1851660"/>
                <a:gd name="connsiteY1" fmla="*/ 35052 h 960120"/>
                <a:gd name="connsiteX2" fmla="*/ 1312164 w 1851660"/>
                <a:gd name="connsiteY2" fmla="*/ 227076 h 960120"/>
                <a:gd name="connsiteX3" fmla="*/ 1074420 w 1851660"/>
                <a:gd name="connsiteY3" fmla="*/ 391668 h 960120"/>
                <a:gd name="connsiteX4" fmla="*/ 790956 w 1851660"/>
                <a:gd name="connsiteY4" fmla="*/ 473964 h 960120"/>
                <a:gd name="connsiteX5" fmla="*/ 644652 w 1851660"/>
                <a:gd name="connsiteY5" fmla="*/ 528828 h 960120"/>
                <a:gd name="connsiteX6" fmla="*/ 416052 w 1851660"/>
                <a:gd name="connsiteY6" fmla="*/ 647700 h 960120"/>
                <a:gd name="connsiteX7" fmla="*/ 132588 w 1851660"/>
                <a:gd name="connsiteY7" fmla="*/ 748284 h 960120"/>
                <a:gd name="connsiteX8" fmla="*/ 22860 w 1851660"/>
                <a:gd name="connsiteY8" fmla="*/ 858012 h 960120"/>
                <a:gd name="connsiteX9" fmla="*/ 59436 w 1851660"/>
                <a:gd name="connsiteY9" fmla="*/ 949452 h 960120"/>
                <a:gd name="connsiteX10" fmla="*/ 379476 w 1851660"/>
                <a:gd name="connsiteY10" fmla="*/ 912876 h 960120"/>
                <a:gd name="connsiteX11" fmla="*/ 809244 w 1851660"/>
                <a:gd name="connsiteY11" fmla="*/ 665988 h 960120"/>
                <a:gd name="connsiteX12" fmla="*/ 1120140 w 1851660"/>
                <a:gd name="connsiteY12" fmla="*/ 519684 h 960120"/>
                <a:gd name="connsiteX13" fmla="*/ 1371600 w 1851660"/>
                <a:gd name="connsiteY13" fmla="*/ 457200 h 960120"/>
                <a:gd name="connsiteX14" fmla="*/ 1600200 w 1851660"/>
                <a:gd name="connsiteY14" fmla="*/ 304800 h 960120"/>
                <a:gd name="connsiteX15" fmla="*/ 1732788 w 1851660"/>
                <a:gd name="connsiteY15" fmla="*/ 153924 h 960120"/>
                <a:gd name="connsiteX16" fmla="*/ 1815084 w 1851660"/>
                <a:gd name="connsiteY16" fmla="*/ 99060 h 960120"/>
                <a:gd name="connsiteX17" fmla="*/ 1833372 w 1851660"/>
                <a:gd name="connsiteY17" fmla="*/ 16764 h 960120"/>
                <a:gd name="connsiteX0" fmla="*/ 1833372 w 1851660"/>
                <a:gd name="connsiteY0" fmla="*/ 16764 h 960120"/>
                <a:gd name="connsiteX1" fmla="*/ 1705356 w 1851660"/>
                <a:gd name="connsiteY1" fmla="*/ 35052 h 960120"/>
                <a:gd name="connsiteX2" fmla="*/ 1312164 w 1851660"/>
                <a:gd name="connsiteY2" fmla="*/ 227076 h 960120"/>
                <a:gd name="connsiteX3" fmla="*/ 1074420 w 1851660"/>
                <a:gd name="connsiteY3" fmla="*/ 391668 h 960120"/>
                <a:gd name="connsiteX4" fmla="*/ 790956 w 1851660"/>
                <a:gd name="connsiteY4" fmla="*/ 473964 h 960120"/>
                <a:gd name="connsiteX5" fmla="*/ 644652 w 1851660"/>
                <a:gd name="connsiteY5" fmla="*/ 528828 h 960120"/>
                <a:gd name="connsiteX6" fmla="*/ 416052 w 1851660"/>
                <a:gd name="connsiteY6" fmla="*/ 647700 h 960120"/>
                <a:gd name="connsiteX7" fmla="*/ 152400 w 1851660"/>
                <a:gd name="connsiteY7" fmla="*/ 685800 h 960120"/>
                <a:gd name="connsiteX8" fmla="*/ 22860 w 1851660"/>
                <a:gd name="connsiteY8" fmla="*/ 858012 h 960120"/>
                <a:gd name="connsiteX9" fmla="*/ 59436 w 1851660"/>
                <a:gd name="connsiteY9" fmla="*/ 949452 h 960120"/>
                <a:gd name="connsiteX10" fmla="*/ 379476 w 1851660"/>
                <a:gd name="connsiteY10" fmla="*/ 912876 h 960120"/>
                <a:gd name="connsiteX11" fmla="*/ 809244 w 1851660"/>
                <a:gd name="connsiteY11" fmla="*/ 665988 h 960120"/>
                <a:gd name="connsiteX12" fmla="*/ 1120140 w 1851660"/>
                <a:gd name="connsiteY12" fmla="*/ 519684 h 960120"/>
                <a:gd name="connsiteX13" fmla="*/ 1371600 w 1851660"/>
                <a:gd name="connsiteY13" fmla="*/ 457200 h 960120"/>
                <a:gd name="connsiteX14" fmla="*/ 1600200 w 1851660"/>
                <a:gd name="connsiteY14" fmla="*/ 304800 h 960120"/>
                <a:gd name="connsiteX15" fmla="*/ 1732788 w 1851660"/>
                <a:gd name="connsiteY15" fmla="*/ 153924 h 960120"/>
                <a:gd name="connsiteX16" fmla="*/ 1815084 w 1851660"/>
                <a:gd name="connsiteY16" fmla="*/ 99060 h 960120"/>
                <a:gd name="connsiteX17" fmla="*/ 1833372 w 1851660"/>
                <a:gd name="connsiteY17" fmla="*/ 16764 h 960120"/>
                <a:gd name="connsiteX0" fmla="*/ 1833372 w 1851660"/>
                <a:gd name="connsiteY0" fmla="*/ 16764 h 960120"/>
                <a:gd name="connsiteX1" fmla="*/ 1705356 w 1851660"/>
                <a:gd name="connsiteY1" fmla="*/ 35052 h 960120"/>
                <a:gd name="connsiteX2" fmla="*/ 1312164 w 1851660"/>
                <a:gd name="connsiteY2" fmla="*/ 227076 h 960120"/>
                <a:gd name="connsiteX3" fmla="*/ 1074420 w 1851660"/>
                <a:gd name="connsiteY3" fmla="*/ 391668 h 960120"/>
                <a:gd name="connsiteX4" fmla="*/ 790956 w 1851660"/>
                <a:gd name="connsiteY4" fmla="*/ 473964 h 960120"/>
                <a:gd name="connsiteX5" fmla="*/ 644652 w 1851660"/>
                <a:gd name="connsiteY5" fmla="*/ 528828 h 960120"/>
                <a:gd name="connsiteX6" fmla="*/ 457200 w 1851660"/>
                <a:gd name="connsiteY6" fmla="*/ 533400 h 960120"/>
                <a:gd name="connsiteX7" fmla="*/ 152400 w 1851660"/>
                <a:gd name="connsiteY7" fmla="*/ 685800 h 960120"/>
                <a:gd name="connsiteX8" fmla="*/ 22860 w 1851660"/>
                <a:gd name="connsiteY8" fmla="*/ 858012 h 960120"/>
                <a:gd name="connsiteX9" fmla="*/ 59436 w 1851660"/>
                <a:gd name="connsiteY9" fmla="*/ 949452 h 960120"/>
                <a:gd name="connsiteX10" fmla="*/ 379476 w 1851660"/>
                <a:gd name="connsiteY10" fmla="*/ 912876 h 960120"/>
                <a:gd name="connsiteX11" fmla="*/ 809244 w 1851660"/>
                <a:gd name="connsiteY11" fmla="*/ 665988 h 960120"/>
                <a:gd name="connsiteX12" fmla="*/ 1120140 w 1851660"/>
                <a:gd name="connsiteY12" fmla="*/ 519684 h 960120"/>
                <a:gd name="connsiteX13" fmla="*/ 1371600 w 1851660"/>
                <a:gd name="connsiteY13" fmla="*/ 457200 h 960120"/>
                <a:gd name="connsiteX14" fmla="*/ 1600200 w 1851660"/>
                <a:gd name="connsiteY14" fmla="*/ 304800 h 960120"/>
                <a:gd name="connsiteX15" fmla="*/ 1732788 w 1851660"/>
                <a:gd name="connsiteY15" fmla="*/ 153924 h 960120"/>
                <a:gd name="connsiteX16" fmla="*/ 1815084 w 1851660"/>
                <a:gd name="connsiteY16" fmla="*/ 99060 h 960120"/>
                <a:gd name="connsiteX17" fmla="*/ 1833372 w 1851660"/>
                <a:gd name="connsiteY17" fmla="*/ 16764 h 960120"/>
                <a:gd name="connsiteX0" fmla="*/ 1833372 w 1851660"/>
                <a:gd name="connsiteY0" fmla="*/ 16764 h 960120"/>
                <a:gd name="connsiteX1" fmla="*/ 1705356 w 1851660"/>
                <a:gd name="connsiteY1" fmla="*/ 35052 h 960120"/>
                <a:gd name="connsiteX2" fmla="*/ 1312164 w 1851660"/>
                <a:gd name="connsiteY2" fmla="*/ 227076 h 960120"/>
                <a:gd name="connsiteX3" fmla="*/ 1074420 w 1851660"/>
                <a:gd name="connsiteY3" fmla="*/ 391668 h 960120"/>
                <a:gd name="connsiteX4" fmla="*/ 790956 w 1851660"/>
                <a:gd name="connsiteY4" fmla="*/ 473964 h 960120"/>
                <a:gd name="connsiteX5" fmla="*/ 685800 w 1851660"/>
                <a:gd name="connsiteY5" fmla="*/ 457200 h 960120"/>
                <a:gd name="connsiteX6" fmla="*/ 457200 w 1851660"/>
                <a:gd name="connsiteY6" fmla="*/ 533400 h 960120"/>
                <a:gd name="connsiteX7" fmla="*/ 152400 w 1851660"/>
                <a:gd name="connsiteY7" fmla="*/ 685800 h 960120"/>
                <a:gd name="connsiteX8" fmla="*/ 22860 w 1851660"/>
                <a:gd name="connsiteY8" fmla="*/ 858012 h 960120"/>
                <a:gd name="connsiteX9" fmla="*/ 59436 w 1851660"/>
                <a:gd name="connsiteY9" fmla="*/ 949452 h 960120"/>
                <a:gd name="connsiteX10" fmla="*/ 379476 w 1851660"/>
                <a:gd name="connsiteY10" fmla="*/ 912876 h 960120"/>
                <a:gd name="connsiteX11" fmla="*/ 809244 w 1851660"/>
                <a:gd name="connsiteY11" fmla="*/ 665988 h 960120"/>
                <a:gd name="connsiteX12" fmla="*/ 1120140 w 1851660"/>
                <a:gd name="connsiteY12" fmla="*/ 519684 h 960120"/>
                <a:gd name="connsiteX13" fmla="*/ 1371600 w 1851660"/>
                <a:gd name="connsiteY13" fmla="*/ 457200 h 960120"/>
                <a:gd name="connsiteX14" fmla="*/ 1600200 w 1851660"/>
                <a:gd name="connsiteY14" fmla="*/ 304800 h 960120"/>
                <a:gd name="connsiteX15" fmla="*/ 1732788 w 1851660"/>
                <a:gd name="connsiteY15" fmla="*/ 153924 h 960120"/>
                <a:gd name="connsiteX16" fmla="*/ 1815084 w 1851660"/>
                <a:gd name="connsiteY16" fmla="*/ 99060 h 960120"/>
                <a:gd name="connsiteX17" fmla="*/ 1833372 w 1851660"/>
                <a:gd name="connsiteY17" fmla="*/ 16764 h 960120"/>
                <a:gd name="connsiteX0" fmla="*/ 1833372 w 1851660"/>
                <a:gd name="connsiteY0" fmla="*/ 16764 h 960120"/>
                <a:gd name="connsiteX1" fmla="*/ 1705356 w 1851660"/>
                <a:gd name="connsiteY1" fmla="*/ 35052 h 960120"/>
                <a:gd name="connsiteX2" fmla="*/ 1312164 w 1851660"/>
                <a:gd name="connsiteY2" fmla="*/ 227076 h 960120"/>
                <a:gd name="connsiteX3" fmla="*/ 1074420 w 1851660"/>
                <a:gd name="connsiteY3" fmla="*/ 391668 h 960120"/>
                <a:gd name="connsiteX4" fmla="*/ 838200 w 1851660"/>
                <a:gd name="connsiteY4" fmla="*/ 457200 h 960120"/>
                <a:gd name="connsiteX5" fmla="*/ 685800 w 1851660"/>
                <a:gd name="connsiteY5" fmla="*/ 457200 h 960120"/>
                <a:gd name="connsiteX6" fmla="*/ 457200 w 1851660"/>
                <a:gd name="connsiteY6" fmla="*/ 533400 h 960120"/>
                <a:gd name="connsiteX7" fmla="*/ 152400 w 1851660"/>
                <a:gd name="connsiteY7" fmla="*/ 685800 h 960120"/>
                <a:gd name="connsiteX8" fmla="*/ 22860 w 1851660"/>
                <a:gd name="connsiteY8" fmla="*/ 858012 h 960120"/>
                <a:gd name="connsiteX9" fmla="*/ 59436 w 1851660"/>
                <a:gd name="connsiteY9" fmla="*/ 949452 h 960120"/>
                <a:gd name="connsiteX10" fmla="*/ 379476 w 1851660"/>
                <a:gd name="connsiteY10" fmla="*/ 912876 h 960120"/>
                <a:gd name="connsiteX11" fmla="*/ 809244 w 1851660"/>
                <a:gd name="connsiteY11" fmla="*/ 665988 h 960120"/>
                <a:gd name="connsiteX12" fmla="*/ 1120140 w 1851660"/>
                <a:gd name="connsiteY12" fmla="*/ 519684 h 960120"/>
                <a:gd name="connsiteX13" fmla="*/ 1371600 w 1851660"/>
                <a:gd name="connsiteY13" fmla="*/ 457200 h 960120"/>
                <a:gd name="connsiteX14" fmla="*/ 1600200 w 1851660"/>
                <a:gd name="connsiteY14" fmla="*/ 304800 h 960120"/>
                <a:gd name="connsiteX15" fmla="*/ 1732788 w 1851660"/>
                <a:gd name="connsiteY15" fmla="*/ 153924 h 960120"/>
                <a:gd name="connsiteX16" fmla="*/ 1815084 w 1851660"/>
                <a:gd name="connsiteY16" fmla="*/ 99060 h 960120"/>
                <a:gd name="connsiteX17" fmla="*/ 1833372 w 1851660"/>
                <a:gd name="connsiteY17" fmla="*/ 16764 h 960120"/>
                <a:gd name="connsiteX0" fmla="*/ 1828800 w 1847088"/>
                <a:gd name="connsiteY0" fmla="*/ 10668 h 970788"/>
                <a:gd name="connsiteX1" fmla="*/ 1705356 w 1847088"/>
                <a:gd name="connsiteY1" fmla="*/ 45720 h 970788"/>
                <a:gd name="connsiteX2" fmla="*/ 1312164 w 1847088"/>
                <a:gd name="connsiteY2" fmla="*/ 237744 h 970788"/>
                <a:gd name="connsiteX3" fmla="*/ 1074420 w 1847088"/>
                <a:gd name="connsiteY3" fmla="*/ 402336 h 970788"/>
                <a:gd name="connsiteX4" fmla="*/ 838200 w 1847088"/>
                <a:gd name="connsiteY4" fmla="*/ 467868 h 970788"/>
                <a:gd name="connsiteX5" fmla="*/ 685800 w 1847088"/>
                <a:gd name="connsiteY5" fmla="*/ 467868 h 970788"/>
                <a:gd name="connsiteX6" fmla="*/ 457200 w 1847088"/>
                <a:gd name="connsiteY6" fmla="*/ 544068 h 970788"/>
                <a:gd name="connsiteX7" fmla="*/ 152400 w 1847088"/>
                <a:gd name="connsiteY7" fmla="*/ 696468 h 970788"/>
                <a:gd name="connsiteX8" fmla="*/ 22860 w 1847088"/>
                <a:gd name="connsiteY8" fmla="*/ 868680 h 970788"/>
                <a:gd name="connsiteX9" fmla="*/ 59436 w 1847088"/>
                <a:gd name="connsiteY9" fmla="*/ 960120 h 970788"/>
                <a:gd name="connsiteX10" fmla="*/ 379476 w 1847088"/>
                <a:gd name="connsiteY10" fmla="*/ 923544 h 970788"/>
                <a:gd name="connsiteX11" fmla="*/ 809244 w 1847088"/>
                <a:gd name="connsiteY11" fmla="*/ 676656 h 970788"/>
                <a:gd name="connsiteX12" fmla="*/ 1120140 w 1847088"/>
                <a:gd name="connsiteY12" fmla="*/ 530352 h 970788"/>
                <a:gd name="connsiteX13" fmla="*/ 1371600 w 1847088"/>
                <a:gd name="connsiteY13" fmla="*/ 467868 h 970788"/>
                <a:gd name="connsiteX14" fmla="*/ 1600200 w 1847088"/>
                <a:gd name="connsiteY14" fmla="*/ 315468 h 970788"/>
                <a:gd name="connsiteX15" fmla="*/ 1732788 w 1847088"/>
                <a:gd name="connsiteY15" fmla="*/ 164592 h 970788"/>
                <a:gd name="connsiteX16" fmla="*/ 1815084 w 1847088"/>
                <a:gd name="connsiteY16" fmla="*/ 109728 h 970788"/>
                <a:gd name="connsiteX17" fmla="*/ 1828800 w 1847088"/>
                <a:gd name="connsiteY17" fmla="*/ 10668 h 970788"/>
                <a:gd name="connsiteX0" fmla="*/ 1828800 w 1849374"/>
                <a:gd name="connsiteY0" fmla="*/ 6858 h 966978"/>
                <a:gd name="connsiteX1" fmla="*/ 1705356 w 1849374"/>
                <a:gd name="connsiteY1" fmla="*/ 41910 h 966978"/>
                <a:gd name="connsiteX2" fmla="*/ 1312164 w 1849374"/>
                <a:gd name="connsiteY2" fmla="*/ 233934 h 966978"/>
                <a:gd name="connsiteX3" fmla="*/ 1074420 w 1849374"/>
                <a:gd name="connsiteY3" fmla="*/ 398526 h 966978"/>
                <a:gd name="connsiteX4" fmla="*/ 838200 w 1849374"/>
                <a:gd name="connsiteY4" fmla="*/ 464058 h 966978"/>
                <a:gd name="connsiteX5" fmla="*/ 685800 w 1849374"/>
                <a:gd name="connsiteY5" fmla="*/ 464058 h 966978"/>
                <a:gd name="connsiteX6" fmla="*/ 457200 w 1849374"/>
                <a:gd name="connsiteY6" fmla="*/ 540258 h 966978"/>
                <a:gd name="connsiteX7" fmla="*/ 152400 w 1849374"/>
                <a:gd name="connsiteY7" fmla="*/ 692658 h 966978"/>
                <a:gd name="connsiteX8" fmla="*/ 22860 w 1849374"/>
                <a:gd name="connsiteY8" fmla="*/ 864870 h 966978"/>
                <a:gd name="connsiteX9" fmla="*/ 59436 w 1849374"/>
                <a:gd name="connsiteY9" fmla="*/ 956310 h 966978"/>
                <a:gd name="connsiteX10" fmla="*/ 379476 w 1849374"/>
                <a:gd name="connsiteY10" fmla="*/ 919734 h 966978"/>
                <a:gd name="connsiteX11" fmla="*/ 809244 w 1849374"/>
                <a:gd name="connsiteY11" fmla="*/ 672846 h 966978"/>
                <a:gd name="connsiteX12" fmla="*/ 1120140 w 1849374"/>
                <a:gd name="connsiteY12" fmla="*/ 526542 h 966978"/>
                <a:gd name="connsiteX13" fmla="*/ 1371600 w 1849374"/>
                <a:gd name="connsiteY13" fmla="*/ 464058 h 966978"/>
                <a:gd name="connsiteX14" fmla="*/ 1600200 w 1849374"/>
                <a:gd name="connsiteY14" fmla="*/ 311658 h 966978"/>
                <a:gd name="connsiteX15" fmla="*/ 1732788 w 1849374"/>
                <a:gd name="connsiteY15" fmla="*/ 160782 h 966978"/>
                <a:gd name="connsiteX16" fmla="*/ 1828800 w 1849374"/>
                <a:gd name="connsiteY16" fmla="*/ 83058 h 966978"/>
                <a:gd name="connsiteX17" fmla="*/ 1828800 w 1849374"/>
                <a:gd name="connsiteY17" fmla="*/ 6858 h 96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49374" h="966978">
                  <a:moveTo>
                    <a:pt x="1828800" y="6858"/>
                  </a:moveTo>
                  <a:cubicBezTo>
                    <a:pt x="1808226" y="0"/>
                    <a:pt x="1791462" y="4064"/>
                    <a:pt x="1705356" y="41910"/>
                  </a:cubicBezTo>
                  <a:cubicBezTo>
                    <a:pt x="1619250" y="79756"/>
                    <a:pt x="1417320" y="174498"/>
                    <a:pt x="1312164" y="233934"/>
                  </a:cubicBezTo>
                  <a:cubicBezTo>
                    <a:pt x="1207008" y="293370"/>
                    <a:pt x="1153414" y="360172"/>
                    <a:pt x="1074420" y="398526"/>
                  </a:cubicBezTo>
                  <a:cubicBezTo>
                    <a:pt x="995426" y="436880"/>
                    <a:pt x="902970" y="453136"/>
                    <a:pt x="838200" y="464058"/>
                  </a:cubicBezTo>
                  <a:cubicBezTo>
                    <a:pt x="773430" y="474980"/>
                    <a:pt x="749300" y="451358"/>
                    <a:pt x="685800" y="464058"/>
                  </a:cubicBezTo>
                  <a:cubicBezTo>
                    <a:pt x="622300" y="476758"/>
                    <a:pt x="546100" y="502158"/>
                    <a:pt x="457200" y="540258"/>
                  </a:cubicBezTo>
                  <a:cubicBezTo>
                    <a:pt x="368300" y="578358"/>
                    <a:pt x="224790" y="638556"/>
                    <a:pt x="152400" y="692658"/>
                  </a:cubicBezTo>
                  <a:cubicBezTo>
                    <a:pt x="80010" y="746760"/>
                    <a:pt x="38354" y="820928"/>
                    <a:pt x="22860" y="864870"/>
                  </a:cubicBezTo>
                  <a:cubicBezTo>
                    <a:pt x="7366" y="908812"/>
                    <a:pt x="0" y="947166"/>
                    <a:pt x="59436" y="956310"/>
                  </a:cubicBezTo>
                  <a:cubicBezTo>
                    <a:pt x="118872" y="965454"/>
                    <a:pt x="254508" y="966978"/>
                    <a:pt x="379476" y="919734"/>
                  </a:cubicBezTo>
                  <a:cubicBezTo>
                    <a:pt x="504444" y="872490"/>
                    <a:pt x="685800" y="738378"/>
                    <a:pt x="809244" y="672846"/>
                  </a:cubicBezTo>
                  <a:cubicBezTo>
                    <a:pt x="932688" y="607314"/>
                    <a:pt x="1026414" y="561340"/>
                    <a:pt x="1120140" y="526542"/>
                  </a:cubicBezTo>
                  <a:cubicBezTo>
                    <a:pt x="1213866" y="491744"/>
                    <a:pt x="1291590" y="499872"/>
                    <a:pt x="1371600" y="464058"/>
                  </a:cubicBezTo>
                  <a:cubicBezTo>
                    <a:pt x="1451610" y="428244"/>
                    <a:pt x="1540002" y="362204"/>
                    <a:pt x="1600200" y="311658"/>
                  </a:cubicBezTo>
                  <a:cubicBezTo>
                    <a:pt x="1660398" y="261112"/>
                    <a:pt x="1694688" y="198882"/>
                    <a:pt x="1732788" y="160782"/>
                  </a:cubicBezTo>
                  <a:cubicBezTo>
                    <a:pt x="1770888" y="122682"/>
                    <a:pt x="1812798" y="108712"/>
                    <a:pt x="1828800" y="83058"/>
                  </a:cubicBezTo>
                  <a:cubicBezTo>
                    <a:pt x="1844802" y="57404"/>
                    <a:pt x="1849374" y="13716"/>
                    <a:pt x="1828800" y="6858"/>
                  </a:cubicBezTo>
                  <a:close/>
                </a:path>
              </a:pathLst>
            </a:custGeom>
            <a:solidFill>
              <a:srgbClr val="C0504D">
                <a:lumMod val="60000"/>
                <a:lumOff val="40000"/>
              </a:srgbClr>
            </a:solidFill>
            <a:ln w="25400" cap="flat" cmpd="sng" algn="ctr">
              <a:solidFill>
                <a:srgbClr val="C0504D">
                  <a:lumMod val="50000"/>
                  <a:alpha val="24000"/>
                </a:srgbClr>
              </a:solidFill>
              <a:prstDash val="solid"/>
            </a:ln>
            <a:effectLst/>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0" cap="none" spc="0" normalizeH="0" baseline="0" noProof="0" dirty="0">
                <a:ln>
                  <a:noFill/>
                </a:ln>
                <a:solidFill>
                  <a:prstClr val="white"/>
                </a:solidFill>
                <a:effectLst/>
                <a:uLnTx/>
                <a:uFillTx/>
                <a:latin typeface="News Gothic MT" panose="020B0503020103020203" pitchFamily="34" charset="0"/>
                <a:ea typeface="MS PGothic" charset="0"/>
                <a:cs typeface="+mn-cs"/>
              </a:endParaRPr>
            </a:p>
          </p:txBody>
        </p:sp>
        <p:sp>
          <p:nvSpPr>
            <p:cNvPr id="7" name="Freeform 202">
              <a:extLst>
                <a:ext uri="{FF2B5EF4-FFF2-40B4-BE49-F238E27FC236}">
                  <a16:creationId xmlns:a16="http://schemas.microsoft.com/office/drawing/2014/main" id="{E5327A9D-2CFC-4BD0-85B7-F0179880F682}"/>
                </a:ext>
              </a:extLst>
            </p:cNvPr>
            <p:cNvSpPr/>
            <p:nvPr/>
          </p:nvSpPr>
          <p:spPr>
            <a:xfrm>
              <a:off x="6046652" y="1743455"/>
              <a:ext cx="463296" cy="1248156"/>
            </a:xfrm>
            <a:custGeom>
              <a:avLst/>
              <a:gdLst>
                <a:gd name="connsiteX0" fmla="*/ 347472 w 347472"/>
                <a:gd name="connsiteY0" fmla="*/ 0 h 1248156"/>
                <a:gd name="connsiteX1" fmla="*/ 246888 w 347472"/>
                <a:gd name="connsiteY1" fmla="*/ 64008 h 1248156"/>
                <a:gd name="connsiteX2" fmla="*/ 109728 w 347472"/>
                <a:gd name="connsiteY2" fmla="*/ 338328 h 1248156"/>
                <a:gd name="connsiteX3" fmla="*/ 54864 w 347472"/>
                <a:gd name="connsiteY3" fmla="*/ 603504 h 1248156"/>
                <a:gd name="connsiteX4" fmla="*/ 64008 w 347472"/>
                <a:gd name="connsiteY4" fmla="*/ 923544 h 1248156"/>
                <a:gd name="connsiteX5" fmla="*/ 27432 w 347472"/>
                <a:gd name="connsiteY5" fmla="*/ 1051560 h 1248156"/>
                <a:gd name="connsiteX6" fmla="*/ 0 w 347472"/>
                <a:gd name="connsiteY6" fmla="*/ 1216152 h 1248156"/>
                <a:gd name="connsiteX7" fmla="*/ 27432 w 347472"/>
                <a:gd name="connsiteY7" fmla="*/ 1243584 h 1248156"/>
                <a:gd name="connsiteX8" fmla="*/ 54864 w 347472"/>
                <a:gd name="connsiteY8" fmla="*/ 1243584 h 1248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472" h="1248156">
                  <a:moveTo>
                    <a:pt x="347472" y="0"/>
                  </a:moveTo>
                  <a:cubicBezTo>
                    <a:pt x="316992" y="3810"/>
                    <a:pt x="286512" y="7620"/>
                    <a:pt x="246888" y="64008"/>
                  </a:cubicBezTo>
                  <a:cubicBezTo>
                    <a:pt x="207264" y="120396"/>
                    <a:pt x="141732" y="248412"/>
                    <a:pt x="109728" y="338328"/>
                  </a:cubicBezTo>
                  <a:cubicBezTo>
                    <a:pt x="77724" y="428244"/>
                    <a:pt x="62484" y="505968"/>
                    <a:pt x="54864" y="603504"/>
                  </a:cubicBezTo>
                  <a:cubicBezTo>
                    <a:pt x="47244" y="701040"/>
                    <a:pt x="68580" y="848868"/>
                    <a:pt x="64008" y="923544"/>
                  </a:cubicBezTo>
                  <a:cubicBezTo>
                    <a:pt x="59436" y="998220"/>
                    <a:pt x="38100" y="1002792"/>
                    <a:pt x="27432" y="1051560"/>
                  </a:cubicBezTo>
                  <a:cubicBezTo>
                    <a:pt x="16764" y="1100328"/>
                    <a:pt x="0" y="1184148"/>
                    <a:pt x="0" y="1216152"/>
                  </a:cubicBezTo>
                  <a:cubicBezTo>
                    <a:pt x="0" y="1248156"/>
                    <a:pt x="18288" y="1239012"/>
                    <a:pt x="27432" y="1243584"/>
                  </a:cubicBezTo>
                  <a:cubicBezTo>
                    <a:pt x="36576" y="1248156"/>
                    <a:pt x="45720" y="1245870"/>
                    <a:pt x="54864" y="1243584"/>
                  </a:cubicBezTo>
                </a:path>
              </a:pathLst>
            </a:custGeom>
            <a:noFill/>
            <a:ln w="3175" cap="flat" cmpd="sng" algn="ctr">
              <a:solidFill>
                <a:srgbClr val="C0504D">
                  <a:lumMod val="60000"/>
                  <a:lumOff val="40000"/>
                </a:srgbClr>
              </a:solidFill>
              <a:prstDash val="solid"/>
            </a:ln>
            <a:effectLst>
              <a:outerShdw blurRad="152400" dist="317500" dir="5400000" sx="90000" sy="-19000" rotWithShape="0">
                <a:prstClr val="black">
                  <a:alpha val="15000"/>
                </a:prstClr>
              </a:outerShdw>
            </a:effectLst>
            <a:scene3d>
              <a:camera prst="orthographicFront"/>
              <a:lightRig rig="morning" dir="t"/>
            </a:scene3d>
            <a:sp3d extrusionH="146050">
              <a:bevelB w="165100" prst="coolSlant"/>
              <a:extrusionClr>
                <a:sysClr val="windowText" lastClr="000000"/>
              </a:extrusionClr>
            </a:sp3d>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0" cap="none" spc="0" normalizeH="0" baseline="0" noProof="0" dirty="0">
                <a:ln>
                  <a:noFill/>
                </a:ln>
                <a:solidFill>
                  <a:prstClr val="black"/>
                </a:solidFill>
                <a:effectLst/>
                <a:uLnTx/>
                <a:uFillTx/>
                <a:latin typeface="News Gothic MT" panose="020B0503020103020203" pitchFamily="34" charset="0"/>
                <a:ea typeface="MS PGothic" charset="0"/>
                <a:cs typeface="+mn-cs"/>
              </a:endParaRPr>
            </a:p>
          </p:txBody>
        </p:sp>
        <p:sp>
          <p:nvSpPr>
            <p:cNvPr id="8" name="Freeform 203">
              <a:extLst>
                <a:ext uri="{FF2B5EF4-FFF2-40B4-BE49-F238E27FC236}">
                  <a16:creationId xmlns:a16="http://schemas.microsoft.com/office/drawing/2014/main" id="{6CC6B6CD-22C0-48BE-91C8-1B190EF7B528}"/>
                </a:ext>
              </a:extLst>
            </p:cNvPr>
            <p:cNvSpPr/>
            <p:nvPr/>
          </p:nvSpPr>
          <p:spPr>
            <a:xfrm>
              <a:off x="4439340" y="2959099"/>
              <a:ext cx="2254165" cy="1425448"/>
            </a:xfrm>
            <a:custGeom>
              <a:avLst/>
              <a:gdLst>
                <a:gd name="connsiteX0" fmla="*/ 102108 w 1725168"/>
                <a:gd name="connsiteY0" fmla="*/ 1431036 h 1456944"/>
                <a:gd name="connsiteX1" fmla="*/ 303276 w 1725168"/>
                <a:gd name="connsiteY1" fmla="*/ 1193292 h 1456944"/>
                <a:gd name="connsiteX2" fmla="*/ 339852 w 1725168"/>
                <a:gd name="connsiteY2" fmla="*/ 1129284 h 1456944"/>
                <a:gd name="connsiteX3" fmla="*/ 458724 w 1725168"/>
                <a:gd name="connsiteY3" fmla="*/ 1056132 h 1456944"/>
                <a:gd name="connsiteX4" fmla="*/ 577596 w 1725168"/>
                <a:gd name="connsiteY4" fmla="*/ 873252 h 1456944"/>
                <a:gd name="connsiteX5" fmla="*/ 696468 w 1725168"/>
                <a:gd name="connsiteY5" fmla="*/ 745236 h 1456944"/>
                <a:gd name="connsiteX6" fmla="*/ 751332 w 1725168"/>
                <a:gd name="connsiteY6" fmla="*/ 672084 h 1456944"/>
                <a:gd name="connsiteX7" fmla="*/ 943356 w 1725168"/>
                <a:gd name="connsiteY7" fmla="*/ 580644 h 1456944"/>
                <a:gd name="connsiteX8" fmla="*/ 1062228 w 1725168"/>
                <a:gd name="connsiteY8" fmla="*/ 553212 h 1456944"/>
                <a:gd name="connsiteX9" fmla="*/ 1208532 w 1725168"/>
                <a:gd name="connsiteY9" fmla="*/ 489204 h 1456944"/>
                <a:gd name="connsiteX10" fmla="*/ 1373124 w 1725168"/>
                <a:gd name="connsiteY10" fmla="*/ 306324 h 1456944"/>
                <a:gd name="connsiteX11" fmla="*/ 1473708 w 1725168"/>
                <a:gd name="connsiteY11" fmla="*/ 187452 h 1456944"/>
                <a:gd name="connsiteX12" fmla="*/ 1647444 w 1725168"/>
                <a:gd name="connsiteY12" fmla="*/ 114300 h 1456944"/>
                <a:gd name="connsiteX13" fmla="*/ 1702308 w 1725168"/>
                <a:gd name="connsiteY13" fmla="*/ 4572 h 1456944"/>
                <a:gd name="connsiteX14" fmla="*/ 1510284 w 1725168"/>
                <a:gd name="connsiteY14" fmla="*/ 86868 h 1456944"/>
                <a:gd name="connsiteX15" fmla="*/ 1363980 w 1725168"/>
                <a:gd name="connsiteY15" fmla="*/ 86868 h 1456944"/>
                <a:gd name="connsiteX16" fmla="*/ 1245108 w 1725168"/>
                <a:gd name="connsiteY16" fmla="*/ 50292 h 1456944"/>
                <a:gd name="connsiteX17" fmla="*/ 979932 w 1725168"/>
                <a:gd name="connsiteY17" fmla="*/ 59436 h 1456944"/>
                <a:gd name="connsiteX18" fmla="*/ 778764 w 1725168"/>
                <a:gd name="connsiteY18" fmla="*/ 150876 h 1456944"/>
                <a:gd name="connsiteX19" fmla="*/ 659892 w 1725168"/>
                <a:gd name="connsiteY19" fmla="*/ 333756 h 1456944"/>
                <a:gd name="connsiteX20" fmla="*/ 623316 w 1725168"/>
                <a:gd name="connsiteY20" fmla="*/ 342900 h 1456944"/>
                <a:gd name="connsiteX21" fmla="*/ 321564 w 1725168"/>
                <a:gd name="connsiteY21" fmla="*/ 498348 h 1456944"/>
                <a:gd name="connsiteX22" fmla="*/ 65532 w 1725168"/>
                <a:gd name="connsiteY22" fmla="*/ 726948 h 1456944"/>
                <a:gd name="connsiteX23" fmla="*/ 38100 w 1725168"/>
                <a:gd name="connsiteY23" fmla="*/ 937260 h 1456944"/>
                <a:gd name="connsiteX24" fmla="*/ 1524 w 1725168"/>
                <a:gd name="connsiteY24" fmla="*/ 1156716 h 1456944"/>
                <a:gd name="connsiteX25" fmla="*/ 28956 w 1725168"/>
                <a:gd name="connsiteY25" fmla="*/ 1348740 h 1456944"/>
                <a:gd name="connsiteX26" fmla="*/ 102108 w 1725168"/>
                <a:gd name="connsiteY26" fmla="*/ 1431036 h 1456944"/>
                <a:gd name="connsiteX0" fmla="*/ 102108 w 1725168"/>
                <a:gd name="connsiteY0" fmla="*/ 1431036 h 1456944"/>
                <a:gd name="connsiteX1" fmla="*/ 303276 w 1725168"/>
                <a:gd name="connsiteY1" fmla="*/ 1193292 h 1456944"/>
                <a:gd name="connsiteX2" fmla="*/ 339852 w 1725168"/>
                <a:gd name="connsiteY2" fmla="*/ 1129284 h 1456944"/>
                <a:gd name="connsiteX3" fmla="*/ 458724 w 1725168"/>
                <a:gd name="connsiteY3" fmla="*/ 1056132 h 1456944"/>
                <a:gd name="connsiteX4" fmla="*/ 577596 w 1725168"/>
                <a:gd name="connsiteY4" fmla="*/ 873252 h 1456944"/>
                <a:gd name="connsiteX5" fmla="*/ 696468 w 1725168"/>
                <a:gd name="connsiteY5" fmla="*/ 745236 h 1456944"/>
                <a:gd name="connsiteX6" fmla="*/ 751332 w 1725168"/>
                <a:gd name="connsiteY6" fmla="*/ 672084 h 1456944"/>
                <a:gd name="connsiteX7" fmla="*/ 943356 w 1725168"/>
                <a:gd name="connsiteY7" fmla="*/ 580644 h 1456944"/>
                <a:gd name="connsiteX8" fmla="*/ 1062228 w 1725168"/>
                <a:gd name="connsiteY8" fmla="*/ 553212 h 1456944"/>
                <a:gd name="connsiteX9" fmla="*/ 1208532 w 1725168"/>
                <a:gd name="connsiteY9" fmla="*/ 489204 h 1456944"/>
                <a:gd name="connsiteX10" fmla="*/ 1373124 w 1725168"/>
                <a:gd name="connsiteY10" fmla="*/ 306324 h 1456944"/>
                <a:gd name="connsiteX11" fmla="*/ 1473708 w 1725168"/>
                <a:gd name="connsiteY11" fmla="*/ 187452 h 1456944"/>
                <a:gd name="connsiteX12" fmla="*/ 1647444 w 1725168"/>
                <a:gd name="connsiteY12" fmla="*/ 114300 h 1456944"/>
                <a:gd name="connsiteX13" fmla="*/ 1702308 w 1725168"/>
                <a:gd name="connsiteY13" fmla="*/ 4572 h 1456944"/>
                <a:gd name="connsiteX14" fmla="*/ 1510284 w 1725168"/>
                <a:gd name="connsiteY14" fmla="*/ 86868 h 1456944"/>
                <a:gd name="connsiteX15" fmla="*/ 1363980 w 1725168"/>
                <a:gd name="connsiteY15" fmla="*/ 86868 h 1456944"/>
                <a:gd name="connsiteX16" fmla="*/ 1245108 w 1725168"/>
                <a:gd name="connsiteY16" fmla="*/ 50292 h 1456944"/>
                <a:gd name="connsiteX17" fmla="*/ 979932 w 1725168"/>
                <a:gd name="connsiteY17" fmla="*/ 59436 h 1456944"/>
                <a:gd name="connsiteX18" fmla="*/ 778764 w 1725168"/>
                <a:gd name="connsiteY18" fmla="*/ 150876 h 1456944"/>
                <a:gd name="connsiteX19" fmla="*/ 659892 w 1725168"/>
                <a:gd name="connsiteY19" fmla="*/ 333756 h 1456944"/>
                <a:gd name="connsiteX20" fmla="*/ 623316 w 1725168"/>
                <a:gd name="connsiteY20" fmla="*/ 342900 h 1456944"/>
                <a:gd name="connsiteX21" fmla="*/ 321564 w 1725168"/>
                <a:gd name="connsiteY21" fmla="*/ 498348 h 1456944"/>
                <a:gd name="connsiteX22" fmla="*/ 224028 w 1725168"/>
                <a:gd name="connsiteY22" fmla="*/ 729996 h 1456944"/>
                <a:gd name="connsiteX23" fmla="*/ 38100 w 1725168"/>
                <a:gd name="connsiteY23" fmla="*/ 937260 h 1456944"/>
                <a:gd name="connsiteX24" fmla="*/ 1524 w 1725168"/>
                <a:gd name="connsiteY24" fmla="*/ 1156716 h 1456944"/>
                <a:gd name="connsiteX25" fmla="*/ 28956 w 1725168"/>
                <a:gd name="connsiteY25" fmla="*/ 1348740 h 1456944"/>
                <a:gd name="connsiteX26" fmla="*/ 102108 w 1725168"/>
                <a:gd name="connsiteY26" fmla="*/ 1431036 h 1456944"/>
                <a:gd name="connsiteX0" fmla="*/ 102108 w 1725168"/>
                <a:gd name="connsiteY0" fmla="*/ 1431036 h 1456944"/>
                <a:gd name="connsiteX1" fmla="*/ 303276 w 1725168"/>
                <a:gd name="connsiteY1" fmla="*/ 1193292 h 1456944"/>
                <a:gd name="connsiteX2" fmla="*/ 339852 w 1725168"/>
                <a:gd name="connsiteY2" fmla="*/ 1129284 h 1456944"/>
                <a:gd name="connsiteX3" fmla="*/ 458724 w 1725168"/>
                <a:gd name="connsiteY3" fmla="*/ 1056132 h 1456944"/>
                <a:gd name="connsiteX4" fmla="*/ 577596 w 1725168"/>
                <a:gd name="connsiteY4" fmla="*/ 873252 h 1456944"/>
                <a:gd name="connsiteX5" fmla="*/ 696468 w 1725168"/>
                <a:gd name="connsiteY5" fmla="*/ 745236 h 1456944"/>
                <a:gd name="connsiteX6" fmla="*/ 751332 w 1725168"/>
                <a:gd name="connsiteY6" fmla="*/ 672084 h 1456944"/>
                <a:gd name="connsiteX7" fmla="*/ 943356 w 1725168"/>
                <a:gd name="connsiteY7" fmla="*/ 580644 h 1456944"/>
                <a:gd name="connsiteX8" fmla="*/ 1062228 w 1725168"/>
                <a:gd name="connsiteY8" fmla="*/ 553212 h 1456944"/>
                <a:gd name="connsiteX9" fmla="*/ 1208532 w 1725168"/>
                <a:gd name="connsiteY9" fmla="*/ 489204 h 1456944"/>
                <a:gd name="connsiteX10" fmla="*/ 1373124 w 1725168"/>
                <a:gd name="connsiteY10" fmla="*/ 306324 h 1456944"/>
                <a:gd name="connsiteX11" fmla="*/ 1473708 w 1725168"/>
                <a:gd name="connsiteY11" fmla="*/ 187452 h 1456944"/>
                <a:gd name="connsiteX12" fmla="*/ 1647444 w 1725168"/>
                <a:gd name="connsiteY12" fmla="*/ 114300 h 1456944"/>
                <a:gd name="connsiteX13" fmla="*/ 1702308 w 1725168"/>
                <a:gd name="connsiteY13" fmla="*/ 4572 h 1456944"/>
                <a:gd name="connsiteX14" fmla="*/ 1510284 w 1725168"/>
                <a:gd name="connsiteY14" fmla="*/ 86868 h 1456944"/>
                <a:gd name="connsiteX15" fmla="*/ 1363980 w 1725168"/>
                <a:gd name="connsiteY15" fmla="*/ 86868 h 1456944"/>
                <a:gd name="connsiteX16" fmla="*/ 1245108 w 1725168"/>
                <a:gd name="connsiteY16" fmla="*/ 50292 h 1456944"/>
                <a:gd name="connsiteX17" fmla="*/ 979932 w 1725168"/>
                <a:gd name="connsiteY17" fmla="*/ 59436 h 1456944"/>
                <a:gd name="connsiteX18" fmla="*/ 778764 w 1725168"/>
                <a:gd name="connsiteY18" fmla="*/ 150876 h 1456944"/>
                <a:gd name="connsiteX19" fmla="*/ 659892 w 1725168"/>
                <a:gd name="connsiteY19" fmla="*/ 333756 h 1456944"/>
                <a:gd name="connsiteX20" fmla="*/ 623316 w 1725168"/>
                <a:gd name="connsiteY20" fmla="*/ 342900 h 1456944"/>
                <a:gd name="connsiteX21" fmla="*/ 300228 w 1725168"/>
                <a:gd name="connsiteY21" fmla="*/ 425196 h 1456944"/>
                <a:gd name="connsiteX22" fmla="*/ 224028 w 1725168"/>
                <a:gd name="connsiteY22" fmla="*/ 729996 h 1456944"/>
                <a:gd name="connsiteX23" fmla="*/ 38100 w 1725168"/>
                <a:gd name="connsiteY23" fmla="*/ 937260 h 1456944"/>
                <a:gd name="connsiteX24" fmla="*/ 1524 w 1725168"/>
                <a:gd name="connsiteY24" fmla="*/ 1156716 h 1456944"/>
                <a:gd name="connsiteX25" fmla="*/ 28956 w 1725168"/>
                <a:gd name="connsiteY25" fmla="*/ 1348740 h 1456944"/>
                <a:gd name="connsiteX26" fmla="*/ 102108 w 1725168"/>
                <a:gd name="connsiteY26" fmla="*/ 1431036 h 1456944"/>
                <a:gd name="connsiteX0" fmla="*/ 102108 w 1725168"/>
                <a:gd name="connsiteY0" fmla="*/ 1431036 h 1456944"/>
                <a:gd name="connsiteX1" fmla="*/ 303276 w 1725168"/>
                <a:gd name="connsiteY1" fmla="*/ 1193292 h 1456944"/>
                <a:gd name="connsiteX2" fmla="*/ 339852 w 1725168"/>
                <a:gd name="connsiteY2" fmla="*/ 1129284 h 1456944"/>
                <a:gd name="connsiteX3" fmla="*/ 458724 w 1725168"/>
                <a:gd name="connsiteY3" fmla="*/ 1056132 h 1456944"/>
                <a:gd name="connsiteX4" fmla="*/ 577596 w 1725168"/>
                <a:gd name="connsiteY4" fmla="*/ 873252 h 1456944"/>
                <a:gd name="connsiteX5" fmla="*/ 696468 w 1725168"/>
                <a:gd name="connsiteY5" fmla="*/ 745236 h 1456944"/>
                <a:gd name="connsiteX6" fmla="*/ 751332 w 1725168"/>
                <a:gd name="connsiteY6" fmla="*/ 672084 h 1456944"/>
                <a:gd name="connsiteX7" fmla="*/ 943356 w 1725168"/>
                <a:gd name="connsiteY7" fmla="*/ 580644 h 1456944"/>
                <a:gd name="connsiteX8" fmla="*/ 1062228 w 1725168"/>
                <a:gd name="connsiteY8" fmla="*/ 553212 h 1456944"/>
                <a:gd name="connsiteX9" fmla="*/ 1208532 w 1725168"/>
                <a:gd name="connsiteY9" fmla="*/ 489204 h 1456944"/>
                <a:gd name="connsiteX10" fmla="*/ 1373124 w 1725168"/>
                <a:gd name="connsiteY10" fmla="*/ 306324 h 1456944"/>
                <a:gd name="connsiteX11" fmla="*/ 1473708 w 1725168"/>
                <a:gd name="connsiteY11" fmla="*/ 187452 h 1456944"/>
                <a:gd name="connsiteX12" fmla="*/ 1647444 w 1725168"/>
                <a:gd name="connsiteY12" fmla="*/ 114300 h 1456944"/>
                <a:gd name="connsiteX13" fmla="*/ 1702308 w 1725168"/>
                <a:gd name="connsiteY13" fmla="*/ 4572 h 1456944"/>
                <a:gd name="connsiteX14" fmla="*/ 1510284 w 1725168"/>
                <a:gd name="connsiteY14" fmla="*/ 86868 h 1456944"/>
                <a:gd name="connsiteX15" fmla="*/ 1363980 w 1725168"/>
                <a:gd name="connsiteY15" fmla="*/ 86868 h 1456944"/>
                <a:gd name="connsiteX16" fmla="*/ 1245108 w 1725168"/>
                <a:gd name="connsiteY16" fmla="*/ 50292 h 1456944"/>
                <a:gd name="connsiteX17" fmla="*/ 979932 w 1725168"/>
                <a:gd name="connsiteY17" fmla="*/ 59436 h 1456944"/>
                <a:gd name="connsiteX18" fmla="*/ 778764 w 1725168"/>
                <a:gd name="connsiteY18" fmla="*/ 150876 h 1456944"/>
                <a:gd name="connsiteX19" fmla="*/ 659892 w 1725168"/>
                <a:gd name="connsiteY19" fmla="*/ 333756 h 1456944"/>
                <a:gd name="connsiteX20" fmla="*/ 605028 w 1725168"/>
                <a:gd name="connsiteY20" fmla="*/ 272796 h 1456944"/>
                <a:gd name="connsiteX21" fmla="*/ 300228 w 1725168"/>
                <a:gd name="connsiteY21" fmla="*/ 425196 h 1456944"/>
                <a:gd name="connsiteX22" fmla="*/ 224028 w 1725168"/>
                <a:gd name="connsiteY22" fmla="*/ 729996 h 1456944"/>
                <a:gd name="connsiteX23" fmla="*/ 38100 w 1725168"/>
                <a:gd name="connsiteY23" fmla="*/ 937260 h 1456944"/>
                <a:gd name="connsiteX24" fmla="*/ 1524 w 1725168"/>
                <a:gd name="connsiteY24" fmla="*/ 1156716 h 1456944"/>
                <a:gd name="connsiteX25" fmla="*/ 28956 w 1725168"/>
                <a:gd name="connsiteY25" fmla="*/ 1348740 h 1456944"/>
                <a:gd name="connsiteX26" fmla="*/ 102108 w 1725168"/>
                <a:gd name="connsiteY26" fmla="*/ 1431036 h 1456944"/>
                <a:gd name="connsiteX0" fmla="*/ 102108 w 1725168"/>
                <a:gd name="connsiteY0" fmla="*/ 1431036 h 1456944"/>
                <a:gd name="connsiteX1" fmla="*/ 303276 w 1725168"/>
                <a:gd name="connsiteY1" fmla="*/ 1193292 h 1456944"/>
                <a:gd name="connsiteX2" fmla="*/ 339852 w 1725168"/>
                <a:gd name="connsiteY2" fmla="*/ 1129284 h 1456944"/>
                <a:gd name="connsiteX3" fmla="*/ 458724 w 1725168"/>
                <a:gd name="connsiteY3" fmla="*/ 1056132 h 1456944"/>
                <a:gd name="connsiteX4" fmla="*/ 577596 w 1725168"/>
                <a:gd name="connsiteY4" fmla="*/ 873252 h 1456944"/>
                <a:gd name="connsiteX5" fmla="*/ 696468 w 1725168"/>
                <a:gd name="connsiteY5" fmla="*/ 745236 h 1456944"/>
                <a:gd name="connsiteX6" fmla="*/ 751332 w 1725168"/>
                <a:gd name="connsiteY6" fmla="*/ 672084 h 1456944"/>
                <a:gd name="connsiteX7" fmla="*/ 943356 w 1725168"/>
                <a:gd name="connsiteY7" fmla="*/ 580644 h 1456944"/>
                <a:gd name="connsiteX8" fmla="*/ 1062228 w 1725168"/>
                <a:gd name="connsiteY8" fmla="*/ 553212 h 1456944"/>
                <a:gd name="connsiteX9" fmla="*/ 1208532 w 1725168"/>
                <a:gd name="connsiteY9" fmla="*/ 489204 h 1456944"/>
                <a:gd name="connsiteX10" fmla="*/ 1373124 w 1725168"/>
                <a:gd name="connsiteY10" fmla="*/ 306324 h 1456944"/>
                <a:gd name="connsiteX11" fmla="*/ 1473708 w 1725168"/>
                <a:gd name="connsiteY11" fmla="*/ 187452 h 1456944"/>
                <a:gd name="connsiteX12" fmla="*/ 1647444 w 1725168"/>
                <a:gd name="connsiteY12" fmla="*/ 114300 h 1456944"/>
                <a:gd name="connsiteX13" fmla="*/ 1702308 w 1725168"/>
                <a:gd name="connsiteY13" fmla="*/ 4572 h 1456944"/>
                <a:gd name="connsiteX14" fmla="*/ 1510284 w 1725168"/>
                <a:gd name="connsiteY14" fmla="*/ 86868 h 1456944"/>
                <a:gd name="connsiteX15" fmla="*/ 1363980 w 1725168"/>
                <a:gd name="connsiteY15" fmla="*/ 86868 h 1456944"/>
                <a:gd name="connsiteX16" fmla="*/ 1245108 w 1725168"/>
                <a:gd name="connsiteY16" fmla="*/ 50292 h 1456944"/>
                <a:gd name="connsiteX17" fmla="*/ 979932 w 1725168"/>
                <a:gd name="connsiteY17" fmla="*/ 59436 h 1456944"/>
                <a:gd name="connsiteX18" fmla="*/ 778764 w 1725168"/>
                <a:gd name="connsiteY18" fmla="*/ 150876 h 1456944"/>
                <a:gd name="connsiteX19" fmla="*/ 681228 w 1725168"/>
                <a:gd name="connsiteY19" fmla="*/ 196596 h 1456944"/>
                <a:gd name="connsiteX20" fmla="*/ 605028 w 1725168"/>
                <a:gd name="connsiteY20" fmla="*/ 272796 h 1456944"/>
                <a:gd name="connsiteX21" fmla="*/ 300228 w 1725168"/>
                <a:gd name="connsiteY21" fmla="*/ 425196 h 1456944"/>
                <a:gd name="connsiteX22" fmla="*/ 224028 w 1725168"/>
                <a:gd name="connsiteY22" fmla="*/ 729996 h 1456944"/>
                <a:gd name="connsiteX23" fmla="*/ 38100 w 1725168"/>
                <a:gd name="connsiteY23" fmla="*/ 937260 h 1456944"/>
                <a:gd name="connsiteX24" fmla="*/ 1524 w 1725168"/>
                <a:gd name="connsiteY24" fmla="*/ 1156716 h 1456944"/>
                <a:gd name="connsiteX25" fmla="*/ 28956 w 1725168"/>
                <a:gd name="connsiteY25" fmla="*/ 1348740 h 1456944"/>
                <a:gd name="connsiteX26" fmla="*/ 102108 w 1725168"/>
                <a:gd name="connsiteY26" fmla="*/ 1431036 h 1456944"/>
                <a:gd name="connsiteX0" fmla="*/ 102108 w 1725168"/>
                <a:gd name="connsiteY0" fmla="*/ 1431036 h 1456944"/>
                <a:gd name="connsiteX1" fmla="*/ 303276 w 1725168"/>
                <a:gd name="connsiteY1" fmla="*/ 1193292 h 1456944"/>
                <a:gd name="connsiteX2" fmla="*/ 339852 w 1725168"/>
                <a:gd name="connsiteY2" fmla="*/ 1129284 h 1456944"/>
                <a:gd name="connsiteX3" fmla="*/ 458724 w 1725168"/>
                <a:gd name="connsiteY3" fmla="*/ 1056132 h 1456944"/>
                <a:gd name="connsiteX4" fmla="*/ 577596 w 1725168"/>
                <a:gd name="connsiteY4" fmla="*/ 873252 h 1456944"/>
                <a:gd name="connsiteX5" fmla="*/ 696468 w 1725168"/>
                <a:gd name="connsiteY5" fmla="*/ 745236 h 1456944"/>
                <a:gd name="connsiteX6" fmla="*/ 751332 w 1725168"/>
                <a:gd name="connsiteY6" fmla="*/ 672084 h 1456944"/>
                <a:gd name="connsiteX7" fmla="*/ 943356 w 1725168"/>
                <a:gd name="connsiteY7" fmla="*/ 580644 h 1456944"/>
                <a:gd name="connsiteX8" fmla="*/ 1062228 w 1725168"/>
                <a:gd name="connsiteY8" fmla="*/ 553212 h 1456944"/>
                <a:gd name="connsiteX9" fmla="*/ 1208532 w 1725168"/>
                <a:gd name="connsiteY9" fmla="*/ 489204 h 1456944"/>
                <a:gd name="connsiteX10" fmla="*/ 1373124 w 1725168"/>
                <a:gd name="connsiteY10" fmla="*/ 306324 h 1456944"/>
                <a:gd name="connsiteX11" fmla="*/ 1473708 w 1725168"/>
                <a:gd name="connsiteY11" fmla="*/ 187452 h 1456944"/>
                <a:gd name="connsiteX12" fmla="*/ 1647444 w 1725168"/>
                <a:gd name="connsiteY12" fmla="*/ 114300 h 1456944"/>
                <a:gd name="connsiteX13" fmla="*/ 1702308 w 1725168"/>
                <a:gd name="connsiteY13" fmla="*/ 4572 h 1456944"/>
                <a:gd name="connsiteX14" fmla="*/ 1510284 w 1725168"/>
                <a:gd name="connsiteY14" fmla="*/ 86868 h 1456944"/>
                <a:gd name="connsiteX15" fmla="*/ 1363980 w 1725168"/>
                <a:gd name="connsiteY15" fmla="*/ 86868 h 1456944"/>
                <a:gd name="connsiteX16" fmla="*/ 1245108 w 1725168"/>
                <a:gd name="connsiteY16" fmla="*/ 50292 h 1456944"/>
                <a:gd name="connsiteX17" fmla="*/ 979932 w 1725168"/>
                <a:gd name="connsiteY17" fmla="*/ 59436 h 1456944"/>
                <a:gd name="connsiteX18" fmla="*/ 778764 w 1725168"/>
                <a:gd name="connsiteY18" fmla="*/ 150876 h 1456944"/>
                <a:gd name="connsiteX19" fmla="*/ 681228 w 1725168"/>
                <a:gd name="connsiteY19" fmla="*/ 196596 h 1456944"/>
                <a:gd name="connsiteX20" fmla="*/ 605028 w 1725168"/>
                <a:gd name="connsiteY20" fmla="*/ 272796 h 1456944"/>
                <a:gd name="connsiteX21" fmla="*/ 376428 w 1725168"/>
                <a:gd name="connsiteY21" fmla="*/ 425196 h 1456944"/>
                <a:gd name="connsiteX22" fmla="*/ 224028 w 1725168"/>
                <a:gd name="connsiteY22" fmla="*/ 729996 h 1456944"/>
                <a:gd name="connsiteX23" fmla="*/ 38100 w 1725168"/>
                <a:gd name="connsiteY23" fmla="*/ 937260 h 1456944"/>
                <a:gd name="connsiteX24" fmla="*/ 1524 w 1725168"/>
                <a:gd name="connsiteY24" fmla="*/ 1156716 h 1456944"/>
                <a:gd name="connsiteX25" fmla="*/ 28956 w 1725168"/>
                <a:gd name="connsiteY25" fmla="*/ 1348740 h 1456944"/>
                <a:gd name="connsiteX26" fmla="*/ 102108 w 1725168"/>
                <a:gd name="connsiteY26" fmla="*/ 1431036 h 1456944"/>
                <a:gd name="connsiteX0" fmla="*/ 102108 w 1725168"/>
                <a:gd name="connsiteY0" fmla="*/ 1431036 h 1456944"/>
                <a:gd name="connsiteX1" fmla="*/ 303276 w 1725168"/>
                <a:gd name="connsiteY1" fmla="*/ 1193292 h 1456944"/>
                <a:gd name="connsiteX2" fmla="*/ 339852 w 1725168"/>
                <a:gd name="connsiteY2" fmla="*/ 1129284 h 1456944"/>
                <a:gd name="connsiteX3" fmla="*/ 458724 w 1725168"/>
                <a:gd name="connsiteY3" fmla="*/ 1056132 h 1456944"/>
                <a:gd name="connsiteX4" fmla="*/ 577596 w 1725168"/>
                <a:gd name="connsiteY4" fmla="*/ 873252 h 1456944"/>
                <a:gd name="connsiteX5" fmla="*/ 696468 w 1725168"/>
                <a:gd name="connsiteY5" fmla="*/ 745236 h 1456944"/>
                <a:gd name="connsiteX6" fmla="*/ 751332 w 1725168"/>
                <a:gd name="connsiteY6" fmla="*/ 672084 h 1456944"/>
                <a:gd name="connsiteX7" fmla="*/ 943356 w 1725168"/>
                <a:gd name="connsiteY7" fmla="*/ 580644 h 1456944"/>
                <a:gd name="connsiteX8" fmla="*/ 1062228 w 1725168"/>
                <a:gd name="connsiteY8" fmla="*/ 553212 h 1456944"/>
                <a:gd name="connsiteX9" fmla="*/ 1208532 w 1725168"/>
                <a:gd name="connsiteY9" fmla="*/ 489204 h 1456944"/>
                <a:gd name="connsiteX10" fmla="*/ 1373124 w 1725168"/>
                <a:gd name="connsiteY10" fmla="*/ 306324 h 1456944"/>
                <a:gd name="connsiteX11" fmla="*/ 1473708 w 1725168"/>
                <a:gd name="connsiteY11" fmla="*/ 187452 h 1456944"/>
                <a:gd name="connsiteX12" fmla="*/ 1647444 w 1725168"/>
                <a:gd name="connsiteY12" fmla="*/ 114300 h 1456944"/>
                <a:gd name="connsiteX13" fmla="*/ 1702308 w 1725168"/>
                <a:gd name="connsiteY13" fmla="*/ 4572 h 1456944"/>
                <a:gd name="connsiteX14" fmla="*/ 1510284 w 1725168"/>
                <a:gd name="connsiteY14" fmla="*/ 86868 h 1456944"/>
                <a:gd name="connsiteX15" fmla="*/ 1363980 w 1725168"/>
                <a:gd name="connsiteY15" fmla="*/ 86868 h 1456944"/>
                <a:gd name="connsiteX16" fmla="*/ 1245108 w 1725168"/>
                <a:gd name="connsiteY16" fmla="*/ 50292 h 1456944"/>
                <a:gd name="connsiteX17" fmla="*/ 979932 w 1725168"/>
                <a:gd name="connsiteY17" fmla="*/ 59436 h 1456944"/>
                <a:gd name="connsiteX18" fmla="*/ 778764 w 1725168"/>
                <a:gd name="connsiteY18" fmla="*/ 150876 h 1456944"/>
                <a:gd name="connsiteX19" fmla="*/ 757428 w 1725168"/>
                <a:gd name="connsiteY19" fmla="*/ 196596 h 1456944"/>
                <a:gd name="connsiteX20" fmla="*/ 605028 w 1725168"/>
                <a:gd name="connsiteY20" fmla="*/ 272796 h 1456944"/>
                <a:gd name="connsiteX21" fmla="*/ 376428 w 1725168"/>
                <a:gd name="connsiteY21" fmla="*/ 425196 h 1456944"/>
                <a:gd name="connsiteX22" fmla="*/ 224028 w 1725168"/>
                <a:gd name="connsiteY22" fmla="*/ 729996 h 1456944"/>
                <a:gd name="connsiteX23" fmla="*/ 38100 w 1725168"/>
                <a:gd name="connsiteY23" fmla="*/ 937260 h 1456944"/>
                <a:gd name="connsiteX24" fmla="*/ 1524 w 1725168"/>
                <a:gd name="connsiteY24" fmla="*/ 1156716 h 1456944"/>
                <a:gd name="connsiteX25" fmla="*/ 28956 w 1725168"/>
                <a:gd name="connsiteY25" fmla="*/ 1348740 h 1456944"/>
                <a:gd name="connsiteX26" fmla="*/ 102108 w 1725168"/>
                <a:gd name="connsiteY26" fmla="*/ 1431036 h 1456944"/>
                <a:gd name="connsiteX0" fmla="*/ 108204 w 1731264"/>
                <a:gd name="connsiteY0" fmla="*/ 1431036 h 1456944"/>
                <a:gd name="connsiteX1" fmla="*/ 309372 w 1731264"/>
                <a:gd name="connsiteY1" fmla="*/ 1193292 h 1456944"/>
                <a:gd name="connsiteX2" fmla="*/ 345948 w 1731264"/>
                <a:gd name="connsiteY2" fmla="*/ 1129284 h 1456944"/>
                <a:gd name="connsiteX3" fmla="*/ 464820 w 1731264"/>
                <a:gd name="connsiteY3" fmla="*/ 1056132 h 1456944"/>
                <a:gd name="connsiteX4" fmla="*/ 583692 w 1731264"/>
                <a:gd name="connsiteY4" fmla="*/ 873252 h 1456944"/>
                <a:gd name="connsiteX5" fmla="*/ 702564 w 1731264"/>
                <a:gd name="connsiteY5" fmla="*/ 745236 h 1456944"/>
                <a:gd name="connsiteX6" fmla="*/ 757428 w 1731264"/>
                <a:gd name="connsiteY6" fmla="*/ 672084 h 1456944"/>
                <a:gd name="connsiteX7" fmla="*/ 949452 w 1731264"/>
                <a:gd name="connsiteY7" fmla="*/ 580644 h 1456944"/>
                <a:gd name="connsiteX8" fmla="*/ 1068324 w 1731264"/>
                <a:gd name="connsiteY8" fmla="*/ 553212 h 1456944"/>
                <a:gd name="connsiteX9" fmla="*/ 1214628 w 1731264"/>
                <a:gd name="connsiteY9" fmla="*/ 489204 h 1456944"/>
                <a:gd name="connsiteX10" fmla="*/ 1379220 w 1731264"/>
                <a:gd name="connsiteY10" fmla="*/ 306324 h 1456944"/>
                <a:gd name="connsiteX11" fmla="*/ 1479804 w 1731264"/>
                <a:gd name="connsiteY11" fmla="*/ 187452 h 1456944"/>
                <a:gd name="connsiteX12" fmla="*/ 1653540 w 1731264"/>
                <a:gd name="connsiteY12" fmla="*/ 114300 h 1456944"/>
                <a:gd name="connsiteX13" fmla="*/ 1708404 w 1731264"/>
                <a:gd name="connsiteY13" fmla="*/ 4572 h 1456944"/>
                <a:gd name="connsiteX14" fmla="*/ 1516380 w 1731264"/>
                <a:gd name="connsiteY14" fmla="*/ 86868 h 1456944"/>
                <a:gd name="connsiteX15" fmla="*/ 1370076 w 1731264"/>
                <a:gd name="connsiteY15" fmla="*/ 86868 h 1456944"/>
                <a:gd name="connsiteX16" fmla="*/ 1251204 w 1731264"/>
                <a:gd name="connsiteY16" fmla="*/ 50292 h 1456944"/>
                <a:gd name="connsiteX17" fmla="*/ 986028 w 1731264"/>
                <a:gd name="connsiteY17" fmla="*/ 59436 h 1456944"/>
                <a:gd name="connsiteX18" fmla="*/ 784860 w 1731264"/>
                <a:gd name="connsiteY18" fmla="*/ 150876 h 1456944"/>
                <a:gd name="connsiteX19" fmla="*/ 763524 w 1731264"/>
                <a:gd name="connsiteY19" fmla="*/ 196596 h 1456944"/>
                <a:gd name="connsiteX20" fmla="*/ 611124 w 1731264"/>
                <a:gd name="connsiteY20" fmla="*/ 272796 h 1456944"/>
                <a:gd name="connsiteX21" fmla="*/ 382524 w 1731264"/>
                <a:gd name="connsiteY21" fmla="*/ 425196 h 1456944"/>
                <a:gd name="connsiteX22" fmla="*/ 230124 w 1731264"/>
                <a:gd name="connsiteY22" fmla="*/ 729996 h 1456944"/>
                <a:gd name="connsiteX23" fmla="*/ 44196 w 1731264"/>
                <a:gd name="connsiteY23" fmla="*/ 937260 h 1456944"/>
                <a:gd name="connsiteX24" fmla="*/ 1524 w 1731264"/>
                <a:gd name="connsiteY24" fmla="*/ 1187196 h 1456944"/>
                <a:gd name="connsiteX25" fmla="*/ 35052 w 1731264"/>
                <a:gd name="connsiteY25" fmla="*/ 1348740 h 1456944"/>
                <a:gd name="connsiteX26" fmla="*/ 108204 w 1731264"/>
                <a:gd name="connsiteY26" fmla="*/ 1431036 h 1456944"/>
                <a:gd name="connsiteX0" fmla="*/ 184404 w 1807464"/>
                <a:gd name="connsiteY0" fmla="*/ 1431036 h 1456944"/>
                <a:gd name="connsiteX1" fmla="*/ 385572 w 1807464"/>
                <a:gd name="connsiteY1" fmla="*/ 1193292 h 1456944"/>
                <a:gd name="connsiteX2" fmla="*/ 422148 w 1807464"/>
                <a:gd name="connsiteY2" fmla="*/ 1129284 h 1456944"/>
                <a:gd name="connsiteX3" fmla="*/ 541020 w 1807464"/>
                <a:gd name="connsiteY3" fmla="*/ 1056132 h 1456944"/>
                <a:gd name="connsiteX4" fmla="*/ 659892 w 1807464"/>
                <a:gd name="connsiteY4" fmla="*/ 873252 h 1456944"/>
                <a:gd name="connsiteX5" fmla="*/ 778764 w 1807464"/>
                <a:gd name="connsiteY5" fmla="*/ 745236 h 1456944"/>
                <a:gd name="connsiteX6" fmla="*/ 833628 w 1807464"/>
                <a:gd name="connsiteY6" fmla="*/ 672084 h 1456944"/>
                <a:gd name="connsiteX7" fmla="*/ 1025652 w 1807464"/>
                <a:gd name="connsiteY7" fmla="*/ 580644 h 1456944"/>
                <a:gd name="connsiteX8" fmla="*/ 1144524 w 1807464"/>
                <a:gd name="connsiteY8" fmla="*/ 553212 h 1456944"/>
                <a:gd name="connsiteX9" fmla="*/ 1290828 w 1807464"/>
                <a:gd name="connsiteY9" fmla="*/ 489204 h 1456944"/>
                <a:gd name="connsiteX10" fmla="*/ 1455420 w 1807464"/>
                <a:gd name="connsiteY10" fmla="*/ 306324 h 1456944"/>
                <a:gd name="connsiteX11" fmla="*/ 1556004 w 1807464"/>
                <a:gd name="connsiteY11" fmla="*/ 187452 h 1456944"/>
                <a:gd name="connsiteX12" fmla="*/ 1729740 w 1807464"/>
                <a:gd name="connsiteY12" fmla="*/ 114300 h 1456944"/>
                <a:gd name="connsiteX13" fmla="*/ 1784604 w 1807464"/>
                <a:gd name="connsiteY13" fmla="*/ 4572 h 1456944"/>
                <a:gd name="connsiteX14" fmla="*/ 1592580 w 1807464"/>
                <a:gd name="connsiteY14" fmla="*/ 86868 h 1456944"/>
                <a:gd name="connsiteX15" fmla="*/ 1446276 w 1807464"/>
                <a:gd name="connsiteY15" fmla="*/ 86868 h 1456944"/>
                <a:gd name="connsiteX16" fmla="*/ 1327404 w 1807464"/>
                <a:gd name="connsiteY16" fmla="*/ 50292 h 1456944"/>
                <a:gd name="connsiteX17" fmla="*/ 1062228 w 1807464"/>
                <a:gd name="connsiteY17" fmla="*/ 59436 h 1456944"/>
                <a:gd name="connsiteX18" fmla="*/ 861060 w 1807464"/>
                <a:gd name="connsiteY18" fmla="*/ 150876 h 1456944"/>
                <a:gd name="connsiteX19" fmla="*/ 839724 w 1807464"/>
                <a:gd name="connsiteY19" fmla="*/ 196596 h 1456944"/>
                <a:gd name="connsiteX20" fmla="*/ 687324 w 1807464"/>
                <a:gd name="connsiteY20" fmla="*/ 272796 h 1456944"/>
                <a:gd name="connsiteX21" fmla="*/ 458724 w 1807464"/>
                <a:gd name="connsiteY21" fmla="*/ 425196 h 1456944"/>
                <a:gd name="connsiteX22" fmla="*/ 306324 w 1807464"/>
                <a:gd name="connsiteY22" fmla="*/ 729996 h 1456944"/>
                <a:gd name="connsiteX23" fmla="*/ 120396 w 1807464"/>
                <a:gd name="connsiteY23" fmla="*/ 937260 h 1456944"/>
                <a:gd name="connsiteX24" fmla="*/ 1524 w 1807464"/>
                <a:gd name="connsiteY24" fmla="*/ 1187196 h 1456944"/>
                <a:gd name="connsiteX25" fmla="*/ 111252 w 1807464"/>
                <a:gd name="connsiteY25" fmla="*/ 1348740 h 1456944"/>
                <a:gd name="connsiteX26" fmla="*/ 184404 w 1807464"/>
                <a:gd name="connsiteY26" fmla="*/ 1431036 h 1456944"/>
                <a:gd name="connsiteX0" fmla="*/ 108204 w 1731264"/>
                <a:gd name="connsiteY0" fmla="*/ 1431036 h 1456944"/>
                <a:gd name="connsiteX1" fmla="*/ 309372 w 1731264"/>
                <a:gd name="connsiteY1" fmla="*/ 1193292 h 1456944"/>
                <a:gd name="connsiteX2" fmla="*/ 345948 w 1731264"/>
                <a:gd name="connsiteY2" fmla="*/ 1129284 h 1456944"/>
                <a:gd name="connsiteX3" fmla="*/ 464820 w 1731264"/>
                <a:gd name="connsiteY3" fmla="*/ 1056132 h 1456944"/>
                <a:gd name="connsiteX4" fmla="*/ 583692 w 1731264"/>
                <a:gd name="connsiteY4" fmla="*/ 873252 h 1456944"/>
                <a:gd name="connsiteX5" fmla="*/ 702564 w 1731264"/>
                <a:gd name="connsiteY5" fmla="*/ 745236 h 1456944"/>
                <a:gd name="connsiteX6" fmla="*/ 757428 w 1731264"/>
                <a:gd name="connsiteY6" fmla="*/ 672084 h 1456944"/>
                <a:gd name="connsiteX7" fmla="*/ 949452 w 1731264"/>
                <a:gd name="connsiteY7" fmla="*/ 580644 h 1456944"/>
                <a:gd name="connsiteX8" fmla="*/ 1068324 w 1731264"/>
                <a:gd name="connsiteY8" fmla="*/ 553212 h 1456944"/>
                <a:gd name="connsiteX9" fmla="*/ 1214628 w 1731264"/>
                <a:gd name="connsiteY9" fmla="*/ 489204 h 1456944"/>
                <a:gd name="connsiteX10" fmla="*/ 1379220 w 1731264"/>
                <a:gd name="connsiteY10" fmla="*/ 306324 h 1456944"/>
                <a:gd name="connsiteX11" fmla="*/ 1479804 w 1731264"/>
                <a:gd name="connsiteY11" fmla="*/ 187452 h 1456944"/>
                <a:gd name="connsiteX12" fmla="*/ 1653540 w 1731264"/>
                <a:gd name="connsiteY12" fmla="*/ 114300 h 1456944"/>
                <a:gd name="connsiteX13" fmla="*/ 1708404 w 1731264"/>
                <a:gd name="connsiteY13" fmla="*/ 4572 h 1456944"/>
                <a:gd name="connsiteX14" fmla="*/ 1516380 w 1731264"/>
                <a:gd name="connsiteY14" fmla="*/ 86868 h 1456944"/>
                <a:gd name="connsiteX15" fmla="*/ 1370076 w 1731264"/>
                <a:gd name="connsiteY15" fmla="*/ 86868 h 1456944"/>
                <a:gd name="connsiteX16" fmla="*/ 1251204 w 1731264"/>
                <a:gd name="connsiteY16" fmla="*/ 50292 h 1456944"/>
                <a:gd name="connsiteX17" fmla="*/ 986028 w 1731264"/>
                <a:gd name="connsiteY17" fmla="*/ 59436 h 1456944"/>
                <a:gd name="connsiteX18" fmla="*/ 784860 w 1731264"/>
                <a:gd name="connsiteY18" fmla="*/ 150876 h 1456944"/>
                <a:gd name="connsiteX19" fmla="*/ 763524 w 1731264"/>
                <a:gd name="connsiteY19" fmla="*/ 196596 h 1456944"/>
                <a:gd name="connsiteX20" fmla="*/ 611124 w 1731264"/>
                <a:gd name="connsiteY20" fmla="*/ 272796 h 1456944"/>
                <a:gd name="connsiteX21" fmla="*/ 382524 w 1731264"/>
                <a:gd name="connsiteY21" fmla="*/ 425196 h 1456944"/>
                <a:gd name="connsiteX22" fmla="*/ 230124 w 1731264"/>
                <a:gd name="connsiteY22" fmla="*/ 729996 h 1456944"/>
                <a:gd name="connsiteX23" fmla="*/ 44196 w 1731264"/>
                <a:gd name="connsiteY23" fmla="*/ 937260 h 1456944"/>
                <a:gd name="connsiteX24" fmla="*/ 1524 w 1731264"/>
                <a:gd name="connsiteY24" fmla="*/ 1187196 h 1456944"/>
                <a:gd name="connsiteX25" fmla="*/ 35052 w 1731264"/>
                <a:gd name="connsiteY25" fmla="*/ 1348740 h 1456944"/>
                <a:gd name="connsiteX26" fmla="*/ 108204 w 1731264"/>
                <a:gd name="connsiteY26" fmla="*/ 1431036 h 1456944"/>
                <a:gd name="connsiteX0" fmla="*/ 108204 w 1731264"/>
                <a:gd name="connsiteY0" fmla="*/ 1431036 h 1456944"/>
                <a:gd name="connsiteX1" fmla="*/ 309372 w 1731264"/>
                <a:gd name="connsiteY1" fmla="*/ 1193292 h 1456944"/>
                <a:gd name="connsiteX2" fmla="*/ 345948 w 1731264"/>
                <a:gd name="connsiteY2" fmla="*/ 1129284 h 1456944"/>
                <a:gd name="connsiteX3" fmla="*/ 464820 w 1731264"/>
                <a:gd name="connsiteY3" fmla="*/ 1056132 h 1456944"/>
                <a:gd name="connsiteX4" fmla="*/ 583692 w 1731264"/>
                <a:gd name="connsiteY4" fmla="*/ 873252 h 1456944"/>
                <a:gd name="connsiteX5" fmla="*/ 702564 w 1731264"/>
                <a:gd name="connsiteY5" fmla="*/ 745236 h 1456944"/>
                <a:gd name="connsiteX6" fmla="*/ 757428 w 1731264"/>
                <a:gd name="connsiteY6" fmla="*/ 672084 h 1456944"/>
                <a:gd name="connsiteX7" fmla="*/ 949452 w 1731264"/>
                <a:gd name="connsiteY7" fmla="*/ 580644 h 1456944"/>
                <a:gd name="connsiteX8" fmla="*/ 1068324 w 1731264"/>
                <a:gd name="connsiteY8" fmla="*/ 553212 h 1456944"/>
                <a:gd name="connsiteX9" fmla="*/ 1214628 w 1731264"/>
                <a:gd name="connsiteY9" fmla="*/ 489204 h 1456944"/>
                <a:gd name="connsiteX10" fmla="*/ 1379220 w 1731264"/>
                <a:gd name="connsiteY10" fmla="*/ 306324 h 1456944"/>
                <a:gd name="connsiteX11" fmla="*/ 1479804 w 1731264"/>
                <a:gd name="connsiteY11" fmla="*/ 187452 h 1456944"/>
                <a:gd name="connsiteX12" fmla="*/ 1653540 w 1731264"/>
                <a:gd name="connsiteY12" fmla="*/ 114300 h 1456944"/>
                <a:gd name="connsiteX13" fmla="*/ 1708404 w 1731264"/>
                <a:gd name="connsiteY13" fmla="*/ 4572 h 1456944"/>
                <a:gd name="connsiteX14" fmla="*/ 1516380 w 1731264"/>
                <a:gd name="connsiteY14" fmla="*/ 86868 h 1456944"/>
                <a:gd name="connsiteX15" fmla="*/ 1370076 w 1731264"/>
                <a:gd name="connsiteY15" fmla="*/ 86868 h 1456944"/>
                <a:gd name="connsiteX16" fmla="*/ 1251204 w 1731264"/>
                <a:gd name="connsiteY16" fmla="*/ 50292 h 1456944"/>
                <a:gd name="connsiteX17" fmla="*/ 986028 w 1731264"/>
                <a:gd name="connsiteY17" fmla="*/ 59436 h 1456944"/>
                <a:gd name="connsiteX18" fmla="*/ 784860 w 1731264"/>
                <a:gd name="connsiteY18" fmla="*/ 150876 h 1456944"/>
                <a:gd name="connsiteX19" fmla="*/ 763524 w 1731264"/>
                <a:gd name="connsiteY19" fmla="*/ 196596 h 1456944"/>
                <a:gd name="connsiteX20" fmla="*/ 611124 w 1731264"/>
                <a:gd name="connsiteY20" fmla="*/ 272796 h 1456944"/>
                <a:gd name="connsiteX21" fmla="*/ 382524 w 1731264"/>
                <a:gd name="connsiteY21" fmla="*/ 425196 h 1456944"/>
                <a:gd name="connsiteX22" fmla="*/ 153924 w 1731264"/>
                <a:gd name="connsiteY22" fmla="*/ 653796 h 1456944"/>
                <a:gd name="connsiteX23" fmla="*/ 44196 w 1731264"/>
                <a:gd name="connsiteY23" fmla="*/ 937260 h 1456944"/>
                <a:gd name="connsiteX24" fmla="*/ 1524 w 1731264"/>
                <a:gd name="connsiteY24" fmla="*/ 1187196 h 1456944"/>
                <a:gd name="connsiteX25" fmla="*/ 35052 w 1731264"/>
                <a:gd name="connsiteY25" fmla="*/ 1348740 h 1456944"/>
                <a:gd name="connsiteX26" fmla="*/ 108204 w 1731264"/>
                <a:gd name="connsiteY26" fmla="*/ 1431036 h 1456944"/>
                <a:gd name="connsiteX0" fmla="*/ 108204 w 1731264"/>
                <a:gd name="connsiteY0" fmla="*/ 1431036 h 1456944"/>
                <a:gd name="connsiteX1" fmla="*/ 309372 w 1731264"/>
                <a:gd name="connsiteY1" fmla="*/ 1193292 h 1456944"/>
                <a:gd name="connsiteX2" fmla="*/ 345948 w 1731264"/>
                <a:gd name="connsiteY2" fmla="*/ 1129284 h 1456944"/>
                <a:gd name="connsiteX3" fmla="*/ 464820 w 1731264"/>
                <a:gd name="connsiteY3" fmla="*/ 1056132 h 1456944"/>
                <a:gd name="connsiteX4" fmla="*/ 583692 w 1731264"/>
                <a:gd name="connsiteY4" fmla="*/ 873252 h 1456944"/>
                <a:gd name="connsiteX5" fmla="*/ 702564 w 1731264"/>
                <a:gd name="connsiteY5" fmla="*/ 745236 h 1456944"/>
                <a:gd name="connsiteX6" fmla="*/ 757428 w 1731264"/>
                <a:gd name="connsiteY6" fmla="*/ 672084 h 1456944"/>
                <a:gd name="connsiteX7" fmla="*/ 949452 w 1731264"/>
                <a:gd name="connsiteY7" fmla="*/ 580644 h 1456944"/>
                <a:gd name="connsiteX8" fmla="*/ 1068324 w 1731264"/>
                <a:gd name="connsiteY8" fmla="*/ 553212 h 1456944"/>
                <a:gd name="connsiteX9" fmla="*/ 1214628 w 1731264"/>
                <a:gd name="connsiteY9" fmla="*/ 489204 h 1456944"/>
                <a:gd name="connsiteX10" fmla="*/ 1379220 w 1731264"/>
                <a:gd name="connsiteY10" fmla="*/ 306324 h 1456944"/>
                <a:gd name="connsiteX11" fmla="*/ 1479804 w 1731264"/>
                <a:gd name="connsiteY11" fmla="*/ 187452 h 1456944"/>
                <a:gd name="connsiteX12" fmla="*/ 1653540 w 1731264"/>
                <a:gd name="connsiteY12" fmla="*/ 114300 h 1456944"/>
                <a:gd name="connsiteX13" fmla="*/ 1708404 w 1731264"/>
                <a:gd name="connsiteY13" fmla="*/ 4572 h 1456944"/>
                <a:gd name="connsiteX14" fmla="*/ 1516380 w 1731264"/>
                <a:gd name="connsiteY14" fmla="*/ 86868 h 1456944"/>
                <a:gd name="connsiteX15" fmla="*/ 1370076 w 1731264"/>
                <a:gd name="connsiteY15" fmla="*/ 86868 h 1456944"/>
                <a:gd name="connsiteX16" fmla="*/ 1251204 w 1731264"/>
                <a:gd name="connsiteY16" fmla="*/ 50292 h 1456944"/>
                <a:gd name="connsiteX17" fmla="*/ 986028 w 1731264"/>
                <a:gd name="connsiteY17" fmla="*/ 59436 h 1456944"/>
                <a:gd name="connsiteX18" fmla="*/ 784860 w 1731264"/>
                <a:gd name="connsiteY18" fmla="*/ 150876 h 1456944"/>
                <a:gd name="connsiteX19" fmla="*/ 763524 w 1731264"/>
                <a:gd name="connsiteY19" fmla="*/ 196596 h 1456944"/>
                <a:gd name="connsiteX20" fmla="*/ 611124 w 1731264"/>
                <a:gd name="connsiteY20" fmla="*/ 272796 h 1456944"/>
                <a:gd name="connsiteX21" fmla="*/ 382524 w 1731264"/>
                <a:gd name="connsiteY21" fmla="*/ 425196 h 1456944"/>
                <a:gd name="connsiteX22" fmla="*/ 230124 w 1731264"/>
                <a:gd name="connsiteY22" fmla="*/ 729996 h 1456944"/>
                <a:gd name="connsiteX23" fmla="*/ 44196 w 1731264"/>
                <a:gd name="connsiteY23" fmla="*/ 937260 h 1456944"/>
                <a:gd name="connsiteX24" fmla="*/ 1524 w 1731264"/>
                <a:gd name="connsiteY24" fmla="*/ 1187196 h 1456944"/>
                <a:gd name="connsiteX25" fmla="*/ 35052 w 1731264"/>
                <a:gd name="connsiteY25" fmla="*/ 1348740 h 1456944"/>
                <a:gd name="connsiteX26" fmla="*/ 108204 w 1731264"/>
                <a:gd name="connsiteY26" fmla="*/ 1431036 h 1456944"/>
                <a:gd name="connsiteX0" fmla="*/ 108204 w 1731264"/>
                <a:gd name="connsiteY0" fmla="*/ 1431036 h 1456944"/>
                <a:gd name="connsiteX1" fmla="*/ 309372 w 1731264"/>
                <a:gd name="connsiteY1" fmla="*/ 1193292 h 1456944"/>
                <a:gd name="connsiteX2" fmla="*/ 345948 w 1731264"/>
                <a:gd name="connsiteY2" fmla="*/ 1129284 h 1456944"/>
                <a:gd name="connsiteX3" fmla="*/ 464820 w 1731264"/>
                <a:gd name="connsiteY3" fmla="*/ 1056132 h 1456944"/>
                <a:gd name="connsiteX4" fmla="*/ 583692 w 1731264"/>
                <a:gd name="connsiteY4" fmla="*/ 873252 h 1456944"/>
                <a:gd name="connsiteX5" fmla="*/ 702564 w 1731264"/>
                <a:gd name="connsiteY5" fmla="*/ 745236 h 1456944"/>
                <a:gd name="connsiteX6" fmla="*/ 757428 w 1731264"/>
                <a:gd name="connsiteY6" fmla="*/ 672084 h 1456944"/>
                <a:gd name="connsiteX7" fmla="*/ 949452 w 1731264"/>
                <a:gd name="connsiteY7" fmla="*/ 580644 h 1456944"/>
                <a:gd name="connsiteX8" fmla="*/ 1068324 w 1731264"/>
                <a:gd name="connsiteY8" fmla="*/ 553212 h 1456944"/>
                <a:gd name="connsiteX9" fmla="*/ 1214628 w 1731264"/>
                <a:gd name="connsiteY9" fmla="*/ 489204 h 1456944"/>
                <a:gd name="connsiteX10" fmla="*/ 1379220 w 1731264"/>
                <a:gd name="connsiteY10" fmla="*/ 306324 h 1456944"/>
                <a:gd name="connsiteX11" fmla="*/ 1479804 w 1731264"/>
                <a:gd name="connsiteY11" fmla="*/ 187452 h 1456944"/>
                <a:gd name="connsiteX12" fmla="*/ 1653540 w 1731264"/>
                <a:gd name="connsiteY12" fmla="*/ 114300 h 1456944"/>
                <a:gd name="connsiteX13" fmla="*/ 1708404 w 1731264"/>
                <a:gd name="connsiteY13" fmla="*/ 4572 h 1456944"/>
                <a:gd name="connsiteX14" fmla="*/ 1516380 w 1731264"/>
                <a:gd name="connsiteY14" fmla="*/ 86868 h 1456944"/>
                <a:gd name="connsiteX15" fmla="*/ 1370076 w 1731264"/>
                <a:gd name="connsiteY15" fmla="*/ 86868 h 1456944"/>
                <a:gd name="connsiteX16" fmla="*/ 1251204 w 1731264"/>
                <a:gd name="connsiteY16" fmla="*/ 50292 h 1456944"/>
                <a:gd name="connsiteX17" fmla="*/ 986028 w 1731264"/>
                <a:gd name="connsiteY17" fmla="*/ 59436 h 1456944"/>
                <a:gd name="connsiteX18" fmla="*/ 784860 w 1731264"/>
                <a:gd name="connsiteY18" fmla="*/ 150876 h 1456944"/>
                <a:gd name="connsiteX19" fmla="*/ 763524 w 1731264"/>
                <a:gd name="connsiteY19" fmla="*/ 196596 h 1456944"/>
                <a:gd name="connsiteX20" fmla="*/ 611124 w 1731264"/>
                <a:gd name="connsiteY20" fmla="*/ 272796 h 1456944"/>
                <a:gd name="connsiteX21" fmla="*/ 382524 w 1731264"/>
                <a:gd name="connsiteY21" fmla="*/ 348996 h 1456944"/>
                <a:gd name="connsiteX22" fmla="*/ 230124 w 1731264"/>
                <a:gd name="connsiteY22" fmla="*/ 729996 h 1456944"/>
                <a:gd name="connsiteX23" fmla="*/ 44196 w 1731264"/>
                <a:gd name="connsiteY23" fmla="*/ 937260 h 1456944"/>
                <a:gd name="connsiteX24" fmla="*/ 1524 w 1731264"/>
                <a:gd name="connsiteY24" fmla="*/ 1187196 h 1456944"/>
                <a:gd name="connsiteX25" fmla="*/ 35052 w 1731264"/>
                <a:gd name="connsiteY25" fmla="*/ 1348740 h 1456944"/>
                <a:gd name="connsiteX26" fmla="*/ 108204 w 1731264"/>
                <a:gd name="connsiteY26" fmla="*/ 1431036 h 1456944"/>
                <a:gd name="connsiteX0" fmla="*/ 108204 w 1731264"/>
                <a:gd name="connsiteY0" fmla="*/ 1431036 h 1456944"/>
                <a:gd name="connsiteX1" fmla="*/ 309372 w 1731264"/>
                <a:gd name="connsiteY1" fmla="*/ 1193292 h 1456944"/>
                <a:gd name="connsiteX2" fmla="*/ 345948 w 1731264"/>
                <a:gd name="connsiteY2" fmla="*/ 1129284 h 1456944"/>
                <a:gd name="connsiteX3" fmla="*/ 464820 w 1731264"/>
                <a:gd name="connsiteY3" fmla="*/ 1056132 h 1456944"/>
                <a:gd name="connsiteX4" fmla="*/ 583692 w 1731264"/>
                <a:gd name="connsiteY4" fmla="*/ 873252 h 1456944"/>
                <a:gd name="connsiteX5" fmla="*/ 702564 w 1731264"/>
                <a:gd name="connsiteY5" fmla="*/ 745236 h 1456944"/>
                <a:gd name="connsiteX6" fmla="*/ 757428 w 1731264"/>
                <a:gd name="connsiteY6" fmla="*/ 672084 h 1456944"/>
                <a:gd name="connsiteX7" fmla="*/ 949452 w 1731264"/>
                <a:gd name="connsiteY7" fmla="*/ 580644 h 1456944"/>
                <a:gd name="connsiteX8" fmla="*/ 1068324 w 1731264"/>
                <a:gd name="connsiteY8" fmla="*/ 553212 h 1456944"/>
                <a:gd name="connsiteX9" fmla="*/ 1214628 w 1731264"/>
                <a:gd name="connsiteY9" fmla="*/ 489204 h 1456944"/>
                <a:gd name="connsiteX10" fmla="*/ 1379220 w 1731264"/>
                <a:gd name="connsiteY10" fmla="*/ 306324 h 1456944"/>
                <a:gd name="connsiteX11" fmla="*/ 1479804 w 1731264"/>
                <a:gd name="connsiteY11" fmla="*/ 187452 h 1456944"/>
                <a:gd name="connsiteX12" fmla="*/ 1653540 w 1731264"/>
                <a:gd name="connsiteY12" fmla="*/ 114300 h 1456944"/>
                <a:gd name="connsiteX13" fmla="*/ 1708404 w 1731264"/>
                <a:gd name="connsiteY13" fmla="*/ 4572 h 1456944"/>
                <a:gd name="connsiteX14" fmla="*/ 1516380 w 1731264"/>
                <a:gd name="connsiteY14" fmla="*/ 86868 h 1456944"/>
                <a:gd name="connsiteX15" fmla="*/ 1370076 w 1731264"/>
                <a:gd name="connsiteY15" fmla="*/ 86868 h 1456944"/>
                <a:gd name="connsiteX16" fmla="*/ 1251204 w 1731264"/>
                <a:gd name="connsiteY16" fmla="*/ 50292 h 1456944"/>
                <a:gd name="connsiteX17" fmla="*/ 986028 w 1731264"/>
                <a:gd name="connsiteY17" fmla="*/ 59436 h 1456944"/>
                <a:gd name="connsiteX18" fmla="*/ 784860 w 1731264"/>
                <a:gd name="connsiteY18" fmla="*/ 150876 h 1456944"/>
                <a:gd name="connsiteX19" fmla="*/ 763524 w 1731264"/>
                <a:gd name="connsiteY19" fmla="*/ 196596 h 1456944"/>
                <a:gd name="connsiteX20" fmla="*/ 611124 w 1731264"/>
                <a:gd name="connsiteY20" fmla="*/ 196596 h 1456944"/>
                <a:gd name="connsiteX21" fmla="*/ 382524 w 1731264"/>
                <a:gd name="connsiteY21" fmla="*/ 348996 h 1456944"/>
                <a:gd name="connsiteX22" fmla="*/ 230124 w 1731264"/>
                <a:gd name="connsiteY22" fmla="*/ 729996 h 1456944"/>
                <a:gd name="connsiteX23" fmla="*/ 44196 w 1731264"/>
                <a:gd name="connsiteY23" fmla="*/ 937260 h 1456944"/>
                <a:gd name="connsiteX24" fmla="*/ 1524 w 1731264"/>
                <a:gd name="connsiteY24" fmla="*/ 1187196 h 1456944"/>
                <a:gd name="connsiteX25" fmla="*/ 35052 w 1731264"/>
                <a:gd name="connsiteY25" fmla="*/ 1348740 h 1456944"/>
                <a:gd name="connsiteX26" fmla="*/ 108204 w 1731264"/>
                <a:gd name="connsiteY26" fmla="*/ 1431036 h 1456944"/>
                <a:gd name="connsiteX0" fmla="*/ 108204 w 1731264"/>
                <a:gd name="connsiteY0" fmla="*/ 1431036 h 1456944"/>
                <a:gd name="connsiteX1" fmla="*/ 309372 w 1731264"/>
                <a:gd name="connsiteY1" fmla="*/ 1193292 h 1456944"/>
                <a:gd name="connsiteX2" fmla="*/ 345948 w 1731264"/>
                <a:gd name="connsiteY2" fmla="*/ 1129284 h 1456944"/>
                <a:gd name="connsiteX3" fmla="*/ 464820 w 1731264"/>
                <a:gd name="connsiteY3" fmla="*/ 1056132 h 1456944"/>
                <a:gd name="connsiteX4" fmla="*/ 583692 w 1731264"/>
                <a:gd name="connsiteY4" fmla="*/ 873252 h 1456944"/>
                <a:gd name="connsiteX5" fmla="*/ 702564 w 1731264"/>
                <a:gd name="connsiteY5" fmla="*/ 745236 h 1456944"/>
                <a:gd name="connsiteX6" fmla="*/ 757428 w 1731264"/>
                <a:gd name="connsiteY6" fmla="*/ 672084 h 1456944"/>
                <a:gd name="connsiteX7" fmla="*/ 949452 w 1731264"/>
                <a:gd name="connsiteY7" fmla="*/ 580644 h 1456944"/>
                <a:gd name="connsiteX8" fmla="*/ 1068324 w 1731264"/>
                <a:gd name="connsiteY8" fmla="*/ 553212 h 1456944"/>
                <a:gd name="connsiteX9" fmla="*/ 1214628 w 1731264"/>
                <a:gd name="connsiteY9" fmla="*/ 489204 h 1456944"/>
                <a:gd name="connsiteX10" fmla="*/ 1379220 w 1731264"/>
                <a:gd name="connsiteY10" fmla="*/ 306324 h 1456944"/>
                <a:gd name="connsiteX11" fmla="*/ 1479804 w 1731264"/>
                <a:gd name="connsiteY11" fmla="*/ 187452 h 1456944"/>
                <a:gd name="connsiteX12" fmla="*/ 1653540 w 1731264"/>
                <a:gd name="connsiteY12" fmla="*/ 114300 h 1456944"/>
                <a:gd name="connsiteX13" fmla="*/ 1708404 w 1731264"/>
                <a:gd name="connsiteY13" fmla="*/ 4572 h 1456944"/>
                <a:gd name="connsiteX14" fmla="*/ 1516380 w 1731264"/>
                <a:gd name="connsiteY14" fmla="*/ 86868 h 1456944"/>
                <a:gd name="connsiteX15" fmla="*/ 1370076 w 1731264"/>
                <a:gd name="connsiteY15" fmla="*/ 86868 h 1456944"/>
                <a:gd name="connsiteX16" fmla="*/ 1251204 w 1731264"/>
                <a:gd name="connsiteY16" fmla="*/ 50292 h 1456944"/>
                <a:gd name="connsiteX17" fmla="*/ 986028 w 1731264"/>
                <a:gd name="connsiteY17" fmla="*/ 59436 h 1456944"/>
                <a:gd name="connsiteX18" fmla="*/ 784860 w 1731264"/>
                <a:gd name="connsiteY18" fmla="*/ 150876 h 1456944"/>
                <a:gd name="connsiteX19" fmla="*/ 687324 w 1731264"/>
                <a:gd name="connsiteY19" fmla="*/ 196596 h 1456944"/>
                <a:gd name="connsiteX20" fmla="*/ 611124 w 1731264"/>
                <a:gd name="connsiteY20" fmla="*/ 196596 h 1456944"/>
                <a:gd name="connsiteX21" fmla="*/ 382524 w 1731264"/>
                <a:gd name="connsiteY21" fmla="*/ 348996 h 1456944"/>
                <a:gd name="connsiteX22" fmla="*/ 230124 w 1731264"/>
                <a:gd name="connsiteY22" fmla="*/ 729996 h 1456944"/>
                <a:gd name="connsiteX23" fmla="*/ 44196 w 1731264"/>
                <a:gd name="connsiteY23" fmla="*/ 937260 h 1456944"/>
                <a:gd name="connsiteX24" fmla="*/ 1524 w 1731264"/>
                <a:gd name="connsiteY24" fmla="*/ 1187196 h 1456944"/>
                <a:gd name="connsiteX25" fmla="*/ 35052 w 1731264"/>
                <a:gd name="connsiteY25" fmla="*/ 1348740 h 1456944"/>
                <a:gd name="connsiteX26" fmla="*/ 108204 w 1731264"/>
                <a:gd name="connsiteY26" fmla="*/ 1431036 h 1456944"/>
                <a:gd name="connsiteX0" fmla="*/ 108204 w 1729740"/>
                <a:gd name="connsiteY0" fmla="*/ 1438148 h 1464056"/>
                <a:gd name="connsiteX1" fmla="*/ 309372 w 1729740"/>
                <a:gd name="connsiteY1" fmla="*/ 1200404 h 1464056"/>
                <a:gd name="connsiteX2" fmla="*/ 345948 w 1729740"/>
                <a:gd name="connsiteY2" fmla="*/ 1136396 h 1464056"/>
                <a:gd name="connsiteX3" fmla="*/ 464820 w 1729740"/>
                <a:gd name="connsiteY3" fmla="*/ 1063244 h 1464056"/>
                <a:gd name="connsiteX4" fmla="*/ 583692 w 1729740"/>
                <a:gd name="connsiteY4" fmla="*/ 880364 h 1464056"/>
                <a:gd name="connsiteX5" fmla="*/ 702564 w 1729740"/>
                <a:gd name="connsiteY5" fmla="*/ 752348 h 1464056"/>
                <a:gd name="connsiteX6" fmla="*/ 757428 w 1729740"/>
                <a:gd name="connsiteY6" fmla="*/ 679196 h 1464056"/>
                <a:gd name="connsiteX7" fmla="*/ 949452 w 1729740"/>
                <a:gd name="connsiteY7" fmla="*/ 587756 h 1464056"/>
                <a:gd name="connsiteX8" fmla="*/ 1068324 w 1729740"/>
                <a:gd name="connsiteY8" fmla="*/ 560324 h 1464056"/>
                <a:gd name="connsiteX9" fmla="*/ 1214628 w 1729740"/>
                <a:gd name="connsiteY9" fmla="*/ 496316 h 1464056"/>
                <a:gd name="connsiteX10" fmla="*/ 1379220 w 1729740"/>
                <a:gd name="connsiteY10" fmla="*/ 313436 h 1464056"/>
                <a:gd name="connsiteX11" fmla="*/ 1479804 w 1729740"/>
                <a:gd name="connsiteY11" fmla="*/ 194564 h 1464056"/>
                <a:gd name="connsiteX12" fmla="*/ 1653540 w 1729740"/>
                <a:gd name="connsiteY12" fmla="*/ 121412 h 1464056"/>
                <a:gd name="connsiteX13" fmla="*/ 1708404 w 1729740"/>
                <a:gd name="connsiteY13" fmla="*/ 11684 h 1464056"/>
                <a:gd name="connsiteX14" fmla="*/ 1525524 w 1729740"/>
                <a:gd name="connsiteY14" fmla="*/ 51308 h 1464056"/>
                <a:gd name="connsiteX15" fmla="*/ 1370076 w 1729740"/>
                <a:gd name="connsiteY15" fmla="*/ 93980 h 1464056"/>
                <a:gd name="connsiteX16" fmla="*/ 1251204 w 1729740"/>
                <a:gd name="connsiteY16" fmla="*/ 57404 h 1464056"/>
                <a:gd name="connsiteX17" fmla="*/ 986028 w 1729740"/>
                <a:gd name="connsiteY17" fmla="*/ 66548 h 1464056"/>
                <a:gd name="connsiteX18" fmla="*/ 784860 w 1729740"/>
                <a:gd name="connsiteY18" fmla="*/ 157988 h 1464056"/>
                <a:gd name="connsiteX19" fmla="*/ 687324 w 1729740"/>
                <a:gd name="connsiteY19" fmla="*/ 203708 h 1464056"/>
                <a:gd name="connsiteX20" fmla="*/ 611124 w 1729740"/>
                <a:gd name="connsiteY20" fmla="*/ 203708 h 1464056"/>
                <a:gd name="connsiteX21" fmla="*/ 382524 w 1729740"/>
                <a:gd name="connsiteY21" fmla="*/ 356108 h 1464056"/>
                <a:gd name="connsiteX22" fmla="*/ 230124 w 1729740"/>
                <a:gd name="connsiteY22" fmla="*/ 737108 h 1464056"/>
                <a:gd name="connsiteX23" fmla="*/ 44196 w 1729740"/>
                <a:gd name="connsiteY23" fmla="*/ 944372 h 1464056"/>
                <a:gd name="connsiteX24" fmla="*/ 1524 w 1729740"/>
                <a:gd name="connsiteY24" fmla="*/ 1194308 h 1464056"/>
                <a:gd name="connsiteX25" fmla="*/ 35052 w 1729740"/>
                <a:gd name="connsiteY25" fmla="*/ 1355852 h 1464056"/>
                <a:gd name="connsiteX26" fmla="*/ 108204 w 1729740"/>
                <a:gd name="connsiteY26" fmla="*/ 1438148 h 1464056"/>
                <a:gd name="connsiteX0" fmla="*/ 108204 w 1729740"/>
                <a:gd name="connsiteY0" fmla="*/ 1438148 h 1464056"/>
                <a:gd name="connsiteX1" fmla="*/ 309372 w 1729740"/>
                <a:gd name="connsiteY1" fmla="*/ 1200404 h 1464056"/>
                <a:gd name="connsiteX2" fmla="*/ 345948 w 1729740"/>
                <a:gd name="connsiteY2" fmla="*/ 1136396 h 1464056"/>
                <a:gd name="connsiteX3" fmla="*/ 464820 w 1729740"/>
                <a:gd name="connsiteY3" fmla="*/ 1063244 h 1464056"/>
                <a:gd name="connsiteX4" fmla="*/ 583692 w 1729740"/>
                <a:gd name="connsiteY4" fmla="*/ 880364 h 1464056"/>
                <a:gd name="connsiteX5" fmla="*/ 702564 w 1729740"/>
                <a:gd name="connsiteY5" fmla="*/ 752348 h 1464056"/>
                <a:gd name="connsiteX6" fmla="*/ 757428 w 1729740"/>
                <a:gd name="connsiteY6" fmla="*/ 679196 h 1464056"/>
                <a:gd name="connsiteX7" fmla="*/ 949452 w 1729740"/>
                <a:gd name="connsiteY7" fmla="*/ 587756 h 1464056"/>
                <a:gd name="connsiteX8" fmla="*/ 1068324 w 1729740"/>
                <a:gd name="connsiteY8" fmla="*/ 560324 h 1464056"/>
                <a:gd name="connsiteX9" fmla="*/ 1214628 w 1729740"/>
                <a:gd name="connsiteY9" fmla="*/ 496316 h 1464056"/>
                <a:gd name="connsiteX10" fmla="*/ 1379220 w 1729740"/>
                <a:gd name="connsiteY10" fmla="*/ 313436 h 1464056"/>
                <a:gd name="connsiteX11" fmla="*/ 1479804 w 1729740"/>
                <a:gd name="connsiteY11" fmla="*/ 194564 h 1464056"/>
                <a:gd name="connsiteX12" fmla="*/ 1653540 w 1729740"/>
                <a:gd name="connsiteY12" fmla="*/ 121412 h 1464056"/>
                <a:gd name="connsiteX13" fmla="*/ 1708404 w 1729740"/>
                <a:gd name="connsiteY13" fmla="*/ 11684 h 1464056"/>
                <a:gd name="connsiteX14" fmla="*/ 1525524 w 1729740"/>
                <a:gd name="connsiteY14" fmla="*/ 51308 h 1464056"/>
                <a:gd name="connsiteX15" fmla="*/ 1370076 w 1729740"/>
                <a:gd name="connsiteY15" fmla="*/ 93980 h 1464056"/>
                <a:gd name="connsiteX16" fmla="*/ 1251204 w 1729740"/>
                <a:gd name="connsiteY16" fmla="*/ 57404 h 1464056"/>
                <a:gd name="connsiteX17" fmla="*/ 986028 w 1729740"/>
                <a:gd name="connsiteY17" fmla="*/ 66548 h 1464056"/>
                <a:gd name="connsiteX18" fmla="*/ 784860 w 1729740"/>
                <a:gd name="connsiteY18" fmla="*/ 157988 h 1464056"/>
                <a:gd name="connsiteX19" fmla="*/ 687324 w 1729740"/>
                <a:gd name="connsiteY19" fmla="*/ 127508 h 1464056"/>
                <a:gd name="connsiteX20" fmla="*/ 611124 w 1729740"/>
                <a:gd name="connsiteY20" fmla="*/ 203708 h 1464056"/>
                <a:gd name="connsiteX21" fmla="*/ 382524 w 1729740"/>
                <a:gd name="connsiteY21" fmla="*/ 356108 h 1464056"/>
                <a:gd name="connsiteX22" fmla="*/ 230124 w 1729740"/>
                <a:gd name="connsiteY22" fmla="*/ 737108 h 1464056"/>
                <a:gd name="connsiteX23" fmla="*/ 44196 w 1729740"/>
                <a:gd name="connsiteY23" fmla="*/ 944372 h 1464056"/>
                <a:gd name="connsiteX24" fmla="*/ 1524 w 1729740"/>
                <a:gd name="connsiteY24" fmla="*/ 1194308 h 1464056"/>
                <a:gd name="connsiteX25" fmla="*/ 35052 w 1729740"/>
                <a:gd name="connsiteY25" fmla="*/ 1355852 h 1464056"/>
                <a:gd name="connsiteX26" fmla="*/ 108204 w 1729740"/>
                <a:gd name="connsiteY26" fmla="*/ 1438148 h 1464056"/>
                <a:gd name="connsiteX0" fmla="*/ 108204 w 1729740"/>
                <a:gd name="connsiteY0" fmla="*/ 1438148 h 1464056"/>
                <a:gd name="connsiteX1" fmla="*/ 309372 w 1729740"/>
                <a:gd name="connsiteY1" fmla="*/ 1200404 h 1464056"/>
                <a:gd name="connsiteX2" fmla="*/ 345948 w 1729740"/>
                <a:gd name="connsiteY2" fmla="*/ 1136396 h 1464056"/>
                <a:gd name="connsiteX3" fmla="*/ 464820 w 1729740"/>
                <a:gd name="connsiteY3" fmla="*/ 1063244 h 1464056"/>
                <a:gd name="connsiteX4" fmla="*/ 583692 w 1729740"/>
                <a:gd name="connsiteY4" fmla="*/ 880364 h 1464056"/>
                <a:gd name="connsiteX5" fmla="*/ 702564 w 1729740"/>
                <a:gd name="connsiteY5" fmla="*/ 752348 h 1464056"/>
                <a:gd name="connsiteX6" fmla="*/ 757428 w 1729740"/>
                <a:gd name="connsiteY6" fmla="*/ 679196 h 1464056"/>
                <a:gd name="connsiteX7" fmla="*/ 949452 w 1729740"/>
                <a:gd name="connsiteY7" fmla="*/ 587756 h 1464056"/>
                <a:gd name="connsiteX8" fmla="*/ 1068324 w 1729740"/>
                <a:gd name="connsiteY8" fmla="*/ 560324 h 1464056"/>
                <a:gd name="connsiteX9" fmla="*/ 1214628 w 1729740"/>
                <a:gd name="connsiteY9" fmla="*/ 496316 h 1464056"/>
                <a:gd name="connsiteX10" fmla="*/ 1379220 w 1729740"/>
                <a:gd name="connsiteY10" fmla="*/ 313436 h 1464056"/>
                <a:gd name="connsiteX11" fmla="*/ 1479804 w 1729740"/>
                <a:gd name="connsiteY11" fmla="*/ 194564 h 1464056"/>
                <a:gd name="connsiteX12" fmla="*/ 1653540 w 1729740"/>
                <a:gd name="connsiteY12" fmla="*/ 121412 h 1464056"/>
                <a:gd name="connsiteX13" fmla="*/ 1708404 w 1729740"/>
                <a:gd name="connsiteY13" fmla="*/ 11684 h 1464056"/>
                <a:gd name="connsiteX14" fmla="*/ 1525524 w 1729740"/>
                <a:gd name="connsiteY14" fmla="*/ 51308 h 1464056"/>
                <a:gd name="connsiteX15" fmla="*/ 1370076 w 1729740"/>
                <a:gd name="connsiteY15" fmla="*/ 93980 h 1464056"/>
                <a:gd name="connsiteX16" fmla="*/ 1251204 w 1729740"/>
                <a:gd name="connsiteY16" fmla="*/ 57404 h 1464056"/>
                <a:gd name="connsiteX17" fmla="*/ 986028 w 1729740"/>
                <a:gd name="connsiteY17" fmla="*/ 66548 h 1464056"/>
                <a:gd name="connsiteX18" fmla="*/ 784860 w 1729740"/>
                <a:gd name="connsiteY18" fmla="*/ 157988 h 1464056"/>
                <a:gd name="connsiteX19" fmla="*/ 687324 w 1729740"/>
                <a:gd name="connsiteY19" fmla="*/ 203708 h 1464056"/>
                <a:gd name="connsiteX20" fmla="*/ 611124 w 1729740"/>
                <a:gd name="connsiteY20" fmla="*/ 203708 h 1464056"/>
                <a:gd name="connsiteX21" fmla="*/ 382524 w 1729740"/>
                <a:gd name="connsiteY21" fmla="*/ 356108 h 1464056"/>
                <a:gd name="connsiteX22" fmla="*/ 230124 w 1729740"/>
                <a:gd name="connsiteY22" fmla="*/ 737108 h 1464056"/>
                <a:gd name="connsiteX23" fmla="*/ 44196 w 1729740"/>
                <a:gd name="connsiteY23" fmla="*/ 944372 h 1464056"/>
                <a:gd name="connsiteX24" fmla="*/ 1524 w 1729740"/>
                <a:gd name="connsiteY24" fmla="*/ 1194308 h 1464056"/>
                <a:gd name="connsiteX25" fmla="*/ 35052 w 1729740"/>
                <a:gd name="connsiteY25" fmla="*/ 1355852 h 1464056"/>
                <a:gd name="connsiteX26" fmla="*/ 108204 w 1729740"/>
                <a:gd name="connsiteY26" fmla="*/ 1438148 h 1464056"/>
                <a:gd name="connsiteX0" fmla="*/ 108204 w 1729740"/>
                <a:gd name="connsiteY0" fmla="*/ 1438148 h 1464056"/>
                <a:gd name="connsiteX1" fmla="*/ 309372 w 1729740"/>
                <a:gd name="connsiteY1" fmla="*/ 1200404 h 1464056"/>
                <a:gd name="connsiteX2" fmla="*/ 345948 w 1729740"/>
                <a:gd name="connsiteY2" fmla="*/ 1136396 h 1464056"/>
                <a:gd name="connsiteX3" fmla="*/ 464820 w 1729740"/>
                <a:gd name="connsiteY3" fmla="*/ 1063244 h 1464056"/>
                <a:gd name="connsiteX4" fmla="*/ 583692 w 1729740"/>
                <a:gd name="connsiteY4" fmla="*/ 880364 h 1464056"/>
                <a:gd name="connsiteX5" fmla="*/ 702564 w 1729740"/>
                <a:gd name="connsiteY5" fmla="*/ 752348 h 1464056"/>
                <a:gd name="connsiteX6" fmla="*/ 757428 w 1729740"/>
                <a:gd name="connsiteY6" fmla="*/ 679196 h 1464056"/>
                <a:gd name="connsiteX7" fmla="*/ 949452 w 1729740"/>
                <a:gd name="connsiteY7" fmla="*/ 587756 h 1464056"/>
                <a:gd name="connsiteX8" fmla="*/ 1068324 w 1729740"/>
                <a:gd name="connsiteY8" fmla="*/ 560324 h 1464056"/>
                <a:gd name="connsiteX9" fmla="*/ 1214628 w 1729740"/>
                <a:gd name="connsiteY9" fmla="*/ 496316 h 1464056"/>
                <a:gd name="connsiteX10" fmla="*/ 1379220 w 1729740"/>
                <a:gd name="connsiteY10" fmla="*/ 313436 h 1464056"/>
                <a:gd name="connsiteX11" fmla="*/ 1479804 w 1729740"/>
                <a:gd name="connsiteY11" fmla="*/ 194564 h 1464056"/>
                <a:gd name="connsiteX12" fmla="*/ 1653540 w 1729740"/>
                <a:gd name="connsiteY12" fmla="*/ 121412 h 1464056"/>
                <a:gd name="connsiteX13" fmla="*/ 1708404 w 1729740"/>
                <a:gd name="connsiteY13" fmla="*/ 11684 h 1464056"/>
                <a:gd name="connsiteX14" fmla="*/ 1525524 w 1729740"/>
                <a:gd name="connsiteY14" fmla="*/ 51308 h 1464056"/>
                <a:gd name="connsiteX15" fmla="*/ 1370076 w 1729740"/>
                <a:gd name="connsiteY15" fmla="*/ 93980 h 1464056"/>
                <a:gd name="connsiteX16" fmla="*/ 1251204 w 1729740"/>
                <a:gd name="connsiteY16" fmla="*/ 57404 h 1464056"/>
                <a:gd name="connsiteX17" fmla="*/ 986028 w 1729740"/>
                <a:gd name="connsiteY17" fmla="*/ 66548 h 1464056"/>
                <a:gd name="connsiteX18" fmla="*/ 784860 w 1729740"/>
                <a:gd name="connsiteY18" fmla="*/ 157988 h 1464056"/>
                <a:gd name="connsiteX19" fmla="*/ 611124 w 1729740"/>
                <a:gd name="connsiteY19" fmla="*/ 203708 h 1464056"/>
                <a:gd name="connsiteX20" fmla="*/ 611124 w 1729740"/>
                <a:gd name="connsiteY20" fmla="*/ 203708 h 1464056"/>
                <a:gd name="connsiteX21" fmla="*/ 382524 w 1729740"/>
                <a:gd name="connsiteY21" fmla="*/ 356108 h 1464056"/>
                <a:gd name="connsiteX22" fmla="*/ 230124 w 1729740"/>
                <a:gd name="connsiteY22" fmla="*/ 737108 h 1464056"/>
                <a:gd name="connsiteX23" fmla="*/ 44196 w 1729740"/>
                <a:gd name="connsiteY23" fmla="*/ 944372 h 1464056"/>
                <a:gd name="connsiteX24" fmla="*/ 1524 w 1729740"/>
                <a:gd name="connsiteY24" fmla="*/ 1194308 h 1464056"/>
                <a:gd name="connsiteX25" fmla="*/ 35052 w 1729740"/>
                <a:gd name="connsiteY25" fmla="*/ 1355852 h 1464056"/>
                <a:gd name="connsiteX26" fmla="*/ 108204 w 1729740"/>
                <a:gd name="connsiteY26" fmla="*/ 1438148 h 1464056"/>
                <a:gd name="connsiteX0" fmla="*/ 108204 w 1721104"/>
                <a:gd name="connsiteY0" fmla="*/ 1439164 h 1465072"/>
                <a:gd name="connsiteX1" fmla="*/ 309372 w 1721104"/>
                <a:gd name="connsiteY1" fmla="*/ 1201420 h 1465072"/>
                <a:gd name="connsiteX2" fmla="*/ 345948 w 1721104"/>
                <a:gd name="connsiteY2" fmla="*/ 1137412 h 1465072"/>
                <a:gd name="connsiteX3" fmla="*/ 464820 w 1721104"/>
                <a:gd name="connsiteY3" fmla="*/ 1064260 h 1465072"/>
                <a:gd name="connsiteX4" fmla="*/ 583692 w 1721104"/>
                <a:gd name="connsiteY4" fmla="*/ 881380 h 1465072"/>
                <a:gd name="connsiteX5" fmla="*/ 702564 w 1721104"/>
                <a:gd name="connsiteY5" fmla="*/ 753364 h 1465072"/>
                <a:gd name="connsiteX6" fmla="*/ 757428 w 1721104"/>
                <a:gd name="connsiteY6" fmla="*/ 680212 h 1465072"/>
                <a:gd name="connsiteX7" fmla="*/ 949452 w 1721104"/>
                <a:gd name="connsiteY7" fmla="*/ 588772 h 1465072"/>
                <a:gd name="connsiteX8" fmla="*/ 1068324 w 1721104"/>
                <a:gd name="connsiteY8" fmla="*/ 561340 h 1465072"/>
                <a:gd name="connsiteX9" fmla="*/ 1214628 w 1721104"/>
                <a:gd name="connsiteY9" fmla="*/ 497332 h 1465072"/>
                <a:gd name="connsiteX10" fmla="*/ 1379220 w 1721104"/>
                <a:gd name="connsiteY10" fmla="*/ 314452 h 1465072"/>
                <a:gd name="connsiteX11" fmla="*/ 1479804 w 1721104"/>
                <a:gd name="connsiteY11" fmla="*/ 195580 h 1465072"/>
                <a:gd name="connsiteX12" fmla="*/ 1601724 w 1721104"/>
                <a:gd name="connsiteY12" fmla="*/ 128524 h 1465072"/>
                <a:gd name="connsiteX13" fmla="*/ 1708404 w 1721104"/>
                <a:gd name="connsiteY13" fmla="*/ 12700 h 1465072"/>
                <a:gd name="connsiteX14" fmla="*/ 1525524 w 1721104"/>
                <a:gd name="connsiteY14" fmla="*/ 52324 h 1465072"/>
                <a:gd name="connsiteX15" fmla="*/ 1370076 w 1721104"/>
                <a:gd name="connsiteY15" fmla="*/ 94996 h 1465072"/>
                <a:gd name="connsiteX16" fmla="*/ 1251204 w 1721104"/>
                <a:gd name="connsiteY16" fmla="*/ 58420 h 1465072"/>
                <a:gd name="connsiteX17" fmla="*/ 986028 w 1721104"/>
                <a:gd name="connsiteY17" fmla="*/ 67564 h 1465072"/>
                <a:gd name="connsiteX18" fmla="*/ 784860 w 1721104"/>
                <a:gd name="connsiteY18" fmla="*/ 159004 h 1465072"/>
                <a:gd name="connsiteX19" fmla="*/ 611124 w 1721104"/>
                <a:gd name="connsiteY19" fmla="*/ 204724 h 1465072"/>
                <a:gd name="connsiteX20" fmla="*/ 611124 w 1721104"/>
                <a:gd name="connsiteY20" fmla="*/ 204724 h 1465072"/>
                <a:gd name="connsiteX21" fmla="*/ 382524 w 1721104"/>
                <a:gd name="connsiteY21" fmla="*/ 357124 h 1465072"/>
                <a:gd name="connsiteX22" fmla="*/ 230124 w 1721104"/>
                <a:gd name="connsiteY22" fmla="*/ 738124 h 1465072"/>
                <a:gd name="connsiteX23" fmla="*/ 44196 w 1721104"/>
                <a:gd name="connsiteY23" fmla="*/ 945388 h 1465072"/>
                <a:gd name="connsiteX24" fmla="*/ 1524 w 1721104"/>
                <a:gd name="connsiteY24" fmla="*/ 1195324 h 1465072"/>
                <a:gd name="connsiteX25" fmla="*/ 35052 w 1721104"/>
                <a:gd name="connsiteY25" fmla="*/ 1356868 h 1465072"/>
                <a:gd name="connsiteX26" fmla="*/ 108204 w 1721104"/>
                <a:gd name="connsiteY26" fmla="*/ 1439164 h 1465072"/>
                <a:gd name="connsiteX0" fmla="*/ 108204 w 1622044"/>
                <a:gd name="connsiteY0" fmla="*/ 1399540 h 1425448"/>
                <a:gd name="connsiteX1" fmla="*/ 309372 w 1622044"/>
                <a:gd name="connsiteY1" fmla="*/ 1161796 h 1425448"/>
                <a:gd name="connsiteX2" fmla="*/ 345948 w 1622044"/>
                <a:gd name="connsiteY2" fmla="*/ 1097788 h 1425448"/>
                <a:gd name="connsiteX3" fmla="*/ 464820 w 1622044"/>
                <a:gd name="connsiteY3" fmla="*/ 1024636 h 1425448"/>
                <a:gd name="connsiteX4" fmla="*/ 583692 w 1622044"/>
                <a:gd name="connsiteY4" fmla="*/ 841756 h 1425448"/>
                <a:gd name="connsiteX5" fmla="*/ 702564 w 1622044"/>
                <a:gd name="connsiteY5" fmla="*/ 713740 h 1425448"/>
                <a:gd name="connsiteX6" fmla="*/ 757428 w 1622044"/>
                <a:gd name="connsiteY6" fmla="*/ 640588 h 1425448"/>
                <a:gd name="connsiteX7" fmla="*/ 949452 w 1622044"/>
                <a:gd name="connsiteY7" fmla="*/ 549148 h 1425448"/>
                <a:gd name="connsiteX8" fmla="*/ 1068324 w 1622044"/>
                <a:gd name="connsiteY8" fmla="*/ 521716 h 1425448"/>
                <a:gd name="connsiteX9" fmla="*/ 1214628 w 1622044"/>
                <a:gd name="connsiteY9" fmla="*/ 457708 h 1425448"/>
                <a:gd name="connsiteX10" fmla="*/ 1379220 w 1622044"/>
                <a:gd name="connsiteY10" fmla="*/ 274828 h 1425448"/>
                <a:gd name="connsiteX11" fmla="*/ 1479804 w 1622044"/>
                <a:gd name="connsiteY11" fmla="*/ 155956 h 1425448"/>
                <a:gd name="connsiteX12" fmla="*/ 1601724 w 1622044"/>
                <a:gd name="connsiteY12" fmla="*/ 88900 h 1425448"/>
                <a:gd name="connsiteX13" fmla="*/ 1601724 w 1622044"/>
                <a:gd name="connsiteY13" fmla="*/ 12700 h 1425448"/>
                <a:gd name="connsiteX14" fmla="*/ 1525524 w 1622044"/>
                <a:gd name="connsiteY14" fmla="*/ 12700 h 1425448"/>
                <a:gd name="connsiteX15" fmla="*/ 1370076 w 1622044"/>
                <a:gd name="connsiteY15" fmla="*/ 55372 h 1425448"/>
                <a:gd name="connsiteX16" fmla="*/ 1251204 w 1622044"/>
                <a:gd name="connsiteY16" fmla="*/ 18796 h 1425448"/>
                <a:gd name="connsiteX17" fmla="*/ 986028 w 1622044"/>
                <a:gd name="connsiteY17" fmla="*/ 27940 h 1425448"/>
                <a:gd name="connsiteX18" fmla="*/ 784860 w 1622044"/>
                <a:gd name="connsiteY18" fmla="*/ 119380 h 1425448"/>
                <a:gd name="connsiteX19" fmla="*/ 611124 w 1622044"/>
                <a:gd name="connsiteY19" fmla="*/ 165100 h 1425448"/>
                <a:gd name="connsiteX20" fmla="*/ 611124 w 1622044"/>
                <a:gd name="connsiteY20" fmla="*/ 165100 h 1425448"/>
                <a:gd name="connsiteX21" fmla="*/ 382524 w 1622044"/>
                <a:gd name="connsiteY21" fmla="*/ 317500 h 1425448"/>
                <a:gd name="connsiteX22" fmla="*/ 230124 w 1622044"/>
                <a:gd name="connsiteY22" fmla="*/ 698500 h 1425448"/>
                <a:gd name="connsiteX23" fmla="*/ 44196 w 1622044"/>
                <a:gd name="connsiteY23" fmla="*/ 905764 h 1425448"/>
                <a:gd name="connsiteX24" fmla="*/ 1524 w 1622044"/>
                <a:gd name="connsiteY24" fmla="*/ 1155700 h 1425448"/>
                <a:gd name="connsiteX25" fmla="*/ 35052 w 1622044"/>
                <a:gd name="connsiteY25" fmla="*/ 1317244 h 1425448"/>
                <a:gd name="connsiteX26" fmla="*/ 108204 w 1622044"/>
                <a:gd name="connsiteY26" fmla="*/ 1399540 h 1425448"/>
                <a:gd name="connsiteX0" fmla="*/ 108204 w 1690624"/>
                <a:gd name="connsiteY0" fmla="*/ 1475740 h 1501648"/>
                <a:gd name="connsiteX1" fmla="*/ 309372 w 1690624"/>
                <a:gd name="connsiteY1" fmla="*/ 1237996 h 1501648"/>
                <a:gd name="connsiteX2" fmla="*/ 345948 w 1690624"/>
                <a:gd name="connsiteY2" fmla="*/ 1173988 h 1501648"/>
                <a:gd name="connsiteX3" fmla="*/ 464820 w 1690624"/>
                <a:gd name="connsiteY3" fmla="*/ 1100836 h 1501648"/>
                <a:gd name="connsiteX4" fmla="*/ 583692 w 1690624"/>
                <a:gd name="connsiteY4" fmla="*/ 917956 h 1501648"/>
                <a:gd name="connsiteX5" fmla="*/ 702564 w 1690624"/>
                <a:gd name="connsiteY5" fmla="*/ 789940 h 1501648"/>
                <a:gd name="connsiteX6" fmla="*/ 757428 w 1690624"/>
                <a:gd name="connsiteY6" fmla="*/ 716788 h 1501648"/>
                <a:gd name="connsiteX7" fmla="*/ 949452 w 1690624"/>
                <a:gd name="connsiteY7" fmla="*/ 625348 h 1501648"/>
                <a:gd name="connsiteX8" fmla="*/ 1068324 w 1690624"/>
                <a:gd name="connsiteY8" fmla="*/ 597916 h 1501648"/>
                <a:gd name="connsiteX9" fmla="*/ 1214628 w 1690624"/>
                <a:gd name="connsiteY9" fmla="*/ 533908 h 1501648"/>
                <a:gd name="connsiteX10" fmla="*/ 1379220 w 1690624"/>
                <a:gd name="connsiteY10" fmla="*/ 351028 h 1501648"/>
                <a:gd name="connsiteX11" fmla="*/ 1479804 w 1690624"/>
                <a:gd name="connsiteY11" fmla="*/ 232156 h 1501648"/>
                <a:gd name="connsiteX12" fmla="*/ 1601724 w 1690624"/>
                <a:gd name="connsiteY12" fmla="*/ 165100 h 1501648"/>
                <a:gd name="connsiteX13" fmla="*/ 1677924 w 1690624"/>
                <a:gd name="connsiteY13" fmla="*/ 12700 h 1501648"/>
                <a:gd name="connsiteX14" fmla="*/ 1525524 w 1690624"/>
                <a:gd name="connsiteY14" fmla="*/ 88900 h 1501648"/>
                <a:gd name="connsiteX15" fmla="*/ 1370076 w 1690624"/>
                <a:gd name="connsiteY15" fmla="*/ 131572 h 1501648"/>
                <a:gd name="connsiteX16" fmla="*/ 1251204 w 1690624"/>
                <a:gd name="connsiteY16" fmla="*/ 94996 h 1501648"/>
                <a:gd name="connsiteX17" fmla="*/ 986028 w 1690624"/>
                <a:gd name="connsiteY17" fmla="*/ 104140 h 1501648"/>
                <a:gd name="connsiteX18" fmla="*/ 784860 w 1690624"/>
                <a:gd name="connsiteY18" fmla="*/ 195580 h 1501648"/>
                <a:gd name="connsiteX19" fmla="*/ 611124 w 1690624"/>
                <a:gd name="connsiteY19" fmla="*/ 241300 h 1501648"/>
                <a:gd name="connsiteX20" fmla="*/ 611124 w 1690624"/>
                <a:gd name="connsiteY20" fmla="*/ 241300 h 1501648"/>
                <a:gd name="connsiteX21" fmla="*/ 382524 w 1690624"/>
                <a:gd name="connsiteY21" fmla="*/ 393700 h 1501648"/>
                <a:gd name="connsiteX22" fmla="*/ 230124 w 1690624"/>
                <a:gd name="connsiteY22" fmla="*/ 774700 h 1501648"/>
                <a:gd name="connsiteX23" fmla="*/ 44196 w 1690624"/>
                <a:gd name="connsiteY23" fmla="*/ 981964 h 1501648"/>
                <a:gd name="connsiteX24" fmla="*/ 1524 w 1690624"/>
                <a:gd name="connsiteY24" fmla="*/ 1231900 h 1501648"/>
                <a:gd name="connsiteX25" fmla="*/ 35052 w 1690624"/>
                <a:gd name="connsiteY25" fmla="*/ 1393444 h 1501648"/>
                <a:gd name="connsiteX26" fmla="*/ 108204 w 1690624"/>
                <a:gd name="connsiteY26" fmla="*/ 1475740 h 1501648"/>
                <a:gd name="connsiteX0" fmla="*/ 108204 w 1690624"/>
                <a:gd name="connsiteY0" fmla="*/ 1475740 h 1501648"/>
                <a:gd name="connsiteX1" fmla="*/ 309372 w 1690624"/>
                <a:gd name="connsiteY1" fmla="*/ 1237996 h 1501648"/>
                <a:gd name="connsiteX2" fmla="*/ 345948 w 1690624"/>
                <a:gd name="connsiteY2" fmla="*/ 1173988 h 1501648"/>
                <a:gd name="connsiteX3" fmla="*/ 464820 w 1690624"/>
                <a:gd name="connsiteY3" fmla="*/ 1100836 h 1501648"/>
                <a:gd name="connsiteX4" fmla="*/ 583692 w 1690624"/>
                <a:gd name="connsiteY4" fmla="*/ 917956 h 1501648"/>
                <a:gd name="connsiteX5" fmla="*/ 702564 w 1690624"/>
                <a:gd name="connsiteY5" fmla="*/ 789940 h 1501648"/>
                <a:gd name="connsiteX6" fmla="*/ 757428 w 1690624"/>
                <a:gd name="connsiteY6" fmla="*/ 716788 h 1501648"/>
                <a:gd name="connsiteX7" fmla="*/ 949452 w 1690624"/>
                <a:gd name="connsiteY7" fmla="*/ 625348 h 1501648"/>
                <a:gd name="connsiteX8" fmla="*/ 1068324 w 1690624"/>
                <a:gd name="connsiteY8" fmla="*/ 597916 h 1501648"/>
                <a:gd name="connsiteX9" fmla="*/ 1214628 w 1690624"/>
                <a:gd name="connsiteY9" fmla="*/ 533908 h 1501648"/>
                <a:gd name="connsiteX10" fmla="*/ 1379220 w 1690624"/>
                <a:gd name="connsiteY10" fmla="*/ 351028 h 1501648"/>
                <a:gd name="connsiteX11" fmla="*/ 1479804 w 1690624"/>
                <a:gd name="connsiteY11" fmla="*/ 232156 h 1501648"/>
                <a:gd name="connsiteX12" fmla="*/ 1601724 w 1690624"/>
                <a:gd name="connsiteY12" fmla="*/ 165100 h 1501648"/>
                <a:gd name="connsiteX13" fmla="*/ 1677924 w 1690624"/>
                <a:gd name="connsiteY13" fmla="*/ 12700 h 1501648"/>
                <a:gd name="connsiteX14" fmla="*/ 1525524 w 1690624"/>
                <a:gd name="connsiteY14" fmla="*/ 88900 h 1501648"/>
                <a:gd name="connsiteX15" fmla="*/ 1370076 w 1690624"/>
                <a:gd name="connsiteY15" fmla="*/ 131572 h 1501648"/>
                <a:gd name="connsiteX16" fmla="*/ 1251204 w 1690624"/>
                <a:gd name="connsiteY16" fmla="*/ 94996 h 1501648"/>
                <a:gd name="connsiteX17" fmla="*/ 986028 w 1690624"/>
                <a:gd name="connsiteY17" fmla="*/ 104140 h 1501648"/>
                <a:gd name="connsiteX18" fmla="*/ 784860 w 1690624"/>
                <a:gd name="connsiteY18" fmla="*/ 195580 h 1501648"/>
                <a:gd name="connsiteX19" fmla="*/ 611124 w 1690624"/>
                <a:gd name="connsiteY19" fmla="*/ 241300 h 1501648"/>
                <a:gd name="connsiteX20" fmla="*/ 611124 w 1690624"/>
                <a:gd name="connsiteY20" fmla="*/ 241300 h 1501648"/>
                <a:gd name="connsiteX21" fmla="*/ 382524 w 1690624"/>
                <a:gd name="connsiteY21" fmla="*/ 393700 h 1501648"/>
                <a:gd name="connsiteX22" fmla="*/ 230124 w 1690624"/>
                <a:gd name="connsiteY22" fmla="*/ 774700 h 1501648"/>
                <a:gd name="connsiteX23" fmla="*/ 44196 w 1690624"/>
                <a:gd name="connsiteY23" fmla="*/ 981964 h 1501648"/>
                <a:gd name="connsiteX24" fmla="*/ 1524 w 1690624"/>
                <a:gd name="connsiteY24" fmla="*/ 1231900 h 1501648"/>
                <a:gd name="connsiteX25" fmla="*/ 35052 w 1690624"/>
                <a:gd name="connsiteY25" fmla="*/ 1393444 h 1501648"/>
                <a:gd name="connsiteX26" fmla="*/ 108204 w 1690624"/>
                <a:gd name="connsiteY26" fmla="*/ 1475740 h 1501648"/>
                <a:gd name="connsiteX0" fmla="*/ 108204 w 1690624"/>
                <a:gd name="connsiteY0" fmla="*/ 1475740 h 1501648"/>
                <a:gd name="connsiteX1" fmla="*/ 309372 w 1690624"/>
                <a:gd name="connsiteY1" fmla="*/ 1237996 h 1501648"/>
                <a:gd name="connsiteX2" fmla="*/ 345948 w 1690624"/>
                <a:gd name="connsiteY2" fmla="*/ 1173988 h 1501648"/>
                <a:gd name="connsiteX3" fmla="*/ 464820 w 1690624"/>
                <a:gd name="connsiteY3" fmla="*/ 1100836 h 1501648"/>
                <a:gd name="connsiteX4" fmla="*/ 583692 w 1690624"/>
                <a:gd name="connsiteY4" fmla="*/ 917956 h 1501648"/>
                <a:gd name="connsiteX5" fmla="*/ 702564 w 1690624"/>
                <a:gd name="connsiteY5" fmla="*/ 789940 h 1501648"/>
                <a:gd name="connsiteX6" fmla="*/ 757428 w 1690624"/>
                <a:gd name="connsiteY6" fmla="*/ 716788 h 1501648"/>
                <a:gd name="connsiteX7" fmla="*/ 949452 w 1690624"/>
                <a:gd name="connsiteY7" fmla="*/ 625348 h 1501648"/>
                <a:gd name="connsiteX8" fmla="*/ 1068324 w 1690624"/>
                <a:gd name="connsiteY8" fmla="*/ 597916 h 1501648"/>
                <a:gd name="connsiteX9" fmla="*/ 1214628 w 1690624"/>
                <a:gd name="connsiteY9" fmla="*/ 533908 h 1501648"/>
                <a:gd name="connsiteX10" fmla="*/ 1379220 w 1690624"/>
                <a:gd name="connsiteY10" fmla="*/ 351028 h 1501648"/>
                <a:gd name="connsiteX11" fmla="*/ 1479804 w 1690624"/>
                <a:gd name="connsiteY11" fmla="*/ 232156 h 1501648"/>
                <a:gd name="connsiteX12" fmla="*/ 1601724 w 1690624"/>
                <a:gd name="connsiteY12" fmla="*/ 165100 h 1501648"/>
                <a:gd name="connsiteX13" fmla="*/ 1677924 w 1690624"/>
                <a:gd name="connsiteY13" fmla="*/ 12700 h 1501648"/>
                <a:gd name="connsiteX14" fmla="*/ 1525524 w 1690624"/>
                <a:gd name="connsiteY14" fmla="*/ 88900 h 1501648"/>
                <a:gd name="connsiteX15" fmla="*/ 1370076 w 1690624"/>
                <a:gd name="connsiteY15" fmla="*/ 131572 h 1501648"/>
                <a:gd name="connsiteX16" fmla="*/ 1251204 w 1690624"/>
                <a:gd name="connsiteY16" fmla="*/ 94996 h 1501648"/>
                <a:gd name="connsiteX17" fmla="*/ 986028 w 1690624"/>
                <a:gd name="connsiteY17" fmla="*/ 104140 h 1501648"/>
                <a:gd name="connsiteX18" fmla="*/ 784860 w 1690624"/>
                <a:gd name="connsiteY18" fmla="*/ 195580 h 1501648"/>
                <a:gd name="connsiteX19" fmla="*/ 611124 w 1690624"/>
                <a:gd name="connsiteY19" fmla="*/ 241300 h 1501648"/>
                <a:gd name="connsiteX20" fmla="*/ 611124 w 1690624"/>
                <a:gd name="connsiteY20" fmla="*/ 241300 h 1501648"/>
                <a:gd name="connsiteX21" fmla="*/ 382524 w 1690624"/>
                <a:gd name="connsiteY21" fmla="*/ 393700 h 1501648"/>
                <a:gd name="connsiteX22" fmla="*/ 230124 w 1690624"/>
                <a:gd name="connsiteY22" fmla="*/ 774700 h 1501648"/>
                <a:gd name="connsiteX23" fmla="*/ 44196 w 1690624"/>
                <a:gd name="connsiteY23" fmla="*/ 981964 h 1501648"/>
                <a:gd name="connsiteX24" fmla="*/ 1524 w 1690624"/>
                <a:gd name="connsiteY24" fmla="*/ 1231900 h 1501648"/>
                <a:gd name="connsiteX25" fmla="*/ 35052 w 1690624"/>
                <a:gd name="connsiteY25" fmla="*/ 1393444 h 1501648"/>
                <a:gd name="connsiteX26" fmla="*/ 108204 w 1690624"/>
                <a:gd name="connsiteY26" fmla="*/ 1475740 h 1501648"/>
                <a:gd name="connsiteX0" fmla="*/ 108204 w 1690624"/>
                <a:gd name="connsiteY0" fmla="*/ 1475740 h 1501648"/>
                <a:gd name="connsiteX1" fmla="*/ 309372 w 1690624"/>
                <a:gd name="connsiteY1" fmla="*/ 1237996 h 1501648"/>
                <a:gd name="connsiteX2" fmla="*/ 345948 w 1690624"/>
                <a:gd name="connsiteY2" fmla="*/ 1173988 h 1501648"/>
                <a:gd name="connsiteX3" fmla="*/ 464820 w 1690624"/>
                <a:gd name="connsiteY3" fmla="*/ 1100836 h 1501648"/>
                <a:gd name="connsiteX4" fmla="*/ 583692 w 1690624"/>
                <a:gd name="connsiteY4" fmla="*/ 917956 h 1501648"/>
                <a:gd name="connsiteX5" fmla="*/ 702564 w 1690624"/>
                <a:gd name="connsiteY5" fmla="*/ 789940 h 1501648"/>
                <a:gd name="connsiteX6" fmla="*/ 757428 w 1690624"/>
                <a:gd name="connsiteY6" fmla="*/ 716788 h 1501648"/>
                <a:gd name="connsiteX7" fmla="*/ 949452 w 1690624"/>
                <a:gd name="connsiteY7" fmla="*/ 625348 h 1501648"/>
                <a:gd name="connsiteX8" fmla="*/ 1068324 w 1690624"/>
                <a:gd name="connsiteY8" fmla="*/ 597916 h 1501648"/>
                <a:gd name="connsiteX9" fmla="*/ 1214628 w 1690624"/>
                <a:gd name="connsiteY9" fmla="*/ 533908 h 1501648"/>
                <a:gd name="connsiteX10" fmla="*/ 1379220 w 1690624"/>
                <a:gd name="connsiteY10" fmla="*/ 351028 h 1501648"/>
                <a:gd name="connsiteX11" fmla="*/ 1479804 w 1690624"/>
                <a:gd name="connsiteY11" fmla="*/ 232156 h 1501648"/>
                <a:gd name="connsiteX12" fmla="*/ 1601724 w 1690624"/>
                <a:gd name="connsiteY12" fmla="*/ 165100 h 1501648"/>
                <a:gd name="connsiteX13" fmla="*/ 1677924 w 1690624"/>
                <a:gd name="connsiteY13" fmla="*/ 12700 h 1501648"/>
                <a:gd name="connsiteX14" fmla="*/ 1525524 w 1690624"/>
                <a:gd name="connsiteY14" fmla="*/ 88900 h 1501648"/>
                <a:gd name="connsiteX15" fmla="*/ 1370076 w 1690624"/>
                <a:gd name="connsiteY15" fmla="*/ 131572 h 1501648"/>
                <a:gd name="connsiteX16" fmla="*/ 1251204 w 1690624"/>
                <a:gd name="connsiteY16" fmla="*/ 94996 h 1501648"/>
                <a:gd name="connsiteX17" fmla="*/ 986028 w 1690624"/>
                <a:gd name="connsiteY17" fmla="*/ 104140 h 1501648"/>
                <a:gd name="connsiteX18" fmla="*/ 784860 w 1690624"/>
                <a:gd name="connsiteY18" fmla="*/ 195580 h 1501648"/>
                <a:gd name="connsiteX19" fmla="*/ 611124 w 1690624"/>
                <a:gd name="connsiteY19" fmla="*/ 241300 h 1501648"/>
                <a:gd name="connsiteX20" fmla="*/ 611124 w 1690624"/>
                <a:gd name="connsiteY20" fmla="*/ 241300 h 1501648"/>
                <a:gd name="connsiteX21" fmla="*/ 382524 w 1690624"/>
                <a:gd name="connsiteY21" fmla="*/ 393700 h 1501648"/>
                <a:gd name="connsiteX22" fmla="*/ 230124 w 1690624"/>
                <a:gd name="connsiteY22" fmla="*/ 774700 h 1501648"/>
                <a:gd name="connsiteX23" fmla="*/ 44196 w 1690624"/>
                <a:gd name="connsiteY23" fmla="*/ 981964 h 1501648"/>
                <a:gd name="connsiteX24" fmla="*/ 1524 w 1690624"/>
                <a:gd name="connsiteY24" fmla="*/ 1231900 h 1501648"/>
                <a:gd name="connsiteX25" fmla="*/ 35052 w 1690624"/>
                <a:gd name="connsiteY25" fmla="*/ 1393444 h 1501648"/>
                <a:gd name="connsiteX26" fmla="*/ 108204 w 1690624"/>
                <a:gd name="connsiteY26" fmla="*/ 1475740 h 1501648"/>
                <a:gd name="connsiteX0" fmla="*/ 108204 w 1690624"/>
                <a:gd name="connsiteY0" fmla="*/ 1399540 h 1425448"/>
                <a:gd name="connsiteX1" fmla="*/ 309372 w 1690624"/>
                <a:gd name="connsiteY1" fmla="*/ 1161796 h 1425448"/>
                <a:gd name="connsiteX2" fmla="*/ 345948 w 1690624"/>
                <a:gd name="connsiteY2" fmla="*/ 1097788 h 1425448"/>
                <a:gd name="connsiteX3" fmla="*/ 464820 w 1690624"/>
                <a:gd name="connsiteY3" fmla="*/ 1024636 h 1425448"/>
                <a:gd name="connsiteX4" fmla="*/ 583692 w 1690624"/>
                <a:gd name="connsiteY4" fmla="*/ 841756 h 1425448"/>
                <a:gd name="connsiteX5" fmla="*/ 702564 w 1690624"/>
                <a:gd name="connsiteY5" fmla="*/ 713740 h 1425448"/>
                <a:gd name="connsiteX6" fmla="*/ 757428 w 1690624"/>
                <a:gd name="connsiteY6" fmla="*/ 640588 h 1425448"/>
                <a:gd name="connsiteX7" fmla="*/ 949452 w 1690624"/>
                <a:gd name="connsiteY7" fmla="*/ 549148 h 1425448"/>
                <a:gd name="connsiteX8" fmla="*/ 1068324 w 1690624"/>
                <a:gd name="connsiteY8" fmla="*/ 521716 h 1425448"/>
                <a:gd name="connsiteX9" fmla="*/ 1214628 w 1690624"/>
                <a:gd name="connsiteY9" fmla="*/ 457708 h 1425448"/>
                <a:gd name="connsiteX10" fmla="*/ 1379220 w 1690624"/>
                <a:gd name="connsiteY10" fmla="*/ 274828 h 1425448"/>
                <a:gd name="connsiteX11" fmla="*/ 1479804 w 1690624"/>
                <a:gd name="connsiteY11" fmla="*/ 155956 h 1425448"/>
                <a:gd name="connsiteX12" fmla="*/ 1601724 w 1690624"/>
                <a:gd name="connsiteY12" fmla="*/ 88900 h 1425448"/>
                <a:gd name="connsiteX13" fmla="*/ 1677924 w 1690624"/>
                <a:gd name="connsiteY13" fmla="*/ 12700 h 1425448"/>
                <a:gd name="connsiteX14" fmla="*/ 1525524 w 1690624"/>
                <a:gd name="connsiteY14" fmla="*/ 12700 h 1425448"/>
                <a:gd name="connsiteX15" fmla="*/ 1370076 w 1690624"/>
                <a:gd name="connsiteY15" fmla="*/ 55372 h 1425448"/>
                <a:gd name="connsiteX16" fmla="*/ 1251204 w 1690624"/>
                <a:gd name="connsiteY16" fmla="*/ 18796 h 1425448"/>
                <a:gd name="connsiteX17" fmla="*/ 986028 w 1690624"/>
                <a:gd name="connsiteY17" fmla="*/ 27940 h 1425448"/>
                <a:gd name="connsiteX18" fmla="*/ 784860 w 1690624"/>
                <a:gd name="connsiteY18" fmla="*/ 119380 h 1425448"/>
                <a:gd name="connsiteX19" fmla="*/ 611124 w 1690624"/>
                <a:gd name="connsiteY19" fmla="*/ 165100 h 1425448"/>
                <a:gd name="connsiteX20" fmla="*/ 611124 w 1690624"/>
                <a:gd name="connsiteY20" fmla="*/ 165100 h 1425448"/>
                <a:gd name="connsiteX21" fmla="*/ 382524 w 1690624"/>
                <a:gd name="connsiteY21" fmla="*/ 317500 h 1425448"/>
                <a:gd name="connsiteX22" fmla="*/ 230124 w 1690624"/>
                <a:gd name="connsiteY22" fmla="*/ 698500 h 1425448"/>
                <a:gd name="connsiteX23" fmla="*/ 44196 w 1690624"/>
                <a:gd name="connsiteY23" fmla="*/ 905764 h 1425448"/>
                <a:gd name="connsiteX24" fmla="*/ 1524 w 1690624"/>
                <a:gd name="connsiteY24" fmla="*/ 1155700 h 1425448"/>
                <a:gd name="connsiteX25" fmla="*/ 35052 w 1690624"/>
                <a:gd name="connsiteY25" fmla="*/ 1317244 h 1425448"/>
                <a:gd name="connsiteX26" fmla="*/ 108204 w 1690624"/>
                <a:gd name="connsiteY26" fmla="*/ 1399540 h 1425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690624" h="1425448">
                  <a:moveTo>
                    <a:pt x="108204" y="1399540"/>
                  </a:moveTo>
                  <a:cubicBezTo>
                    <a:pt x="153924" y="1373632"/>
                    <a:pt x="269748" y="1212088"/>
                    <a:pt x="309372" y="1161796"/>
                  </a:cubicBezTo>
                  <a:cubicBezTo>
                    <a:pt x="348996" y="1111504"/>
                    <a:pt x="320040" y="1120648"/>
                    <a:pt x="345948" y="1097788"/>
                  </a:cubicBezTo>
                  <a:cubicBezTo>
                    <a:pt x="371856" y="1074928"/>
                    <a:pt x="425196" y="1067308"/>
                    <a:pt x="464820" y="1024636"/>
                  </a:cubicBezTo>
                  <a:cubicBezTo>
                    <a:pt x="504444" y="981964"/>
                    <a:pt x="544068" y="893572"/>
                    <a:pt x="583692" y="841756"/>
                  </a:cubicBezTo>
                  <a:cubicBezTo>
                    <a:pt x="623316" y="789940"/>
                    <a:pt x="673608" y="747268"/>
                    <a:pt x="702564" y="713740"/>
                  </a:cubicBezTo>
                  <a:cubicBezTo>
                    <a:pt x="731520" y="680212"/>
                    <a:pt x="716280" y="668020"/>
                    <a:pt x="757428" y="640588"/>
                  </a:cubicBezTo>
                  <a:cubicBezTo>
                    <a:pt x="798576" y="613156"/>
                    <a:pt x="897636" y="568960"/>
                    <a:pt x="949452" y="549148"/>
                  </a:cubicBezTo>
                  <a:cubicBezTo>
                    <a:pt x="1001268" y="529336"/>
                    <a:pt x="1024128" y="536956"/>
                    <a:pt x="1068324" y="521716"/>
                  </a:cubicBezTo>
                  <a:cubicBezTo>
                    <a:pt x="1112520" y="506476"/>
                    <a:pt x="1162812" y="498856"/>
                    <a:pt x="1214628" y="457708"/>
                  </a:cubicBezTo>
                  <a:cubicBezTo>
                    <a:pt x="1266444" y="416560"/>
                    <a:pt x="1335024" y="325120"/>
                    <a:pt x="1379220" y="274828"/>
                  </a:cubicBezTo>
                  <a:cubicBezTo>
                    <a:pt x="1423416" y="224536"/>
                    <a:pt x="1442720" y="186944"/>
                    <a:pt x="1479804" y="155956"/>
                  </a:cubicBezTo>
                  <a:cubicBezTo>
                    <a:pt x="1516888" y="124968"/>
                    <a:pt x="1568704" y="112776"/>
                    <a:pt x="1601724" y="88900"/>
                  </a:cubicBezTo>
                  <a:cubicBezTo>
                    <a:pt x="1634744" y="65024"/>
                    <a:pt x="1690624" y="25400"/>
                    <a:pt x="1677924" y="12700"/>
                  </a:cubicBezTo>
                  <a:cubicBezTo>
                    <a:pt x="1665224" y="0"/>
                    <a:pt x="1576832" y="5588"/>
                    <a:pt x="1525524" y="12700"/>
                  </a:cubicBezTo>
                  <a:cubicBezTo>
                    <a:pt x="1474216" y="19812"/>
                    <a:pt x="1415796" y="54356"/>
                    <a:pt x="1370076" y="55372"/>
                  </a:cubicBezTo>
                  <a:cubicBezTo>
                    <a:pt x="1324356" y="56388"/>
                    <a:pt x="1315212" y="23368"/>
                    <a:pt x="1251204" y="18796"/>
                  </a:cubicBezTo>
                  <a:cubicBezTo>
                    <a:pt x="1187196" y="14224"/>
                    <a:pt x="1063752" y="11176"/>
                    <a:pt x="986028" y="27940"/>
                  </a:cubicBezTo>
                  <a:cubicBezTo>
                    <a:pt x="908304" y="44704"/>
                    <a:pt x="847344" y="96520"/>
                    <a:pt x="784860" y="119380"/>
                  </a:cubicBezTo>
                  <a:cubicBezTo>
                    <a:pt x="722376" y="142240"/>
                    <a:pt x="640080" y="157480"/>
                    <a:pt x="611124" y="165100"/>
                  </a:cubicBezTo>
                  <a:lnTo>
                    <a:pt x="611124" y="165100"/>
                  </a:lnTo>
                  <a:cubicBezTo>
                    <a:pt x="573024" y="190500"/>
                    <a:pt x="446024" y="228600"/>
                    <a:pt x="382524" y="317500"/>
                  </a:cubicBezTo>
                  <a:cubicBezTo>
                    <a:pt x="319024" y="406400"/>
                    <a:pt x="286512" y="600456"/>
                    <a:pt x="230124" y="698500"/>
                  </a:cubicBezTo>
                  <a:cubicBezTo>
                    <a:pt x="173736" y="796544"/>
                    <a:pt x="82296" y="829564"/>
                    <a:pt x="44196" y="905764"/>
                  </a:cubicBezTo>
                  <a:cubicBezTo>
                    <a:pt x="6096" y="981964"/>
                    <a:pt x="3048" y="1087120"/>
                    <a:pt x="1524" y="1155700"/>
                  </a:cubicBezTo>
                  <a:cubicBezTo>
                    <a:pt x="0" y="1224280"/>
                    <a:pt x="17272" y="1276604"/>
                    <a:pt x="35052" y="1317244"/>
                  </a:cubicBezTo>
                  <a:cubicBezTo>
                    <a:pt x="52832" y="1357884"/>
                    <a:pt x="62484" y="1425448"/>
                    <a:pt x="108204" y="1399540"/>
                  </a:cubicBezTo>
                  <a:close/>
                </a:path>
              </a:pathLst>
            </a:custGeom>
            <a:solidFill>
              <a:srgbClr val="C0504D">
                <a:lumMod val="60000"/>
                <a:lumOff val="40000"/>
              </a:srgbClr>
            </a:solidFill>
            <a:ln w="25400" cap="flat" cmpd="sng" algn="ctr">
              <a:solidFill>
                <a:srgbClr val="C0504D">
                  <a:lumMod val="50000"/>
                  <a:alpha val="20000"/>
                </a:srgbClr>
              </a:solidFill>
              <a:prstDash val="solid"/>
            </a:ln>
            <a:effectLst/>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0" cap="none" spc="0" normalizeH="0" baseline="0" noProof="0" dirty="0">
                <a:ln>
                  <a:noFill/>
                </a:ln>
                <a:solidFill>
                  <a:prstClr val="white"/>
                </a:solidFill>
                <a:effectLst/>
                <a:uLnTx/>
                <a:uFillTx/>
                <a:latin typeface="News Gothic MT" panose="020B0503020103020203" pitchFamily="34" charset="0"/>
                <a:ea typeface="MS PGothic" charset="0"/>
                <a:cs typeface="+mn-cs"/>
              </a:endParaRPr>
            </a:p>
          </p:txBody>
        </p:sp>
        <p:sp>
          <p:nvSpPr>
            <p:cNvPr id="9" name="Freeform 204">
              <a:extLst>
                <a:ext uri="{FF2B5EF4-FFF2-40B4-BE49-F238E27FC236}">
                  <a16:creationId xmlns:a16="http://schemas.microsoft.com/office/drawing/2014/main" id="{F222C93C-8EAA-4913-A514-20E2CF094777}"/>
                </a:ext>
              </a:extLst>
            </p:cNvPr>
            <p:cNvSpPr/>
            <p:nvPr/>
          </p:nvSpPr>
          <p:spPr>
            <a:xfrm rot="15656552" flipH="1">
              <a:off x="4369215" y="2690959"/>
              <a:ext cx="458495" cy="632089"/>
            </a:xfrm>
            <a:custGeom>
              <a:avLst/>
              <a:gdLst>
                <a:gd name="connsiteX0" fmla="*/ 19812 w 1226820"/>
                <a:gd name="connsiteY0" fmla="*/ 841248 h 864108"/>
                <a:gd name="connsiteX1" fmla="*/ 92964 w 1226820"/>
                <a:gd name="connsiteY1" fmla="*/ 649224 h 864108"/>
                <a:gd name="connsiteX2" fmla="*/ 193548 w 1226820"/>
                <a:gd name="connsiteY2" fmla="*/ 548640 h 864108"/>
                <a:gd name="connsiteX3" fmla="*/ 321564 w 1226820"/>
                <a:gd name="connsiteY3" fmla="*/ 493776 h 864108"/>
                <a:gd name="connsiteX4" fmla="*/ 422148 w 1226820"/>
                <a:gd name="connsiteY4" fmla="*/ 466344 h 864108"/>
                <a:gd name="connsiteX5" fmla="*/ 522732 w 1226820"/>
                <a:gd name="connsiteY5" fmla="*/ 384048 h 864108"/>
                <a:gd name="connsiteX6" fmla="*/ 714756 w 1226820"/>
                <a:gd name="connsiteY6" fmla="*/ 301752 h 864108"/>
                <a:gd name="connsiteX7" fmla="*/ 797052 w 1226820"/>
                <a:gd name="connsiteY7" fmla="*/ 192024 h 864108"/>
                <a:gd name="connsiteX8" fmla="*/ 943356 w 1226820"/>
                <a:gd name="connsiteY8" fmla="*/ 155448 h 864108"/>
                <a:gd name="connsiteX9" fmla="*/ 989076 w 1226820"/>
                <a:gd name="connsiteY9" fmla="*/ 155448 h 864108"/>
                <a:gd name="connsiteX10" fmla="*/ 1025652 w 1226820"/>
                <a:gd name="connsiteY10" fmla="*/ 137160 h 864108"/>
                <a:gd name="connsiteX11" fmla="*/ 979932 w 1226820"/>
                <a:gd name="connsiteY11" fmla="*/ 137160 h 864108"/>
                <a:gd name="connsiteX12" fmla="*/ 888492 w 1226820"/>
                <a:gd name="connsiteY12" fmla="*/ 137160 h 864108"/>
                <a:gd name="connsiteX13" fmla="*/ 833628 w 1226820"/>
                <a:gd name="connsiteY13" fmla="*/ 146304 h 864108"/>
                <a:gd name="connsiteX14" fmla="*/ 824484 w 1226820"/>
                <a:gd name="connsiteY14" fmla="*/ 155448 h 864108"/>
                <a:gd name="connsiteX15" fmla="*/ 806196 w 1226820"/>
                <a:gd name="connsiteY15" fmla="*/ 146304 h 864108"/>
                <a:gd name="connsiteX16" fmla="*/ 934212 w 1226820"/>
                <a:gd name="connsiteY16" fmla="*/ 91440 h 864108"/>
                <a:gd name="connsiteX17" fmla="*/ 989076 w 1226820"/>
                <a:gd name="connsiteY17" fmla="*/ 91440 h 864108"/>
                <a:gd name="connsiteX18" fmla="*/ 1080516 w 1226820"/>
                <a:gd name="connsiteY18" fmla="*/ 82296 h 864108"/>
                <a:gd name="connsiteX19" fmla="*/ 1208532 w 1226820"/>
                <a:gd name="connsiteY19" fmla="*/ 27432 h 864108"/>
                <a:gd name="connsiteX20" fmla="*/ 1190244 w 1226820"/>
                <a:gd name="connsiteY20" fmla="*/ 0 h 864108"/>
                <a:gd name="connsiteX21" fmla="*/ 1153668 w 1226820"/>
                <a:gd name="connsiteY21" fmla="*/ 27432 h 864108"/>
                <a:gd name="connsiteX22" fmla="*/ 1117092 w 1226820"/>
                <a:gd name="connsiteY22" fmla="*/ 36576 h 864108"/>
                <a:gd name="connsiteX23" fmla="*/ 1043940 w 1226820"/>
                <a:gd name="connsiteY23" fmla="*/ 64008 h 864108"/>
                <a:gd name="connsiteX24" fmla="*/ 989076 w 1226820"/>
                <a:gd name="connsiteY24" fmla="*/ 64008 h 864108"/>
                <a:gd name="connsiteX25" fmla="*/ 879348 w 1226820"/>
                <a:gd name="connsiteY25" fmla="*/ 64008 h 864108"/>
                <a:gd name="connsiteX26" fmla="*/ 824484 w 1226820"/>
                <a:gd name="connsiteY26" fmla="*/ 100584 h 864108"/>
                <a:gd name="connsiteX27" fmla="*/ 787908 w 1226820"/>
                <a:gd name="connsiteY27" fmla="*/ 146304 h 864108"/>
                <a:gd name="connsiteX28" fmla="*/ 742188 w 1226820"/>
                <a:gd name="connsiteY28" fmla="*/ 182880 h 864108"/>
                <a:gd name="connsiteX29" fmla="*/ 696468 w 1226820"/>
                <a:gd name="connsiteY29" fmla="*/ 256032 h 864108"/>
                <a:gd name="connsiteX30" fmla="*/ 623316 w 1226820"/>
                <a:gd name="connsiteY30" fmla="*/ 301752 h 864108"/>
                <a:gd name="connsiteX31" fmla="*/ 522732 w 1226820"/>
                <a:gd name="connsiteY31" fmla="*/ 347472 h 864108"/>
                <a:gd name="connsiteX32" fmla="*/ 486156 w 1226820"/>
                <a:gd name="connsiteY32" fmla="*/ 374904 h 864108"/>
                <a:gd name="connsiteX33" fmla="*/ 440436 w 1226820"/>
                <a:gd name="connsiteY33" fmla="*/ 402336 h 864108"/>
                <a:gd name="connsiteX34" fmla="*/ 422148 w 1226820"/>
                <a:gd name="connsiteY34" fmla="*/ 402336 h 864108"/>
                <a:gd name="connsiteX35" fmla="*/ 440436 w 1226820"/>
                <a:gd name="connsiteY35" fmla="*/ 365760 h 864108"/>
                <a:gd name="connsiteX36" fmla="*/ 495300 w 1226820"/>
                <a:gd name="connsiteY36" fmla="*/ 301752 h 864108"/>
                <a:gd name="connsiteX37" fmla="*/ 586740 w 1226820"/>
                <a:gd name="connsiteY37" fmla="*/ 219456 h 864108"/>
                <a:gd name="connsiteX38" fmla="*/ 632460 w 1226820"/>
                <a:gd name="connsiteY38" fmla="*/ 146304 h 864108"/>
                <a:gd name="connsiteX39" fmla="*/ 632460 w 1226820"/>
                <a:gd name="connsiteY39" fmla="*/ 64008 h 864108"/>
                <a:gd name="connsiteX40" fmla="*/ 623316 w 1226820"/>
                <a:gd name="connsiteY40" fmla="*/ 54864 h 864108"/>
                <a:gd name="connsiteX41" fmla="*/ 614172 w 1226820"/>
                <a:gd name="connsiteY41" fmla="*/ 128016 h 864108"/>
                <a:gd name="connsiteX42" fmla="*/ 586740 w 1226820"/>
                <a:gd name="connsiteY42" fmla="*/ 173736 h 864108"/>
                <a:gd name="connsiteX43" fmla="*/ 513588 w 1226820"/>
                <a:gd name="connsiteY43" fmla="*/ 237744 h 864108"/>
                <a:gd name="connsiteX44" fmla="*/ 486156 w 1226820"/>
                <a:gd name="connsiteY44" fmla="*/ 256032 h 864108"/>
                <a:gd name="connsiteX45" fmla="*/ 413004 w 1226820"/>
                <a:gd name="connsiteY45" fmla="*/ 347472 h 864108"/>
                <a:gd name="connsiteX46" fmla="*/ 403860 w 1226820"/>
                <a:gd name="connsiteY46" fmla="*/ 374904 h 864108"/>
                <a:gd name="connsiteX47" fmla="*/ 394716 w 1226820"/>
                <a:gd name="connsiteY47" fmla="*/ 411480 h 864108"/>
                <a:gd name="connsiteX48" fmla="*/ 413004 w 1226820"/>
                <a:gd name="connsiteY48" fmla="*/ 429768 h 864108"/>
                <a:gd name="connsiteX49" fmla="*/ 367284 w 1226820"/>
                <a:gd name="connsiteY49" fmla="*/ 457200 h 864108"/>
                <a:gd name="connsiteX50" fmla="*/ 220980 w 1226820"/>
                <a:gd name="connsiteY50" fmla="*/ 493776 h 864108"/>
                <a:gd name="connsiteX51" fmla="*/ 175260 w 1226820"/>
                <a:gd name="connsiteY51" fmla="*/ 530352 h 864108"/>
                <a:gd name="connsiteX52" fmla="*/ 92964 w 1226820"/>
                <a:gd name="connsiteY52" fmla="*/ 585216 h 864108"/>
                <a:gd name="connsiteX53" fmla="*/ 19812 w 1226820"/>
                <a:gd name="connsiteY53" fmla="*/ 704088 h 864108"/>
                <a:gd name="connsiteX54" fmla="*/ 1524 w 1226820"/>
                <a:gd name="connsiteY54" fmla="*/ 786384 h 864108"/>
                <a:gd name="connsiteX55" fmla="*/ 19812 w 1226820"/>
                <a:gd name="connsiteY55" fmla="*/ 841248 h 864108"/>
                <a:gd name="connsiteX0" fmla="*/ 218332 w 1253874"/>
                <a:gd name="connsiteY0" fmla="*/ 554512 h 811313"/>
                <a:gd name="connsiteX1" fmla="*/ 120018 w 1253874"/>
                <a:gd name="connsiteY1" fmla="*/ 649224 h 811313"/>
                <a:gd name="connsiteX2" fmla="*/ 220602 w 1253874"/>
                <a:gd name="connsiteY2" fmla="*/ 548640 h 811313"/>
                <a:gd name="connsiteX3" fmla="*/ 348618 w 1253874"/>
                <a:gd name="connsiteY3" fmla="*/ 493776 h 811313"/>
                <a:gd name="connsiteX4" fmla="*/ 449202 w 1253874"/>
                <a:gd name="connsiteY4" fmla="*/ 466344 h 811313"/>
                <a:gd name="connsiteX5" fmla="*/ 549786 w 1253874"/>
                <a:gd name="connsiteY5" fmla="*/ 384048 h 811313"/>
                <a:gd name="connsiteX6" fmla="*/ 741810 w 1253874"/>
                <a:gd name="connsiteY6" fmla="*/ 301752 h 811313"/>
                <a:gd name="connsiteX7" fmla="*/ 824106 w 1253874"/>
                <a:gd name="connsiteY7" fmla="*/ 192024 h 811313"/>
                <a:gd name="connsiteX8" fmla="*/ 970410 w 1253874"/>
                <a:gd name="connsiteY8" fmla="*/ 155448 h 811313"/>
                <a:gd name="connsiteX9" fmla="*/ 1016130 w 1253874"/>
                <a:gd name="connsiteY9" fmla="*/ 155448 h 811313"/>
                <a:gd name="connsiteX10" fmla="*/ 1052706 w 1253874"/>
                <a:gd name="connsiteY10" fmla="*/ 137160 h 811313"/>
                <a:gd name="connsiteX11" fmla="*/ 1006986 w 1253874"/>
                <a:gd name="connsiteY11" fmla="*/ 137160 h 811313"/>
                <a:gd name="connsiteX12" fmla="*/ 915546 w 1253874"/>
                <a:gd name="connsiteY12" fmla="*/ 137160 h 811313"/>
                <a:gd name="connsiteX13" fmla="*/ 860682 w 1253874"/>
                <a:gd name="connsiteY13" fmla="*/ 146304 h 811313"/>
                <a:gd name="connsiteX14" fmla="*/ 851538 w 1253874"/>
                <a:gd name="connsiteY14" fmla="*/ 155448 h 811313"/>
                <a:gd name="connsiteX15" fmla="*/ 833250 w 1253874"/>
                <a:gd name="connsiteY15" fmla="*/ 146304 h 811313"/>
                <a:gd name="connsiteX16" fmla="*/ 961266 w 1253874"/>
                <a:gd name="connsiteY16" fmla="*/ 91440 h 811313"/>
                <a:gd name="connsiteX17" fmla="*/ 1016130 w 1253874"/>
                <a:gd name="connsiteY17" fmla="*/ 91440 h 811313"/>
                <a:gd name="connsiteX18" fmla="*/ 1107570 w 1253874"/>
                <a:gd name="connsiteY18" fmla="*/ 82296 h 811313"/>
                <a:gd name="connsiteX19" fmla="*/ 1235586 w 1253874"/>
                <a:gd name="connsiteY19" fmla="*/ 27432 h 811313"/>
                <a:gd name="connsiteX20" fmla="*/ 1217298 w 1253874"/>
                <a:gd name="connsiteY20" fmla="*/ 0 h 811313"/>
                <a:gd name="connsiteX21" fmla="*/ 1180722 w 1253874"/>
                <a:gd name="connsiteY21" fmla="*/ 27432 h 811313"/>
                <a:gd name="connsiteX22" fmla="*/ 1144146 w 1253874"/>
                <a:gd name="connsiteY22" fmla="*/ 36576 h 811313"/>
                <a:gd name="connsiteX23" fmla="*/ 1070994 w 1253874"/>
                <a:gd name="connsiteY23" fmla="*/ 64008 h 811313"/>
                <a:gd name="connsiteX24" fmla="*/ 1016130 w 1253874"/>
                <a:gd name="connsiteY24" fmla="*/ 64008 h 811313"/>
                <a:gd name="connsiteX25" fmla="*/ 906402 w 1253874"/>
                <a:gd name="connsiteY25" fmla="*/ 64008 h 811313"/>
                <a:gd name="connsiteX26" fmla="*/ 851538 w 1253874"/>
                <a:gd name="connsiteY26" fmla="*/ 100584 h 811313"/>
                <a:gd name="connsiteX27" fmla="*/ 814962 w 1253874"/>
                <a:gd name="connsiteY27" fmla="*/ 146304 h 811313"/>
                <a:gd name="connsiteX28" fmla="*/ 769242 w 1253874"/>
                <a:gd name="connsiteY28" fmla="*/ 182880 h 811313"/>
                <a:gd name="connsiteX29" fmla="*/ 723522 w 1253874"/>
                <a:gd name="connsiteY29" fmla="*/ 256032 h 811313"/>
                <a:gd name="connsiteX30" fmla="*/ 650370 w 1253874"/>
                <a:gd name="connsiteY30" fmla="*/ 301752 h 811313"/>
                <a:gd name="connsiteX31" fmla="*/ 549786 w 1253874"/>
                <a:gd name="connsiteY31" fmla="*/ 347472 h 811313"/>
                <a:gd name="connsiteX32" fmla="*/ 513210 w 1253874"/>
                <a:gd name="connsiteY32" fmla="*/ 374904 h 811313"/>
                <a:gd name="connsiteX33" fmla="*/ 467490 w 1253874"/>
                <a:gd name="connsiteY33" fmla="*/ 402336 h 811313"/>
                <a:gd name="connsiteX34" fmla="*/ 449202 w 1253874"/>
                <a:gd name="connsiteY34" fmla="*/ 402336 h 811313"/>
                <a:gd name="connsiteX35" fmla="*/ 467490 w 1253874"/>
                <a:gd name="connsiteY35" fmla="*/ 365760 h 811313"/>
                <a:gd name="connsiteX36" fmla="*/ 522354 w 1253874"/>
                <a:gd name="connsiteY36" fmla="*/ 301752 h 811313"/>
                <a:gd name="connsiteX37" fmla="*/ 613794 w 1253874"/>
                <a:gd name="connsiteY37" fmla="*/ 219456 h 811313"/>
                <a:gd name="connsiteX38" fmla="*/ 659514 w 1253874"/>
                <a:gd name="connsiteY38" fmla="*/ 146304 h 811313"/>
                <a:gd name="connsiteX39" fmla="*/ 659514 w 1253874"/>
                <a:gd name="connsiteY39" fmla="*/ 64008 h 811313"/>
                <a:gd name="connsiteX40" fmla="*/ 650370 w 1253874"/>
                <a:gd name="connsiteY40" fmla="*/ 54864 h 811313"/>
                <a:gd name="connsiteX41" fmla="*/ 641226 w 1253874"/>
                <a:gd name="connsiteY41" fmla="*/ 128016 h 811313"/>
                <a:gd name="connsiteX42" fmla="*/ 613794 w 1253874"/>
                <a:gd name="connsiteY42" fmla="*/ 173736 h 811313"/>
                <a:gd name="connsiteX43" fmla="*/ 540642 w 1253874"/>
                <a:gd name="connsiteY43" fmla="*/ 237744 h 811313"/>
                <a:gd name="connsiteX44" fmla="*/ 513210 w 1253874"/>
                <a:gd name="connsiteY44" fmla="*/ 256032 h 811313"/>
                <a:gd name="connsiteX45" fmla="*/ 440058 w 1253874"/>
                <a:gd name="connsiteY45" fmla="*/ 347472 h 811313"/>
                <a:gd name="connsiteX46" fmla="*/ 430914 w 1253874"/>
                <a:gd name="connsiteY46" fmla="*/ 374904 h 811313"/>
                <a:gd name="connsiteX47" fmla="*/ 421770 w 1253874"/>
                <a:gd name="connsiteY47" fmla="*/ 411480 h 811313"/>
                <a:gd name="connsiteX48" fmla="*/ 440058 w 1253874"/>
                <a:gd name="connsiteY48" fmla="*/ 429768 h 811313"/>
                <a:gd name="connsiteX49" fmla="*/ 394338 w 1253874"/>
                <a:gd name="connsiteY49" fmla="*/ 457200 h 811313"/>
                <a:gd name="connsiteX50" fmla="*/ 248034 w 1253874"/>
                <a:gd name="connsiteY50" fmla="*/ 493776 h 811313"/>
                <a:gd name="connsiteX51" fmla="*/ 202314 w 1253874"/>
                <a:gd name="connsiteY51" fmla="*/ 530352 h 811313"/>
                <a:gd name="connsiteX52" fmla="*/ 120018 w 1253874"/>
                <a:gd name="connsiteY52" fmla="*/ 585216 h 811313"/>
                <a:gd name="connsiteX53" fmla="*/ 46866 w 1253874"/>
                <a:gd name="connsiteY53" fmla="*/ 704088 h 811313"/>
                <a:gd name="connsiteX54" fmla="*/ 28578 w 1253874"/>
                <a:gd name="connsiteY54" fmla="*/ 786384 h 811313"/>
                <a:gd name="connsiteX55" fmla="*/ 218332 w 1253874"/>
                <a:gd name="connsiteY55" fmla="*/ 554512 h 811313"/>
                <a:gd name="connsiteX0" fmla="*/ 187852 w 1223394"/>
                <a:gd name="connsiteY0" fmla="*/ 554512 h 709205"/>
                <a:gd name="connsiteX1" fmla="*/ 89538 w 1223394"/>
                <a:gd name="connsiteY1" fmla="*/ 649224 h 709205"/>
                <a:gd name="connsiteX2" fmla="*/ 190122 w 1223394"/>
                <a:gd name="connsiteY2" fmla="*/ 548640 h 709205"/>
                <a:gd name="connsiteX3" fmla="*/ 318138 w 1223394"/>
                <a:gd name="connsiteY3" fmla="*/ 493776 h 709205"/>
                <a:gd name="connsiteX4" fmla="*/ 418722 w 1223394"/>
                <a:gd name="connsiteY4" fmla="*/ 466344 h 709205"/>
                <a:gd name="connsiteX5" fmla="*/ 519306 w 1223394"/>
                <a:gd name="connsiteY5" fmla="*/ 384048 h 709205"/>
                <a:gd name="connsiteX6" fmla="*/ 711330 w 1223394"/>
                <a:gd name="connsiteY6" fmla="*/ 301752 h 709205"/>
                <a:gd name="connsiteX7" fmla="*/ 793626 w 1223394"/>
                <a:gd name="connsiteY7" fmla="*/ 192024 h 709205"/>
                <a:gd name="connsiteX8" fmla="*/ 939930 w 1223394"/>
                <a:gd name="connsiteY8" fmla="*/ 155448 h 709205"/>
                <a:gd name="connsiteX9" fmla="*/ 985650 w 1223394"/>
                <a:gd name="connsiteY9" fmla="*/ 155448 h 709205"/>
                <a:gd name="connsiteX10" fmla="*/ 1022226 w 1223394"/>
                <a:gd name="connsiteY10" fmla="*/ 137160 h 709205"/>
                <a:gd name="connsiteX11" fmla="*/ 976506 w 1223394"/>
                <a:gd name="connsiteY11" fmla="*/ 137160 h 709205"/>
                <a:gd name="connsiteX12" fmla="*/ 885066 w 1223394"/>
                <a:gd name="connsiteY12" fmla="*/ 137160 h 709205"/>
                <a:gd name="connsiteX13" fmla="*/ 830202 w 1223394"/>
                <a:gd name="connsiteY13" fmla="*/ 146304 h 709205"/>
                <a:gd name="connsiteX14" fmla="*/ 821058 w 1223394"/>
                <a:gd name="connsiteY14" fmla="*/ 155448 h 709205"/>
                <a:gd name="connsiteX15" fmla="*/ 802770 w 1223394"/>
                <a:gd name="connsiteY15" fmla="*/ 146304 h 709205"/>
                <a:gd name="connsiteX16" fmla="*/ 930786 w 1223394"/>
                <a:gd name="connsiteY16" fmla="*/ 91440 h 709205"/>
                <a:gd name="connsiteX17" fmla="*/ 985650 w 1223394"/>
                <a:gd name="connsiteY17" fmla="*/ 91440 h 709205"/>
                <a:gd name="connsiteX18" fmla="*/ 1077090 w 1223394"/>
                <a:gd name="connsiteY18" fmla="*/ 82296 h 709205"/>
                <a:gd name="connsiteX19" fmla="*/ 1205106 w 1223394"/>
                <a:gd name="connsiteY19" fmla="*/ 27432 h 709205"/>
                <a:gd name="connsiteX20" fmla="*/ 1186818 w 1223394"/>
                <a:gd name="connsiteY20" fmla="*/ 0 h 709205"/>
                <a:gd name="connsiteX21" fmla="*/ 1150242 w 1223394"/>
                <a:gd name="connsiteY21" fmla="*/ 27432 h 709205"/>
                <a:gd name="connsiteX22" fmla="*/ 1113666 w 1223394"/>
                <a:gd name="connsiteY22" fmla="*/ 36576 h 709205"/>
                <a:gd name="connsiteX23" fmla="*/ 1040514 w 1223394"/>
                <a:gd name="connsiteY23" fmla="*/ 64008 h 709205"/>
                <a:gd name="connsiteX24" fmla="*/ 985650 w 1223394"/>
                <a:gd name="connsiteY24" fmla="*/ 64008 h 709205"/>
                <a:gd name="connsiteX25" fmla="*/ 875922 w 1223394"/>
                <a:gd name="connsiteY25" fmla="*/ 64008 h 709205"/>
                <a:gd name="connsiteX26" fmla="*/ 821058 w 1223394"/>
                <a:gd name="connsiteY26" fmla="*/ 100584 h 709205"/>
                <a:gd name="connsiteX27" fmla="*/ 784482 w 1223394"/>
                <a:gd name="connsiteY27" fmla="*/ 146304 h 709205"/>
                <a:gd name="connsiteX28" fmla="*/ 738762 w 1223394"/>
                <a:gd name="connsiteY28" fmla="*/ 182880 h 709205"/>
                <a:gd name="connsiteX29" fmla="*/ 693042 w 1223394"/>
                <a:gd name="connsiteY29" fmla="*/ 256032 h 709205"/>
                <a:gd name="connsiteX30" fmla="*/ 619890 w 1223394"/>
                <a:gd name="connsiteY30" fmla="*/ 301752 h 709205"/>
                <a:gd name="connsiteX31" fmla="*/ 519306 w 1223394"/>
                <a:gd name="connsiteY31" fmla="*/ 347472 h 709205"/>
                <a:gd name="connsiteX32" fmla="*/ 482730 w 1223394"/>
                <a:gd name="connsiteY32" fmla="*/ 374904 h 709205"/>
                <a:gd name="connsiteX33" fmla="*/ 437010 w 1223394"/>
                <a:gd name="connsiteY33" fmla="*/ 402336 h 709205"/>
                <a:gd name="connsiteX34" fmla="*/ 418722 w 1223394"/>
                <a:gd name="connsiteY34" fmla="*/ 402336 h 709205"/>
                <a:gd name="connsiteX35" fmla="*/ 437010 w 1223394"/>
                <a:gd name="connsiteY35" fmla="*/ 365760 h 709205"/>
                <a:gd name="connsiteX36" fmla="*/ 491874 w 1223394"/>
                <a:gd name="connsiteY36" fmla="*/ 301752 h 709205"/>
                <a:gd name="connsiteX37" fmla="*/ 583314 w 1223394"/>
                <a:gd name="connsiteY37" fmla="*/ 219456 h 709205"/>
                <a:gd name="connsiteX38" fmla="*/ 629034 w 1223394"/>
                <a:gd name="connsiteY38" fmla="*/ 146304 h 709205"/>
                <a:gd name="connsiteX39" fmla="*/ 629034 w 1223394"/>
                <a:gd name="connsiteY39" fmla="*/ 64008 h 709205"/>
                <a:gd name="connsiteX40" fmla="*/ 619890 w 1223394"/>
                <a:gd name="connsiteY40" fmla="*/ 54864 h 709205"/>
                <a:gd name="connsiteX41" fmla="*/ 610746 w 1223394"/>
                <a:gd name="connsiteY41" fmla="*/ 128016 h 709205"/>
                <a:gd name="connsiteX42" fmla="*/ 583314 w 1223394"/>
                <a:gd name="connsiteY42" fmla="*/ 173736 h 709205"/>
                <a:gd name="connsiteX43" fmla="*/ 510162 w 1223394"/>
                <a:gd name="connsiteY43" fmla="*/ 237744 h 709205"/>
                <a:gd name="connsiteX44" fmla="*/ 482730 w 1223394"/>
                <a:gd name="connsiteY44" fmla="*/ 256032 h 709205"/>
                <a:gd name="connsiteX45" fmla="*/ 409578 w 1223394"/>
                <a:gd name="connsiteY45" fmla="*/ 347472 h 709205"/>
                <a:gd name="connsiteX46" fmla="*/ 400434 w 1223394"/>
                <a:gd name="connsiteY46" fmla="*/ 374904 h 709205"/>
                <a:gd name="connsiteX47" fmla="*/ 391290 w 1223394"/>
                <a:gd name="connsiteY47" fmla="*/ 411480 h 709205"/>
                <a:gd name="connsiteX48" fmla="*/ 409578 w 1223394"/>
                <a:gd name="connsiteY48" fmla="*/ 429768 h 709205"/>
                <a:gd name="connsiteX49" fmla="*/ 363858 w 1223394"/>
                <a:gd name="connsiteY49" fmla="*/ 457200 h 709205"/>
                <a:gd name="connsiteX50" fmla="*/ 217554 w 1223394"/>
                <a:gd name="connsiteY50" fmla="*/ 493776 h 709205"/>
                <a:gd name="connsiteX51" fmla="*/ 171834 w 1223394"/>
                <a:gd name="connsiteY51" fmla="*/ 530352 h 709205"/>
                <a:gd name="connsiteX52" fmla="*/ 89538 w 1223394"/>
                <a:gd name="connsiteY52" fmla="*/ 585216 h 709205"/>
                <a:gd name="connsiteX53" fmla="*/ 16386 w 1223394"/>
                <a:gd name="connsiteY53" fmla="*/ 704088 h 709205"/>
                <a:gd name="connsiteX54" fmla="*/ 187853 w 1223394"/>
                <a:gd name="connsiteY54" fmla="*/ 554512 h 709205"/>
                <a:gd name="connsiteX55" fmla="*/ 187852 w 1223394"/>
                <a:gd name="connsiteY55" fmla="*/ 554512 h 709205"/>
                <a:gd name="connsiteX0" fmla="*/ 110754 w 1146296"/>
                <a:gd name="connsiteY0" fmla="*/ 554512 h 649224"/>
                <a:gd name="connsiteX1" fmla="*/ 12440 w 1146296"/>
                <a:gd name="connsiteY1" fmla="*/ 649224 h 649224"/>
                <a:gd name="connsiteX2" fmla="*/ 113024 w 1146296"/>
                <a:gd name="connsiteY2" fmla="*/ 548640 h 649224"/>
                <a:gd name="connsiteX3" fmla="*/ 241040 w 1146296"/>
                <a:gd name="connsiteY3" fmla="*/ 493776 h 649224"/>
                <a:gd name="connsiteX4" fmla="*/ 341624 w 1146296"/>
                <a:gd name="connsiteY4" fmla="*/ 466344 h 649224"/>
                <a:gd name="connsiteX5" fmla="*/ 442208 w 1146296"/>
                <a:gd name="connsiteY5" fmla="*/ 384048 h 649224"/>
                <a:gd name="connsiteX6" fmla="*/ 634232 w 1146296"/>
                <a:gd name="connsiteY6" fmla="*/ 301752 h 649224"/>
                <a:gd name="connsiteX7" fmla="*/ 716528 w 1146296"/>
                <a:gd name="connsiteY7" fmla="*/ 192024 h 649224"/>
                <a:gd name="connsiteX8" fmla="*/ 862832 w 1146296"/>
                <a:gd name="connsiteY8" fmla="*/ 155448 h 649224"/>
                <a:gd name="connsiteX9" fmla="*/ 908552 w 1146296"/>
                <a:gd name="connsiteY9" fmla="*/ 155448 h 649224"/>
                <a:gd name="connsiteX10" fmla="*/ 945128 w 1146296"/>
                <a:gd name="connsiteY10" fmla="*/ 137160 h 649224"/>
                <a:gd name="connsiteX11" fmla="*/ 899408 w 1146296"/>
                <a:gd name="connsiteY11" fmla="*/ 137160 h 649224"/>
                <a:gd name="connsiteX12" fmla="*/ 807968 w 1146296"/>
                <a:gd name="connsiteY12" fmla="*/ 137160 h 649224"/>
                <a:gd name="connsiteX13" fmla="*/ 753104 w 1146296"/>
                <a:gd name="connsiteY13" fmla="*/ 146304 h 649224"/>
                <a:gd name="connsiteX14" fmla="*/ 743960 w 1146296"/>
                <a:gd name="connsiteY14" fmla="*/ 155448 h 649224"/>
                <a:gd name="connsiteX15" fmla="*/ 725672 w 1146296"/>
                <a:gd name="connsiteY15" fmla="*/ 146304 h 649224"/>
                <a:gd name="connsiteX16" fmla="*/ 853688 w 1146296"/>
                <a:gd name="connsiteY16" fmla="*/ 91440 h 649224"/>
                <a:gd name="connsiteX17" fmla="*/ 908552 w 1146296"/>
                <a:gd name="connsiteY17" fmla="*/ 91440 h 649224"/>
                <a:gd name="connsiteX18" fmla="*/ 999992 w 1146296"/>
                <a:gd name="connsiteY18" fmla="*/ 82296 h 649224"/>
                <a:gd name="connsiteX19" fmla="*/ 1128008 w 1146296"/>
                <a:gd name="connsiteY19" fmla="*/ 27432 h 649224"/>
                <a:gd name="connsiteX20" fmla="*/ 1109720 w 1146296"/>
                <a:gd name="connsiteY20" fmla="*/ 0 h 649224"/>
                <a:gd name="connsiteX21" fmla="*/ 1073144 w 1146296"/>
                <a:gd name="connsiteY21" fmla="*/ 27432 h 649224"/>
                <a:gd name="connsiteX22" fmla="*/ 1036568 w 1146296"/>
                <a:gd name="connsiteY22" fmla="*/ 36576 h 649224"/>
                <a:gd name="connsiteX23" fmla="*/ 963416 w 1146296"/>
                <a:gd name="connsiteY23" fmla="*/ 64008 h 649224"/>
                <a:gd name="connsiteX24" fmla="*/ 908552 w 1146296"/>
                <a:gd name="connsiteY24" fmla="*/ 64008 h 649224"/>
                <a:gd name="connsiteX25" fmla="*/ 798824 w 1146296"/>
                <a:gd name="connsiteY25" fmla="*/ 64008 h 649224"/>
                <a:gd name="connsiteX26" fmla="*/ 743960 w 1146296"/>
                <a:gd name="connsiteY26" fmla="*/ 100584 h 649224"/>
                <a:gd name="connsiteX27" fmla="*/ 707384 w 1146296"/>
                <a:gd name="connsiteY27" fmla="*/ 146304 h 649224"/>
                <a:gd name="connsiteX28" fmla="*/ 661664 w 1146296"/>
                <a:gd name="connsiteY28" fmla="*/ 182880 h 649224"/>
                <a:gd name="connsiteX29" fmla="*/ 615944 w 1146296"/>
                <a:gd name="connsiteY29" fmla="*/ 256032 h 649224"/>
                <a:gd name="connsiteX30" fmla="*/ 542792 w 1146296"/>
                <a:gd name="connsiteY30" fmla="*/ 301752 h 649224"/>
                <a:gd name="connsiteX31" fmla="*/ 442208 w 1146296"/>
                <a:gd name="connsiteY31" fmla="*/ 347472 h 649224"/>
                <a:gd name="connsiteX32" fmla="*/ 405632 w 1146296"/>
                <a:gd name="connsiteY32" fmla="*/ 374904 h 649224"/>
                <a:gd name="connsiteX33" fmla="*/ 359912 w 1146296"/>
                <a:gd name="connsiteY33" fmla="*/ 402336 h 649224"/>
                <a:gd name="connsiteX34" fmla="*/ 341624 w 1146296"/>
                <a:gd name="connsiteY34" fmla="*/ 402336 h 649224"/>
                <a:gd name="connsiteX35" fmla="*/ 359912 w 1146296"/>
                <a:gd name="connsiteY35" fmla="*/ 365760 h 649224"/>
                <a:gd name="connsiteX36" fmla="*/ 414776 w 1146296"/>
                <a:gd name="connsiteY36" fmla="*/ 301752 h 649224"/>
                <a:gd name="connsiteX37" fmla="*/ 506216 w 1146296"/>
                <a:gd name="connsiteY37" fmla="*/ 219456 h 649224"/>
                <a:gd name="connsiteX38" fmla="*/ 551936 w 1146296"/>
                <a:gd name="connsiteY38" fmla="*/ 146304 h 649224"/>
                <a:gd name="connsiteX39" fmla="*/ 551936 w 1146296"/>
                <a:gd name="connsiteY39" fmla="*/ 64008 h 649224"/>
                <a:gd name="connsiteX40" fmla="*/ 542792 w 1146296"/>
                <a:gd name="connsiteY40" fmla="*/ 54864 h 649224"/>
                <a:gd name="connsiteX41" fmla="*/ 533648 w 1146296"/>
                <a:gd name="connsiteY41" fmla="*/ 128016 h 649224"/>
                <a:gd name="connsiteX42" fmla="*/ 506216 w 1146296"/>
                <a:gd name="connsiteY42" fmla="*/ 173736 h 649224"/>
                <a:gd name="connsiteX43" fmla="*/ 433064 w 1146296"/>
                <a:gd name="connsiteY43" fmla="*/ 237744 h 649224"/>
                <a:gd name="connsiteX44" fmla="*/ 405632 w 1146296"/>
                <a:gd name="connsiteY44" fmla="*/ 256032 h 649224"/>
                <a:gd name="connsiteX45" fmla="*/ 332480 w 1146296"/>
                <a:gd name="connsiteY45" fmla="*/ 347472 h 649224"/>
                <a:gd name="connsiteX46" fmla="*/ 323336 w 1146296"/>
                <a:gd name="connsiteY46" fmla="*/ 374904 h 649224"/>
                <a:gd name="connsiteX47" fmla="*/ 314192 w 1146296"/>
                <a:gd name="connsiteY47" fmla="*/ 411480 h 649224"/>
                <a:gd name="connsiteX48" fmla="*/ 332480 w 1146296"/>
                <a:gd name="connsiteY48" fmla="*/ 429768 h 649224"/>
                <a:gd name="connsiteX49" fmla="*/ 286760 w 1146296"/>
                <a:gd name="connsiteY49" fmla="*/ 457200 h 649224"/>
                <a:gd name="connsiteX50" fmla="*/ 140456 w 1146296"/>
                <a:gd name="connsiteY50" fmla="*/ 493776 h 649224"/>
                <a:gd name="connsiteX51" fmla="*/ 94736 w 1146296"/>
                <a:gd name="connsiteY51" fmla="*/ 530352 h 649224"/>
                <a:gd name="connsiteX52" fmla="*/ 12440 w 1146296"/>
                <a:gd name="connsiteY52" fmla="*/ 585216 h 649224"/>
                <a:gd name="connsiteX53" fmla="*/ 20096 w 1146296"/>
                <a:gd name="connsiteY53" fmla="*/ 612769 h 649224"/>
                <a:gd name="connsiteX54" fmla="*/ 110755 w 1146296"/>
                <a:gd name="connsiteY54" fmla="*/ 554512 h 649224"/>
                <a:gd name="connsiteX55" fmla="*/ 110754 w 1146296"/>
                <a:gd name="connsiteY55" fmla="*/ 554512 h 649224"/>
                <a:gd name="connsiteX0" fmla="*/ 101388 w 1136930"/>
                <a:gd name="connsiteY0" fmla="*/ 554512 h 649224"/>
                <a:gd name="connsiteX1" fmla="*/ 3074 w 1136930"/>
                <a:gd name="connsiteY1" fmla="*/ 649224 h 649224"/>
                <a:gd name="connsiteX2" fmla="*/ 103658 w 1136930"/>
                <a:gd name="connsiteY2" fmla="*/ 548640 h 649224"/>
                <a:gd name="connsiteX3" fmla="*/ 231674 w 1136930"/>
                <a:gd name="connsiteY3" fmla="*/ 493776 h 649224"/>
                <a:gd name="connsiteX4" fmla="*/ 332258 w 1136930"/>
                <a:gd name="connsiteY4" fmla="*/ 466344 h 649224"/>
                <a:gd name="connsiteX5" fmla="*/ 432842 w 1136930"/>
                <a:gd name="connsiteY5" fmla="*/ 384048 h 649224"/>
                <a:gd name="connsiteX6" fmla="*/ 624866 w 1136930"/>
                <a:gd name="connsiteY6" fmla="*/ 301752 h 649224"/>
                <a:gd name="connsiteX7" fmla="*/ 707162 w 1136930"/>
                <a:gd name="connsiteY7" fmla="*/ 192024 h 649224"/>
                <a:gd name="connsiteX8" fmla="*/ 853466 w 1136930"/>
                <a:gd name="connsiteY8" fmla="*/ 155448 h 649224"/>
                <a:gd name="connsiteX9" fmla="*/ 899186 w 1136930"/>
                <a:gd name="connsiteY9" fmla="*/ 155448 h 649224"/>
                <a:gd name="connsiteX10" fmla="*/ 935762 w 1136930"/>
                <a:gd name="connsiteY10" fmla="*/ 137160 h 649224"/>
                <a:gd name="connsiteX11" fmla="*/ 890042 w 1136930"/>
                <a:gd name="connsiteY11" fmla="*/ 137160 h 649224"/>
                <a:gd name="connsiteX12" fmla="*/ 798602 w 1136930"/>
                <a:gd name="connsiteY12" fmla="*/ 137160 h 649224"/>
                <a:gd name="connsiteX13" fmla="*/ 743738 w 1136930"/>
                <a:gd name="connsiteY13" fmla="*/ 146304 h 649224"/>
                <a:gd name="connsiteX14" fmla="*/ 734594 w 1136930"/>
                <a:gd name="connsiteY14" fmla="*/ 155448 h 649224"/>
                <a:gd name="connsiteX15" fmla="*/ 716306 w 1136930"/>
                <a:gd name="connsiteY15" fmla="*/ 146304 h 649224"/>
                <a:gd name="connsiteX16" fmla="*/ 844322 w 1136930"/>
                <a:gd name="connsiteY16" fmla="*/ 91440 h 649224"/>
                <a:gd name="connsiteX17" fmla="*/ 899186 w 1136930"/>
                <a:gd name="connsiteY17" fmla="*/ 91440 h 649224"/>
                <a:gd name="connsiteX18" fmla="*/ 990626 w 1136930"/>
                <a:gd name="connsiteY18" fmla="*/ 82296 h 649224"/>
                <a:gd name="connsiteX19" fmla="*/ 1118642 w 1136930"/>
                <a:gd name="connsiteY19" fmla="*/ 27432 h 649224"/>
                <a:gd name="connsiteX20" fmla="*/ 1100354 w 1136930"/>
                <a:gd name="connsiteY20" fmla="*/ 0 h 649224"/>
                <a:gd name="connsiteX21" fmla="*/ 1063778 w 1136930"/>
                <a:gd name="connsiteY21" fmla="*/ 27432 h 649224"/>
                <a:gd name="connsiteX22" fmla="*/ 1027202 w 1136930"/>
                <a:gd name="connsiteY22" fmla="*/ 36576 h 649224"/>
                <a:gd name="connsiteX23" fmla="*/ 954050 w 1136930"/>
                <a:gd name="connsiteY23" fmla="*/ 64008 h 649224"/>
                <a:gd name="connsiteX24" fmla="*/ 899186 w 1136930"/>
                <a:gd name="connsiteY24" fmla="*/ 64008 h 649224"/>
                <a:gd name="connsiteX25" fmla="*/ 789458 w 1136930"/>
                <a:gd name="connsiteY25" fmla="*/ 64008 h 649224"/>
                <a:gd name="connsiteX26" fmla="*/ 734594 w 1136930"/>
                <a:gd name="connsiteY26" fmla="*/ 100584 h 649224"/>
                <a:gd name="connsiteX27" fmla="*/ 698018 w 1136930"/>
                <a:gd name="connsiteY27" fmla="*/ 146304 h 649224"/>
                <a:gd name="connsiteX28" fmla="*/ 652298 w 1136930"/>
                <a:gd name="connsiteY28" fmla="*/ 182880 h 649224"/>
                <a:gd name="connsiteX29" fmla="*/ 606578 w 1136930"/>
                <a:gd name="connsiteY29" fmla="*/ 256032 h 649224"/>
                <a:gd name="connsiteX30" fmla="*/ 533426 w 1136930"/>
                <a:gd name="connsiteY30" fmla="*/ 301752 h 649224"/>
                <a:gd name="connsiteX31" fmla="*/ 432842 w 1136930"/>
                <a:gd name="connsiteY31" fmla="*/ 347472 h 649224"/>
                <a:gd name="connsiteX32" fmla="*/ 396266 w 1136930"/>
                <a:gd name="connsiteY32" fmla="*/ 374904 h 649224"/>
                <a:gd name="connsiteX33" fmla="*/ 350546 w 1136930"/>
                <a:gd name="connsiteY33" fmla="*/ 402336 h 649224"/>
                <a:gd name="connsiteX34" fmla="*/ 332258 w 1136930"/>
                <a:gd name="connsiteY34" fmla="*/ 402336 h 649224"/>
                <a:gd name="connsiteX35" fmla="*/ 350546 w 1136930"/>
                <a:gd name="connsiteY35" fmla="*/ 365760 h 649224"/>
                <a:gd name="connsiteX36" fmla="*/ 405410 w 1136930"/>
                <a:gd name="connsiteY36" fmla="*/ 301752 h 649224"/>
                <a:gd name="connsiteX37" fmla="*/ 496850 w 1136930"/>
                <a:gd name="connsiteY37" fmla="*/ 219456 h 649224"/>
                <a:gd name="connsiteX38" fmla="*/ 542570 w 1136930"/>
                <a:gd name="connsiteY38" fmla="*/ 146304 h 649224"/>
                <a:gd name="connsiteX39" fmla="*/ 542570 w 1136930"/>
                <a:gd name="connsiteY39" fmla="*/ 64008 h 649224"/>
                <a:gd name="connsiteX40" fmla="*/ 533426 w 1136930"/>
                <a:gd name="connsiteY40" fmla="*/ 54864 h 649224"/>
                <a:gd name="connsiteX41" fmla="*/ 524282 w 1136930"/>
                <a:gd name="connsiteY41" fmla="*/ 128016 h 649224"/>
                <a:gd name="connsiteX42" fmla="*/ 496850 w 1136930"/>
                <a:gd name="connsiteY42" fmla="*/ 173736 h 649224"/>
                <a:gd name="connsiteX43" fmla="*/ 423698 w 1136930"/>
                <a:gd name="connsiteY43" fmla="*/ 237744 h 649224"/>
                <a:gd name="connsiteX44" fmla="*/ 396266 w 1136930"/>
                <a:gd name="connsiteY44" fmla="*/ 256032 h 649224"/>
                <a:gd name="connsiteX45" fmla="*/ 323114 w 1136930"/>
                <a:gd name="connsiteY45" fmla="*/ 347472 h 649224"/>
                <a:gd name="connsiteX46" fmla="*/ 313970 w 1136930"/>
                <a:gd name="connsiteY46" fmla="*/ 374904 h 649224"/>
                <a:gd name="connsiteX47" fmla="*/ 304826 w 1136930"/>
                <a:gd name="connsiteY47" fmla="*/ 411480 h 649224"/>
                <a:gd name="connsiteX48" fmla="*/ 323114 w 1136930"/>
                <a:gd name="connsiteY48" fmla="*/ 429768 h 649224"/>
                <a:gd name="connsiteX49" fmla="*/ 277394 w 1136930"/>
                <a:gd name="connsiteY49" fmla="*/ 457200 h 649224"/>
                <a:gd name="connsiteX50" fmla="*/ 131090 w 1136930"/>
                <a:gd name="connsiteY50" fmla="*/ 493776 h 649224"/>
                <a:gd name="connsiteX51" fmla="*/ 85370 w 1136930"/>
                <a:gd name="connsiteY51" fmla="*/ 530352 h 649224"/>
                <a:gd name="connsiteX52" fmla="*/ 3074 w 1136930"/>
                <a:gd name="connsiteY52" fmla="*/ 585216 h 649224"/>
                <a:gd name="connsiteX53" fmla="*/ 103816 w 1136930"/>
                <a:gd name="connsiteY53" fmla="*/ 555040 h 649224"/>
                <a:gd name="connsiteX54" fmla="*/ 101389 w 1136930"/>
                <a:gd name="connsiteY54" fmla="*/ 554512 h 649224"/>
                <a:gd name="connsiteX55" fmla="*/ 101388 w 1136930"/>
                <a:gd name="connsiteY55" fmla="*/ 554512 h 649224"/>
                <a:gd name="connsiteX0" fmla="*/ 101388 w 1136930"/>
                <a:gd name="connsiteY0" fmla="*/ 554512 h 589331"/>
                <a:gd name="connsiteX1" fmla="*/ 103816 w 1136930"/>
                <a:gd name="connsiteY1" fmla="*/ 555041 h 589331"/>
                <a:gd name="connsiteX2" fmla="*/ 103658 w 1136930"/>
                <a:gd name="connsiteY2" fmla="*/ 548640 h 589331"/>
                <a:gd name="connsiteX3" fmla="*/ 231674 w 1136930"/>
                <a:gd name="connsiteY3" fmla="*/ 493776 h 589331"/>
                <a:gd name="connsiteX4" fmla="*/ 332258 w 1136930"/>
                <a:gd name="connsiteY4" fmla="*/ 466344 h 589331"/>
                <a:gd name="connsiteX5" fmla="*/ 432842 w 1136930"/>
                <a:gd name="connsiteY5" fmla="*/ 384048 h 589331"/>
                <a:gd name="connsiteX6" fmla="*/ 624866 w 1136930"/>
                <a:gd name="connsiteY6" fmla="*/ 301752 h 589331"/>
                <a:gd name="connsiteX7" fmla="*/ 707162 w 1136930"/>
                <a:gd name="connsiteY7" fmla="*/ 192024 h 589331"/>
                <a:gd name="connsiteX8" fmla="*/ 853466 w 1136930"/>
                <a:gd name="connsiteY8" fmla="*/ 155448 h 589331"/>
                <a:gd name="connsiteX9" fmla="*/ 899186 w 1136930"/>
                <a:gd name="connsiteY9" fmla="*/ 155448 h 589331"/>
                <a:gd name="connsiteX10" fmla="*/ 935762 w 1136930"/>
                <a:gd name="connsiteY10" fmla="*/ 137160 h 589331"/>
                <a:gd name="connsiteX11" fmla="*/ 890042 w 1136930"/>
                <a:gd name="connsiteY11" fmla="*/ 137160 h 589331"/>
                <a:gd name="connsiteX12" fmla="*/ 798602 w 1136930"/>
                <a:gd name="connsiteY12" fmla="*/ 137160 h 589331"/>
                <a:gd name="connsiteX13" fmla="*/ 743738 w 1136930"/>
                <a:gd name="connsiteY13" fmla="*/ 146304 h 589331"/>
                <a:gd name="connsiteX14" fmla="*/ 734594 w 1136930"/>
                <a:gd name="connsiteY14" fmla="*/ 155448 h 589331"/>
                <a:gd name="connsiteX15" fmla="*/ 716306 w 1136930"/>
                <a:gd name="connsiteY15" fmla="*/ 146304 h 589331"/>
                <a:gd name="connsiteX16" fmla="*/ 844322 w 1136930"/>
                <a:gd name="connsiteY16" fmla="*/ 91440 h 589331"/>
                <a:gd name="connsiteX17" fmla="*/ 899186 w 1136930"/>
                <a:gd name="connsiteY17" fmla="*/ 91440 h 589331"/>
                <a:gd name="connsiteX18" fmla="*/ 990626 w 1136930"/>
                <a:gd name="connsiteY18" fmla="*/ 82296 h 589331"/>
                <a:gd name="connsiteX19" fmla="*/ 1118642 w 1136930"/>
                <a:gd name="connsiteY19" fmla="*/ 27432 h 589331"/>
                <a:gd name="connsiteX20" fmla="*/ 1100354 w 1136930"/>
                <a:gd name="connsiteY20" fmla="*/ 0 h 589331"/>
                <a:gd name="connsiteX21" fmla="*/ 1063778 w 1136930"/>
                <a:gd name="connsiteY21" fmla="*/ 27432 h 589331"/>
                <a:gd name="connsiteX22" fmla="*/ 1027202 w 1136930"/>
                <a:gd name="connsiteY22" fmla="*/ 36576 h 589331"/>
                <a:gd name="connsiteX23" fmla="*/ 954050 w 1136930"/>
                <a:gd name="connsiteY23" fmla="*/ 64008 h 589331"/>
                <a:gd name="connsiteX24" fmla="*/ 899186 w 1136930"/>
                <a:gd name="connsiteY24" fmla="*/ 64008 h 589331"/>
                <a:gd name="connsiteX25" fmla="*/ 789458 w 1136930"/>
                <a:gd name="connsiteY25" fmla="*/ 64008 h 589331"/>
                <a:gd name="connsiteX26" fmla="*/ 734594 w 1136930"/>
                <a:gd name="connsiteY26" fmla="*/ 100584 h 589331"/>
                <a:gd name="connsiteX27" fmla="*/ 698018 w 1136930"/>
                <a:gd name="connsiteY27" fmla="*/ 146304 h 589331"/>
                <a:gd name="connsiteX28" fmla="*/ 652298 w 1136930"/>
                <a:gd name="connsiteY28" fmla="*/ 182880 h 589331"/>
                <a:gd name="connsiteX29" fmla="*/ 606578 w 1136930"/>
                <a:gd name="connsiteY29" fmla="*/ 256032 h 589331"/>
                <a:gd name="connsiteX30" fmla="*/ 533426 w 1136930"/>
                <a:gd name="connsiteY30" fmla="*/ 301752 h 589331"/>
                <a:gd name="connsiteX31" fmla="*/ 432842 w 1136930"/>
                <a:gd name="connsiteY31" fmla="*/ 347472 h 589331"/>
                <a:gd name="connsiteX32" fmla="*/ 396266 w 1136930"/>
                <a:gd name="connsiteY32" fmla="*/ 374904 h 589331"/>
                <a:gd name="connsiteX33" fmla="*/ 350546 w 1136930"/>
                <a:gd name="connsiteY33" fmla="*/ 402336 h 589331"/>
                <a:gd name="connsiteX34" fmla="*/ 332258 w 1136930"/>
                <a:gd name="connsiteY34" fmla="*/ 402336 h 589331"/>
                <a:gd name="connsiteX35" fmla="*/ 350546 w 1136930"/>
                <a:gd name="connsiteY35" fmla="*/ 365760 h 589331"/>
                <a:gd name="connsiteX36" fmla="*/ 405410 w 1136930"/>
                <a:gd name="connsiteY36" fmla="*/ 301752 h 589331"/>
                <a:gd name="connsiteX37" fmla="*/ 496850 w 1136930"/>
                <a:gd name="connsiteY37" fmla="*/ 219456 h 589331"/>
                <a:gd name="connsiteX38" fmla="*/ 542570 w 1136930"/>
                <a:gd name="connsiteY38" fmla="*/ 146304 h 589331"/>
                <a:gd name="connsiteX39" fmla="*/ 542570 w 1136930"/>
                <a:gd name="connsiteY39" fmla="*/ 64008 h 589331"/>
                <a:gd name="connsiteX40" fmla="*/ 533426 w 1136930"/>
                <a:gd name="connsiteY40" fmla="*/ 54864 h 589331"/>
                <a:gd name="connsiteX41" fmla="*/ 524282 w 1136930"/>
                <a:gd name="connsiteY41" fmla="*/ 128016 h 589331"/>
                <a:gd name="connsiteX42" fmla="*/ 496850 w 1136930"/>
                <a:gd name="connsiteY42" fmla="*/ 173736 h 589331"/>
                <a:gd name="connsiteX43" fmla="*/ 423698 w 1136930"/>
                <a:gd name="connsiteY43" fmla="*/ 237744 h 589331"/>
                <a:gd name="connsiteX44" fmla="*/ 396266 w 1136930"/>
                <a:gd name="connsiteY44" fmla="*/ 256032 h 589331"/>
                <a:gd name="connsiteX45" fmla="*/ 323114 w 1136930"/>
                <a:gd name="connsiteY45" fmla="*/ 347472 h 589331"/>
                <a:gd name="connsiteX46" fmla="*/ 313970 w 1136930"/>
                <a:gd name="connsiteY46" fmla="*/ 374904 h 589331"/>
                <a:gd name="connsiteX47" fmla="*/ 304826 w 1136930"/>
                <a:gd name="connsiteY47" fmla="*/ 411480 h 589331"/>
                <a:gd name="connsiteX48" fmla="*/ 323114 w 1136930"/>
                <a:gd name="connsiteY48" fmla="*/ 429768 h 589331"/>
                <a:gd name="connsiteX49" fmla="*/ 277394 w 1136930"/>
                <a:gd name="connsiteY49" fmla="*/ 457200 h 589331"/>
                <a:gd name="connsiteX50" fmla="*/ 131090 w 1136930"/>
                <a:gd name="connsiteY50" fmla="*/ 493776 h 589331"/>
                <a:gd name="connsiteX51" fmla="*/ 85370 w 1136930"/>
                <a:gd name="connsiteY51" fmla="*/ 530352 h 589331"/>
                <a:gd name="connsiteX52" fmla="*/ 3074 w 1136930"/>
                <a:gd name="connsiteY52" fmla="*/ 585216 h 589331"/>
                <a:gd name="connsiteX53" fmla="*/ 103816 w 1136930"/>
                <a:gd name="connsiteY53" fmla="*/ 555040 h 589331"/>
                <a:gd name="connsiteX54" fmla="*/ 101389 w 1136930"/>
                <a:gd name="connsiteY54" fmla="*/ 554512 h 589331"/>
                <a:gd name="connsiteX55" fmla="*/ 101388 w 1136930"/>
                <a:gd name="connsiteY55" fmla="*/ 554512 h 589331"/>
                <a:gd name="connsiteX0" fmla="*/ 19040 w 1054582"/>
                <a:gd name="connsiteY0" fmla="*/ 554512 h 567361"/>
                <a:gd name="connsiteX1" fmla="*/ 21468 w 1054582"/>
                <a:gd name="connsiteY1" fmla="*/ 555041 h 567361"/>
                <a:gd name="connsiteX2" fmla="*/ 21310 w 1054582"/>
                <a:gd name="connsiteY2" fmla="*/ 548640 h 567361"/>
                <a:gd name="connsiteX3" fmla="*/ 149326 w 1054582"/>
                <a:gd name="connsiteY3" fmla="*/ 493776 h 567361"/>
                <a:gd name="connsiteX4" fmla="*/ 249910 w 1054582"/>
                <a:gd name="connsiteY4" fmla="*/ 466344 h 567361"/>
                <a:gd name="connsiteX5" fmla="*/ 350494 w 1054582"/>
                <a:gd name="connsiteY5" fmla="*/ 384048 h 567361"/>
                <a:gd name="connsiteX6" fmla="*/ 542518 w 1054582"/>
                <a:gd name="connsiteY6" fmla="*/ 301752 h 567361"/>
                <a:gd name="connsiteX7" fmla="*/ 624814 w 1054582"/>
                <a:gd name="connsiteY7" fmla="*/ 192024 h 567361"/>
                <a:gd name="connsiteX8" fmla="*/ 771118 w 1054582"/>
                <a:gd name="connsiteY8" fmla="*/ 155448 h 567361"/>
                <a:gd name="connsiteX9" fmla="*/ 816838 w 1054582"/>
                <a:gd name="connsiteY9" fmla="*/ 155448 h 567361"/>
                <a:gd name="connsiteX10" fmla="*/ 853414 w 1054582"/>
                <a:gd name="connsiteY10" fmla="*/ 137160 h 567361"/>
                <a:gd name="connsiteX11" fmla="*/ 807694 w 1054582"/>
                <a:gd name="connsiteY11" fmla="*/ 137160 h 567361"/>
                <a:gd name="connsiteX12" fmla="*/ 716254 w 1054582"/>
                <a:gd name="connsiteY12" fmla="*/ 137160 h 567361"/>
                <a:gd name="connsiteX13" fmla="*/ 661390 w 1054582"/>
                <a:gd name="connsiteY13" fmla="*/ 146304 h 567361"/>
                <a:gd name="connsiteX14" fmla="*/ 652246 w 1054582"/>
                <a:gd name="connsiteY14" fmla="*/ 155448 h 567361"/>
                <a:gd name="connsiteX15" fmla="*/ 633958 w 1054582"/>
                <a:gd name="connsiteY15" fmla="*/ 146304 h 567361"/>
                <a:gd name="connsiteX16" fmla="*/ 761974 w 1054582"/>
                <a:gd name="connsiteY16" fmla="*/ 91440 h 567361"/>
                <a:gd name="connsiteX17" fmla="*/ 816838 w 1054582"/>
                <a:gd name="connsiteY17" fmla="*/ 91440 h 567361"/>
                <a:gd name="connsiteX18" fmla="*/ 908278 w 1054582"/>
                <a:gd name="connsiteY18" fmla="*/ 82296 h 567361"/>
                <a:gd name="connsiteX19" fmla="*/ 1036294 w 1054582"/>
                <a:gd name="connsiteY19" fmla="*/ 27432 h 567361"/>
                <a:gd name="connsiteX20" fmla="*/ 1018006 w 1054582"/>
                <a:gd name="connsiteY20" fmla="*/ 0 h 567361"/>
                <a:gd name="connsiteX21" fmla="*/ 981430 w 1054582"/>
                <a:gd name="connsiteY21" fmla="*/ 27432 h 567361"/>
                <a:gd name="connsiteX22" fmla="*/ 944854 w 1054582"/>
                <a:gd name="connsiteY22" fmla="*/ 36576 h 567361"/>
                <a:gd name="connsiteX23" fmla="*/ 871702 w 1054582"/>
                <a:gd name="connsiteY23" fmla="*/ 64008 h 567361"/>
                <a:gd name="connsiteX24" fmla="*/ 816838 w 1054582"/>
                <a:gd name="connsiteY24" fmla="*/ 64008 h 567361"/>
                <a:gd name="connsiteX25" fmla="*/ 707110 w 1054582"/>
                <a:gd name="connsiteY25" fmla="*/ 64008 h 567361"/>
                <a:gd name="connsiteX26" fmla="*/ 652246 w 1054582"/>
                <a:gd name="connsiteY26" fmla="*/ 100584 h 567361"/>
                <a:gd name="connsiteX27" fmla="*/ 615670 w 1054582"/>
                <a:gd name="connsiteY27" fmla="*/ 146304 h 567361"/>
                <a:gd name="connsiteX28" fmla="*/ 569950 w 1054582"/>
                <a:gd name="connsiteY28" fmla="*/ 182880 h 567361"/>
                <a:gd name="connsiteX29" fmla="*/ 524230 w 1054582"/>
                <a:gd name="connsiteY29" fmla="*/ 256032 h 567361"/>
                <a:gd name="connsiteX30" fmla="*/ 451078 w 1054582"/>
                <a:gd name="connsiteY30" fmla="*/ 301752 h 567361"/>
                <a:gd name="connsiteX31" fmla="*/ 350494 w 1054582"/>
                <a:gd name="connsiteY31" fmla="*/ 347472 h 567361"/>
                <a:gd name="connsiteX32" fmla="*/ 313918 w 1054582"/>
                <a:gd name="connsiteY32" fmla="*/ 374904 h 567361"/>
                <a:gd name="connsiteX33" fmla="*/ 268198 w 1054582"/>
                <a:gd name="connsiteY33" fmla="*/ 402336 h 567361"/>
                <a:gd name="connsiteX34" fmla="*/ 249910 w 1054582"/>
                <a:gd name="connsiteY34" fmla="*/ 402336 h 567361"/>
                <a:gd name="connsiteX35" fmla="*/ 268198 w 1054582"/>
                <a:gd name="connsiteY35" fmla="*/ 365760 h 567361"/>
                <a:gd name="connsiteX36" fmla="*/ 323062 w 1054582"/>
                <a:gd name="connsiteY36" fmla="*/ 301752 h 567361"/>
                <a:gd name="connsiteX37" fmla="*/ 414502 w 1054582"/>
                <a:gd name="connsiteY37" fmla="*/ 219456 h 567361"/>
                <a:gd name="connsiteX38" fmla="*/ 460222 w 1054582"/>
                <a:gd name="connsiteY38" fmla="*/ 146304 h 567361"/>
                <a:gd name="connsiteX39" fmla="*/ 460222 w 1054582"/>
                <a:gd name="connsiteY39" fmla="*/ 64008 h 567361"/>
                <a:gd name="connsiteX40" fmla="*/ 451078 w 1054582"/>
                <a:gd name="connsiteY40" fmla="*/ 54864 h 567361"/>
                <a:gd name="connsiteX41" fmla="*/ 441934 w 1054582"/>
                <a:gd name="connsiteY41" fmla="*/ 128016 h 567361"/>
                <a:gd name="connsiteX42" fmla="*/ 414502 w 1054582"/>
                <a:gd name="connsiteY42" fmla="*/ 173736 h 567361"/>
                <a:gd name="connsiteX43" fmla="*/ 341350 w 1054582"/>
                <a:gd name="connsiteY43" fmla="*/ 237744 h 567361"/>
                <a:gd name="connsiteX44" fmla="*/ 313918 w 1054582"/>
                <a:gd name="connsiteY44" fmla="*/ 256032 h 567361"/>
                <a:gd name="connsiteX45" fmla="*/ 240766 w 1054582"/>
                <a:gd name="connsiteY45" fmla="*/ 347472 h 567361"/>
                <a:gd name="connsiteX46" fmla="*/ 231622 w 1054582"/>
                <a:gd name="connsiteY46" fmla="*/ 374904 h 567361"/>
                <a:gd name="connsiteX47" fmla="*/ 222478 w 1054582"/>
                <a:gd name="connsiteY47" fmla="*/ 411480 h 567361"/>
                <a:gd name="connsiteX48" fmla="*/ 240766 w 1054582"/>
                <a:gd name="connsiteY48" fmla="*/ 429768 h 567361"/>
                <a:gd name="connsiteX49" fmla="*/ 195046 w 1054582"/>
                <a:gd name="connsiteY49" fmla="*/ 457200 h 567361"/>
                <a:gd name="connsiteX50" fmla="*/ 48742 w 1054582"/>
                <a:gd name="connsiteY50" fmla="*/ 493776 h 567361"/>
                <a:gd name="connsiteX51" fmla="*/ 3022 w 1054582"/>
                <a:gd name="connsiteY51" fmla="*/ 530352 h 567361"/>
                <a:gd name="connsiteX52" fmla="*/ 37669 w 1054582"/>
                <a:gd name="connsiteY52" fmla="*/ 480583 h 567361"/>
                <a:gd name="connsiteX53" fmla="*/ 21468 w 1054582"/>
                <a:gd name="connsiteY53" fmla="*/ 555040 h 567361"/>
                <a:gd name="connsiteX54" fmla="*/ 19041 w 1054582"/>
                <a:gd name="connsiteY54" fmla="*/ 554512 h 567361"/>
                <a:gd name="connsiteX55" fmla="*/ 19040 w 1054582"/>
                <a:gd name="connsiteY55" fmla="*/ 554512 h 567361"/>
                <a:gd name="connsiteX0" fmla="*/ 112127 w 1054582"/>
                <a:gd name="connsiteY0" fmla="*/ 496784 h 567361"/>
                <a:gd name="connsiteX1" fmla="*/ 21468 w 1054582"/>
                <a:gd name="connsiteY1" fmla="*/ 555041 h 567361"/>
                <a:gd name="connsiteX2" fmla="*/ 21310 w 1054582"/>
                <a:gd name="connsiteY2" fmla="*/ 548640 h 567361"/>
                <a:gd name="connsiteX3" fmla="*/ 149326 w 1054582"/>
                <a:gd name="connsiteY3" fmla="*/ 493776 h 567361"/>
                <a:gd name="connsiteX4" fmla="*/ 249910 w 1054582"/>
                <a:gd name="connsiteY4" fmla="*/ 466344 h 567361"/>
                <a:gd name="connsiteX5" fmla="*/ 350494 w 1054582"/>
                <a:gd name="connsiteY5" fmla="*/ 384048 h 567361"/>
                <a:gd name="connsiteX6" fmla="*/ 542518 w 1054582"/>
                <a:gd name="connsiteY6" fmla="*/ 301752 h 567361"/>
                <a:gd name="connsiteX7" fmla="*/ 624814 w 1054582"/>
                <a:gd name="connsiteY7" fmla="*/ 192024 h 567361"/>
                <a:gd name="connsiteX8" fmla="*/ 771118 w 1054582"/>
                <a:gd name="connsiteY8" fmla="*/ 155448 h 567361"/>
                <a:gd name="connsiteX9" fmla="*/ 816838 w 1054582"/>
                <a:gd name="connsiteY9" fmla="*/ 155448 h 567361"/>
                <a:gd name="connsiteX10" fmla="*/ 853414 w 1054582"/>
                <a:gd name="connsiteY10" fmla="*/ 137160 h 567361"/>
                <a:gd name="connsiteX11" fmla="*/ 807694 w 1054582"/>
                <a:gd name="connsiteY11" fmla="*/ 137160 h 567361"/>
                <a:gd name="connsiteX12" fmla="*/ 716254 w 1054582"/>
                <a:gd name="connsiteY12" fmla="*/ 137160 h 567361"/>
                <a:gd name="connsiteX13" fmla="*/ 661390 w 1054582"/>
                <a:gd name="connsiteY13" fmla="*/ 146304 h 567361"/>
                <a:gd name="connsiteX14" fmla="*/ 652246 w 1054582"/>
                <a:gd name="connsiteY14" fmla="*/ 155448 h 567361"/>
                <a:gd name="connsiteX15" fmla="*/ 633958 w 1054582"/>
                <a:gd name="connsiteY15" fmla="*/ 146304 h 567361"/>
                <a:gd name="connsiteX16" fmla="*/ 761974 w 1054582"/>
                <a:gd name="connsiteY16" fmla="*/ 91440 h 567361"/>
                <a:gd name="connsiteX17" fmla="*/ 816838 w 1054582"/>
                <a:gd name="connsiteY17" fmla="*/ 91440 h 567361"/>
                <a:gd name="connsiteX18" fmla="*/ 908278 w 1054582"/>
                <a:gd name="connsiteY18" fmla="*/ 82296 h 567361"/>
                <a:gd name="connsiteX19" fmla="*/ 1036294 w 1054582"/>
                <a:gd name="connsiteY19" fmla="*/ 27432 h 567361"/>
                <a:gd name="connsiteX20" fmla="*/ 1018006 w 1054582"/>
                <a:gd name="connsiteY20" fmla="*/ 0 h 567361"/>
                <a:gd name="connsiteX21" fmla="*/ 981430 w 1054582"/>
                <a:gd name="connsiteY21" fmla="*/ 27432 h 567361"/>
                <a:gd name="connsiteX22" fmla="*/ 944854 w 1054582"/>
                <a:gd name="connsiteY22" fmla="*/ 36576 h 567361"/>
                <a:gd name="connsiteX23" fmla="*/ 871702 w 1054582"/>
                <a:gd name="connsiteY23" fmla="*/ 64008 h 567361"/>
                <a:gd name="connsiteX24" fmla="*/ 816838 w 1054582"/>
                <a:gd name="connsiteY24" fmla="*/ 64008 h 567361"/>
                <a:gd name="connsiteX25" fmla="*/ 707110 w 1054582"/>
                <a:gd name="connsiteY25" fmla="*/ 64008 h 567361"/>
                <a:gd name="connsiteX26" fmla="*/ 652246 w 1054582"/>
                <a:gd name="connsiteY26" fmla="*/ 100584 h 567361"/>
                <a:gd name="connsiteX27" fmla="*/ 615670 w 1054582"/>
                <a:gd name="connsiteY27" fmla="*/ 146304 h 567361"/>
                <a:gd name="connsiteX28" fmla="*/ 569950 w 1054582"/>
                <a:gd name="connsiteY28" fmla="*/ 182880 h 567361"/>
                <a:gd name="connsiteX29" fmla="*/ 524230 w 1054582"/>
                <a:gd name="connsiteY29" fmla="*/ 256032 h 567361"/>
                <a:gd name="connsiteX30" fmla="*/ 451078 w 1054582"/>
                <a:gd name="connsiteY30" fmla="*/ 301752 h 567361"/>
                <a:gd name="connsiteX31" fmla="*/ 350494 w 1054582"/>
                <a:gd name="connsiteY31" fmla="*/ 347472 h 567361"/>
                <a:gd name="connsiteX32" fmla="*/ 313918 w 1054582"/>
                <a:gd name="connsiteY32" fmla="*/ 374904 h 567361"/>
                <a:gd name="connsiteX33" fmla="*/ 268198 w 1054582"/>
                <a:gd name="connsiteY33" fmla="*/ 402336 h 567361"/>
                <a:gd name="connsiteX34" fmla="*/ 249910 w 1054582"/>
                <a:gd name="connsiteY34" fmla="*/ 402336 h 567361"/>
                <a:gd name="connsiteX35" fmla="*/ 268198 w 1054582"/>
                <a:gd name="connsiteY35" fmla="*/ 365760 h 567361"/>
                <a:gd name="connsiteX36" fmla="*/ 323062 w 1054582"/>
                <a:gd name="connsiteY36" fmla="*/ 301752 h 567361"/>
                <a:gd name="connsiteX37" fmla="*/ 414502 w 1054582"/>
                <a:gd name="connsiteY37" fmla="*/ 219456 h 567361"/>
                <a:gd name="connsiteX38" fmla="*/ 460222 w 1054582"/>
                <a:gd name="connsiteY38" fmla="*/ 146304 h 567361"/>
                <a:gd name="connsiteX39" fmla="*/ 460222 w 1054582"/>
                <a:gd name="connsiteY39" fmla="*/ 64008 h 567361"/>
                <a:gd name="connsiteX40" fmla="*/ 451078 w 1054582"/>
                <a:gd name="connsiteY40" fmla="*/ 54864 h 567361"/>
                <a:gd name="connsiteX41" fmla="*/ 441934 w 1054582"/>
                <a:gd name="connsiteY41" fmla="*/ 128016 h 567361"/>
                <a:gd name="connsiteX42" fmla="*/ 414502 w 1054582"/>
                <a:gd name="connsiteY42" fmla="*/ 173736 h 567361"/>
                <a:gd name="connsiteX43" fmla="*/ 341350 w 1054582"/>
                <a:gd name="connsiteY43" fmla="*/ 237744 h 567361"/>
                <a:gd name="connsiteX44" fmla="*/ 313918 w 1054582"/>
                <a:gd name="connsiteY44" fmla="*/ 256032 h 567361"/>
                <a:gd name="connsiteX45" fmla="*/ 240766 w 1054582"/>
                <a:gd name="connsiteY45" fmla="*/ 347472 h 567361"/>
                <a:gd name="connsiteX46" fmla="*/ 231622 w 1054582"/>
                <a:gd name="connsiteY46" fmla="*/ 374904 h 567361"/>
                <a:gd name="connsiteX47" fmla="*/ 222478 w 1054582"/>
                <a:gd name="connsiteY47" fmla="*/ 411480 h 567361"/>
                <a:gd name="connsiteX48" fmla="*/ 240766 w 1054582"/>
                <a:gd name="connsiteY48" fmla="*/ 429768 h 567361"/>
                <a:gd name="connsiteX49" fmla="*/ 195046 w 1054582"/>
                <a:gd name="connsiteY49" fmla="*/ 457200 h 567361"/>
                <a:gd name="connsiteX50" fmla="*/ 48742 w 1054582"/>
                <a:gd name="connsiteY50" fmla="*/ 493776 h 567361"/>
                <a:gd name="connsiteX51" fmla="*/ 3022 w 1054582"/>
                <a:gd name="connsiteY51" fmla="*/ 530352 h 567361"/>
                <a:gd name="connsiteX52" fmla="*/ 37669 w 1054582"/>
                <a:gd name="connsiteY52" fmla="*/ 480583 h 567361"/>
                <a:gd name="connsiteX53" fmla="*/ 21468 w 1054582"/>
                <a:gd name="connsiteY53" fmla="*/ 555040 h 567361"/>
                <a:gd name="connsiteX54" fmla="*/ 19041 w 1054582"/>
                <a:gd name="connsiteY54" fmla="*/ 554512 h 567361"/>
                <a:gd name="connsiteX55" fmla="*/ 112127 w 1054582"/>
                <a:gd name="connsiteY55" fmla="*/ 496784 h 567361"/>
                <a:gd name="connsiteX0" fmla="*/ 112127 w 1054582"/>
                <a:gd name="connsiteY0" fmla="*/ 496784 h 558851"/>
                <a:gd name="connsiteX1" fmla="*/ 21468 w 1054582"/>
                <a:gd name="connsiteY1" fmla="*/ 555041 h 558851"/>
                <a:gd name="connsiteX2" fmla="*/ 21310 w 1054582"/>
                <a:gd name="connsiteY2" fmla="*/ 548640 h 558851"/>
                <a:gd name="connsiteX3" fmla="*/ 149326 w 1054582"/>
                <a:gd name="connsiteY3" fmla="*/ 493776 h 558851"/>
                <a:gd name="connsiteX4" fmla="*/ 249910 w 1054582"/>
                <a:gd name="connsiteY4" fmla="*/ 466344 h 558851"/>
                <a:gd name="connsiteX5" fmla="*/ 350494 w 1054582"/>
                <a:gd name="connsiteY5" fmla="*/ 384048 h 558851"/>
                <a:gd name="connsiteX6" fmla="*/ 542518 w 1054582"/>
                <a:gd name="connsiteY6" fmla="*/ 301752 h 558851"/>
                <a:gd name="connsiteX7" fmla="*/ 624814 w 1054582"/>
                <a:gd name="connsiteY7" fmla="*/ 192024 h 558851"/>
                <a:gd name="connsiteX8" fmla="*/ 771118 w 1054582"/>
                <a:gd name="connsiteY8" fmla="*/ 155448 h 558851"/>
                <a:gd name="connsiteX9" fmla="*/ 816838 w 1054582"/>
                <a:gd name="connsiteY9" fmla="*/ 155448 h 558851"/>
                <a:gd name="connsiteX10" fmla="*/ 853414 w 1054582"/>
                <a:gd name="connsiteY10" fmla="*/ 137160 h 558851"/>
                <a:gd name="connsiteX11" fmla="*/ 807694 w 1054582"/>
                <a:gd name="connsiteY11" fmla="*/ 137160 h 558851"/>
                <a:gd name="connsiteX12" fmla="*/ 716254 w 1054582"/>
                <a:gd name="connsiteY12" fmla="*/ 137160 h 558851"/>
                <a:gd name="connsiteX13" fmla="*/ 661390 w 1054582"/>
                <a:gd name="connsiteY13" fmla="*/ 146304 h 558851"/>
                <a:gd name="connsiteX14" fmla="*/ 652246 w 1054582"/>
                <a:gd name="connsiteY14" fmla="*/ 155448 h 558851"/>
                <a:gd name="connsiteX15" fmla="*/ 633958 w 1054582"/>
                <a:gd name="connsiteY15" fmla="*/ 146304 h 558851"/>
                <a:gd name="connsiteX16" fmla="*/ 761974 w 1054582"/>
                <a:gd name="connsiteY16" fmla="*/ 91440 h 558851"/>
                <a:gd name="connsiteX17" fmla="*/ 816838 w 1054582"/>
                <a:gd name="connsiteY17" fmla="*/ 91440 h 558851"/>
                <a:gd name="connsiteX18" fmla="*/ 908278 w 1054582"/>
                <a:gd name="connsiteY18" fmla="*/ 82296 h 558851"/>
                <a:gd name="connsiteX19" fmla="*/ 1036294 w 1054582"/>
                <a:gd name="connsiteY19" fmla="*/ 27432 h 558851"/>
                <a:gd name="connsiteX20" fmla="*/ 1018006 w 1054582"/>
                <a:gd name="connsiteY20" fmla="*/ 0 h 558851"/>
                <a:gd name="connsiteX21" fmla="*/ 981430 w 1054582"/>
                <a:gd name="connsiteY21" fmla="*/ 27432 h 558851"/>
                <a:gd name="connsiteX22" fmla="*/ 944854 w 1054582"/>
                <a:gd name="connsiteY22" fmla="*/ 36576 h 558851"/>
                <a:gd name="connsiteX23" fmla="*/ 871702 w 1054582"/>
                <a:gd name="connsiteY23" fmla="*/ 64008 h 558851"/>
                <a:gd name="connsiteX24" fmla="*/ 816838 w 1054582"/>
                <a:gd name="connsiteY24" fmla="*/ 64008 h 558851"/>
                <a:gd name="connsiteX25" fmla="*/ 707110 w 1054582"/>
                <a:gd name="connsiteY25" fmla="*/ 64008 h 558851"/>
                <a:gd name="connsiteX26" fmla="*/ 652246 w 1054582"/>
                <a:gd name="connsiteY26" fmla="*/ 100584 h 558851"/>
                <a:gd name="connsiteX27" fmla="*/ 615670 w 1054582"/>
                <a:gd name="connsiteY27" fmla="*/ 146304 h 558851"/>
                <a:gd name="connsiteX28" fmla="*/ 569950 w 1054582"/>
                <a:gd name="connsiteY28" fmla="*/ 182880 h 558851"/>
                <a:gd name="connsiteX29" fmla="*/ 524230 w 1054582"/>
                <a:gd name="connsiteY29" fmla="*/ 256032 h 558851"/>
                <a:gd name="connsiteX30" fmla="*/ 451078 w 1054582"/>
                <a:gd name="connsiteY30" fmla="*/ 301752 h 558851"/>
                <a:gd name="connsiteX31" fmla="*/ 350494 w 1054582"/>
                <a:gd name="connsiteY31" fmla="*/ 347472 h 558851"/>
                <a:gd name="connsiteX32" fmla="*/ 313918 w 1054582"/>
                <a:gd name="connsiteY32" fmla="*/ 374904 h 558851"/>
                <a:gd name="connsiteX33" fmla="*/ 268198 w 1054582"/>
                <a:gd name="connsiteY33" fmla="*/ 402336 h 558851"/>
                <a:gd name="connsiteX34" fmla="*/ 249910 w 1054582"/>
                <a:gd name="connsiteY34" fmla="*/ 402336 h 558851"/>
                <a:gd name="connsiteX35" fmla="*/ 268198 w 1054582"/>
                <a:gd name="connsiteY35" fmla="*/ 365760 h 558851"/>
                <a:gd name="connsiteX36" fmla="*/ 323062 w 1054582"/>
                <a:gd name="connsiteY36" fmla="*/ 301752 h 558851"/>
                <a:gd name="connsiteX37" fmla="*/ 414502 w 1054582"/>
                <a:gd name="connsiteY37" fmla="*/ 219456 h 558851"/>
                <a:gd name="connsiteX38" fmla="*/ 460222 w 1054582"/>
                <a:gd name="connsiteY38" fmla="*/ 146304 h 558851"/>
                <a:gd name="connsiteX39" fmla="*/ 460222 w 1054582"/>
                <a:gd name="connsiteY39" fmla="*/ 64008 h 558851"/>
                <a:gd name="connsiteX40" fmla="*/ 451078 w 1054582"/>
                <a:gd name="connsiteY40" fmla="*/ 54864 h 558851"/>
                <a:gd name="connsiteX41" fmla="*/ 441934 w 1054582"/>
                <a:gd name="connsiteY41" fmla="*/ 128016 h 558851"/>
                <a:gd name="connsiteX42" fmla="*/ 414502 w 1054582"/>
                <a:gd name="connsiteY42" fmla="*/ 173736 h 558851"/>
                <a:gd name="connsiteX43" fmla="*/ 341350 w 1054582"/>
                <a:gd name="connsiteY43" fmla="*/ 237744 h 558851"/>
                <a:gd name="connsiteX44" fmla="*/ 313918 w 1054582"/>
                <a:gd name="connsiteY44" fmla="*/ 256032 h 558851"/>
                <a:gd name="connsiteX45" fmla="*/ 240766 w 1054582"/>
                <a:gd name="connsiteY45" fmla="*/ 347472 h 558851"/>
                <a:gd name="connsiteX46" fmla="*/ 231622 w 1054582"/>
                <a:gd name="connsiteY46" fmla="*/ 374904 h 558851"/>
                <a:gd name="connsiteX47" fmla="*/ 222478 w 1054582"/>
                <a:gd name="connsiteY47" fmla="*/ 411480 h 558851"/>
                <a:gd name="connsiteX48" fmla="*/ 240766 w 1054582"/>
                <a:gd name="connsiteY48" fmla="*/ 429768 h 558851"/>
                <a:gd name="connsiteX49" fmla="*/ 195046 w 1054582"/>
                <a:gd name="connsiteY49" fmla="*/ 457200 h 558851"/>
                <a:gd name="connsiteX50" fmla="*/ 48742 w 1054582"/>
                <a:gd name="connsiteY50" fmla="*/ 493776 h 558851"/>
                <a:gd name="connsiteX51" fmla="*/ 3022 w 1054582"/>
                <a:gd name="connsiteY51" fmla="*/ 530352 h 558851"/>
                <a:gd name="connsiteX52" fmla="*/ 37669 w 1054582"/>
                <a:gd name="connsiteY52" fmla="*/ 480583 h 558851"/>
                <a:gd name="connsiteX53" fmla="*/ 21468 w 1054582"/>
                <a:gd name="connsiteY53" fmla="*/ 555040 h 558851"/>
                <a:gd name="connsiteX54" fmla="*/ 37669 w 1054582"/>
                <a:gd name="connsiteY54" fmla="*/ 480583 h 558851"/>
                <a:gd name="connsiteX55" fmla="*/ 112127 w 1054582"/>
                <a:gd name="connsiteY55" fmla="*/ 496784 h 558851"/>
                <a:gd name="connsiteX0" fmla="*/ 112127 w 1054582"/>
                <a:gd name="connsiteY0" fmla="*/ 496784 h 558851"/>
                <a:gd name="connsiteX1" fmla="*/ 21468 w 1054582"/>
                <a:gd name="connsiteY1" fmla="*/ 555041 h 558851"/>
                <a:gd name="connsiteX2" fmla="*/ 21310 w 1054582"/>
                <a:gd name="connsiteY2" fmla="*/ 548640 h 558851"/>
                <a:gd name="connsiteX3" fmla="*/ 149326 w 1054582"/>
                <a:gd name="connsiteY3" fmla="*/ 493776 h 558851"/>
                <a:gd name="connsiteX4" fmla="*/ 249910 w 1054582"/>
                <a:gd name="connsiteY4" fmla="*/ 466344 h 558851"/>
                <a:gd name="connsiteX5" fmla="*/ 350494 w 1054582"/>
                <a:gd name="connsiteY5" fmla="*/ 384048 h 558851"/>
                <a:gd name="connsiteX6" fmla="*/ 542518 w 1054582"/>
                <a:gd name="connsiteY6" fmla="*/ 301752 h 558851"/>
                <a:gd name="connsiteX7" fmla="*/ 624814 w 1054582"/>
                <a:gd name="connsiteY7" fmla="*/ 192024 h 558851"/>
                <a:gd name="connsiteX8" fmla="*/ 771118 w 1054582"/>
                <a:gd name="connsiteY8" fmla="*/ 155448 h 558851"/>
                <a:gd name="connsiteX9" fmla="*/ 816838 w 1054582"/>
                <a:gd name="connsiteY9" fmla="*/ 155448 h 558851"/>
                <a:gd name="connsiteX10" fmla="*/ 853414 w 1054582"/>
                <a:gd name="connsiteY10" fmla="*/ 137160 h 558851"/>
                <a:gd name="connsiteX11" fmla="*/ 807694 w 1054582"/>
                <a:gd name="connsiteY11" fmla="*/ 137160 h 558851"/>
                <a:gd name="connsiteX12" fmla="*/ 716254 w 1054582"/>
                <a:gd name="connsiteY12" fmla="*/ 137160 h 558851"/>
                <a:gd name="connsiteX13" fmla="*/ 661390 w 1054582"/>
                <a:gd name="connsiteY13" fmla="*/ 146304 h 558851"/>
                <a:gd name="connsiteX14" fmla="*/ 652246 w 1054582"/>
                <a:gd name="connsiteY14" fmla="*/ 155448 h 558851"/>
                <a:gd name="connsiteX15" fmla="*/ 633958 w 1054582"/>
                <a:gd name="connsiteY15" fmla="*/ 146304 h 558851"/>
                <a:gd name="connsiteX16" fmla="*/ 761974 w 1054582"/>
                <a:gd name="connsiteY16" fmla="*/ 91440 h 558851"/>
                <a:gd name="connsiteX17" fmla="*/ 816838 w 1054582"/>
                <a:gd name="connsiteY17" fmla="*/ 91440 h 558851"/>
                <a:gd name="connsiteX18" fmla="*/ 908278 w 1054582"/>
                <a:gd name="connsiteY18" fmla="*/ 82296 h 558851"/>
                <a:gd name="connsiteX19" fmla="*/ 1036294 w 1054582"/>
                <a:gd name="connsiteY19" fmla="*/ 27432 h 558851"/>
                <a:gd name="connsiteX20" fmla="*/ 1018006 w 1054582"/>
                <a:gd name="connsiteY20" fmla="*/ 0 h 558851"/>
                <a:gd name="connsiteX21" fmla="*/ 981430 w 1054582"/>
                <a:gd name="connsiteY21" fmla="*/ 27432 h 558851"/>
                <a:gd name="connsiteX22" fmla="*/ 944854 w 1054582"/>
                <a:gd name="connsiteY22" fmla="*/ 36576 h 558851"/>
                <a:gd name="connsiteX23" fmla="*/ 871702 w 1054582"/>
                <a:gd name="connsiteY23" fmla="*/ 64008 h 558851"/>
                <a:gd name="connsiteX24" fmla="*/ 816838 w 1054582"/>
                <a:gd name="connsiteY24" fmla="*/ 64008 h 558851"/>
                <a:gd name="connsiteX25" fmla="*/ 707110 w 1054582"/>
                <a:gd name="connsiteY25" fmla="*/ 64008 h 558851"/>
                <a:gd name="connsiteX26" fmla="*/ 652246 w 1054582"/>
                <a:gd name="connsiteY26" fmla="*/ 100584 h 558851"/>
                <a:gd name="connsiteX27" fmla="*/ 615670 w 1054582"/>
                <a:gd name="connsiteY27" fmla="*/ 146304 h 558851"/>
                <a:gd name="connsiteX28" fmla="*/ 569950 w 1054582"/>
                <a:gd name="connsiteY28" fmla="*/ 182880 h 558851"/>
                <a:gd name="connsiteX29" fmla="*/ 524230 w 1054582"/>
                <a:gd name="connsiteY29" fmla="*/ 256032 h 558851"/>
                <a:gd name="connsiteX30" fmla="*/ 451078 w 1054582"/>
                <a:gd name="connsiteY30" fmla="*/ 301752 h 558851"/>
                <a:gd name="connsiteX31" fmla="*/ 350494 w 1054582"/>
                <a:gd name="connsiteY31" fmla="*/ 347472 h 558851"/>
                <a:gd name="connsiteX32" fmla="*/ 313918 w 1054582"/>
                <a:gd name="connsiteY32" fmla="*/ 374904 h 558851"/>
                <a:gd name="connsiteX33" fmla="*/ 268198 w 1054582"/>
                <a:gd name="connsiteY33" fmla="*/ 402336 h 558851"/>
                <a:gd name="connsiteX34" fmla="*/ 249910 w 1054582"/>
                <a:gd name="connsiteY34" fmla="*/ 402336 h 558851"/>
                <a:gd name="connsiteX35" fmla="*/ 268198 w 1054582"/>
                <a:gd name="connsiteY35" fmla="*/ 365760 h 558851"/>
                <a:gd name="connsiteX36" fmla="*/ 323062 w 1054582"/>
                <a:gd name="connsiteY36" fmla="*/ 301752 h 558851"/>
                <a:gd name="connsiteX37" fmla="*/ 414502 w 1054582"/>
                <a:gd name="connsiteY37" fmla="*/ 219456 h 558851"/>
                <a:gd name="connsiteX38" fmla="*/ 460222 w 1054582"/>
                <a:gd name="connsiteY38" fmla="*/ 146304 h 558851"/>
                <a:gd name="connsiteX39" fmla="*/ 460222 w 1054582"/>
                <a:gd name="connsiteY39" fmla="*/ 64008 h 558851"/>
                <a:gd name="connsiteX40" fmla="*/ 451078 w 1054582"/>
                <a:gd name="connsiteY40" fmla="*/ 54864 h 558851"/>
                <a:gd name="connsiteX41" fmla="*/ 441934 w 1054582"/>
                <a:gd name="connsiteY41" fmla="*/ 128016 h 558851"/>
                <a:gd name="connsiteX42" fmla="*/ 414502 w 1054582"/>
                <a:gd name="connsiteY42" fmla="*/ 173736 h 558851"/>
                <a:gd name="connsiteX43" fmla="*/ 341350 w 1054582"/>
                <a:gd name="connsiteY43" fmla="*/ 237744 h 558851"/>
                <a:gd name="connsiteX44" fmla="*/ 313918 w 1054582"/>
                <a:gd name="connsiteY44" fmla="*/ 256032 h 558851"/>
                <a:gd name="connsiteX45" fmla="*/ 240766 w 1054582"/>
                <a:gd name="connsiteY45" fmla="*/ 347472 h 558851"/>
                <a:gd name="connsiteX46" fmla="*/ 231622 w 1054582"/>
                <a:gd name="connsiteY46" fmla="*/ 374904 h 558851"/>
                <a:gd name="connsiteX47" fmla="*/ 222478 w 1054582"/>
                <a:gd name="connsiteY47" fmla="*/ 411480 h 558851"/>
                <a:gd name="connsiteX48" fmla="*/ 240766 w 1054582"/>
                <a:gd name="connsiteY48" fmla="*/ 429768 h 558851"/>
                <a:gd name="connsiteX49" fmla="*/ 195046 w 1054582"/>
                <a:gd name="connsiteY49" fmla="*/ 457200 h 558851"/>
                <a:gd name="connsiteX50" fmla="*/ 48742 w 1054582"/>
                <a:gd name="connsiteY50" fmla="*/ 493776 h 558851"/>
                <a:gd name="connsiteX51" fmla="*/ 3022 w 1054582"/>
                <a:gd name="connsiteY51" fmla="*/ 530352 h 558851"/>
                <a:gd name="connsiteX52" fmla="*/ 37669 w 1054582"/>
                <a:gd name="connsiteY52" fmla="*/ 480583 h 558851"/>
                <a:gd name="connsiteX53" fmla="*/ 21468 w 1054582"/>
                <a:gd name="connsiteY53" fmla="*/ 555040 h 558851"/>
                <a:gd name="connsiteX54" fmla="*/ 112127 w 1054582"/>
                <a:gd name="connsiteY54" fmla="*/ 496784 h 558851"/>
                <a:gd name="connsiteX55" fmla="*/ 112127 w 1054582"/>
                <a:gd name="connsiteY55" fmla="*/ 496784 h 558851"/>
                <a:gd name="connsiteX0" fmla="*/ 112127 w 1054582"/>
                <a:gd name="connsiteY0" fmla="*/ 496784 h 558851"/>
                <a:gd name="connsiteX1" fmla="*/ 21468 w 1054582"/>
                <a:gd name="connsiteY1" fmla="*/ 555041 h 558851"/>
                <a:gd name="connsiteX2" fmla="*/ 21310 w 1054582"/>
                <a:gd name="connsiteY2" fmla="*/ 548640 h 558851"/>
                <a:gd name="connsiteX3" fmla="*/ 149326 w 1054582"/>
                <a:gd name="connsiteY3" fmla="*/ 493776 h 558851"/>
                <a:gd name="connsiteX4" fmla="*/ 249910 w 1054582"/>
                <a:gd name="connsiteY4" fmla="*/ 466344 h 558851"/>
                <a:gd name="connsiteX5" fmla="*/ 350494 w 1054582"/>
                <a:gd name="connsiteY5" fmla="*/ 384048 h 558851"/>
                <a:gd name="connsiteX6" fmla="*/ 542518 w 1054582"/>
                <a:gd name="connsiteY6" fmla="*/ 301752 h 558851"/>
                <a:gd name="connsiteX7" fmla="*/ 624814 w 1054582"/>
                <a:gd name="connsiteY7" fmla="*/ 192024 h 558851"/>
                <a:gd name="connsiteX8" fmla="*/ 771118 w 1054582"/>
                <a:gd name="connsiteY8" fmla="*/ 155448 h 558851"/>
                <a:gd name="connsiteX9" fmla="*/ 816838 w 1054582"/>
                <a:gd name="connsiteY9" fmla="*/ 155448 h 558851"/>
                <a:gd name="connsiteX10" fmla="*/ 853414 w 1054582"/>
                <a:gd name="connsiteY10" fmla="*/ 137160 h 558851"/>
                <a:gd name="connsiteX11" fmla="*/ 807694 w 1054582"/>
                <a:gd name="connsiteY11" fmla="*/ 137160 h 558851"/>
                <a:gd name="connsiteX12" fmla="*/ 716254 w 1054582"/>
                <a:gd name="connsiteY12" fmla="*/ 137160 h 558851"/>
                <a:gd name="connsiteX13" fmla="*/ 661390 w 1054582"/>
                <a:gd name="connsiteY13" fmla="*/ 146304 h 558851"/>
                <a:gd name="connsiteX14" fmla="*/ 652246 w 1054582"/>
                <a:gd name="connsiteY14" fmla="*/ 155448 h 558851"/>
                <a:gd name="connsiteX15" fmla="*/ 633958 w 1054582"/>
                <a:gd name="connsiteY15" fmla="*/ 146304 h 558851"/>
                <a:gd name="connsiteX16" fmla="*/ 761974 w 1054582"/>
                <a:gd name="connsiteY16" fmla="*/ 91440 h 558851"/>
                <a:gd name="connsiteX17" fmla="*/ 816838 w 1054582"/>
                <a:gd name="connsiteY17" fmla="*/ 91440 h 558851"/>
                <a:gd name="connsiteX18" fmla="*/ 908278 w 1054582"/>
                <a:gd name="connsiteY18" fmla="*/ 82296 h 558851"/>
                <a:gd name="connsiteX19" fmla="*/ 1036294 w 1054582"/>
                <a:gd name="connsiteY19" fmla="*/ 27432 h 558851"/>
                <a:gd name="connsiteX20" fmla="*/ 1018006 w 1054582"/>
                <a:gd name="connsiteY20" fmla="*/ 0 h 558851"/>
                <a:gd name="connsiteX21" fmla="*/ 981430 w 1054582"/>
                <a:gd name="connsiteY21" fmla="*/ 27432 h 558851"/>
                <a:gd name="connsiteX22" fmla="*/ 944854 w 1054582"/>
                <a:gd name="connsiteY22" fmla="*/ 36576 h 558851"/>
                <a:gd name="connsiteX23" fmla="*/ 871702 w 1054582"/>
                <a:gd name="connsiteY23" fmla="*/ 64008 h 558851"/>
                <a:gd name="connsiteX24" fmla="*/ 816838 w 1054582"/>
                <a:gd name="connsiteY24" fmla="*/ 64008 h 558851"/>
                <a:gd name="connsiteX25" fmla="*/ 707110 w 1054582"/>
                <a:gd name="connsiteY25" fmla="*/ 64008 h 558851"/>
                <a:gd name="connsiteX26" fmla="*/ 652246 w 1054582"/>
                <a:gd name="connsiteY26" fmla="*/ 100584 h 558851"/>
                <a:gd name="connsiteX27" fmla="*/ 615670 w 1054582"/>
                <a:gd name="connsiteY27" fmla="*/ 146304 h 558851"/>
                <a:gd name="connsiteX28" fmla="*/ 569950 w 1054582"/>
                <a:gd name="connsiteY28" fmla="*/ 182880 h 558851"/>
                <a:gd name="connsiteX29" fmla="*/ 524230 w 1054582"/>
                <a:gd name="connsiteY29" fmla="*/ 256032 h 558851"/>
                <a:gd name="connsiteX30" fmla="*/ 451078 w 1054582"/>
                <a:gd name="connsiteY30" fmla="*/ 301752 h 558851"/>
                <a:gd name="connsiteX31" fmla="*/ 350494 w 1054582"/>
                <a:gd name="connsiteY31" fmla="*/ 347472 h 558851"/>
                <a:gd name="connsiteX32" fmla="*/ 313918 w 1054582"/>
                <a:gd name="connsiteY32" fmla="*/ 374904 h 558851"/>
                <a:gd name="connsiteX33" fmla="*/ 268198 w 1054582"/>
                <a:gd name="connsiteY33" fmla="*/ 402336 h 558851"/>
                <a:gd name="connsiteX34" fmla="*/ 249910 w 1054582"/>
                <a:gd name="connsiteY34" fmla="*/ 402336 h 558851"/>
                <a:gd name="connsiteX35" fmla="*/ 268198 w 1054582"/>
                <a:gd name="connsiteY35" fmla="*/ 365760 h 558851"/>
                <a:gd name="connsiteX36" fmla="*/ 323062 w 1054582"/>
                <a:gd name="connsiteY36" fmla="*/ 301752 h 558851"/>
                <a:gd name="connsiteX37" fmla="*/ 414502 w 1054582"/>
                <a:gd name="connsiteY37" fmla="*/ 219456 h 558851"/>
                <a:gd name="connsiteX38" fmla="*/ 460222 w 1054582"/>
                <a:gd name="connsiteY38" fmla="*/ 146304 h 558851"/>
                <a:gd name="connsiteX39" fmla="*/ 460222 w 1054582"/>
                <a:gd name="connsiteY39" fmla="*/ 64008 h 558851"/>
                <a:gd name="connsiteX40" fmla="*/ 451078 w 1054582"/>
                <a:gd name="connsiteY40" fmla="*/ 54864 h 558851"/>
                <a:gd name="connsiteX41" fmla="*/ 441934 w 1054582"/>
                <a:gd name="connsiteY41" fmla="*/ 128016 h 558851"/>
                <a:gd name="connsiteX42" fmla="*/ 414502 w 1054582"/>
                <a:gd name="connsiteY42" fmla="*/ 173736 h 558851"/>
                <a:gd name="connsiteX43" fmla="*/ 341350 w 1054582"/>
                <a:gd name="connsiteY43" fmla="*/ 237744 h 558851"/>
                <a:gd name="connsiteX44" fmla="*/ 313918 w 1054582"/>
                <a:gd name="connsiteY44" fmla="*/ 256032 h 558851"/>
                <a:gd name="connsiteX45" fmla="*/ 240766 w 1054582"/>
                <a:gd name="connsiteY45" fmla="*/ 347472 h 558851"/>
                <a:gd name="connsiteX46" fmla="*/ 231622 w 1054582"/>
                <a:gd name="connsiteY46" fmla="*/ 374904 h 558851"/>
                <a:gd name="connsiteX47" fmla="*/ 222478 w 1054582"/>
                <a:gd name="connsiteY47" fmla="*/ 411480 h 558851"/>
                <a:gd name="connsiteX48" fmla="*/ 240766 w 1054582"/>
                <a:gd name="connsiteY48" fmla="*/ 429768 h 558851"/>
                <a:gd name="connsiteX49" fmla="*/ 195046 w 1054582"/>
                <a:gd name="connsiteY49" fmla="*/ 457200 h 558851"/>
                <a:gd name="connsiteX50" fmla="*/ 48742 w 1054582"/>
                <a:gd name="connsiteY50" fmla="*/ 493776 h 558851"/>
                <a:gd name="connsiteX51" fmla="*/ 3022 w 1054582"/>
                <a:gd name="connsiteY51" fmla="*/ 530352 h 558851"/>
                <a:gd name="connsiteX52" fmla="*/ 37669 w 1054582"/>
                <a:gd name="connsiteY52" fmla="*/ 480583 h 558851"/>
                <a:gd name="connsiteX53" fmla="*/ 112127 w 1054582"/>
                <a:gd name="connsiteY53" fmla="*/ 496784 h 558851"/>
                <a:gd name="connsiteX54" fmla="*/ 112127 w 1054582"/>
                <a:gd name="connsiteY54" fmla="*/ 496784 h 558851"/>
                <a:gd name="connsiteX55" fmla="*/ 112127 w 1054582"/>
                <a:gd name="connsiteY55" fmla="*/ 496784 h 558851"/>
                <a:gd name="connsiteX0" fmla="*/ 112127 w 1054582"/>
                <a:gd name="connsiteY0" fmla="*/ 496784 h 558851"/>
                <a:gd name="connsiteX1" fmla="*/ 21468 w 1054582"/>
                <a:gd name="connsiteY1" fmla="*/ 555041 h 558851"/>
                <a:gd name="connsiteX2" fmla="*/ 21310 w 1054582"/>
                <a:gd name="connsiteY2" fmla="*/ 548640 h 558851"/>
                <a:gd name="connsiteX3" fmla="*/ 149326 w 1054582"/>
                <a:gd name="connsiteY3" fmla="*/ 493776 h 558851"/>
                <a:gd name="connsiteX4" fmla="*/ 249910 w 1054582"/>
                <a:gd name="connsiteY4" fmla="*/ 466344 h 558851"/>
                <a:gd name="connsiteX5" fmla="*/ 350494 w 1054582"/>
                <a:gd name="connsiteY5" fmla="*/ 384048 h 558851"/>
                <a:gd name="connsiteX6" fmla="*/ 542518 w 1054582"/>
                <a:gd name="connsiteY6" fmla="*/ 301752 h 558851"/>
                <a:gd name="connsiteX7" fmla="*/ 624814 w 1054582"/>
                <a:gd name="connsiteY7" fmla="*/ 192024 h 558851"/>
                <a:gd name="connsiteX8" fmla="*/ 771118 w 1054582"/>
                <a:gd name="connsiteY8" fmla="*/ 155448 h 558851"/>
                <a:gd name="connsiteX9" fmla="*/ 816838 w 1054582"/>
                <a:gd name="connsiteY9" fmla="*/ 155448 h 558851"/>
                <a:gd name="connsiteX10" fmla="*/ 853414 w 1054582"/>
                <a:gd name="connsiteY10" fmla="*/ 137160 h 558851"/>
                <a:gd name="connsiteX11" fmla="*/ 807694 w 1054582"/>
                <a:gd name="connsiteY11" fmla="*/ 137160 h 558851"/>
                <a:gd name="connsiteX12" fmla="*/ 716254 w 1054582"/>
                <a:gd name="connsiteY12" fmla="*/ 137160 h 558851"/>
                <a:gd name="connsiteX13" fmla="*/ 661390 w 1054582"/>
                <a:gd name="connsiteY13" fmla="*/ 146304 h 558851"/>
                <a:gd name="connsiteX14" fmla="*/ 652246 w 1054582"/>
                <a:gd name="connsiteY14" fmla="*/ 155448 h 558851"/>
                <a:gd name="connsiteX15" fmla="*/ 633958 w 1054582"/>
                <a:gd name="connsiteY15" fmla="*/ 146304 h 558851"/>
                <a:gd name="connsiteX16" fmla="*/ 761974 w 1054582"/>
                <a:gd name="connsiteY16" fmla="*/ 91440 h 558851"/>
                <a:gd name="connsiteX17" fmla="*/ 816838 w 1054582"/>
                <a:gd name="connsiteY17" fmla="*/ 91440 h 558851"/>
                <a:gd name="connsiteX18" fmla="*/ 908278 w 1054582"/>
                <a:gd name="connsiteY18" fmla="*/ 82296 h 558851"/>
                <a:gd name="connsiteX19" fmla="*/ 1036294 w 1054582"/>
                <a:gd name="connsiteY19" fmla="*/ 27432 h 558851"/>
                <a:gd name="connsiteX20" fmla="*/ 1018006 w 1054582"/>
                <a:gd name="connsiteY20" fmla="*/ 0 h 558851"/>
                <a:gd name="connsiteX21" fmla="*/ 981430 w 1054582"/>
                <a:gd name="connsiteY21" fmla="*/ 27432 h 558851"/>
                <a:gd name="connsiteX22" fmla="*/ 944854 w 1054582"/>
                <a:gd name="connsiteY22" fmla="*/ 36576 h 558851"/>
                <a:gd name="connsiteX23" fmla="*/ 871702 w 1054582"/>
                <a:gd name="connsiteY23" fmla="*/ 64008 h 558851"/>
                <a:gd name="connsiteX24" fmla="*/ 816838 w 1054582"/>
                <a:gd name="connsiteY24" fmla="*/ 64008 h 558851"/>
                <a:gd name="connsiteX25" fmla="*/ 707110 w 1054582"/>
                <a:gd name="connsiteY25" fmla="*/ 64008 h 558851"/>
                <a:gd name="connsiteX26" fmla="*/ 652246 w 1054582"/>
                <a:gd name="connsiteY26" fmla="*/ 100584 h 558851"/>
                <a:gd name="connsiteX27" fmla="*/ 615670 w 1054582"/>
                <a:gd name="connsiteY27" fmla="*/ 146304 h 558851"/>
                <a:gd name="connsiteX28" fmla="*/ 569950 w 1054582"/>
                <a:gd name="connsiteY28" fmla="*/ 182880 h 558851"/>
                <a:gd name="connsiteX29" fmla="*/ 524230 w 1054582"/>
                <a:gd name="connsiteY29" fmla="*/ 256032 h 558851"/>
                <a:gd name="connsiteX30" fmla="*/ 451078 w 1054582"/>
                <a:gd name="connsiteY30" fmla="*/ 301752 h 558851"/>
                <a:gd name="connsiteX31" fmla="*/ 350494 w 1054582"/>
                <a:gd name="connsiteY31" fmla="*/ 347472 h 558851"/>
                <a:gd name="connsiteX32" fmla="*/ 313918 w 1054582"/>
                <a:gd name="connsiteY32" fmla="*/ 374904 h 558851"/>
                <a:gd name="connsiteX33" fmla="*/ 268198 w 1054582"/>
                <a:gd name="connsiteY33" fmla="*/ 402336 h 558851"/>
                <a:gd name="connsiteX34" fmla="*/ 249910 w 1054582"/>
                <a:gd name="connsiteY34" fmla="*/ 402336 h 558851"/>
                <a:gd name="connsiteX35" fmla="*/ 268198 w 1054582"/>
                <a:gd name="connsiteY35" fmla="*/ 365760 h 558851"/>
                <a:gd name="connsiteX36" fmla="*/ 323062 w 1054582"/>
                <a:gd name="connsiteY36" fmla="*/ 301752 h 558851"/>
                <a:gd name="connsiteX37" fmla="*/ 414502 w 1054582"/>
                <a:gd name="connsiteY37" fmla="*/ 219456 h 558851"/>
                <a:gd name="connsiteX38" fmla="*/ 460222 w 1054582"/>
                <a:gd name="connsiteY38" fmla="*/ 146304 h 558851"/>
                <a:gd name="connsiteX39" fmla="*/ 460222 w 1054582"/>
                <a:gd name="connsiteY39" fmla="*/ 64008 h 558851"/>
                <a:gd name="connsiteX40" fmla="*/ 451078 w 1054582"/>
                <a:gd name="connsiteY40" fmla="*/ 54864 h 558851"/>
                <a:gd name="connsiteX41" fmla="*/ 441934 w 1054582"/>
                <a:gd name="connsiteY41" fmla="*/ 128016 h 558851"/>
                <a:gd name="connsiteX42" fmla="*/ 414502 w 1054582"/>
                <a:gd name="connsiteY42" fmla="*/ 173736 h 558851"/>
                <a:gd name="connsiteX43" fmla="*/ 341350 w 1054582"/>
                <a:gd name="connsiteY43" fmla="*/ 237744 h 558851"/>
                <a:gd name="connsiteX44" fmla="*/ 313918 w 1054582"/>
                <a:gd name="connsiteY44" fmla="*/ 256032 h 558851"/>
                <a:gd name="connsiteX45" fmla="*/ 240766 w 1054582"/>
                <a:gd name="connsiteY45" fmla="*/ 347472 h 558851"/>
                <a:gd name="connsiteX46" fmla="*/ 231622 w 1054582"/>
                <a:gd name="connsiteY46" fmla="*/ 374904 h 558851"/>
                <a:gd name="connsiteX47" fmla="*/ 222478 w 1054582"/>
                <a:gd name="connsiteY47" fmla="*/ 411480 h 558851"/>
                <a:gd name="connsiteX48" fmla="*/ 240766 w 1054582"/>
                <a:gd name="connsiteY48" fmla="*/ 429768 h 558851"/>
                <a:gd name="connsiteX49" fmla="*/ 195046 w 1054582"/>
                <a:gd name="connsiteY49" fmla="*/ 457200 h 558851"/>
                <a:gd name="connsiteX50" fmla="*/ 48742 w 1054582"/>
                <a:gd name="connsiteY50" fmla="*/ 493776 h 558851"/>
                <a:gd name="connsiteX51" fmla="*/ 37668 w 1054582"/>
                <a:gd name="connsiteY51" fmla="*/ 480583 h 558851"/>
                <a:gd name="connsiteX52" fmla="*/ 37669 w 1054582"/>
                <a:gd name="connsiteY52" fmla="*/ 480583 h 558851"/>
                <a:gd name="connsiteX53" fmla="*/ 112127 w 1054582"/>
                <a:gd name="connsiteY53" fmla="*/ 496784 h 558851"/>
                <a:gd name="connsiteX54" fmla="*/ 112127 w 1054582"/>
                <a:gd name="connsiteY54" fmla="*/ 496784 h 558851"/>
                <a:gd name="connsiteX55" fmla="*/ 112127 w 1054582"/>
                <a:gd name="connsiteY55" fmla="*/ 496784 h 558851"/>
                <a:gd name="connsiteX0" fmla="*/ 90659 w 1033114"/>
                <a:gd name="connsiteY0" fmla="*/ 496784 h 555041"/>
                <a:gd name="connsiteX1" fmla="*/ 0 w 1033114"/>
                <a:gd name="connsiteY1" fmla="*/ 555041 h 555041"/>
                <a:gd name="connsiteX2" fmla="*/ 90659 w 1033114"/>
                <a:gd name="connsiteY2" fmla="*/ 496784 h 555041"/>
                <a:gd name="connsiteX3" fmla="*/ 127858 w 1033114"/>
                <a:gd name="connsiteY3" fmla="*/ 493776 h 555041"/>
                <a:gd name="connsiteX4" fmla="*/ 228442 w 1033114"/>
                <a:gd name="connsiteY4" fmla="*/ 466344 h 555041"/>
                <a:gd name="connsiteX5" fmla="*/ 329026 w 1033114"/>
                <a:gd name="connsiteY5" fmla="*/ 384048 h 555041"/>
                <a:gd name="connsiteX6" fmla="*/ 521050 w 1033114"/>
                <a:gd name="connsiteY6" fmla="*/ 301752 h 555041"/>
                <a:gd name="connsiteX7" fmla="*/ 603346 w 1033114"/>
                <a:gd name="connsiteY7" fmla="*/ 192024 h 555041"/>
                <a:gd name="connsiteX8" fmla="*/ 749650 w 1033114"/>
                <a:gd name="connsiteY8" fmla="*/ 155448 h 555041"/>
                <a:gd name="connsiteX9" fmla="*/ 795370 w 1033114"/>
                <a:gd name="connsiteY9" fmla="*/ 155448 h 555041"/>
                <a:gd name="connsiteX10" fmla="*/ 831946 w 1033114"/>
                <a:gd name="connsiteY10" fmla="*/ 137160 h 555041"/>
                <a:gd name="connsiteX11" fmla="*/ 786226 w 1033114"/>
                <a:gd name="connsiteY11" fmla="*/ 137160 h 555041"/>
                <a:gd name="connsiteX12" fmla="*/ 694786 w 1033114"/>
                <a:gd name="connsiteY12" fmla="*/ 137160 h 555041"/>
                <a:gd name="connsiteX13" fmla="*/ 639922 w 1033114"/>
                <a:gd name="connsiteY13" fmla="*/ 146304 h 555041"/>
                <a:gd name="connsiteX14" fmla="*/ 630778 w 1033114"/>
                <a:gd name="connsiteY14" fmla="*/ 155448 h 555041"/>
                <a:gd name="connsiteX15" fmla="*/ 612490 w 1033114"/>
                <a:gd name="connsiteY15" fmla="*/ 146304 h 555041"/>
                <a:gd name="connsiteX16" fmla="*/ 740506 w 1033114"/>
                <a:gd name="connsiteY16" fmla="*/ 91440 h 555041"/>
                <a:gd name="connsiteX17" fmla="*/ 795370 w 1033114"/>
                <a:gd name="connsiteY17" fmla="*/ 91440 h 555041"/>
                <a:gd name="connsiteX18" fmla="*/ 886810 w 1033114"/>
                <a:gd name="connsiteY18" fmla="*/ 82296 h 555041"/>
                <a:gd name="connsiteX19" fmla="*/ 1014826 w 1033114"/>
                <a:gd name="connsiteY19" fmla="*/ 27432 h 555041"/>
                <a:gd name="connsiteX20" fmla="*/ 996538 w 1033114"/>
                <a:gd name="connsiteY20" fmla="*/ 0 h 555041"/>
                <a:gd name="connsiteX21" fmla="*/ 959962 w 1033114"/>
                <a:gd name="connsiteY21" fmla="*/ 27432 h 555041"/>
                <a:gd name="connsiteX22" fmla="*/ 923386 w 1033114"/>
                <a:gd name="connsiteY22" fmla="*/ 36576 h 555041"/>
                <a:gd name="connsiteX23" fmla="*/ 850234 w 1033114"/>
                <a:gd name="connsiteY23" fmla="*/ 64008 h 555041"/>
                <a:gd name="connsiteX24" fmla="*/ 795370 w 1033114"/>
                <a:gd name="connsiteY24" fmla="*/ 64008 h 555041"/>
                <a:gd name="connsiteX25" fmla="*/ 685642 w 1033114"/>
                <a:gd name="connsiteY25" fmla="*/ 64008 h 555041"/>
                <a:gd name="connsiteX26" fmla="*/ 630778 w 1033114"/>
                <a:gd name="connsiteY26" fmla="*/ 100584 h 555041"/>
                <a:gd name="connsiteX27" fmla="*/ 594202 w 1033114"/>
                <a:gd name="connsiteY27" fmla="*/ 146304 h 555041"/>
                <a:gd name="connsiteX28" fmla="*/ 548482 w 1033114"/>
                <a:gd name="connsiteY28" fmla="*/ 182880 h 555041"/>
                <a:gd name="connsiteX29" fmla="*/ 502762 w 1033114"/>
                <a:gd name="connsiteY29" fmla="*/ 256032 h 555041"/>
                <a:gd name="connsiteX30" fmla="*/ 429610 w 1033114"/>
                <a:gd name="connsiteY30" fmla="*/ 301752 h 555041"/>
                <a:gd name="connsiteX31" fmla="*/ 329026 w 1033114"/>
                <a:gd name="connsiteY31" fmla="*/ 347472 h 555041"/>
                <a:gd name="connsiteX32" fmla="*/ 292450 w 1033114"/>
                <a:gd name="connsiteY32" fmla="*/ 374904 h 555041"/>
                <a:gd name="connsiteX33" fmla="*/ 246730 w 1033114"/>
                <a:gd name="connsiteY33" fmla="*/ 402336 h 555041"/>
                <a:gd name="connsiteX34" fmla="*/ 228442 w 1033114"/>
                <a:gd name="connsiteY34" fmla="*/ 402336 h 555041"/>
                <a:gd name="connsiteX35" fmla="*/ 246730 w 1033114"/>
                <a:gd name="connsiteY35" fmla="*/ 365760 h 555041"/>
                <a:gd name="connsiteX36" fmla="*/ 301594 w 1033114"/>
                <a:gd name="connsiteY36" fmla="*/ 301752 h 555041"/>
                <a:gd name="connsiteX37" fmla="*/ 393034 w 1033114"/>
                <a:gd name="connsiteY37" fmla="*/ 219456 h 555041"/>
                <a:gd name="connsiteX38" fmla="*/ 438754 w 1033114"/>
                <a:gd name="connsiteY38" fmla="*/ 146304 h 555041"/>
                <a:gd name="connsiteX39" fmla="*/ 438754 w 1033114"/>
                <a:gd name="connsiteY39" fmla="*/ 64008 h 555041"/>
                <a:gd name="connsiteX40" fmla="*/ 429610 w 1033114"/>
                <a:gd name="connsiteY40" fmla="*/ 54864 h 555041"/>
                <a:gd name="connsiteX41" fmla="*/ 420466 w 1033114"/>
                <a:gd name="connsiteY41" fmla="*/ 128016 h 555041"/>
                <a:gd name="connsiteX42" fmla="*/ 393034 w 1033114"/>
                <a:gd name="connsiteY42" fmla="*/ 173736 h 555041"/>
                <a:gd name="connsiteX43" fmla="*/ 319882 w 1033114"/>
                <a:gd name="connsiteY43" fmla="*/ 237744 h 555041"/>
                <a:gd name="connsiteX44" fmla="*/ 292450 w 1033114"/>
                <a:gd name="connsiteY44" fmla="*/ 256032 h 555041"/>
                <a:gd name="connsiteX45" fmla="*/ 219298 w 1033114"/>
                <a:gd name="connsiteY45" fmla="*/ 347472 h 555041"/>
                <a:gd name="connsiteX46" fmla="*/ 210154 w 1033114"/>
                <a:gd name="connsiteY46" fmla="*/ 374904 h 555041"/>
                <a:gd name="connsiteX47" fmla="*/ 201010 w 1033114"/>
                <a:gd name="connsiteY47" fmla="*/ 411480 h 555041"/>
                <a:gd name="connsiteX48" fmla="*/ 219298 w 1033114"/>
                <a:gd name="connsiteY48" fmla="*/ 429768 h 555041"/>
                <a:gd name="connsiteX49" fmla="*/ 173578 w 1033114"/>
                <a:gd name="connsiteY49" fmla="*/ 457200 h 555041"/>
                <a:gd name="connsiteX50" fmla="*/ 27274 w 1033114"/>
                <a:gd name="connsiteY50" fmla="*/ 493776 h 555041"/>
                <a:gd name="connsiteX51" fmla="*/ 16200 w 1033114"/>
                <a:gd name="connsiteY51" fmla="*/ 480583 h 555041"/>
                <a:gd name="connsiteX52" fmla="*/ 16201 w 1033114"/>
                <a:gd name="connsiteY52" fmla="*/ 480583 h 555041"/>
                <a:gd name="connsiteX53" fmla="*/ 90659 w 1033114"/>
                <a:gd name="connsiteY53" fmla="*/ 496784 h 555041"/>
                <a:gd name="connsiteX54" fmla="*/ 90659 w 1033114"/>
                <a:gd name="connsiteY54" fmla="*/ 496784 h 555041"/>
                <a:gd name="connsiteX55" fmla="*/ 90659 w 1033114"/>
                <a:gd name="connsiteY55" fmla="*/ 496784 h 555041"/>
                <a:gd name="connsiteX0" fmla="*/ 89615 w 1032070"/>
                <a:gd name="connsiteY0" fmla="*/ 496784 h 498849"/>
                <a:gd name="connsiteX1" fmla="*/ 89615 w 1032070"/>
                <a:gd name="connsiteY1" fmla="*/ 496784 h 498849"/>
                <a:gd name="connsiteX2" fmla="*/ 89615 w 1032070"/>
                <a:gd name="connsiteY2" fmla="*/ 496784 h 498849"/>
                <a:gd name="connsiteX3" fmla="*/ 126814 w 1032070"/>
                <a:gd name="connsiteY3" fmla="*/ 493776 h 498849"/>
                <a:gd name="connsiteX4" fmla="*/ 227398 w 1032070"/>
                <a:gd name="connsiteY4" fmla="*/ 466344 h 498849"/>
                <a:gd name="connsiteX5" fmla="*/ 327982 w 1032070"/>
                <a:gd name="connsiteY5" fmla="*/ 384048 h 498849"/>
                <a:gd name="connsiteX6" fmla="*/ 520006 w 1032070"/>
                <a:gd name="connsiteY6" fmla="*/ 301752 h 498849"/>
                <a:gd name="connsiteX7" fmla="*/ 602302 w 1032070"/>
                <a:gd name="connsiteY7" fmla="*/ 192024 h 498849"/>
                <a:gd name="connsiteX8" fmla="*/ 748606 w 1032070"/>
                <a:gd name="connsiteY8" fmla="*/ 155448 h 498849"/>
                <a:gd name="connsiteX9" fmla="*/ 794326 w 1032070"/>
                <a:gd name="connsiteY9" fmla="*/ 155448 h 498849"/>
                <a:gd name="connsiteX10" fmla="*/ 830902 w 1032070"/>
                <a:gd name="connsiteY10" fmla="*/ 137160 h 498849"/>
                <a:gd name="connsiteX11" fmla="*/ 785182 w 1032070"/>
                <a:gd name="connsiteY11" fmla="*/ 137160 h 498849"/>
                <a:gd name="connsiteX12" fmla="*/ 693742 w 1032070"/>
                <a:gd name="connsiteY12" fmla="*/ 137160 h 498849"/>
                <a:gd name="connsiteX13" fmla="*/ 638878 w 1032070"/>
                <a:gd name="connsiteY13" fmla="*/ 146304 h 498849"/>
                <a:gd name="connsiteX14" fmla="*/ 629734 w 1032070"/>
                <a:gd name="connsiteY14" fmla="*/ 155448 h 498849"/>
                <a:gd name="connsiteX15" fmla="*/ 611446 w 1032070"/>
                <a:gd name="connsiteY15" fmla="*/ 146304 h 498849"/>
                <a:gd name="connsiteX16" fmla="*/ 739462 w 1032070"/>
                <a:gd name="connsiteY16" fmla="*/ 91440 h 498849"/>
                <a:gd name="connsiteX17" fmla="*/ 794326 w 1032070"/>
                <a:gd name="connsiteY17" fmla="*/ 91440 h 498849"/>
                <a:gd name="connsiteX18" fmla="*/ 885766 w 1032070"/>
                <a:gd name="connsiteY18" fmla="*/ 82296 h 498849"/>
                <a:gd name="connsiteX19" fmla="*/ 1013782 w 1032070"/>
                <a:gd name="connsiteY19" fmla="*/ 27432 h 498849"/>
                <a:gd name="connsiteX20" fmla="*/ 995494 w 1032070"/>
                <a:gd name="connsiteY20" fmla="*/ 0 h 498849"/>
                <a:gd name="connsiteX21" fmla="*/ 958918 w 1032070"/>
                <a:gd name="connsiteY21" fmla="*/ 27432 h 498849"/>
                <a:gd name="connsiteX22" fmla="*/ 922342 w 1032070"/>
                <a:gd name="connsiteY22" fmla="*/ 36576 h 498849"/>
                <a:gd name="connsiteX23" fmla="*/ 849190 w 1032070"/>
                <a:gd name="connsiteY23" fmla="*/ 64008 h 498849"/>
                <a:gd name="connsiteX24" fmla="*/ 794326 w 1032070"/>
                <a:gd name="connsiteY24" fmla="*/ 64008 h 498849"/>
                <a:gd name="connsiteX25" fmla="*/ 684598 w 1032070"/>
                <a:gd name="connsiteY25" fmla="*/ 64008 h 498849"/>
                <a:gd name="connsiteX26" fmla="*/ 629734 w 1032070"/>
                <a:gd name="connsiteY26" fmla="*/ 100584 h 498849"/>
                <a:gd name="connsiteX27" fmla="*/ 593158 w 1032070"/>
                <a:gd name="connsiteY27" fmla="*/ 146304 h 498849"/>
                <a:gd name="connsiteX28" fmla="*/ 547438 w 1032070"/>
                <a:gd name="connsiteY28" fmla="*/ 182880 h 498849"/>
                <a:gd name="connsiteX29" fmla="*/ 501718 w 1032070"/>
                <a:gd name="connsiteY29" fmla="*/ 256032 h 498849"/>
                <a:gd name="connsiteX30" fmla="*/ 428566 w 1032070"/>
                <a:gd name="connsiteY30" fmla="*/ 301752 h 498849"/>
                <a:gd name="connsiteX31" fmla="*/ 327982 w 1032070"/>
                <a:gd name="connsiteY31" fmla="*/ 347472 h 498849"/>
                <a:gd name="connsiteX32" fmla="*/ 291406 w 1032070"/>
                <a:gd name="connsiteY32" fmla="*/ 374904 h 498849"/>
                <a:gd name="connsiteX33" fmla="*/ 245686 w 1032070"/>
                <a:gd name="connsiteY33" fmla="*/ 402336 h 498849"/>
                <a:gd name="connsiteX34" fmla="*/ 227398 w 1032070"/>
                <a:gd name="connsiteY34" fmla="*/ 402336 h 498849"/>
                <a:gd name="connsiteX35" fmla="*/ 245686 w 1032070"/>
                <a:gd name="connsiteY35" fmla="*/ 365760 h 498849"/>
                <a:gd name="connsiteX36" fmla="*/ 300550 w 1032070"/>
                <a:gd name="connsiteY36" fmla="*/ 301752 h 498849"/>
                <a:gd name="connsiteX37" fmla="*/ 391990 w 1032070"/>
                <a:gd name="connsiteY37" fmla="*/ 219456 h 498849"/>
                <a:gd name="connsiteX38" fmla="*/ 437710 w 1032070"/>
                <a:gd name="connsiteY38" fmla="*/ 146304 h 498849"/>
                <a:gd name="connsiteX39" fmla="*/ 437710 w 1032070"/>
                <a:gd name="connsiteY39" fmla="*/ 64008 h 498849"/>
                <a:gd name="connsiteX40" fmla="*/ 428566 w 1032070"/>
                <a:gd name="connsiteY40" fmla="*/ 54864 h 498849"/>
                <a:gd name="connsiteX41" fmla="*/ 419422 w 1032070"/>
                <a:gd name="connsiteY41" fmla="*/ 128016 h 498849"/>
                <a:gd name="connsiteX42" fmla="*/ 391990 w 1032070"/>
                <a:gd name="connsiteY42" fmla="*/ 173736 h 498849"/>
                <a:gd name="connsiteX43" fmla="*/ 318838 w 1032070"/>
                <a:gd name="connsiteY43" fmla="*/ 237744 h 498849"/>
                <a:gd name="connsiteX44" fmla="*/ 291406 w 1032070"/>
                <a:gd name="connsiteY44" fmla="*/ 256032 h 498849"/>
                <a:gd name="connsiteX45" fmla="*/ 218254 w 1032070"/>
                <a:gd name="connsiteY45" fmla="*/ 347472 h 498849"/>
                <a:gd name="connsiteX46" fmla="*/ 209110 w 1032070"/>
                <a:gd name="connsiteY46" fmla="*/ 374904 h 498849"/>
                <a:gd name="connsiteX47" fmla="*/ 199966 w 1032070"/>
                <a:gd name="connsiteY47" fmla="*/ 411480 h 498849"/>
                <a:gd name="connsiteX48" fmla="*/ 218254 w 1032070"/>
                <a:gd name="connsiteY48" fmla="*/ 429768 h 498849"/>
                <a:gd name="connsiteX49" fmla="*/ 172534 w 1032070"/>
                <a:gd name="connsiteY49" fmla="*/ 457200 h 498849"/>
                <a:gd name="connsiteX50" fmla="*/ 26230 w 1032070"/>
                <a:gd name="connsiteY50" fmla="*/ 493776 h 498849"/>
                <a:gd name="connsiteX51" fmla="*/ 15156 w 1032070"/>
                <a:gd name="connsiteY51" fmla="*/ 480583 h 498849"/>
                <a:gd name="connsiteX52" fmla="*/ 15157 w 1032070"/>
                <a:gd name="connsiteY52" fmla="*/ 480583 h 498849"/>
                <a:gd name="connsiteX53" fmla="*/ 89615 w 1032070"/>
                <a:gd name="connsiteY53" fmla="*/ 496784 h 498849"/>
                <a:gd name="connsiteX54" fmla="*/ 89615 w 1032070"/>
                <a:gd name="connsiteY54" fmla="*/ 496784 h 498849"/>
                <a:gd name="connsiteX55" fmla="*/ 89615 w 1032070"/>
                <a:gd name="connsiteY55" fmla="*/ 496784 h 498849"/>
                <a:gd name="connsiteX0" fmla="*/ 89615 w 1032070"/>
                <a:gd name="connsiteY0" fmla="*/ 496784 h 498849"/>
                <a:gd name="connsiteX1" fmla="*/ 89615 w 1032070"/>
                <a:gd name="connsiteY1" fmla="*/ 496784 h 498849"/>
                <a:gd name="connsiteX2" fmla="*/ 89615 w 1032070"/>
                <a:gd name="connsiteY2" fmla="*/ 496784 h 498849"/>
                <a:gd name="connsiteX3" fmla="*/ 126814 w 1032070"/>
                <a:gd name="connsiteY3" fmla="*/ 493776 h 498849"/>
                <a:gd name="connsiteX4" fmla="*/ 227398 w 1032070"/>
                <a:gd name="connsiteY4" fmla="*/ 466344 h 498849"/>
                <a:gd name="connsiteX5" fmla="*/ 327982 w 1032070"/>
                <a:gd name="connsiteY5" fmla="*/ 384048 h 498849"/>
                <a:gd name="connsiteX6" fmla="*/ 520006 w 1032070"/>
                <a:gd name="connsiteY6" fmla="*/ 301752 h 498849"/>
                <a:gd name="connsiteX7" fmla="*/ 602302 w 1032070"/>
                <a:gd name="connsiteY7" fmla="*/ 192024 h 498849"/>
                <a:gd name="connsiteX8" fmla="*/ 748606 w 1032070"/>
                <a:gd name="connsiteY8" fmla="*/ 155448 h 498849"/>
                <a:gd name="connsiteX9" fmla="*/ 794326 w 1032070"/>
                <a:gd name="connsiteY9" fmla="*/ 155448 h 498849"/>
                <a:gd name="connsiteX10" fmla="*/ 830902 w 1032070"/>
                <a:gd name="connsiteY10" fmla="*/ 137160 h 498849"/>
                <a:gd name="connsiteX11" fmla="*/ 785182 w 1032070"/>
                <a:gd name="connsiteY11" fmla="*/ 137160 h 498849"/>
                <a:gd name="connsiteX12" fmla="*/ 693742 w 1032070"/>
                <a:gd name="connsiteY12" fmla="*/ 137160 h 498849"/>
                <a:gd name="connsiteX13" fmla="*/ 638878 w 1032070"/>
                <a:gd name="connsiteY13" fmla="*/ 146304 h 498849"/>
                <a:gd name="connsiteX14" fmla="*/ 629734 w 1032070"/>
                <a:gd name="connsiteY14" fmla="*/ 155448 h 498849"/>
                <a:gd name="connsiteX15" fmla="*/ 611446 w 1032070"/>
                <a:gd name="connsiteY15" fmla="*/ 146304 h 498849"/>
                <a:gd name="connsiteX16" fmla="*/ 739462 w 1032070"/>
                <a:gd name="connsiteY16" fmla="*/ 91440 h 498849"/>
                <a:gd name="connsiteX17" fmla="*/ 794326 w 1032070"/>
                <a:gd name="connsiteY17" fmla="*/ 91440 h 498849"/>
                <a:gd name="connsiteX18" fmla="*/ 885766 w 1032070"/>
                <a:gd name="connsiteY18" fmla="*/ 82296 h 498849"/>
                <a:gd name="connsiteX19" fmla="*/ 1013782 w 1032070"/>
                <a:gd name="connsiteY19" fmla="*/ 27432 h 498849"/>
                <a:gd name="connsiteX20" fmla="*/ 995494 w 1032070"/>
                <a:gd name="connsiteY20" fmla="*/ 0 h 498849"/>
                <a:gd name="connsiteX21" fmla="*/ 958918 w 1032070"/>
                <a:gd name="connsiteY21" fmla="*/ 27432 h 498849"/>
                <a:gd name="connsiteX22" fmla="*/ 922342 w 1032070"/>
                <a:gd name="connsiteY22" fmla="*/ 36576 h 498849"/>
                <a:gd name="connsiteX23" fmla="*/ 849190 w 1032070"/>
                <a:gd name="connsiteY23" fmla="*/ 64008 h 498849"/>
                <a:gd name="connsiteX24" fmla="*/ 794326 w 1032070"/>
                <a:gd name="connsiteY24" fmla="*/ 64008 h 498849"/>
                <a:gd name="connsiteX25" fmla="*/ 684598 w 1032070"/>
                <a:gd name="connsiteY25" fmla="*/ 64008 h 498849"/>
                <a:gd name="connsiteX26" fmla="*/ 629734 w 1032070"/>
                <a:gd name="connsiteY26" fmla="*/ 100584 h 498849"/>
                <a:gd name="connsiteX27" fmla="*/ 593158 w 1032070"/>
                <a:gd name="connsiteY27" fmla="*/ 146304 h 498849"/>
                <a:gd name="connsiteX28" fmla="*/ 547438 w 1032070"/>
                <a:gd name="connsiteY28" fmla="*/ 182880 h 498849"/>
                <a:gd name="connsiteX29" fmla="*/ 501718 w 1032070"/>
                <a:gd name="connsiteY29" fmla="*/ 256032 h 498849"/>
                <a:gd name="connsiteX30" fmla="*/ 428566 w 1032070"/>
                <a:gd name="connsiteY30" fmla="*/ 301752 h 498849"/>
                <a:gd name="connsiteX31" fmla="*/ 327982 w 1032070"/>
                <a:gd name="connsiteY31" fmla="*/ 347472 h 498849"/>
                <a:gd name="connsiteX32" fmla="*/ 291406 w 1032070"/>
                <a:gd name="connsiteY32" fmla="*/ 374904 h 498849"/>
                <a:gd name="connsiteX33" fmla="*/ 245686 w 1032070"/>
                <a:gd name="connsiteY33" fmla="*/ 402336 h 498849"/>
                <a:gd name="connsiteX34" fmla="*/ 227398 w 1032070"/>
                <a:gd name="connsiteY34" fmla="*/ 402336 h 498849"/>
                <a:gd name="connsiteX35" fmla="*/ 245686 w 1032070"/>
                <a:gd name="connsiteY35" fmla="*/ 365760 h 498849"/>
                <a:gd name="connsiteX36" fmla="*/ 300550 w 1032070"/>
                <a:gd name="connsiteY36" fmla="*/ 301752 h 498849"/>
                <a:gd name="connsiteX37" fmla="*/ 391990 w 1032070"/>
                <a:gd name="connsiteY37" fmla="*/ 219456 h 498849"/>
                <a:gd name="connsiteX38" fmla="*/ 437710 w 1032070"/>
                <a:gd name="connsiteY38" fmla="*/ 146304 h 498849"/>
                <a:gd name="connsiteX39" fmla="*/ 437710 w 1032070"/>
                <a:gd name="connsiteY39" fmla="*/ 64008 h 498849"/>
                <a:gd name="connsiteX40" fmla="*/ 428566 w 1032070"/>
                <a:gd name="connsiteY40" fmla="*/ 54864 h 498849"/>
                <a:gd name="connsiteX41" fmla="*/ 419422 w 1032070"/>
                <a:gd name="connsiteY41" fmla="*/ 128016 h 498849"/>
                <a:gd name="connsiteX42" fmla="*/ 391990 w 1032070"/>
                <a:gd name="connsiteY42" fmla="*/ 173736 h 498849"/>
                <a:gd name="connsiteX43" fmla="*/ 318838 w 1032070"/>
                <a:gd name="connsiteY43" fmla="*/ 237744 h 498849"/>
                <a:gd name="connsiteX44" fmla="*/ 291406 w 1032070"/>
                <a:gd name="connsiteY44" fmla="*/ 256032 h 498849"/>
                <a:gd name="connsiteX45" fmla="*/ 218254 w 1032070"/>
                <a:gd name="connsiteY45" fmla="*/ 347472 h 498849"/>
                <a:gd name="connsiteX46" fmla="*/ 209110 w 1032070"/>
                <a:gd name="connsiteY46" fmla="*/ 374904 h 498849"/>
                <a:gd name="connsiteX47" fmla="*/ 199966 w 1032070"/>
                <a:gd name="connsiteY47" fmla="*/ 411480 h 498849"/>
                <a:gd name="connsiteX48" fmla="*/ 218254 w 1032070"/>
                <a:gd name="connsiteY48" fmla="*/ 429768 h 498849"/>
                <a:gd name="connsiteX49" fmla="*/ 172534 w 1032070"/>
                <a:gd name="connsiteY49" fmla="*/ 457200 h 498849"/>
                <a:gd name="connsiteX50" fmla="*/ 26230 w 1032070"/>
                <a:gd name="connsiteY50" fmla="*/ 493776 h 498849"/>
                <a:gd name="connsiteX51" fmla="*/ 15156 w 1032070"/>
                <a:gd name="connsiteY51" fmla="*/ 480583 h 498849"/>
                <a:gd name="connsiteX52" fmla="*/ 89615 w 1032070"/>
                <a:gd name="connsiteY52" fmla="*/ 496784 h 498849"/>
                <a:gd name="connsiteX53" fmla="*/ 89615 w 1032070"/>
                <a:gd name="connsiteY53" fmla="*/ 496784 h 498849"/>
                <a:gd name="connsiteX54" fmla="*/ 89615 w 1032070"/>
                <a:gd name="connsiteY54" fmla="*/ 496784 h 498849"/>
                <a:gd name="connsiteX55" fmla="*/ 89615 w 1032070"/>
                <a:gd name="connsiteY55" fmla="*/ 496784 h 498849"/>
                <a:gd name="connsiteX0" fmla="*/ 77205 w 1019660"/>
                <a:gd name="connsiteY0" fmla="*/ 496784 h 500373"/>
                <a:gd name="connsiteX1" fmla="*/ 77205 w 1019660"/>
                <a:gd name="connsiteY1" fmla="*/ 496784 h 500373"/>
                <a:gd name="connsiteX2" fmla="*/ 77205 w 1019660"/>
                <a:gd name="connsiteY2" fmla="*/ 496784 h 500373"/>
                <a:gd name="connsiteX3" fmla="*/ 114404 w 1019660"/>
                <a:gd name="connsiteY3" fmla="*/ 493776 h 500373"/>
                <a:gd name="connsiteX4" fmla="*/ 214988 w 1019660"/>
                <a:gd name="connsiteY4" fmla="*/ 466344 h 500373"/>
                <a:gd name="connsiteX5" fmla="*/ 315572 w 1019660"/>
                <a:gd name="connsiteY5" fmla="*/ 384048 h 500373"/>
                <a:gd name="connsiteX6" fmla="*/ 507596 w 1019660"/>
                <a:gd name="connsiteY6" fmla="*/ 301752 h 500373"/>
                <a:gd name="connsiteX7" fmla="*/ 589892 w 1019660"/>
                <a:gd name="connsiteY7" fmla="*/ 192024 h 500373"/>
                <a:gd name="connsiteX8" fmla="*/ 736196 w 1019660"/>
                <a:gd name="connsiteY8" fmla="*/ 155448 h 500373"/>
                <a:gd name="connsiteX9" fmla="*/ 781916 w 1019660"/>
                <a:gd name="connsiteY9" fmla="*/ 155448 h 500373"/>
                <a:gd name="connsiteX10" fmla="*/ 818492 w 1019660"/>
                <a:gd name="connsiteY10" fmla="*/ 137160 h 500373"/>
                <a:gd name="connsiteX11" fmla="*/ 772772 w 1019660"/>
                <a:gd name="connsiteY11" fmla="*/ 137160 h 500373"/>
                <a:gd name="connsiteX12" fmla="*/ 681332 w 1019660"/>
                <a:gd name="connsiteY12" fmla="*/ 137160 h 500373"/>
                <a:gd name="connsiteX13" fmla="*/ 626468 w 1019660"/>
                <a:gd name="connsiteY13" fmla="*/ 146304 h 500373"/>
                <a:gd name="connsiteX14" fmla="*/ 617324 w 1019660"/>
                <a:gd name="connsiteY14" fmla="*/ 155448 h 500373"/>
                <a:gd name="connsiteX15" fmla="*/ 599036 w 1019660"/>
                <a:gd name="connsiteY15" fmla="*/ 146304 h 500373"/>
                <a:gd name="connsiteX16" fmla="*/ 727052 w 1019660"/>
                <a:gd name="connsiteY16" fmla="*/ 91440 h 500373"/>
                <a:gd name="connsiteX17" fmla="*/ 781916 w 1019660"/>
                <a:gd name="connsiteY17" fmla="*/ 91440 h 500373"/>
                <a:gd name="connsiteX18" fmla="*/ 873356 w 1019660"/>
                <a:gd name="connsiteY18" fmla="*/ 82296 h 500373"/>
                <a:gd name="connsiteX19" fmla="*/ 1001372 w 1019660"/>
                <a:gd name="connsiteY19" fmla="*/ 27432 h 500373"/>
                <a:gd name="connsiteX20" fmla="*/ 983084 w 1019660"/>
                <a:gd name="connsiteY20" fmla="*/ 0 h 500373"/>
                <a:gd name="connsiteX21" fmla="*/ 946508 w 1019660"/>
                <a:gd name="connsiteY21" fmla="*/ 27432 h 500373"/>
                <a:gd name="connsiteX22" fmla="*/ 909932 w 1019660"/>
                <a:gd name="connsiteY22" fmla="*/ 36576 h 500373"/>
                <a:gd name="connsiteX23" fmla="*/ 836780 w 1019660"/>
                <a:gd name="connsiteY23" fmla="*/ 64008 h 500373"/>
                <a:gd name="connsiteX24" fmla="*/ 781916 w 1019660"/>
                <a:gd name="connsiteY24" fmla="*/ 64008 h 500373"/>
                <a:gd name="connsiteX25" fmla="*/ 672188 w 1019660"/>
                <a:gd name="connsiteY25" fmla="*/ 64008 h 500373"/>
                <a:gd name="connsiteX26" fmla="*/ 617324 w 1019660"/>
                <a:gd name="connsiteY26" fmla="*/ 100584 h 500373"/>
                <a:gd name="connsiteX27" fmla="*/ 580748 w 1019660"/>
                <a:gd name="connsiteY27" fmla="*/ 146304 h 500373"/>
                <a:gd name="connsiteX28" fmla="*/ 535028 w 1019660"/>
                <a:gd name="connsiteY28" fmla="*/ 182880 h 500373"/>
                <a:gd name="connsiteX29" fmla="*/ 489308 w 1019660"/>
                <a:gd name="connsiteY29" fmla="*/ 256032 h 500373"/>
                <a:gd name="connsiteX30" fmla="*/ 416156 w 1019660"/>
                <a:gd name="connsiteY30" fmla="*/ 301752 h 500373"/>
                <a:gd name="connsiteX31" fmla="*/ 315572 w 1019660"/>
                <a:gd name="connsiteY31" fmla="*/ 347472 h 500373"/>
                <a:gd name="connsiteX32" fmla="*/ 278996 w 1019660"/>
                <a:gd name="connsiteY32" fmla="*/ 374904 h 500373"/>
                <a:gd name="connsiteX33" fmla="*/ 233276 w 1019660"/>
                <a:gd name="connsiteY33" fmla="*/ 402336 h 500373"/>
                <a:gd name="connsiteX34" fmla="*/ 214988 w 1019660"/>
                <a:gd name="connsiteY34" fmla="*/ 402336 h 500373"/>
                <a:gd name="connsiteX35" fmla="*/ 233276 w 1019660"/>
                <a:gd name="connsiteY35" fmla="*/ 365760 h 500373"/>
                <a:gd name="connsiteX36" fmla="*/ 288140 w 1019660"/>
                <a:gd name="connsiteY36" fmla="*/ 301752 h 500373"/>
                <a:gd name="connsiteX37" fmla="*/ 379580 w 1019660"/>
                <a:gd name="connsiteY37" fmla="*/ 219456 h 500373"/>
                <a:gd name="connsiteX38" fmla="*/ 425300 w 1019660"/>
                <a:gd name="connsiteY38" fmla="*/ 146304 h 500373"/>
                <a:gd name="connsiteX39" fmla="*/ 425300 w 1019660"/>
                <a:gd name="connsiteY39" fmla="*/ 64008 h 500373"/>
                <a:gd name="connsiteX40" fmla="*/ 416156 w 1019660"/>
                <a:gd name="connsiteY40" fmla="*/ 54864 h 500373"/>
                <a:gd name="connsiteX41" fmla="*/ 407012 w 1019660"/>
                <a:gd name="connsiteY41" fmla="*/ 128016 h 500373"/>
                <a:gd name="connsiteX42" fmla="*/ 379580 w 1019660"/>
                <a:gd name="connsiteY42" fmla="*/ 173736 h 500373"/>
                <a:gd name="connsiteX43" fmla="*/ 306428 w 1019660"/>
                <a:gd name="connsiteY43" fmla="*/ 237744 h 500373"/>
                <a:gd name="connsiteX44" fmla="*/ 278996 w 1019660"/>
                <a:gd name="connsiteY44" fmla="*/ 256032 h 500373"/>
                <a:gd name="connsiteX45" fmla="*/ 205844 w 1019660"/>
                <a:gd name="connsiteY45" fmla="*/ 347472 h 500373"/>
                <a:gd name="connsiteX46" fmla="*/ 196700 w 1019660"/>
                <a:gd name="connsiteY46" fmla="*/ 374904 h 500373"/>
                <a:gd name="connsiteX47" fmla="*/ 187556 w 1019660"/>
                <a:gd name="connsiteY47" fmla="*/ 411480 h 500373"/>
                <a:gd name="connsiteX48" fmla="*/ 205844 w 1019660"/>
                <a:gd name="connsiteY48" fmla="*/ 429768 h 500373"/>
                <a:gd name="connsiteX49" fmla="*/ 160124 w 1019660"/>
                <a:gd name="connsiteY49" fmla="*/ 457200 h 500373"/>
                <a:gd name="connsiteX50" fmla="*/ 13820 w 1019660"/>
                <a:gd name="connsiteY50" fmla="*/ 493776 h 500373"/>
                <a:gd name="connsiteX51" fmla="*/ 77205 w 1019660"/>
                <a:gd name="connsiteY51" fmla="*/ 496784 h 500373"/>
                <a:gd name="connsiteX52" fmla="*/ 77205 w 1019660"/>
                <a:gd name="connsiteY52" fmla="*/ 496784 h 500373"/>
                <a:gd name="connsiteX53" fmla="*/ 77205 w 1019660"/>
                <a:gd name="connsiteY53" fmla="*/ 496784 h 500373"/>
                <a:gd name="connsiteX54" fmla="*/ 77205 w 1019660"/>
                <a:gd name="connsiteY54" fmla="*/ 496784 h 500373"/>
                <a:gd name="connsiteX55" fmla="*/ 77205 w 1019660"/>
                <a:gd name="connsiteY55" fmla="*/ 496784 h 500373"/>
                <a:gd name="connsiteX0" fmla="*/ 13820 w 956275"/>
                <a:gd name="connsiteY0" fmla="*/ 496784 h 503380"/>
                <a:gd name="connsiteX1" fmla="*/ 13820 w 956275"/>
                <a:gd name="connsiteY1" fmla="*/ 496784 h 503380"/>
                <a:gd name="connsiteX2" fmla="*/ 13820 w 956275"/>
                <a:gd name="connsiteY2" fmla="*/ 496784 h 503380"/>
                <a:gd name="connsiteX3" fmla="*/ 51019 w 956275"/>
                <a:gd name="connsiteY3" fmla="*/ 493776 h 503380"/>
                <a:gd name="connsiteX4" fmla="*/ 151603 w 956275"/>
                <a:gd name="connsiteY4" fmla="*/ 466344 h 503380"/>
                <a:gd name="connsiteX5" fmla="*/ 252187 w 956275"/>
                <a:gd name="connsiteY5" fmla="*/ 384048 h 503380"/>
                <a:gd name="connsiteX6" fmla="*/ 444211 w 956275"/>
                <a:gd name="connsiteY6" fmla="*/ 301752 h 503380"/>
                <a:gd name="connsiteX7" fmla="*/ 526507 w 956275"/>
                <a:gd name="connsiteY7" fmla="*/ 192024 h 503380"/>
                <a:gd name="connsiteX8" fmla="*/ 672811 w 956275"/>
                <a:gd name="connsiteY8" fmla="*/ 155448 h 503380"/>
                <a:gd name="connsiteX9" fmla="*/ 718531 w 956275"/>
                <a:gd name="connsiteY9" fmla="*/ 155448 h 503380"/>
                <a:gd name="connsiteX10" fmla="*/ 755107 w 956275"/>
                <a:gd name="connsiteY10" fmla="*/ 137160 h 503380"/>
                <a:gd name="connsiteX11" fmla="*/ 709387 w 956275"/>
                <a:gd name="connsiteY11" fmla="*/ 137160 h 503380"/>
                <a:gd name="connsiteX12" fmla="*/ 617947 w 956275"/>
                <a:gd name="connsiteY12" fmla="*/ 137160 h 503380"/>
                <a:gd name="connsiteX13" fmla="*/ 563083 w 956275"/>
                <a:gd name="connsiteY13" fmla="*/ 146304 h 503380"/>
                <a:gd name="connsiteX14" fmla="*/ 553939 w 956275"/>
                <a:gd name="connsiteY14" fmla="*/ 155448 h 503380"/>
                <a:gd name="connsiteX15" fmla="*/ 535651 w 956275"/>
                <a:gd name="connsiteY15" fmla="*/ 146304 h 503380"/>
                <a:gd name="connsiteX16" fmla="*/ 663667 w 956275"/>
                <a:gd name="connsiteY16" fmla="*/ 91440 h 503380"/>
                <a:gd name="connsiteX17" fmla="*/ 718531 w 956275"/>
                <a:gd name="connsiteY17" fmla="*/ 91440 h 503380"/>
                <a:gd name="connsiteX18" fmla="*/ 809971 w 956275"/>
                <a:gd name="connsiteY18" fmla="*/ 82296 h 503380"/>
                <a:gd name="connsiteX19" fmla="*/ 937987 w 956275"/>
                <a:gd name="connsiteY19" fmla="*/ 27432 h 503380"/>
                <a:gd name="connsiteX20" fmla="*/ 919699 w 956275"/>
                <a:gd name="connsiteY20" fmla="*/ 0 h 503380"/>
                <a:gd name="connsiteX21" fmla="*/ 883123 w 956275"/>
                <a:gd name="connsiteY21" fmla="*/ 27432 h 503380"/>
                <a:gd name="connsiteX22" fmla="*/ 846547 w 956275"/>
                <a:gd name="connsiteY22" fmla="*/ 36576 h 503380"/>
                <a:gd name="connsiteX23" fmla="*/ 773395 w 956275"/>
                <a:gd name="connsiteY23" fmla="*/ 64008 h 503380"/>
                <a:gd name="connsiteX24" fmla="*/ 718531 w 956275"/>
                <a:gd name="connsiteY24" fmla="*/ 64008 h 503380"/>
                <a:gd name="connsiteX25" fmla="*/ 608803 w 956275"/>
                <a:gd name="connsiteY25" fmla="*/ 64008 h 503380"/>
                <a:gd name="connsiteX26" fmla="*/ 553939 w 956275"/>
                <a:gd name="connsiteY26" fmla="*/ 100584 h 503380"/>
                <a:gd name="connsiteX27" fmla="*/ 517363 w 956275"/>
                <a:gd name="connsiteY27" fmla="*/ 146304 h 503380"/>
                <a:gd name="connsiteX28" fmla="*/ 471643 w 956275"/>
                <a:gd name="connsiteY28" fmla="*/ 182880 h 503380"/>
                <a:gd name="connsiteX29" fmla="*/ 425923 w 956275"/>
                <a:gd name="connsiteY29" fmla="*/ 256032 h 503380"/>
                <a:gd name="connsiteX30" fmla="*/ 352771 w 956275"/>
                <a:gd name="connsiteY30" fmla="*/ 301752 h 503380"/>
                <a:gd name="connsiteX31" fmla="*/ 252187 w 956275"/>
                <a:gd name="connsiteY31" fmla="*/ 347472 h 503380"/>
                <a:gd name="connsiteX32" fmla="*/ 215611 w 956275"/>
                <a:gd name="connsiteY32" fmla="*/ 374904 h 503380"/>
                <a:gd name="connsiteX33" fmla="*/ 169891 w 956275"/>
                <a:gd name="connsiteY33" fmla="*/ 402336 h 503380"/>
                <a:gd name="connsiteX34" fmla="*/ 151603 w 956275"/>
                <a:gd name="connsiteY34" fmla="*/ 402336 h 503380"/>
                <a:gd name="connsiteX35" fmla="*/ 169891 w 956275"/>
                <a:gd name="connsiteY35" fmla="*/ 365760 h 503380"/>
                <a:gd name="connsiteX36" fmla="*/ 224755 w 956275"/>
                <a:gd name="connsiteY36" fmla="*/ 301752 h 503380"/>
                <a:gd name="connsiteX37" fmla="*/ 316195 w 956275"/>
                <a:gd name="connsiteY37" fmla="*/ 219456 h 503380"/>
                <a:gd name="connsiteX38" fmla="*/ 361915 w 956275"/>
                <a:gd name="connsiteY38" fmla="*/ 146304 h 503380"/>
                <a:gd name="connsiteX39" fmla="*/ 361915 w 956275"/>
                <a:gd name="connsiteY39" fmla="*/ 64008 h 503380"/>
                <a:gd name="connsiteX40" fmla="*/ 352771 w 956275"/>
                <a:gd name="connsiteY40" fmla="*/ 54864 h 503380"/>
                <a:gd name="connsiteX41" fmla="*/ 343627 w 956275"/>
                <a:gd name="connsiteY41" fmla="*/ 128016 h 503380"/>
                <a:gd name="connsiteX42" fmla="*/ 316195 w 956275"/>
                <a:gd name="connsiteY42" fmla="*/ 173736 h 503380"/>
                <a:gd name="connsiteX43" fmla="*/ 243043 w 956275"/>
                <a:gd name="connsiteY43" fmla="*/ 237744 h 503380"/>
                <a:gd name="connsiteX44" fmla="*/ 215611 w 956275"/>
                <a:gd name="connsiteY44" fmla="*/ 256032 h 503380"/>
                <a:gd name="connsiteX45" fmla="*/ 142459 w 956275"/>
                <a:gd name="connsiteY45" fmla="*/ 347472 h 503380"/>
                <a:gd name="connsiteX46" fmla="*/ 133315 w 956275"/>
                <a:gd name="connsiteY46" fmla="*/ 374904 h 503380"/>
                <a:gd name="connsiteX47" fmla="*/ 124171 w 956275"/>
                <a:gd name="connsiteY47" fmla="*/ 411480 h 503380"/>
                <a:gd name="connsiteX48" fmla="*/ 142459 w 956275"/>
                <a:gd name="connsiteY48" fmla="*/ 429768 h 503380"/>
                <a:gd name="connsiteX49" fmla="*/ 96739 w 956275"/>
                <a:gd name="connsiteY49" fmla="*/ 457200 h 503380"/>
                <a:gd name="connsiteX50" fmla="*/ 13820 w 956275"/>
                <a:gd name="connsiteY50" fmla="*/ 496783 h 503380"/>
                <a:gd name="connsiteX51" fmla="*/ 13820 w 956275"/>
                <a:gd name="connsiteY51" fmla="*/ 496784 h 503380"/>
                <a:gd name="connsiteX52" fmla="*/ 13820 w 956275"/>
                <a:gd name="connsiteY52" fmla="*/ 496784 h 503380"/>
                <a:gd name="connsiteX53" fmla="*/ 13820 w 956275"/>
                <a:gd name="connsiteY53" fmla="*/ 496784 h 503380"/>
                <a:gd name="connsiteX54" fmla="*/ 13820 w 956275"/>
                <a:gd name="connsiteY54" fmla="*/ 496784 h 503380"/>
                <a:gd name="connsiteX55" fmla="*/ 13820 w 956275"/>
                <a:gd name="connsiteY55" fmla="*/ 496784 h 503380"/>
                <a:gd name="connsiteX0" fmla="*/ 40672 w 956275"/>
                <a:gd name="connsiteY0" fmla="*/ 486851 h 503380"/>
                <a:gd name="connsiteX1" fmla="*/ 13820 w 956275"/>
                <a:gd name="connsiteY1" fmla="*/ 496784 h 503380"/>
                <a:gd name="connsiteX2" fmla="*/ 13820 w 956275"/>
                <a:gd name="connsiteY2" fmla="*/ 496784 h 503380"/>
                <a:gd name="connsiteX3" fmla="*/ 51019 w 956275"/>
                <a:gd name="connsiteY3" fmla="*/ 493776 h 503380"/>
                <a:gd name="connsiteX4" fmla="*/ 151603 w 956275"/>
                <a:gd name="connsiteY4" fmla="*/ 466344 h 503380"/>
                <a:gd name="connsiteX5" fmla="*/ 252187 w 956275"/>
                <a:gd name="connsiteY5" fmla="*/ 384048 h 503380"/>
                <a:gd name="connsiteX6" fmla="*/ 444211 w 956275"/>
                <a:gd name="connsiteY6" fmla="*/ 301752 h 503380"/>
                <a:gd name="connsiteX7" fmla="*/ 526507 w 956275"/>
                <a:gd name="connsiteY7" fmla="*/ 192024 h 503380"/>
                <a:gd name="connsiteX8" fmla="*/ 672811 w 956275"/>
                <a:gd name="connsiteY8" fmla="*/ 155448 h 503380"/>
                <a:gd name="connsiteX9" fmla="*/ 718531 w 956275"/>
                <a:gd name="connsiteY9" fmla="*/ 155448 h 503380"/>
                <a:gd name="connsiteX10" fmla="*/ 755107 w 956275"/>
                <a:gd name="connsiteY10" fmla="*/ 137160 h 503380"/>
                <a:gd name="connsiteX11" fmla="*/ 709387 w 956275"/>
                <a:gd name="connsiteY11" fmla="*/ 137160 h 503380"/>
                <a:gd name="connsiteX12" fmla="*/ 617947 w 956275"/>
                <a:gd name="connsiteY12" fmla="*/ 137160 h 503380"/>
                <a:gd name="connsiteX13" fmla="*/ 563083 w 956275"/>
                <a:gd name="connsiteY13" fmla="*/ 146304 h 503380"/>
                <a:gd name="connsiteX14" fmla="*/ 553939 w 956275"/>
                <a:gd name="connsiteY14" fmla="*/ 155448 h 503380"/>
                <a:gd name="connsiteX15" fmla="*/ 535651 w 956275"/>
                <a:gd name="connsiteY15" fmla="*/ 146304 h 503380"/>
                <a:gd name="connsiteX16" fmla="*/ 663667 w 956275"/>
                <a:gd name="connsiteY16" fmla="*/ 91440 h 503380"/>
                <a:gd name="connsiteX17" fmla="*/ 718531 w 956275"/>
                <a:gd name="connsiteY17" fmla="*/ 91440 h 503380"/>
                <a:gd name="connsiteX18" fmla="*/ 809971 w 956275"/>
                <a:gd name="connsiteY18" fmla="*/ 82296 h 503380"/>
                <a:gd name="connsiteX19" fmla="*/ 937987 w 956275"/>
                <a:gd name="connsiteY19" fmla="*/ 27432 h 503380"/>
                <a:gd name="connsiteX20" fmla="*/ 919699 w 956275"/>
                <a:gd name="connsiteY20" fmla="*/ 0 h 503380"/>
                <a:gd name="connsiteX21" fmla="*/ 883123 w 956275"/>
                <a:gd name="connsiteY21" fmla="*/ 27432 h 503380"/>
                <a:gd name="connsiteX22" fmla="*/ 846547 w 956275"/>
                <a:gd name="connsiteY22" fmla="*/ 36576 h 503380"/>
                <a:gd name="connsiteX23" fmla="*/ 773395 w 956275"/>
                <a:gd name="connsiteY23" fmla="*/ 64008 h 503380"/>
                <a:gd name="connsiteX24" fmla="*/ 718531 w 956275"/>
                <a:gd name="connsiteY24" fmla="*/ 64008 h 503380"/>
                <a:gd name="connsiteX25" fmla="*/ 608803 w 956275"/>
                <a:gd name="connsiteY25" fmla="*/ 64008 h 503380"/>
                <a:gd name="connsiteX26" fmla="*/ 553939 w 956275"/>
                <a:gd name="connsiteY26" fmla="*/ 100584 h 503380"/>
                <a:gd name="connsiteX27" fmla="*/ 517363 w 956275"/>
                <a:gd name="connsiteY27" fmla="*/ 146304 h 503380"/>
                <a:gd name="connsiteX28" fmla="*/ 471643 w 956275"/>
                <a:gd name="connsiteY28" fmla="*/ 182880 h 503380"/>
                <a:gd name="connsiteX29" fmla="*/ 425923 w 956275"/>
                <a:gd name="connsiteY29" fmla="*/ 256032 h 503380"/>
                <a:gd name="connsiteX30" fmla="*/ 352771 w 956275"/>
                <a:gd name="connsiteY30" fmla="*/ 301752 h 503380"/>
                <a:gd name="connsiteX31" fmla="*/ 252187 w 956275"/>
                <a:gd name="connsiteY31" fmla="*/ 347472 h 503380"/>
                <a:gd name="connsiteX32" fmla="*/ 215611 w 956275"/>
                <a:gd name="connsiteY32" fmla="*/ 374904 h 503380"/>
                <a:gd name="connsiteX33" fmla="*/ 169891 w 956275"/>
                <a:gd name="connsiteY33" fmla="*/ 402336 h 503380"/>
                <a:gd name="connsiteX34" fmla="*/ 151603 w 956275"/>
                <a:gd name="connsiteY34" fmla="*/ 402336 h 503380"/>
                <a:gd name="connsiteX35" fmla="*/ 169891 w 956275"/>
                <a:gd name="connsiteY35" fmla="*/ 365760 h 503380"/>
                <a:gd name="connsiteX36" fmla="*/ 224755 w 956275"/>
                <a:gd name="connsiteY36" fmla="*/ 301752 h 503380"/>
                <a:gd name="connsiteX37" fmla="*/ 316195 w 956275"/>
                <a:gd name="connsiteY37" fmla="*/ 219456 h 503380"/>
                <a:gd name="connsiteX38" fmla="*/ 361915 w 956275"/>
                <a:gd name="connsiteY38" fmla="*/ 146304 h 503380"/>
                <a:gd name="connsiteX39" fmla="*/ 361915 w 956275"/>
                <a:gd name="connsiteY39" fmla="*/ 64008 h 503380"/>
                <a:gd name="connsiteX40" fmla="*/ 352771 w 956275"/>
                <a:gd name="connsiteY40" fmla="*/ 54864 h 503380"/>
                <a:gd name="connsiteX41" fmla="*/ 343627 w 956275"/>
                <a:gd name="connsiteY41" fmla="*/ 128016 h 503380"/>
                <a:gd name="connsiteX42" fmla="*/ 316195 w 956275"/>
                <a:gd name="connsiteY42" fmla="*/ 173736 h 503380"/>
                <a:gd name="connsiteX43" fmla="*/ 243043 w 956275"/>
                <a:gd name="connsiteY43" fmla="*/ 237744 h 503380"/>
                <a:gd name="connsiteX44" fmla="*/ 215611 w 956275"/>
                <a:gd name="connsiteY44" fmla="*/ 256032 h 503380"/>
                <a:gd name="connsiteX45" fmla="*/ 142459 w 956275"/>
                <a:gd name="connsiteY45" fmla="*/ 347472 h 503380"/>
                <a:gd name="connsiteX46" fmla="*/ 133315 w 956275"/>
                <a:gd name="connsiteY46" fmla="*/ 374904 h 503380"/>
                <a:gd name="connsiteX47" fmla="*/ 124171 w 956275"/>
                <a:gd name="connsiteY47" fmla="*/ 411480 h 503380"/>
                <a:gd name="connsiteX48" fmla="*/ 142459 w 956275"/>
                <a:gd name="connsiteY48" fmla="*/ 429768 h 503380"/>
                <a:gd name="connsiteX49" fmla="*/ 96739 w 956275"/>
                <a:gd name="connsiteY49" fmla="*/ 457200 h 503380"/>
                <a:gd name="connsiteX50" fmla="*/ 13820 w 956275"/>
                <a:gd name="connsiteY50" fmla="*/ 496783 h 503380"/>
                <a:gd name="connsiteX51" fmla="*/ 13820 w 956275"/>
                <a:gd name="connsiteY51" fmla="*/ 496784 h 503380"/>
                <a:gd name="connsiteX52" fmla="*/ 13820 w 956275"/>
                <a:gd name="connsiteY52" fmla="*/ 496784 h 503380"/>
                <a:gd name="connsiteX53" fmla="*/ 13820 w 956275"/>
                <a:gd name="connsiteY53" fmla="*/ 496784 h 503380"/>
                <a:gd name="connsiteX54" fmla="*/ 13820 w 956275"/>
                <a:gd name="connsiteY54" fmla="*/ 496784 h 503380"/>
                <a:gd name="connsiteX55" fmla="*/ 40672 w 956275"/>
                <a:gd name="connsiteY55" fmla="*/ 486851 h 503380"/>
                <a:gd name="connsiteX0" fmla="*/ 40672 w 956275"/>
                <a:gd name="connsiteY0" fmla="*/ 486851 h 503380"/>
                <a:gd name="connsiteX1" fmla="*/ 13820 w 956275"/>
                <a:gd name="connsiteY1" fmla="*/ 496784 h 503380"/>
                <a:gd name="connsiteX2" fmla="*/ 13820 w 956275"/>
                <a:gd name="connsiteY2" fmla="*/ 496784 h 503380"/>
                <a:gd name="connsiteX3" fmla="*/ 51019 w 956275"/>
                <a:gd name="connsiteY3" fmla="*/ 493776 h 503380"/>
                <a:gd name="connsiteX4" fmla="*/ 151603 w 956275"/>
                <a:gd name="connsiteY4" fmla="*/ 466344 h 503380"/>
                <a:gd name="connsiteX5" fmla="*/ 252187 w 956275"/>
                <a:gd name="connsiteY5" fmla="*/ 384048 h 503380"/>
                <a:gd name="connsiteX6" fmla="*/ 444211 w 956275"/>
                <a:gd name="connsiteY6" fmla="*/ 301752 h 503380"/>
                <a:gd name="connsiteX7" fmla="*/ 526507 w 956275"/>
                <a:gd name="connsiteY7" fmla="*/ 192024 h 503380"/>
                <a:gd name="connsiteX8" fmla="*/ 672811 w 956275"/>
                <a:gd name="connsiteY8" fmla="*/ 155448 h 503380"/>
                <a:gd name="connsiteX9" fmla="*/ 718531 w 956275"/>
                <a:gd name="connsiteY9" fmla="*/ 155448 h 503380"/>
                <a:gd name="connsiteX10" fmla="*/ 755107 w 956275"/>
                <a:gd name="connsiteY10" fmla="*/ 137160 h 503380"/>
                <a:gd name="connsiteX11" fmla="*/ 709387 w 956275"/>
                <a:gd name="connsiteY11" fmla="*/ 137160 h 503380"/>
                <a:gd name="connsiteX12" fmla="*/ 617947 w 956275"/>
                <a:gd name="connsiteY12" fmla="*/ 137160 h 503380"/>
                <a:gd name="connsiteX13" fmla="*/ 563083 w 956275"/>
                <a:gd name="connsiteY13" fmla="*/ 146304 h 503380"/>
                <a:gd name="connsiteX14" fmla="*/ 553939 w 956275"/>
                <a:gd name="connsiteY14" fmla="*/ 155448 h 503380"/>
                <a:gd name="connsiteX15" fmla="*/ 535651 w 956275"/>
                <a:gd name="connsiteY15" fmla="*/ 146304 h 503380"/>
                <a:gd name="connsiteX16" fmla="*/ 663667 w 956275"/>
                <a:gd name="connsiteY16" fmla="*/ 91440 h 503380"/>
                <a:gd name="connsiteX17" fmla="*/ 718531 w 956275"/>
                <a:gd name="connsiteY17" fmla="*/ 91440 h 503380"/>
                <a:gd name="connsiteX18" fmla="*/ 809971 w 956275"/>
                <a:gd name="connsiteY18" fmla="*/ 82296 h 503380"/>
                <a:gd name="connsiteX19" fmla="*/ 937987 w 956275"/>
                <a:gd name="connsiteY19" fmla="*/ 27432 h 503380"/>
                <a:gd name="connsiteX20" fmla="*/ 919699 w 956275"/>
                <a:gd name="connsiteY20" fmla="*/ 0 h 503380"/>
                <a:gd name="connsiteX21" fmla="*/ 883123 w 956275"/>
                <a:gd name="connsiteY21" fmla="*/ 27432 h 503380"/>
                <a:gd name="connsiteX22" fmla="*/ 846547 w 956275"/>
                <a:gd name="connsiteY22" fmla="*/ 36576 h 503380"/>
                <a:gd name="connsiteX23" fmla="*/ 773395 w 956275"/>
                <a:gd name="connsiteY23" fmla="*/ 64008 h 503380"/>
                <a:gd name="connsiteX24" fmla="*/ 718531 w 956275"/>
                <a:gd name="connsiteY24" fmla="*/ 64008 h 503380"/>
                <a:gd name="connsiteX25" fmla="*/ 608803 w 956275"/>
                <a:gd name="connsiteY25" fmla="*/ 64008 h 503380"/>
                <a:gd name="connsiteX26" fmla="*/ 553939 w 956275"/>
                <a:gd name="connsiteY26" fmla="*/ 100584 h 503380"/>
                <a:gd name="connsiteX27" fmla="*/ 517363 w 956275"/>
                <a:gd name="connsiteY27" fmla="*/ 146304 h 503380"/>
                <a:gd name="connsiteX28" fmla="*/ 471643 w 956275"/>
                <a:gd name="connsiteY28" fmla="*/ 182880 h 503380"/>
                <a:gd name="connsiteX29" fmla="*/ 425923 w 956275"/>
                <a:gd name="connsiteY29" fmla="*/ 256032 h 503380"/>
                <a:gd name="connsiteX30" fmla="*/ 352771 w 956275"/>
                <a:gd name="connsiteY30" fmla="*/ 301752 h 503380"/>
                <a:gd name="connsiteX31" fmla="*/ 252187 w 956275"/>
                <a:gd name="connsiteY31" fmla="*/ 347472 h 503380"/>
                <a:gd name="connsiteX32" fmla="*/ 215611 w 956275"/>
                <a:gd name="connsiteY32" fmla="*/ 374904 h 503380"/>
                <a:gd name="connsiteX33" fmla="*/ 169891 w 956275"/>
                <a:gd name="connsiteY33" fmla="*/ 402336 h 503380"/>
                <a:gd name="connsiteX34" fmla="*/ 151603 w 956275"/>
                <a:gd name="connsiteY34" fmla="*/ 402336 h 503380"/>
                <a:gd name="connsiteX35" fmla="*/ 169891 w 956275"/>
                <a:gd name="connsiteY35" fmla="*/ 365760 h 503380"/>
                <a:gd name="connsiteX36" fmla="*/ 224755 w 956275"/>
                <a:gd name="connsiteY36" fmla="*/ 301752 h 503380"/>
                <a:gd name="connsiteX37" fmla="*/ 316195 w 956275"/>
                <a:gd name="connsiteY37" fmla="*/ 219456 h 503380"/>
                <a:gd name="connsiteX38" fmla="*/ 361915 w 956275"/>
                <a:gd name="connsiteY38" fmla="*/ 146304 h 503380"/>
                <a:gd name="connsiteX39" fmla="*/ 361915 w 956275"/>
                <a:gd name="connsiteY39" fmla="*/ 64008 h 503380"/>
                <a:gd name="connsiteX40" fmla="*/ 352771 w 956275"/>
                <a:gd name="connsiteY40" fmla="*/ 54864 h 503380"/>
                <a:gd name="connsiteX41" fmla="*/ 343627 w 956275"/>
                <a:gd name="connsiteY41" fmla="*/ 128016 h 503380"/>
                <a:gd name="connsiteX42" fmla="*/ 316195 w 956275"/>
                <a:gd name="connsiteY42" fmla="*/ 173736 h 503380"/>
                <a:gd name="connsiteX43" fmla="*/ 243043 w 956275"/>
                <a:gd name="connsiteY43" fmla="*/ 237744 h 503380"/>
                <a:gd name="connsiteX44" fmla="*/ 215611 w 956275"/>
                <a:gd name="connsiteY44" fmla="*/ 256032 h 503380"/>
                <a:gd name="connsiteX45" fmla="*/ 142459 w 956275"/>
                <a:gd name="connsiteY45" fmla="*/ 347472 h 503380"/>
                <a:gd name="connsiteX46" fmla="*/ 133315 w 956275"/>
                <a:gd name="connsiteY46" fmla="*/ 374904 h 503380"/>
                <a:gd name="connsiteX47" fmla="*/ 124171 w 956275"/>
                <a:gd name="connsiteY47" fmla="*/ 411480 h 503380"/>
                <a:gd name="connsiteX48" fmla="*/ 142459 w 956275"/>
                <a:gd name="connsiteY48" fmla="*/ 429768 h 503380"/>
                <a:gd name="connsiteX49" fmla="*/ 96739 w 956275"/>
                <a:gd name="connsiteY49" fmla="*/ 457200 h 503380"/>
                <a:gd name="connsiteX50" fmla="*/ 13820 w 956275"/>
                <a:gd name="connsiteY50" fmla="*/ 496783 h 503380"/>
                <a:gd name="connsiteX51" fmla="*/ 13820 w 956275"/>
                <a:gd name="connsiteY51" fmla="*/ 496784 h 503380"/>
                <a:gd name="connsiteX52" fmla="*/ 13820 w 956275"/>
                <a:gd name="connsiteY52" fmla="*/ 496784 h 503380"/>
                <a:gd name="connsiteX53" fmla="*/ 13820 w 956275"/>
                <a:gd name="connsiteY53" fmla="*/ 496784 h 503380"/>
                <a:gd name="connsiteX54" fmla="*/ 13820 w 956275"/>
                <a:gd name="connsiteY54" fmla="*/ 496784 h 503380"/>
                <a:gd name="connsiteX55" fmla="*/ 40672 w 956275"/>
                <a:gd name="connsiteY55" fmla="*/ 486851 h 503380"/>
                <a:gd name="connsiteX0" fmla="*/ 114797 w 956275"/>
                <a:gd name="connsiteY0" fmla="*/ 504512 h 504512"/>
                <a:gd name="connsiteX1" fmla="*/ 13820 w 956275"/>
                <a:gd name="connsiteY1" fmla="*/ 496784 h 504512"/>
                <a:gd name="connsiteX2" fmla="*/ 13820 w 956275"/>
                <a:gd name="connsiteY2" fmla="*/ 496784 h 504512"/>
                <a:gd name="connsiteX3" fmla="*/ 51019 w 956275"/>
                <a:gd name="connsiteY3" fmla="*/ 493776 h 504512"/>
                <a:gd name="connsiteX4" fmla="*/ 151603 w 956275"/>
                <a:gd name="connsiteY4" fmla="*/ 466344 h 504512"/>
                <a:gd name="connsiteX5" fmla="*/ 252187 w 956275"/>
                <a:gd name="connsiteY5" fmla="*/ 384048 h 504512"/>
                <a:gd name="connsiteX6" fmla="*/ 444211 w 956275"/>
                <a:gd name="connsiteY6" fmla="*/ 301752 h 504512"/>
                <a:gd name="connsiteX7" fmla="*/ 526507 w 956275"/>
                <a:gd name="connsiteY7" fmla="*/ 192024 h 504512"/>
                <a:gd name="connsiteX8" fmla="*/ 672811 w 956275"/>
                <a:gd name="connsiteY8" fmla="*/ 155448 h 504512"/>
                <a:gd name="connsiteX9" fmla="*/ 718531 w 956275"/>
                <a:gd name="connsiteY9" fmla="*/ 155448 h 504512"/>
                <a:gd name="connsiteX10" fmla="*/ 755107 w 956275"/>
                <a:gd name="connsiteY10" fmla="*/ 137160 h 504512"/>
                <a:gd name="connsiteX11" fmla="*/ 709387 w 956275"/>
                <a:gd name="connsiteY11" fmla="*/ 137160 h 504512"/>
                <a:gd name="connsiteX12" fmla="*/ 617947 w 956275"/>
                <a:gd name="connsiteY12" fmla="*/ 137160 h 504512"/>
                <a:gd name="connsiteX13" fmla="*/ 563083 w 956275"/>
                <a:gd name="connsiteY13" fmla="*/ 146304 h 504512"/>
                <a:gd name="connsiteX14" fmla="*/ 553939 w 956275"/>
                <a:gd name="connsiteY14" fmla="*/ 155448 h 504512"/>
                <a:gd name="connsiteX15" fmla="*/ 535651 w 956275"/>
                <a:gd name="connsiteY15" fmla="*/ 146304 h 504512"/>
                <a:gd name="connsiteX16" fmla="*/ 663667 w 956275"/>
                <a:gd name="connsiteY16" fmla="*/ 91440 h 504512"/>
                <a:gd name="connsiteX17" fmla="*/ 718531 w 956275"/>
                <a:gd name="connsiteY17" fmla="*/ 91440 h 504512"/>
                <a:gd name="connsiteX18" fmla="*/ 809971 w 956275"/>
                <a:gd name="connsiteY18" fmla="*/ 82296 h 504512"/>
                <a:gd name="connsiteX19" fmla="*/ 937987 w 956275"/>
                <a:gd name="connsiteY19" fmla="*/ 27432 h 504512"/>
                <a:gd name="connsiteX20" fmla="*/ 919699 w 956275"/>
                <a:gd name="connsiteY20" fmla="*/ 0 h 504512"/>
                <a:gd name="connsiteX21" fmla="*/ 883123 w 956275"/>
                <a:gd name="connsiteY21" fmla="*/ 27432 h 504512"/>
                <a:gd name="connsiteX22" fmla="*/ 846547 w 956275"/>
                <a:gd name="connsiteY22" fmla="*/ 36576 h 504512"/>
                <a:gd name="connsiteX23" fmla="*/ 773395 w 956275"/>
                <a:gd name="connsiteY23" fmla="*/ 64008 h 504512"/>
                <a:gd name="connsiteX24" fmla="*/ 718531 w 956275"/>
                <a:gd name="connsiteY24" fmla="*/ 64008 h 504512"/>
                <a:gd name="connsiteX25" fmla="*/ 608803 w 956275"/>
                <a:gd name="connsiteY25" fmla="*/ 64008 h 504512"/>
                <a:gd name="connsiteX26" fmla="*/ 553939 w 956275"/>
                <a:gd name="connsiteY26" fmla="*/ 100584 h 504512"/>
                <a:gd name="connsiteX27" fmla="*/ 517363 w 956275"/>
                <a:gd name="connsiteY27" fmla="*/ 146304 h 504512"/>
                <a:gd name="connsiteX28" fmla="*/ 471643 w 956275"/>
                <a:gd name="connsiteY28" fmla="*/ 182880 h 504512"/>
                <a:gd name="connsiteX29" fmla="*/ 425923 w 956275"/>
                <a:gd name="connsiteY29" fmla="*/ 256032 h 504512"/>
                <a:gd name="connsiteX30" fmla="*/ 352771 w 956275"/>
                <a:gd name="connsiteY30" fmla="*/ 301752 h 504512"/>
                <a:gd name="connsiteX31" fmla="*/ 252187 w 956275"/>
                <a:gd name="connsiteY31" fmla="*/ 347472 h 504512"/>
                <a:gd name="connsiteX32" fmla="*/ 215611 w 956275"/>
                <a:gd name="connsiteY32" fmla="*/ 374904 h 504512"/>
                <a:gd name="connsiteX33" fmla="*/ 169891 w 956275"/>
                <a:gd name="connsiteY33" fmla="*/ 402336 h 504512"/>
                <a:gd name="connsiteX34" fmla="*/ 151603 w 956275"/>
                <a:gd name="connsiteY34" fmla="*/ 402336 h 504512"/>
                <a:gd name="connsiteX35" fmla="*/ 169891 w 956275"/>
                <a:gd name="connsiteY35" fmla="*/ 365760 h 504512"/>
                <a:gd name="connsiteX36" fmla="*/ 224755 w 956275"/>
                <a:gd name="connsiteY36" fmla="*/ 301752 h 504512"/>
                <a:gd name="connsiteX37" fmla="*/ 316195 w 956275"/>
                <a:gd name="connsiteY37" fmla="*/ 219456 h 504512"/>
                <a:gd name="connsiteX38" fmla="*/ 361915 w 956275"/>
                <a:gd name="connsiteY38" fmla="*/ 146304 h 504512"/>
                <a:gd name="connsiteX39" fmla="*/ 361915 w 956275"/>
                <a:gd name="connsiteY39" fmla="*/ 64008 h 504512"/>
                <a:gd name="connsiteX40" fmla="*/ 352771 w 956275"/>
                <a:gd name="connsiteY40" fmla="*/ 54864 h 504512"/>
                <a:gd name="connsiteX41" fmla="*/ 343627 w 956275"/>
                <a:gd name="connsiteY41" fmla="*/ 128016 h 504512"/>
                <a:gd name="connsiteX42" fmla="*/ 316195 w 956275"/>
                <a:gd name="connsiteY42" fmla="*/ 173736 h 504512"/>
                <a:gd name="connsiteX43" fmla="*/ 243043 w 956275"/>
                <a:gd name="connsiteY43" fmla="*/ 237744 h 504512"/>
                <a:gd name="connsiteX44" fmla="*/ 215611 w 956275"/>
                <a:gd name="connsiteY44" fmla="*/ 256032 h 504512"/>
                <a:gd name="connsiteX45" fmla="*/ 142459 w 956275"/>
                <a:gd name="connsiteY45" fmla="*/ 347472 h 504512"/>
                <a:gd name="connsiteX46" fmla="*/ 133315 w 956275"/>
                <a:gd name="connsiteY46" fmla="*/ 374904 h 504512"/>
                <a:gd name="connsiteX47" fmla="*/ 124171 w 956275"/>
                <a:gd name="connsiteY47" fmla="*/ 411480 h 504512"/>
                <a:gd name="connsiteX48" fmla="*/ 142459 w 956275"/>
                <a:gd name="connsiteY48" fmla="*/ 429768 h 504512"/>
                <a:gd name="connsiteX49" fmla="*/ 96739 w 956275"/>
                <a:gd name="connsiteY49" fmla="*/ 457200 h 504512"/>
                <a:gd name="connsiteX50" fmla="*/ 13820 w 956275"/>
                <a:gd name="connsiteY50" fmla="*/ 496783 h 504512"/>
                <a:gd name="connsiteX51" fmla="*/ 13820 w 956275"/>
                <a:gd name="connsiteY51" fmla="*/ 496784 h 504512"/>
                <a:gd name="connsiteX52" fmla="*/ 13820 w 956275"/>
                <a:gd name="connsiteY52" fmla="*/ 496784 h 504512"/>
                <a:gd name="connsiteX53" fmla="*/ 13820 w 956275"/>
                <a:gd name="connsiteY53" fmla="*/ 496784 h 504512"/>
                <a:gd name="connsiteX54" fmla="*/ 13820 w 956275"/>
                <a:gd name="connsiteY54" fmla="*/ 496784 h 504512"/>
                <a:gd name="connsiteX55" fmla="*/ 114797 w 956275"/>
                <a:gd name="connsiteY55" fmla="*/ 504512 h 504512"/>
                <a:gd name="connsiteX0" fmla="*/ 114797 w 956275"/>
                <a:gd name="connsiteY0" fmla="*/ 504512 h 505800"/>
                <a:gd name="connsiteX1" fmla="*/ 13820 w 956275"/>
                <a:gd name="connsiteY1" fmla="*/ 496784 h 505800"/>
                <a:gd name="connsiteX2" fmla="*/ 13820 w 956275"/>
                <a:gd name="connsiteY2" fmla="*/ 496784 h 505800"/>
                <a:gd name="connsiteX3" fmla="*/ 51019 w 956275"/>
                <a:gd name="connsiteY3" fmla="*/ 493776 h 505800"/>
                <a:gd name="connsiteX4" fmla="*/ 151603 w 956275"/>
                <a:gd name="connsiteY4" fmla="*/ 466344 h 505800"/>
                <a:gd name="connsiteX5" fmla="*/ 252187 w 956275"/>
                <a:gd name="connsiteY5" fmla="*/ 384048 h 505800"/>
                <a:gd name="connsiteX6" fmla="*/ 444211 w 956275"/>
                <a:gd name="connsiteY6" fmla="*/ 301752 h 505800"/>
                <a:gd name="connsiteX7" fmla="*/ 526507 w 956275"/>
                <a:gd name="connsiteY7" fmla="*/ 192024 h 505800"/>
                <a:gd name="connsiteX8" fmla="*/ 672811 w 956275"/>
                <a:gd name="connsiteY8" fmla="*/ 155448 h 505800"/>
                <a:gd name="connsiteX9" fmla="*/ 718531 w 956275"/>
                <a:gd name="connsiteY9" fmla="*/ 155448 h 505800"/>
                <a:gd name="connsiteX10" fmla="*/ 755107 w 956275"/>
                <a:gd name="connsiteY10" fmla="*/ 137160 h 505800"/>
                <a:gd name="connsiteX11" fmla="*/ 709387 w 956275"/>
                <a:gd name="connsiteY11" fmla="*/ 137160 h 505800"/>
                <a:gd name="connsiteX12" fmla="*/ 617947 w 956275"/>
                <a:gd name="connsiteY12" fmla="*/ 137160 h 505800"/>
                <a:gd name="connsiteX13" fmla="*/ 563083 w 956275"/>
                <a:gd name="connsiteY13" fmla="*/ 146304 h 505800"/>
                <a:gd name="connsiteX14" fmla="*/ 553939 w 956275"/>
                <a:gd name="connsiteY14" fmla="*/ 155448 h 505800"/>
                <a:gd name="connsiteX15" fmla="*/ 535651 w 956275"/>
                <a:gd name="connsiteY15" fmla="*/ 146304 h 505800"/>
                <a:gd name="connsiteX16" fmla="*/ 663667 w 956275"/>
                <a:gd name="connsiteY16" fmla="*/ 91440 h 505800"/>
                <a:gd name="connsiteX17" fmla="*/ 718531 w 956275"/>
                <a:gd name="connsiteY17" fmla="*/ 91440 h 505800"/>
                <a:gd name="connsiteX18" fmla="*/ 809971 w 956275"/>
                <a:gd name="connsiteY18" fmla="*/ 82296 h 505800"/>
                <a:gd name="connsiteX19" fmla="*/ 937987 w 956275"/>
                <a:gd name="connsiteY19" fmla="*/ 27432 h 505800"/>
                <a:gd name="connsiteX20" fmla="*/ 919699 w 956275"/>
                <a:gd name="connsiteY20" fmla="*/ 0 h 505800"/>
                <a:gd name="connsiteX21" fmla="*/ 883123 w 956275"/>
                <a:gd name="connsiteY21" fmla="*/ 27432 h 505800"/>
                <a:gd name="connsiteX22" fmla="*/ 846547 w 956275"/>
                <a:gd name="connsiteY22" fmla="*/ 36576 h 505800"/>
                <a:gd name="connsiteX23" fmla="*/ 773395 w 956275"/>
                <a:gd name="connsiteY23" fmla="*/ 64008 h 505800"/>
                <a:gd name="connsiteX24" fmla="*/ 718531 w 956275"/>
                <a:gd name="connsiteY24" fmla="*/ 64008 h 505800"/>
                <a:gd name="connsiteX25" fmla="*/ 608803 w 956275"/>
                <a:gd name="connsiteY25" fmla="*/ 64008 h 505800"/>
                <a:gd name="connsiteX26" fmla="*/ 553939 w 956275"/>
                <a:gd name="connsiteY26" fmla="*/ 100584 h 505800"/>
                <a:gd name="connsiteX27" fmla="*/ 517363 w 956275"/>
                <a:gd name="connsiteY27" fmla="*/ 146304 h 505800"/>
                <a:gd name="connsiteX28" fmla="*/ 471643 w 956275"/>
                <a:gd name="connsiteY28" fmla="*/ 182880 h 505800"/>
                <a:gd name="connsiteX29" fmla="*/ 425923 w 956275"/>
                <a:gd name="connsiteY29" fmla="*/ 256032 h 505800"/>
                <a:gd name="connsiteX30" fmla="*/ 352771 w 956275"/>
                <a:gd name="connsiteY30" fmla="*/ 301752 h 505800"/>
                <a:gd name="connsiteX31" fmla="*/ 252187 w 956275"/>
                <a:gd name="connsiteY31" fmla="*/ 347472 h 505800"/>
                <a:gd name="connsiteX32" fmla="*/ 215611 w 956275"/>
                <a:gd name="connsiteY32" fmla="*/ 374904 h 505800"/>
                <a:gd name="connsiteX33" fmla="*/ 169891 w 956275"/>
                <a:gd name="connsiteY33" fmla="*/ 402336 h 505800"/>
                <a:gd name="connsiteX34" fmla="*/ 151603 w 956275"/>
                <a:gd name="connsiteY34" fmla="*/ 402336 h 505800"/>
                <a:gd name="connsiteX35" fmla="*/ 169891 w 956275"/>
                <a:gd name="connsiteY35" fmla="*/ 365760 h 505800"/>
                <a:gd name="connsiteX36" fmla="*/ 224755 w 956275"/>
                <a:gd name="connsiteY36" fmla="*/ 301752 h 505800"/>
                <a:gd name="connsiteX37" fmla="*/ 316195 w 956275"/>
                <a:gd name="connsiteY37" fmla="*/ 219456 h 505800"/>
                <a:gd name="connsiteX38" fmla="*/ 361915 w 956275"/>
                <a:gd name="connsiteY38" fmla="*/ 146304 h 505800"/>
                <a:gd name="connsiteX39" fmla="*/ 361915 w 956275"/>
                <a:gd name="connsiteY39" fmla="*/ 64008 h 505800"/>
                <a:gd name="connsiteX40" fmla="*/ 352771 w 956275"/>
                <a:gd name="connsiteY40" fmla="*/ 54864 h 505800"/>
                <a:gd name="connsiteX41" fmla="*/ 343627 w 956275"/>
                <a:gd name="connsiteY41" fmla="*/ 128016 h 505800"/>
                <a:gd name="connsiteX42" fmla="*/ 316195 w 956275"/>
                <a:gd name="connsiteY42" fmla="*/ 173736 h 505800"/>
                <a:gd name="connsiteX43" fmla="*/ 243043 w 956275"/>
                <a:gd name="connsiteY43" fmla="*/ 237744 h 505800"/>
                <a:gd name="connsiteX44" fmla="*/ 215611 w 956275"/>
                <a:gd name="connsiteY44" fmla="*/ 256032 h 505800"/>
                <a:gd name="connsiteX45" fmla="*/ 142459 w 956275"/>
                <a:gd name="connsiteY45" fmla="*/ 347472 h 505800"/>
                <a:gd name="connsiteX46" fmla="*/ 133315 w 956275"/>
                <a:gd name="connsiteY46" fmla="*/ 374904 h 505800"/>
                <a:gd name="connsiteX47" fmla="*/ 124171 w 956275"/>
                <a:gd name="connsiteY47" fmla="*/ 411480 h 505800"/>
                <a:gd name="connsiteX48" fmla="*/ 142459 w 956275"/>
                <a:gd name="connsiteY48" fmla="*/ 429768 h 505800"/>
                <a:gd name="connsiteX49" fmla="*/ 96739 w 956275"/>
                <a:gd name="connsiteY49" fmla="*/ 457200 h 505800"/>
                <a:gd name="connsiteX50" fmla="*/ 13820 w 956275"/>
                <a:gd name="connsiteY50" fmla="*/ 496783 h 505800"/>
                <a:gd name="connsiteX51" fmla="*/ 13820 w 956275"/>
                <a:gd name="connsiteY51" fmla="*/ 496784 h 505800"/>
                <a:gd name="connsiteX52" fmla="*/ 13820 w 956275"/>
                <a:gd name="connsiteY52" fmla="*/ 496784 h 505800"/>
                <a:gd name="connsiteX53" fmla="*/ 13820 w 956275"/>
                <a:gd name="connsiteY53" fmla="*/ 496784 h 505800"/>
                <a:gd name="connsiteX54" fmla="*/ 114796 w 956275"/>
                <a:gd name="connsiteY54" fmla="*/ 504511 h 505800"/>
                <a:gd name="connsiteX55" fmla="*/ 114797 w 956275"/>
                <a:gd name="connsiteY55" fmla="*/ 504512 h 505800"/>
                <a:gd name="connsiteX0" fmla="*/ 114797 w 956275"/>
                <a:gd name="connsiteY0" fmla="*/ 504512 h 505800"/>
                <a:gd name="connsiteX1" fmla="*/ 13820 w 956275"/>
                <a:gd name="connsiteY1" fmla="*/ 496784 h 505800"/>
                <a:gd name="connsiteX2" fmla="*/ 13820 w 956275"/>
                <a:gd name="connsiteY2" fmla="*/ 496784 h 505800"/>
                <a:gd name="connsiteX3" fmla="*/ 51019 w 956275"/>
                <a:gd name="connsiteY3" fmla="*/ 493776 h 505800"/>
                <a:gd name="connsiteX4" fmla="*/ 151603 w 956275"/>
                <a:gd name="connsiteY4" fmla="*/ 466344 h 505800"/>
                <a:gd name="connsiteX5" fmla="*/ 252187 w 956275"/>
                <a:gd name="connsiteY5" fmla="*/ 384048 h 505800"/>
                <a:gd name="connsiteX6" fmla="*/ 444211 w 956275"/>
                <a:gd name="connsiteY6" fmla="*/ 301752 h 505800"/>
                <a:gd name="connsiteX7" fmla="*/ 526507 w 956275"/>
                <a:gd name="connsiteY7" fmla="*/ 192024 h 505800"/>
                <a:gd name="connsiteX8" fmla="*/ 672811 w 956275"/>
                <a:gd name="connsiteY8" fmla="*/ 155448 h 505800"/>
                <a:gd name="connsiteX9" fmla="*/ 718531 w 956275"/>
                <a:gd name="connsiteY9" fmla="*/ 155448 h 505800"/>
                <a:gd name="connsiteX10" fmla="*/ 755107 w 956275"/>
                <a:gd name="connsiteY10" fmla="*/ 137160 h 505800"/>
                <a:gd name="connsiteX11" fmla="*/ 709387 w 956275"/>
                <a:gd name="connsiteY11" fmla="*/ 137160 h 505800"/>
                <a:gd name="connsiteX12" fmla="*/ 617947 w 956275"/>
                <a:gd name="connsiteY12" fmla="*/ 137160 h 505800"/>
                <a:gd name="connsiteX13" fmla="*/ 563083 w 956275"/>
                <a:gd name="connsiteY13" fmla="*/ 146304 h 505800"/>
                <a:gd name="connsiteX14" fmla="*/ 553939 w 956275"/>
                <a:gd name="connsiteY14" fmla="*/ 155448 h 505800"/>
                <a:gd name="connsiteX15" fmla="*/ 535651 w 956275"/>
                <a:gd name="connsiteY15" fmla="*/ 146304 h 505800"/>
                <a:gd name="connsiteX16" fmla="*/ 663667 w 956275"/>
                <a:gd name="connsiteY16" fmla="*/ 91440 h 505800"/>
                <a:gd name="connsiteX17" fmla="*/ 718531 w 956275"/>
                <a:gd name="connsiteY17" fmla="*/ 91440 h 505800"/>
                <a:gd name="connsiteX18" fmla="*/ 809971 w 956275"/>
                <a:gd name="connsiteY18" fmla="*/ 82296 h 505800"/>
                <a:gd name="connsiteX19" fmla="*/ 937987 w 956275"/>
                <a:gd name="connsiteY19" fmla="*/ 27432 h 505800"/>
                <a:gd name="connsiteX20" fmla="*/ 919699 w 956275"/>
                <a:gd name="connsiteY20" fmla="*/ 0 h 505800"/>
                <a:gd name="connsiteX21" fmla="*/ 883123 w 956275"/>
                <a:gd name="connsiteY21" fmla="*/ 27432 h 505800"/>
                <a:gd name="connsiteX22" fmla="*/ 846547 w 956275"/>
                <a:gd name="connsiteY22" fmla="*/ 36576 h 505800"/>
                <a:gd name="connsiteX23" fmla="*/ 773395 w 956275"/>
                <a:gd name="connsiteY23" fmla="*/ 64008 h 505800"/>
                <a:gd name="connsiteX24" fmla="*/ 718531 w 956275"/>
                <a:gd name="connsiteY24" fmla="*/ 64008 h 505800"/>
                <a:gd name="connsiteX25" fmla="*/ 608803 w 956275"/>
                <a:gd name="connsiteY25" fmla="*/ 64008 h 505800"/>
                <a:gd name="connsiteX26" fmla="*/ 553939 w 956275"/>
                <a:gd name="connsiteY26" fmla="*/ 100584 h 505800"/>
                <a:gd name="connsiteX27" fmla="*/ 517363 w 956275"/>
                <a:gd name="connsiteY27" fmla="*/ 146304 h 505800"/>
                <a:gd name="connsiteX28" fmla="*/ 471643 w 956275"/>
                <a:gd name="connsiteY28" fmla="*/ 182880 h 505800"/>
                <a:gd name="connsiteX29" fmla="*/ 425923 w 956275"/>
                <a:gd name="connsiteY29" fmla="*/ 256032 h 505800"/>
                <a:gd name="connsiteX30" fmla="*/ 352771 w 956275"/>
                <a:gd name="connsiteY30" fmla="*/ 301752 h 505800"/>
                <a:gd name="connsiteX31" fmla="*/ 252187 w 956275"/>
                <a:gd name="connsiteY31" fmla="*/ 347472 h 505800"/>
                <a:gd name="connsiteX32" fmla="*/ 215611 w 956275"/>
                <a:gd name="connsiteY32" fmla="*/ 374904 h 505800"/>
                <a:gd name="connsiteX33" fmla="*/ 169891 w 956275"/>
                <a:gd name="connsiteY33" fmla="*/ 402336 h 505800"/>
                <a:gd name="connsiteX34" fmla="*/ 151603 w 956275"/>
                <a:gd name="connsiteY34" fmla="*/ 402336 h 505800"/>
                <a:gd name="connsiteX35" fmla="*/ 169891 w 956275"/>
                <a:gd name="connsiteY35" fmla="*/ 365760 h 505800"/>
                <a:gd name="connsiteX36" fmla="*/ 224755 w 956275"/>
                <a:gd name="connsiteY36" fmla="*/ 301752 h 505800"/>
                <a:gd name="connsiteX37" fmla="*/ 316195 w 956275"/>
                <a:gd name="connsiteY37" fmla="*/ 219456 h 505800"/>
                <a:gd name="connsiteX38" fmla="*/ 361915 w 956275"/>
                <a:gd name="connsiteY38" fmla="*/ 146304 h 505800"/>
                <a:gd name="connsiteX39" fmla="*/ 361915 w 956275"/>
                <a:gd name="connsiteY39" fmla="*/ 64008 h 505800"/>
                <a:gd name="connsiteX40" fmla="*/ 352771 w 956275"/>
                <a:gd name="connsiteY40" fmla="*/ 54864 h 505800"/>
                <a:gd name="connsiteX41" fmla="*/ 343627 w 956275"/>
                <a:gd name="connsiteY41" fmla="*/ 128016 h 505800"/>
                <a:gd name="connsiteX42" fmla="*/ 316195 w 956275"/>
                <a:gd name="connsiteY42" fmla="*/ 173736 h 505800"/>
                <a:gd name="connsiteX43" fmla="*/ 243043 w 956275"/>
                <a:gd name="connsiteY43" fmla="*/ 237744 h 505800"/>
                <a:gd name="connsiteX44" fmla="*/ 215611 w 956275"/>
                <a:gd name="connsiteY44" fmla="*/ 256032 h 505800"/>
                <a:gd name="connsiteX45" fmla="*/ 142459 w 956275"/>
                <a:gd name="connsiteY45" fmla="*/ 347472 h 505800"/>
                <a:gd name="connsiteX46" fmla="*/ 133315 w 956275"/>
                <a:gd name="connsiteY46" fmla="*/ 374904 h 505800"/>
                <a:gd name="connsiteX47" fmla="*/ 124171 w 956275"/>
                <a:gd name="connsiteY47" fmla="*/ 411480 h 505800"/>
                <a:gd name="connsiteX48" fmla="*/ 142459 w 956275"/>
                <a:gd name="connsiteY48" fmla="*/ 429768 h 505800"/>
                <a:gd name="connsiteX49" fmla="*/ 96739 w 956275"/>
                <a:gd name="connsiteY49" fmla="*/ 457200 h 505800"/>
                <a:gd name="connsiteX50" fmla="*/ 13820 w 956275"/>
                <a:gd name="connsiteY50" fmla="*/ 496783 h 505800"/>
                <a:gd name="connsiteX51" fmla="*/ 13820 w 956275"/>
                <a:gd name="connsiteY51" fmla="*/ 496784 h 505800"/>
                <a:gd name="connsiteX52" fmla="*/ 13820 w 956275"/>
                <a:gd name="connsiteY52" fmla="*/ 496784 h 505800"/>
                <a:gd name="connsiteX53" fmla="*/ 132458 w 956275"/>
                <a:gd name="connsiteY53" fmla="*/ 430387 h 505800"/>
                <a:gd name="connsiteX54" fmla="*/ 114796 w 956275"/>
                <a:gd name="connsiteY54" fmla="*/ 504511 h 505800"/>
                <a:gd name="connsiteX55" fmla="*/ 114797 w 956275"/>
                <a:gd name="connsiteY55" fmla="*/ 504512 h 505800"/>
                <a:gd name="connsiteX0" fmla="*/ 114798 w 956275"/>
                <a:gd name="connsiteY0" fmla="*/ 504512 h 505800"/>
                <a:gd name="connsiteX1" fmla="*/ 13820 w 956275"/>
                <a:gd name="connsiteY1" fmla="*/ 496784 h 505800"/>
                <a:gd name="connsiteX2" fmla="*/ 13820 w 956275"/>
                <a:gd name="connsiteY2" fmla="*/ 496784 h 505800"/>
                <a:gd name="connsiteX3" fmla="*/ 51019 w 956275"/>
                <a:gd name="connsiteY3" fmla="*/ 493776 h 505800"/>
                <a:gd name="connsiteX4" fmla="*/ 151603 w 956275"/>
                <a:gd name="connsiteY4" fmla="*/ 466344 h 505800"/>
                <a:gd name="connsiteX5" fmla="*/ 252187 w 956275"/>
                <a:gd name="connsiteY5" fmla="*/ 384048 h 505800"/>
                <a:gd name="connsiteX6" fmla="*/ 444211 w 956275"/>
                <a:gd name="connsiteY6" fmla="*/ 301752 h 505800"/>
                <a:gd name="connsiteX7" fmla="*/ 526507 w 956275"/>
                <a:gd name="connsiteY7" fmla="*/ 192024 h 505800"/>
                <a:gd name="connsiteX8" fmla="*/ 672811 w 956275"/>
                <a:gd name="connsiteY8" fmla="*/ 155448 h 505800"/>
                <a:gd name="connsiteX9" fmla="*/ 718531 w 956275"/>
                <a:gd name="connsiteY9" fmla="*/ 155448 h 505800"/>
                <a:gd name="connsiteX10" fmla="*/ 755107 w 956275"/>
                <a:gd name="connsiteY10" fmla="*/ 137160 h 505800"/>
                <a:gd name="connsiteX11" fmla="*/ 709387 w 956275"/>
                <a:gd name="connsiteY11" fmla="*/ 137160 h 505800"/>
                <a:gd name="connsiteX12" fmla="*/ 617947 w 956275"/>
                <a:gd name="connsiteY12" fmla="*/ 137160 h 505800"/>
                <a:gd name="connsiteX13" fmla="*/ 563083 w 956275"/>
                <a:gd name="connsiteY13" fmla="*/ 146304 h 505800"/>
                <a:gd name="connsiteX14" fmla="*/ 553939 w 956275"/>
                <a:gd name="connsiteY14" fmla="*/ 155448 h 505800"/>
                <a:gd name="connsiteX15" fmla="*/ 535651 w 956275"/>
                <a:gd name="connsiteY15" fmla="*/ 146304 h 505800"/>
                <a:gd name="connsiteX16" fmla="*/ 663667 w 956275"/>
                <a:gd name="connsiteY16" fmla="*/ 91440 h 505800"/>
                <a:gd name="connsiteX17" fmla="*/ 718531 w 956275"/>
                <a:gd name="connsiteY17" fmla="*/ 91440 h 505800"/>
                <a:gd name="connsiteX18" fmla="*/ 809971 w 956275"/>
                <a:gd name="connsiteY18" fmla="*/ 82296 h 505800"/>
                <a:gd name="connsiteX19" fmla="*/ 937987 w 956275"/>
                <a:gd name="connsiteY19" fmla="*/ 27432 h 505800"/>
                <a:gd name="connsiteX20" fmla="*/ 919699 w 956275"/>
                <a:gd name="connsiteY20" fmla="*/ 0 h 505800"/>
                <a:gd name="connsiteX21" fmla="*/ 883123 w 956275"/>
                <a:gd name="connsiteY21" fmla="*/ 27432 h 505800"/>
                <a:gd name="connsiteX22" fmla="*/ 846547 w 956275"/>
                <a:gd name="connsiteY22" fmla="*/ 36576 h 505800"/>
                <a:gd name="connsiteX23" fmla="*/ 773395 w 956275"/>
                <a:gd name="connsiteY23" fmla="*/ 64008 h 505800"/>
                <a:gd name="connsiteX24" fmla="*/ 718531 w 956275"/>
                <a:gd name="connsiteY24" fmla="*/ 64008 h 505800"/>
                <a:gd name="connsiteX25" fmla="*/ 608803 w 956275"/>
                <a:gd name="connsiteY25" fmla="*/ 64008 h 505800"/>
                <a:gd name="connsiteX26" fmla="*/ 553939 w 956275"/>
                <a:gd name="connsiteY26" fmla="*/ 100584 h 505800"/>
                <a:gd name="connsiteX27" fmla="*/ 517363 w 956275"/>
                <a:gd name="connsiteY27" fmla="*/ 146304 h 505800"/>
                <a:gd name="connsiteX28" fmla="*/ 471643 w 956275"/>
                <a:gd name="connsiteY28" fmla="*/ 182880 h 505800"/>
                <a:gd name="connsiteX29" fmla="*/ 425923 w 956275"/>
                <a:gd name="connsiteY29" fmla="*/ 256032 h 505800"/>
                <a:gd name="connsiteX30" fmla="*/ 352771 w 956275"/>
                <a:gd name="connsiteY30" fmla="*/ 301752 h 505800"/>
                <a:gd name="connsiteX31" fmla="*/ 252187 w 956275"/>
                <a:gd name="connsiteY31" fmla="*/ 347472 h 505800"/>
                <a:gd name="connsiteX32" fmla="*/ 215611 w 956275"/>
                <a:gd name="connsiteY32" fmla="*/ 374904 h 505800"/>
                <a:gd name="connsiteX33" fmla="*/ 169891 w 956275"/>
                <a:gd name="connsiteY33" fmla="*/ 402336 h 505800"/>
                <a:gd name="connsiteX34" fmla="*/ 151603 w 956275"/>
                <a:gd name="connsiteY34" fmla="*/ 402336 h 505800"/>
                <a:gd name="connsiteX35" fmla="*/ 169891 w 956275"/>
                <a:gd name="connsiteY35" fmla="*/ 365760 h 505800"/>
                <a:gd name="connsiteX36" fmla="*/ 224755 w 956275"/>
                <a:gd name="connsiteY36" fmla="*/ 301752 h 505800"/>
                <a:gd name="connsiteX37" fmla="*/ 316195 w 956275"/>
                <a:gd name="connsiteY37" fmla="*/ 219456 h 505800"/>
                <a:gd name="connsiteX38" fmla="*/ 361915 w 956275"/>
                <a:gd name="connsiteY38" fmla="*/ 146304 h 505800"/>
                <a:gd name="connsiteX39" fmla="*/ 361915 w 956275"/>
                <a:gd name="connsiteY39" fmla="*/ 64008 h 505800"/>
                <a:gd name="connsiteX40" fmla="*/ 352771 w 956275"/>
                <a:gd name="connsiteY40" fmla="*/ 54864 h 505800"/>
                <a:gd name="connsiteX41" fmla="*/ 343627 w 956275"/>
                <a:gd name="connsiteY41" fmla="*/ 128016 h 505800"/>
                <a:gd name="connsiteX42" fmla="*/ 316195 w 956275"/>
                <a:gd name="connsiteY42" fmla="*/ 173736 h 505800"/>
                <a:gd name="connsiteX43" fmla="*/ 243043 w 956275"/>
                <a:gd name="connsiteY43" fmla="*/ 237744 h 505800"/>
                <a:gd name="connsiteX44" fmla="*/ 215611 w 956275"/>
                <a:gd name="connsiteY44" fmla="*/ 256032 h 505800"/>
                <a:gd name="connsiteX45" fmla="*/ 142459 w 956275"/>
                <a:gd name="connsiteY45" fmla="*/ 347472 h 505800"/>
                <a:gd name="connsiteX46" fmla="*/ 133315 w 956275"/>
                <a:gd name="connsiteY46" fmla="*/ 374904 h 505800"/>
                <a:gd name="connsiteX47" fmla="*/ 124171 w 956275"/>
                <a:gd name="connsiteY47" fmla="*/ 411480 h 505800"/>
                <a:gd name="connsiteX48" fmla="*/ 142459 w 956275"/>
                <a:gd name="connsiteY48" fmla="*/ 429768 h 505800"/>
                <a:gd name="connsiteX49" fmla="*/ 96739 w 956275"/>
                <a:gd name="connsiteY49" fmla="*/ 457200 h 505800"/>
                <a:gd name="connsiteX50" fmla="*/ 13820 w 956275"/>
                <a:gd name="connsiteY50" fmla="*/ 496783 h 505800"/>
                <a:gd name="connsiteX51" fmla="*/ 13820 w 956275"/>
                <a:gd name="connsiteY51" fmla="*/ 496784 h 505800"/>
                <a:gd name="connsiteX52" fmla="*/ 13820 w 956275"/>
                <a:gd name="connsiteY52" fmla="*/ 496784 h 505800"/>
                <a:gd name="connsiteX53" fmla="*/ 132458 w 956275"/>
                <a:gd name="connsiteY53" fmla="*/ 430387 h 505800"/>
                <a:gd name="connsiteX54" fmla="*/ 114796 w 956275"/>
                <a:gd name="connsiteY54" fmla="*/ 504511 h 505800"/>
                <a:gd name="connsiteX55" fmla="*/ 114798 w 956275"/>
                <a:gd name="connsiteY55" fmla="*/ 504512 h 505800"/>
                <a:gd name="connsiteX0" fmla="*/ 40672 w 956275"/>
                <a:gd name="connsiteY0" fmla="*/ 486852 h 504511"/>
                <a:gd name="connsiteX1" fmla="*/ 13820 w 956275"/>
                <a:gd name="connsiteY1" fmla="*/ 496784 h 504511"/>
                <a:gd name="connsiteX2" fmla="*/ 13820 w 956275"/>
                <a:gd name="connsiteY2" fmla="*/ 496784 h 504511"/>
                <a:gd name="connsiteX3" fmla="*/ 51019 w 956275"/>
                <a:gd name="connsiteY3" fmla="*/ 493776 h 504511"/>
                <a:gd name="connsiteX4" fmla="*/ 151603 w 956275"/>
                <a:gd name="connsiteY4" fmla="*/ 466344 h 504511"/>
                <a:gd name="connsiteX5" fmla="*/ 252187 w 956275"/>
                <a:gd name="connsiteY5" fmla="*/ 384048 h 504511"/>
                <a:gd name="connsiteX6" fmla="*/ 444211 w 956275"/>
                <a:gd name="connsiteY6" fmla="*/ 301752 h 504511"/>
                <a:gd name="connsiteX7" fmla="*/ 526507 w 956275"/>
                <a:gd name="connsiteY7" fmla="*/ 192024 h 504511"/>
                <a:gd name="connsiteX8" fmla="*/ 672811 w 956275"/>
                <a:gd name="connsiteY8" fmla="*/ 155448 h 504511"/>
                <a:gd name="connsiteX9" fmla="*/ 718531 w 956275"/>
                <a:gd name="connsiteY9" fmla="*/ 155448 h 504511"/>
                <a:gd name="connsiteX10" fmla="*/ 755107 w 956275"/>
                <a:gd name="connsiteY10" fmla="*/ 137160 h 504511"/>
                <a:gd name="connsiteX11" fmla="*/ 709387 w 956275"/>
                <a:gd name="connsiteY11" fmla="*/ 137160 h 504511"/>
                <a:gd name="connsiteX12" fmla="*/ 617947 w 956275"/>
                <a:gd name="connsiteY12" fmla="*/ 137160 h 504511"/>
                <a:gd name="connsiteX13" fmla="*/ 563083 w 956275"/>
                <a:gd name="connsiteY13" fmla="*/ 146304 h 504511"/>
                <a:gd name="connsiteX14" fmla="*/ 553939 w 956275"/>
                <a:gd name="connsiteY14" fmla="*/ 155448 h 504511"/>
                <a:gd name="connsiteX15" fmla="*/ 535651 w 956275"/>
                <a:gd name="connsiteY15" fmla="*/ 146304 h 504511"/>
                <a:gd name="connsiteX16" fmla="*/ 663667 w 956275"/>
                <a:gd name="connsiteY16" fmla="*/ 91440 h 504511"/>
                <a:gd name="connsiteX17" fmla="*/ 718531 w 956275"/>
                <a:gd name="connsiteY17" fmla="*/ 91440 h 504511"/>
                <a:gd name="connsiteX18" fmla="*/ 809971 w 956275"/>
                <a:gd name="connsiteY18" fmla="*/ 82296 h 504511"/>
                <a:gd name="connsiteX19" fmla="*/ 937987 w 956275"/>
                <a:gd name="connsiteY19" fmla="*/ 27432 h 504511"/>
                <a:gd name="connsiteX20" fmla="*/ 919699 w 956275"/>
                <a:gd name="connsiteY20" fmla="*/ 0 h 504511"/>
                <a:gd name="connsiteX21" fmla="*/ 883123 w 956275"/>
                <a:gd name="connsiteY21" fmla="*/ 27432 h 504511"/>
                <a:gd name="connsiteX22" fmla="*/ 846547 w 956275"/>
                <a:gd name="connsiteY22" fmla="*/ 36576 h 504511"/>
                <a:gd name="connsiteX23" fmla="*/ 773395 w 956275"/>
                <a:gd name="connsiteY23" fmla="*/ 64008 h 504511"/>
                <a:gd name="connsiteX24" fmla="*/ 718531 w 956275"/>
                <a:gd name="connsiteY24" fmla="*/ 64008 h 504511"/>
                <a:gd name="connsiteX25" fmla="*/ 608803 w 956275"/>
                <a:gd name="connsiteY25" fmla="*/ 64008 h 504511"/>
                <a:gd name="connsiteX26" fmla="*/ 553939 w 956275"/>
                <a:gd name="connsiteY26" fmla="*/ 100584 h 504511"/>
                <a:gd name="connsiteX27" fmla="*/ 517363 w 956275"/>
                <a:gd name="connsiteY27" fmla="*/ 146304 h 504511"/>
                <a:gd name="connsiteX28" fmla="*/ 471643 w 956275"/>
                <a:gd name="connsiteY28" fmla="*/ 182880 h 504511"/>
                <a:gd name="connsiteX29" fmla="*/ 425923 w 956275"/>
                <a:gd name="connsiteY29" fmla="*/ 256032 h 504511"/>
                <a:gd name="connsiteX30" fmla="*/ 352771 w 956275"/>
                <a:gd name="connsiteY30" fmla="*/ 301752 h 504511"/>
                <a:gd name="connsiteX31" fmla="*/ 252187 w 956275"/>
                <a:gd name="connsiteY31" fmla="*/ 347472 h 504511"/>
                <a:gd name="connsiteX32" fmla="*/ 215611 w 956275"/>
                <a:gd name="connsiteY32" fmla="*/ 374904 h 504511"/>
                <a:gd name="connsiteX33" fmla="*/ 169891 w 956275"/>
                <a:gd name="connsiteY33" fmla="*/ 402336 h 504511"/>
                <a:gd name="connsiteX34" fmla="*/ 151603 w 956275"/>
                <a:gd name="connsiteY34" fmla="*/ 402336 h 504511"/>
                <a:gd name="connsiteX35" fmla="*/ 169891 w 956275"/>
                <a:gd name="connsiteY35" fmla="*/ 365760 h 504511"/>
                <a:gd name="connsiteX36" fmla="*/ 224755 w 956275"/>
                <a:gd name="connsiteY36" fmla="*/ 301752 h 504511"/>
                <a:gd name="connsiteX37" fmla="*/ 316195 w 956275"/>
                <a:gd name="connsiteY37" fmla="*/ 219456 h 504511"/>
                <a:gd name="connsiteX38" fmla="*/ 361915 w 956275"/>
                <a:gd name="connsiteY38" fmla="*/ 146304 h 504511"/>
                <a:gd name="connsiteX39" fmla="*/ 361915 w 956275"/>
                <a:gd name="connsiteY39" fmla="*/ 64008 h 504511"/>
                <a:gd name="connsiteX40" fmla="*/ 352771 w 956275"/>
                <a:gd name="connsiteY40" fmla="*/ 54864 h 504511"/>
                <a:gd name="connsiteX41" fmla="*/ 343627 w 956275"/>
                <a:gd name="connsiteY41" fmla="*/ 128016 h 504511"/>
                <a:gd name="connsiteX42" fmla="*/ 316195 w 956275"/>
                <a:gd name="connsiteY42" fmla="*/ 173736 h 504511"/>
                <a:gd name="connsiteX43" fmla="*/ 243043 w 956275"/>
                <a:gd name="connsiteY43" fmla="*/ 237744 h 504511"/>
                <a:gd name="connsiteX44" fmla="*/ 215611 w 956275"/>
                <a:gd name="connsiteY44" fmla="*/ 256032 h 504511"/>
                <a:gd name="connsiteX45" fmla="*/ 142459 w 956275"/>
                <a:gd name="connsiteY45" fmla="*/ 347472 h 504511"/>
                <a:gd name="connsiteX46" fmla="*/ 133315 w 956275"/>
                <a:gd name="connsiteY46" fmla="*/ 374904 h 504511"/>
                <a:gd name="connsiteX47" fmla="*/ 124171 w 956275"/>
                <a:gd name="connsiteY47" fmla="*/ 411480 h 504511"/>
                <a:gd name="connsiteX48" fmla="*/ 142459 w 956275"/>
                <a:gd name="connsiteY48" fmla="*/ 429768 h 504511"/>
                <a:gd name="connsiteX49" fmla="*/ 96739 w 956275"/>
                <a:gd name="connsiteY49" fmla="*/ 457200 h 504511"/>
                <a:gd name="connsiteX50" fmla="*/ 13820 w 956275"/>
                <a:gd name="connsiteY50" fmla="*/ 496783 h 504511"/>
                <a:gd name="connsiteX51" fmla="*/ 13820 w 956275"/>
                <a:gd name="connsiteY51" fmla="*/ 496784 h 504511"/>
                <a:gd name="connsiteX52" fmla="*/ 13820 w 956275"/>
                <a:gd name="connsiteY52" fmla="*/ 496784 h 504511"/>
                <a:gd name="connsiteX53" fmla="*/ 132458 w 956275"/>
                <a:gd name="connsiteY53" fmla="*/ 430387 h 504511"/>
                <a:gd name="connsiteX54" fmla="*/ 114796 w 956275"/>
                <a:gd name="connsiteY54" fmla="*/ 504511 h 504511"/>
                <a:gd name="connsiteX55" fmla="*/ 40672 w 956275"/>
                <a:gd name="connsiteY55" fmla="*/ 486852 h 504511"/>
                <a:gd name="connsiteX0" fmla="*/ 40672 w 956275"/>
                <a:gd name="connsiteY0" fmla="*/ 486852 h 504512"/>
                <a:gd name="connsiteX1" fmla="*/ 13820 w 956275"/>
                <a:gd name="connsiteY1" fmla="*/ 496784 h 504512"/>
                <a:gd name="connsiteX2" fmla="*/ 13820 w 956275"/>
                <a:gd name="connsiteY2" fmla="*/ 496784 h 504512"/>
                <a:gd name="connsiteX3" fmla="*/ 51019 w 956275"/>
                <a:gd name="connsiteY3" fmla="*/ 493776 h 504512"/>
                <a:gd name="connsiteX4" fmla="*/ 151603 w 956275"/>
                <a:gd name="connsiteY4" fmla="*/ 466344 h 504512"/>
                <a:gd name="connsiteX5" fmla="*/ 252187 w 956275"/>
                <a:gd name="connsiteY5" fmla="*/ 384048 h 504512"/>
                <a:gd name="connsiteX6" fmla="*/ 444211 w 956275"/>
                <a:gd name="connsiteY6" fmla="*/ 301752 h 504512"/>
                <a:gd name="connsiteX7" fmla="*/ 526507 w 956275"/>
                <a:gd name="connsiteY7" fmla="*/ 192024 h 504512"/>
                <a:gd name="connsiteX8" fmla="*/ 672811 w 956275"/>
                <a:gd name="connsiteY8" fmla="*/ 155448 h 504512"/>
                <a:gd name="connsiteX9" fmla="*/ 718531 w 956275"/>
                <a:gd name="connsiteY9" fmla="*/ 155448 h 504512"/>
                <a:gd name="connsiteX10" fmla="*/ 755107 w 956275"/>
                <a:gd name="connsiteY10" fmla="*/ 137160 h 504512"/>
                <a:gd name="connsiteX11" fmla="*/ 709387 w 956275"/>
                <a:gd name="connsiteY11" fmla="*/ 137160 h 504512"/>
                <a:gd name="connsiteX12" fmla="*/ 617947 w 956275"/>
                <a:gd name="connsiteY12" fmla="*/ 137160 h 504512"/>
                <a:gd name="connsiteX13" fmla="*/ 563083 w 956275"/>
                <a:gd name="connsiteY13" fmla="*/ 146304 h 504512"/>
                <a:gd name="connsiteX14" fmla="*/ 553939 w 956275"/>
                <a:gd name="connsiteY14" fmla="*/ 155448 h 504512"/>
                <a:gd name="connsiteX15" fmla="*/ 535651 w 956275"/>
                <a:gd name="connsiteY15" fmla="*/ 146304 h 504512"/>
                <a:gd name="connsiteX16" fmla="*/ 663667 w 956275"/>
                <a:gd name="connsiteY16" fmla="*/ 91440 h 504512"/>
                <a:gd name="connsiteX17" fmla="*/ 718531 w 956275"/>
                <a:gd name="connsiteY17" fmla="*/ 91440 h 504512"/>
                <a:gd name="connsiteX18" fmla="*/ 809971 w 956275"/>
                <a:gd name="connsiteY18" fmla="*/ 82296 h 504512"/>
                <a:gd name="connsiteX19" fmla="*/ 937987 w 956275"/>
                <a:gd name="connsiteY19" fmla="*/ 27432 h 504512"/>
                <a:gd name="connsiteX20" fmla="*/ 919699 w 956275"/>
                <a:gd name="connsiteY20" fmla="*/ 0 h 504512"/>
                <a:gd name="connsiteX21" fmla="*/ 883123 w 956275"/>
                <a:gd name="connsiteY21" fmla="*/ 27432 h 504512"/>
                <a:gd name="connsiteX22" fmla="*/ 846547 w 956275"/>
                <a:gd name="connsiteY22" fmla="*/ 36576 h 504512"/>
                <a:gd name="connsiteX23" fmla="*/ 773395 w 956275"/>
                <a:gd name="connsiteY23" fmla="*/ 64008 h 504512"/>
                <a:gd name="connsiteX24" fmla="*/ 718531 w 956275"/>
                <a:gd name="connsiteY24" fmla="*/ 64008 h 504512"/>
                <a:gd name="connsiteX25" fmla="*/ 608803 w 956275"/>
                <a:gd name="connsiteY25" fmla="*/ 64008 h 504512"/>
                <a:gd name="connsiteX26" fmla="*/ 553939 w 956275"/>
                <a:gd name="connsiteY26" fmla="*/ 100584 h 504512"/>
                <a:gd name="connsiteX27" fmla="*/ 517363 w 956275"/>
                <a:gd name="connsiteY27" fmla="*/ 146304 h 504512"/>
                <a:gd name="connsiteX28" fmla="*/ 471643 w 956275"/>
                <a:gd name="connsiteY28" fmla="*/ 182880 h 504512"/>
                <a:gd name="connsiteX29" fmla="*/ 425923 w 956275"/>
                <a:gd name="connsiteY29" fmla="*/ 256032 h 504512"/>
                <a:gd name="connsiteX30" fmla="*/ 352771 w 956275"/>
                <a:gd name="connsiteY30" fmla="*/ 301752 h 504512"/>
                <a:gd name="connsiteX31" fmla="*/ 252187 w 956275"/>
                <a:gd name="connsiteY31" fmla="*/ 347472 h 504512"/>
                <a:gd name="connsiteX32" fmla="*/ 215611 w 956275"/>
                <a:gd name="connsiteY32" fmla="*/ 374904 h 504512"/>
                <a:gd name="connsiteX33" fmla="*/ 169891 w 956275"/>
                <a:gd name="connsiteY33" fmla="*/ 402336 h 504512"/>
                <a:gd name="connsiteX34" fmla="*/ 151603 w 956275"/>
                <a:gd name="connsiteY34" fmla="*/ 402336 h 504512"/>
                <a:gd name="connsiteX35" fmla="*/ 169891 w 956275"/>
                <a:gd name="connsiteY35" fmla="*/ 365760 h 504512"/>
                <a:gd name="connsiteX36" fmla="*/ 224755 w 956275"/>
                <a:gd name="connsiteY36" fmla="*/ 301752 h 504512"/>
                <a:gd name="connsiteX37" fmla="*/ 316195 w 956275"/>
                <a:gd name="connsiteY37" fmla="*/ 219456 h 504512"/>
                <a:gd name="connsiteX38" fmla="*/ 361915 w 956275"/>
                <a:gd name="connsiteY38" fmla="*/ 146304 h 504512"/>
                <a:gd name="connsiteX39" fmla="*/ 361915 w 956275"/>
                <a:gd name="connsiteY39" fmla="*/ 64008 h 504512"/>
                <a:gd name="connsiteX40" fmla="*/ 352771 w 956275"/>
                <a:gd name="connsiteY40" fmla="*/ 54864 h 504512"/>
                <a:gd name="connsiteX41" fmla="*/ 343627 w 956275"/>
                <a:gd name="connsiteY41" fmla="*/ 128016 h 504512"/>
                <a:gd name="connsiteX42" fmla="*/ 316195 w 956275"/>
                <a:gd name="connsiteY42" fmla="*/ 173736 h 504512"/>
                <a:gd name="connsiteX43" fmla="*/ 243043 w 956275"/>
                <a:gd name="connsiteY43" fmla="*/ 237744 h 504512"/>
                <a:gd name="connsiteX44" fmla="*/ 215611 w 956275"/>
                <a:gd name="connsiteY44" fmla="*/ 256032 h 504512"/>
                <a:gd name="connsiteX45" fmla="*/ 142459 w 956275"/>
                <a:gd name="connsiteY45" fmla="*/ 347472 h 504512"/>
                <a:gd name="connsiteX46" fmla="*/ 133315 w 956275"/>
                <a:gd name="connsiteY46" fmla="*/ 374904 h 504512"/>
                <a:gd name="connsiteX47" fmla="*/ 124171 w 956275"/>
                <a:gd name="connsiteY47" fmla="*/ 411480 h 504512"/>
                <a:gd name="connsiteX48" fmla="*/ 142459 w 956275"/>
                <a:gd name="connsiteY48" fmla="*/ 429768 h 504512"/>
                <a:gd name="connsiteX49" fmla="*/ 96739 w 956275"/>
                <a:gd name="connsiteY49" fmla="*/ 457200 h 504512"/>
                <a:gd name="connsiteX50" fmla="*/ 13820 w 956275"/>
                <a:gd name="connsiteY50" fmla="*/ 496783 h 504512"/>
                <a:gd name="connsiteX51" fmla="*/ 13820 w 956275"/>
                <a:gd name="connsiteY51" fmla="*/ 496784 h 504512"/>
                <a:gd name="connsiteX52" fmla="*/ 13820 w 956275"/>
                <a:gd name="connsiteY52" fmla="*/ 496784 h 504512"/>
                <a:gd name="connsiteX53" fmla="*/ 132458 w 956275"/>
                <a:gd name="connsiteY53" fmla="*/ 430387 h 504512"/>
                <a:gd name="connsiteX54" fmla="*/ 114798 w 956275"/>
                <a:gd name="connsiteY54" fmla="*/ 504512 h 504512"/>
                <a:gd name="connsiteX55" fmla="*/ 40672 w 956275"/>
                <a:gd name="connsiteY55" fmla="*/ 486852 h 504512"/>
                <a:gd name="connsiteX0" fmla="*/ 40672 w 956275"/>
                <a:gd name="connsiteY0" fmla="*/ 486852 h 504512"/>
                <a:gd name="connsiteX1" fmla="*/ 13820 w 956275"/>
                <a:gd name="connsiteY1" fmla="*/ 496784 h 504512"/>
                <a:gd name="connsiteX2" fmla="*/ 13820 w 956275"/>
                <a:gd name="connsiteY2" fmla="*/ 496784 h 504512"/>
                <a:gd name="connsiteX3" fmla="*/ 51019 w 956275"/>
                <a:gd name="connsiteY3" fmla="*/ 493776 h 504512"/>
                <a:gd name="connsiteX4" fmla="*/ 151603 w 956275"/>
                <a:gd name="connsiteY4" fmla="*/ 466344 h 504512"/>
                <a:gd name="connsiteX5" fmla="*/ 252187 w 956275"/>
                <a:gd name="connsiteY5" fmla="*/ 384048 h 504512"/>
                <a:gd name="connsiteX6" fmla="*/ 444211 w 956275"/>
                <a:gd name="connsiteY6" fmla="*/ 301752 h 504512"/>
                <a:gd name="connsiteX7" fmla="*/ 526507 w 956275"/>
                <a:gd name="connsiteY7" fmla="*/ 192024 h 504512"/>
                <a:gd name="connsiteX8" fmla="*/ 672811 w 956275"/>
                <a:gd name="connsiteY8" fmla="*/ 155448 h 504512"/>
                <a:gd name="connsiteX9" fmla="*/ 718531 w 956275"/>
                <a:gd name="connsiteY9" fmla="*/ 155448 h 504512"/>
                <a:gd name="connsiteX10" fmla="*/ 755107 w 956275"/>
                <a:gd name="connsiteY10" fmla="*/ 137160 h 504512"/>
                <a:gd name="connsiteX11" fmla="*/ 709387 w 956275"/>
                <a:gd name="connsiteY11" fmla="*/ 137160 h 504512"/>
                <a:gd name="connsiteX12" fmla="*/ 617947 w 956275"/>
                <a:gd name="connsiteY12" fmla="*/ 137160 h 504512"/>
                <a:gd name="connsiteX13" fmla="*/ 563083 w 956275"/>
                <a:gd name="connsiteY13" fmla="*/ 146304 h 504512"/>
                <a:gd name="connsiteX14" fmla="*/ 553939 w 956275"/>
                <a:gd name="connsiteY14" fmla="*/ 155448 h 504512"/>
                <a:gd name="connsiteX15" fmla="*/ 535651 w 956275"/>
                <a:gd name="connsiteY15" fmla="*/ 146304 h 504512"/>
                <a:gd name="connsiteX16" fmla="*/ 663667 w 956275"/>
                <a:gd name="connsiteY16" fmla="*/ 91440 h 504512"/>
                <a:gd name="connsiteX17" fmla="*/ 718531 w 956275"/>
                <a:gd name="connsiteY17" fmla="*/ 91440 h 504512"/>
                <a:gd name="connsiteX18" fmla="*/ 809971 w 956275"/>
                <a:gd name="connsiteY18" fmla="*/ 82296 h 504512"/>
                <a:gd name="connsiteX19" fmla="*/ 937987 w 956275"/>
                <a:gd name="connsiteY19" fmla="*/ 27432 h 504512"/>
                <a:gd name="connsiteX20" fmla="*/ 919699 w 956275"/>
                <a:gd name="connsiteY20" fmla="*/ 0 h 504512"/>
                <a:gd name="connsiteX21" fmla="*/ 883123 w 956275"/>
                <a:gd name="connsiteY21" fmla="*/ 27432 h 504512"/>
                <a:gd name="connsiteX22" fmla="*/ 846547 w 956275"/>
                <a:gd name="connsiteY22" fmla="*/ 36576 h 504512"/>
                <a:gd name="connsiteX23" fmla="*/ 773395 w 956275"/>
                <a:gd name="connsiteY23" fmla="*/ 64008 h 504512"/>
                <a:gd name="connsiteX24" fmla="*/ 718531 w 956275"/>
                <a:gd name="connsiteY24" fmla="*/ 64008 h 504512"/>
                <a:gd name="connsiteX25" fmla="*/ 608803 w 956275"/>
                <a:gd name="connsiteY25" fmla="*/ 64008 h 504512"/>
                <a:gd name="connsiteX26" fmla="*/ 553939 w 956275"/>
                <a:gd name="connsiteY26" fmla="*/ 100584 h 504512"/>
                <a:gd name="connsiteX27" fmla="*/ 517363 w 956275"/>
                <a:gd name="connsiteY27" fmla="*/ 146304 h 504512"/>
                <a:gd name="connsiteX28" fmla="*/ 471643 w 956275"/>
                <a:gd name="connsiteY28" fmla="*/ 182880 h 504512"/>
                <a:gd name="connsiteX29" fmla="*/ 425923 w 956275"/>
                <a:gd name="connsiteY29" fmla="*/ 256032 h 504512"/>
                <a:gd name="connsiteX30" fmla="*/ 352771 w 956275"/>
                <a:gd name="connsiteY30" fmla="*/ 301752 h 504512"/>
                <a:gd name="connsiteX31" fmla="*/ 252187 w 956275"/>
                <a:gd name="connsiteY31" fmla="*/ 347472 h 504512"/>
                <a:gd name="connsiteX32" fmla="*/ 215611 w 956275"/>
                <a:gd name="connsiteY32" fmla="*/ 374904 h 504512"/>
                <a:gd name="connsiteX33" fmla="*/ 169891 w 956275"/>
                <a:gd name="connsiteY33" fmla="*/ 402336 h 504512"/>
                <a:gd name="connsiteX34" fmla="*/ 151603 w 956275"/>
                <a:gd name="connsiteY34" fmla="*/ 402336 h 504512"/>
                <a:gd name="connsiteX35" fmla="*/ 169891 w 956275"/>
                <a:gd name="connsiteY35" fmla="*/ 365760 h 504512"/>
                <a:gd name="connsiteX36" fmla="*/ 224755 w 956275"/>
                <a:gd name="connsiteY36" fmla="*/ 301752 h 504512"/>
                <a:gd name="connsiteX37" fmla="*/ 316195 w 956275"/>
                <a:gd name="connsiteY37" fmla="*/ 219456 h 504512"/>
                <a:gd name="connsiteX38" fmla="*/ 361915 w 956275"/>
                <a:gd name="connsiteY38" fmla="*/ 146304 h 504512"/>
                <a:gd name="connsiteX39" fmla="*/ 361915 w 956275"/>
                <a:gd name="connsiteY39" fmla="*/ 64008 h 504512"/>
                <a:gd name="connsiteX40" fmla="*/ 352771 w 956275"/>
                <a:gd name="connsiteY40" fmla="*/ 54864 h 504512"/>
                <a:gd name="connsiteX41" fmla="*/ 343627 w 956275"/>
                <a:gd name="connsiteY41" fmla="*/ 128016 h 504512"/>
                <a:gd name="connsiteX42" fmla="*/ 316195 w 956275"/>
                <a:gd name="connsiteY42" fmla="*/ 173736 h 504512"/>
                <a:gd name="connsiteX43" fmla="*/ 243043 w 956275"/>
                <a:gd name="connsiteY43" fmla="*/ 237744 h 504512"/>
                <a:gd name="connsiteX44" fmla="*/ 215611 w 956275"/>
                <a:gd name="connsiteY44" fmla="*/ 256032 h 504512"/>
                <a:gd name="connsiteX45" fmla="*/ 142459 w 956275"/>
                <a:gd name="connsiteY45" fmla="*/ 347472 h 504512"/>
                <a:gd name="connsiteX46" fmla="*/ 133315 w 956275"/>
                <a:gd name="connsiteY46" fmla="*/ 374904 h 504512"/>
                <a:gd name="connsiteX47" fmla="*/ 124171 w 956275"/>
                <a:gd name="connsiteY47" fmla="*/ 411480 h 504512"/>
                <a:gd name="connsiteX48" fmla="*/ 142459 w 956275"/>
                <a:gd name="connsiteY48" fmla="*/ 429768 h 504512"/>
                <a:gd name="connsiteX49" fmla="*/ 96739 w 956275"/>
                <a:gd name="connsiteY49" fmla="*/ 457200 h 504512"/>
                <a:gd name="connsiteX50" fmla="*/ 13820 w 956275"/>
                <a:gd name="connsiteY50" fmla="*/ 496783 h 504512"/>
                <a:gd name="connsiteX51" fmla="*/ 13820 w 956275"/>
                <a:gd name="connsiteY51" fmla="*/ 496784 h 504512"/>
                <a:gd name="connsiteX52" fmla="*/ 13820 w 956275"/>
                <a:gd name="connsiteY52" fmla="*/ 496784 h 504512"/>
                <a:gd name="connsiteX53" fmla="*/ 132458 w 956275"/>
                <a:gd name="connsiteY53" fmla="*/ 430387 h 504512"/>
                <a:gd name="connsiteX54" fmla="*/ 114797 w 956275"/>
                <a:gd name="connsiteY54" fmla="*/ 504512 h 504512"/>
                <a:gd name="connsiteX55" fmla="*/ 40672 w 956275"/>
                <a:gd name="connsiteY55" fmla="*/ 486852 h 504512"/>
                <a:gd name="connsiteX0" fmla="*/ 40672 w 956275"/>
                <a:gd name="connsiteY0" fmla="*/ 486852 h 578638"/>
                <a:gd name="connsiteX1" fmla="*/ 13820 w 956275"/>
                <a:gd name="connsiteY1" fmla="*/ 496784 h 578638"/>
                <a:gd name="connsiteX2" fmla="*/ 13820 w 956275"/>
                <a:gd name="connsiteY2" fmla="*/ 496784 h 578638"/>
                <a:gd name="connsiteX3" fmla="*/ 51019 w 956275"/>
                <a:gd name="connsiteY3" fmla="*/ 493776 h 578638"/>
                <a:gd name="connsiteX4" fmla="*/ 151603 w 956275"/>
                <a:gd name="connsiteY4" fmla="*/ 466344 h 578638"/>
                <a:gd name="connsiteX5" fmla="*/ 252187 w 956275"/>
                <a:gd name="connsiteY5" fmla="*/ 384048 h 578638"/>
                <a:gd name="connsiteX6" fmla="*/ 444211 w 956275"/>
                <a:gd name="connsiteY6" fmla="*/ 301752 h 578638"/>
                <a:gd name="connsiteX7" fmla="*/ 526507 w 956275"/>
                <a:gd name="connsiteY7" fmla="*/ 192024 h 578638"/>
                <a:gd name="connsiteX8" fmla="*/ 672811 w 956275"/>
                <a:gd name="connsiteY8" fmla="*/ 155448 h 578638"/>
                <a:gd name="connsiteX9" fmla="*/ 718531 w 956275"/>
                <a:gd name="connsiteY9" fmla="*/ 155448 h 578638"/>
                <a:gd name="connsiteX10" fmla="*/ 755107 w 956275"/>
                <a:gd name="connsiteY10" fmla="*/ 137160 h 578638"/>
                <a:gd name="connsiteX11" fmla="*/ 709387 w 956275"/>
                <a:gd name="connsiteY11" fmla="*/ 137160 h 578638"/>
                <a:gd name="connsiteX12" fmla="*/ 617947 w 956275"/>
                <a:gd name="connsiteY12" fmla="*/ 137160 h 578638"/>
                <a:gd name="connsiteX13" fmla="*/ 563083 w 956275"/>
                <a:gd name="connsiteY13" fmla="*/ 146304 h 578638"/>
                <a:gd name="connsiteX14" fmla="*/ 553939 w 956275"/>
                <a:gd name="connsiteY14" fmla="*/ 155448 h 578638"/>
                <a:gd name="connsiteX15" fmla="*/ 535651 w 956275"/>
                <a:gd name="connsiteY15" fmla="*/ 146304 h 578638"/>
                <a:gd name="connsiteX16" fmla="*/ 663667 w 956275"/>
                <a:gd name="connsiteY16" fmla="*/ 91440 h 578638"/>
                <a:gd name="connsiteX17" fmla="*/ 718531 w 956275"/>
                <a:gd name="connsiteY17" fmla="*/ 91440 h 578638"/>
                <a:gd name="connsiteX18" fmla="*/ 809971 w 956275"/>
                <a:gd name="connsiteY18" fmla="*/ 82296 h 578638"/>
                <a:gd name="connsiteX19" fmla="*/ 937987 w 956275"/>
                <a:gd name="connsiteY19" fmla="*/ 27432 h 578638"/>
                <a:gd name="connsiteX20" fmla="*/ 919699 w 956275"/>
                <a:gd name="connsiteY20" fmla="*/ 0 h 578638"/>
                <a:gd name="connsiteX21" fmla="*/ 883123 w 956275"/>
                <a:gd name="connsiteY21" fmla="*/ 27432 h 578638"/>
                <a:gd name="connsiteX22" fmla="*/ 846547 w 956275"/>
                <a:gd name="connsiteY22" fmla="*/ 36576 h 578638"/>
                <a:gd name="connsiteX23" fmla="*/ 773395 w 956275"/>
                <a:gd name="connsiteY23" fmla="*/ 64008 h 578638"/>
                <a:gd name="connsiteX24" fmla="*/ 718531 w 956275"/>
                <a:gd name="connsiteY24" fmla="*/ 64008 h 578638"/>
                <a:gd name="connsiteX25" fmla="*/ 608803 w 956275"/>
                <a:gd name="connsiteY25" fmla="*/ 64008 h 578638"/>
                <a:gd name="connsiteX26" fmla="*/ 553939 w 956275"/>
                <a:gd name="connsiteY26" fmla="*/ 100584 h 578638"/>
                <a:gd name="connsiteX27" fmla="*/ 517363 w 956275"/>
                <a:gd name="connsiteY27" fmla="*/ 146304 h 578638"/>
                <a:gd name="connsiteX28" fmla="*/ 471643 w 956275"/>
                <a:gd name="connsiteY28" fmla="*/ 182880 h 578638"/>
                <a:gd name="connsiteX29" fmla="*/ 425923 w 956275"/>
                <a:gd name="connsiteY29" fmla="*/ 256032 h 578638"/>
                <a:gd name="connsiteX30" fmla="*/ 352771 w 956275"/>
                <a:gd name="connsiteY30" fmla="*/ 301752 h 578638"/>
                <a:gd name="connsiteX31" fmla="*/ 252187 w 956275"/>
                <a:gd name="connsiteY31" fmla="*/ 347472 h 578638"/>
                <a:gd name="connsiteX32" fmla="*/ 215611 w 956275"/>
                <a:gd name="connsiteY32" fmla="*/ 374904 h 578638"/>
                <a:gd name="connsiteX33" fmla="*/ 169891 w 956275"/>
                <a:gd name="connsiteY33" fmla="*/ 402336 h 578638"/>
                <a:gd name="connsiteX34" fmla="*/ 151603 w 956275"/>
                <a:gd name="connsiteY34" fmla="*/ 402336 h 578638"/>
                <a:gd name="connsiteX35" fmla="*/ 169891 w 956275"/>
                <a:gd name="connsiteY35" fmla="*/ 365760 h 578638"/>
                <a:gd name="connsiteX36" fmla="*/ 224755 w 956275"/>
                <a:gd name="connsiteY36" fmla="*/ 301752 h 578638"/>
                <a:gd name="connsiteX37" fmla="*/ 316195 w 956275"/>
                <a:gd name="connsiteY37" fmla="*/ 219456 h 578638"/>
                <a:gd name="connsiteX38" fmla="*/ 361915 w 956275"/>
                <a:gd name="connsiteY38" fmla="*/ 146304 h 578638"/>
                <a:gd name="connsiteX39" fmla="*/ 361915 w 956275"/>
                <a:gd name="connsiteY39" fmla="*/ 64008 h 578638"/>
                <a:gd name="connsiteX40" fmla="*/ 352771 w 956275"/>
                <a:gd name="connsiteY40" fmla="*/ 54864 h 578638"/>
                <a:gd name="connsiteX41" fmla="*/ 343627 w 956275"/>
                <a:gd name="connsiteY41" fmla="*/ 128016 h 578638"/>
                <a:gd name="connsiteX42" fmla="*/ 316195 w 956275"/>
                <a:gd name="connsiteY42" fmla="*/ 173736 h 578638"/>
                <a:gd name="connsiteX43" fmla="*/ 243043 w 956275"/>
                <a:gd name="connsiteY43" fmla="*/ 237744 h 578638"/>
                <a:gd name="connsiteX44" fmla="*/ 215611 w 956275"/>
                <a:gd name="connsiteY44" fmla="*/ 256032 h 578638"/>
                <a:gd name="connsiteX45" fmla="*/ 142459 w 956275"/>
                <a:gd name="connsiteY45" fmla="*/ 347472 h 578638"/>
                <a:gd name="connsiteX46" fmla="*/ 133315 w 956275"/>
                <a:gd name="connsiteY46" fmla="*/ 374904 h 578638"/>
                <a:gd name="connsiteX47" fmla="*/ 124171 w 956275"/>
                <a:gd name="connsiteY47" fmla="*/ 411480 h 578638"/>
                <a:gd name="connsiteX48" fmla="*/ 142459 w 956275"/>
                <a:gd name="connsiteY48" fmla="*/ 429768 h 578638"/>
                <a:gd name="connsiteX49" fmla="*/ 96739 w 956275"/>
                <a:gd name="connsiteY49" fmla="*/ 457200 h 578638"/>
                <a:gd name="connsiteX50" fmla="*/ 13820 w 956275"/>
                <a:gd name="connsiteY50" fmla="*/ 496783 h 578638"/>
                <a:gd name="connsiteX51" fmla="*/ 13820 w 956275"/>
                <a:gd name="connsiteY51" fmla="*/ 496784 h 578638"/>
                <a:gd name="connsiteX52" fmla="*/ 13820 w 956275"/>
                <a:gd name="connsiteY52" fmla="*/ 496784 h 578638"/>
                <a:gd name="connsiteX53" fmla="*/ 132458 w 956275"/>
                <a:gd name="connsiteY53" fmla="*/ 430387 h 578638"/>
                <a:gd name="connsiteX54" fmla="*/ 97137 w 956275"/>
                <a:gd name="connsiteY54" fmla="*/ 578638 h 578638"/>
                <a:gd name="connsiteX55" fmla="*/ 40672 w 956275"/>
                <a:gd name="connsiteY55" fmla="*/ 486852 h 578638"/>
                <a:gd name="connsiteX0" fmla="*/ 40672 w 956275"/>
                <a:gd name="connsiteY0" fmla="*/ 486852 h 503380"/>
                <a:gd name="connsiteX1" fmla="*/ 13820 w 956275"/>
                <a:gd name="connsiteY1" fmla="*/ 496784 h 503380"/>
                <a:gd name="connsiteX2" fmla="*/ 13820 w 956275"/>
                <a:gd name="connsiteY2" fmla="*/ 496784 h 503380"/>
                <a:gd name="connsiteX3" fmla="*/ 51019 w 956275"/>
                <a:gd name="connsiteY3" fmla="*/ 493776 h 503380"/>
                <a:gd name="connsiteX4" fmla="*/ 151603 w 956275"/>
                <a:gd name="connsiteY4" fmla="*/ 466344 h 503380"/>
                <a:gd name="connsiteX5" fmla="*/ 252187 w 956275"/>
                <a:gd name="connsiteY5" fmla="*/ 384048 h 503380"/>
                <a:gd name="connsiteX6" fmla="*/ 444211 w 956275"/>
                <a:gd name="connsiteY6" fmla="*/ 301752 h 503380"/>
                <a:gd name="connsiteX7" fmla="*/ 526507 w 956275"/>
                <a:gd name="connsiteY7" fmla="*/ 192024 h 503380"/>
                <a:gd name="connsiteX8" fmla="*/ 672811 w 956275"/>
                <a:gd name="connsiteY8" fmla="*/ 155448 h 503380"/>
                <a:gd name="connsiteX9" fmla="*/ 718531 w 956275"/>
                <a:gd name="connsiteY9" fmla="*/ 155448 h 503380"/>
                <a:gd name="connsiteX10" fmla="*/ 755107 w 956275"/>
                <a:gd name="connsiteY10" fmla="*/ 137160 h 503380"/>
                <a:gd name="connsiteX11" fmla="*/ 709387 w 956275"/>
                <a:gd name="connsiteY11" fmla="*/ 137160 h 503380"/>
                <a:gd name="connsiteX12" fmla="*/ 617947 w 956275"/>
                <a:gd name="connsiteY12" fmla="*/ 137160 h 503380"/>
                <a:gd name="connsiteX13" fmla="*/ 563083 w 956275"/>
                <a:gd name="connsiteY13" fmla="*/ 146304 h 503380"/>
                <a:gd name="connsiteX14" fmla="*/ 553939 w 956275"/>
                <a:gd name="connsiteY14" fmla="*/ 155448 h 503380"/>
                <a:gd name="connsiteX15" fmla="*/ 535651 w 956275"/>
                <a:gd name="connsiteY15" fmla="*/ 146304 h 503380"/>
                <a:gd name="connsiteX16" fmla="*/ 663667 w 956275"/>
                <a:gd name="connsiteY16" fmla="*/ 91440 h 503380"/>
                <a:gd name="connsiteX17" fmla="*/ 718531 w 956275"/>
                <a:gd name="connsiteY17" fmla="*/ 91440 h 503380"/>
                <a:gd name="connsiteX18" fmla="*/ 809971 w 956275"/>
                <a:gd name="connsiteY18" fmla="*/ 82296 h 503380"/>
                <a:gd name="connsiteX19" fmla="*/ 937987 w 956275"/>
                <a:gd name="connsiteY19" fmla="*/ 27432 h 503380"/>
                <a:gd name="connsiteX20" fmla="*/ 919699 w 956275"/>
                <a:gd name="connsiteY20" fmla="*/ 0 h 503380"/>
                <a:gd name="connsiteX21" fmla="*/ 883123 w 956275"/>
                <a:gd name="connsiteY21" fmla="*/ 27432 h 503380"/>
                <a:gd name="connsiteX22" fmla="*/ 846547 w 956275"/>
                <a:gd name="connsiteY22" fmla="*/ 36576 h 503380"/>
                <a:gd name="connsiteX23" fmla="*/ 773395 w 956275"/>
                <a:gd name="connsiteY23" fmla="*/ 64008 h 503380"/>
                <a:gd name="connsiteX24" fmla="*/ 718531 w 956275"/>
                <a:gd name="connsiteY24" fmla="*/ 64008 h 503380"/>
                <a:gd name="connsiteX25" fmla="*/ 608803 w 956275"/>
                <a:gd name="connsiteY25" fmla="*/ 64008 h 503380"/>
                <a:gd name="connsiteX26" fmla="*/ 553939 w 956275"/>
                <a:gd name="connsiteY26" fmla="*/ 100584 h 503380"/>
                <a:gd name="connsiteX27" fmla="*/ 517363 w 956275"/>
                <a:gd name="connsiteY27" fmla="*/ 146304 h 503380"/>
                <a:gd name="connsiteX28" fmla="*/ 471643 w 956275"/>
                <a:gd name="connsiteY28" fmla="*/ 182880 h 503380"/>
                <a:gd name="connsiteX29" fmla="*/ 425923 w 956275"/>
                <a:gd name="connsiteY29" fmla="*/ 256032 h 503380"/>
                <a:gd name="connsiteX30" fmla="*/ 352771 w 956275"/>
                <a:gd name="connsiteY30" fmla="*/ 301752 h 503380"/>
                <a:gd name="connsiteX31" fmla="*/ 252187 w 956275"/>
                <a:gd name="connsiteY31" fmla="*/ 347472 h 503380"/>
                <a:gd name="connsiteX32" fmla="*/ 215611 w 956275"/>
                <a:gd name="connsiteY32" fmla="*/ 374904 h 503380"/>
                <a:gd name="connsiteX33" fmla="*/ 169891 w 956275"/>
                <a:gd name="connsiteY33" fmla="*/ 402336 h 503380"/>
                <a:gd name="connsiteX34" fmla="*/ 151603 w 956275"/>
                <a:gd name="connsiteY34" fmla="*/ 402336 h 503380"/>
                <a:gd name="connsiteX35" fmla="*/ 169891 w 956275"/>
                <a:gd name="connsiteY35" fmla="*/ 365760 h 503380"/>
                <a:gd name="connsiteX36" fmla="*/ 224755 w 956275"/>
                <a:gd name="connsiteY36" fmla="*/ 301752 h 503380"/>
                <a:gd name="connsiteX37" fmla="*/ 316195 w 956275"/>
                <a:gd name="connsiteY37" fmla="*/ 219456 h 503380"/>
                <a:gd name="connsiteX38" fmla="*/ 361915 w 956275"/>
                <a:gd name="connsiteY38" fmla="*/ 146304 h 503380"/>
                <a:gd name="connsiteX39" fmla="*/ 361915 w 956275"/>
                <a:gd name="connsiteY39" fmla="*/ 64008 h 503380"/>
                <a:gd name="connsiteX40" fmla="*/ 352771 w 956275"/>
                <a:gd name="connsiteY40" fmla="*/ 54864 h 503380"/>
                <a:gd name="connsiteX41" fmla="*/ 343627 w 956275"/>
                <a:gd name="connsiteY41" fmla="*/ 128016 h 503380"/>
                <a:gd name="connsiteX42" fmla="*/ 316195 w 956275"/>
                <a:gd name="connsiteY42" fmla="*/ 173736 h 503380"/>
                <a:gd name="connsiteX43" fmla="*/ 243043 w 956275"/>
                <a:gd name="connsiteY43" fmla="*/ 237744 h 503380"/>
                <a:gd name="connsiteX44" fmla="*/ 215611 w 956275"/>
                <a:gd name="connsiteY44" fmla="*/ 256032 h 503380"/>
                <a:gd name="connsiteX45" fmla="*/ 142459 w 956275"/>
                <a:gd name="connsiteY45" fmla="*/ 347472 h 503380"/>
                <a:gd name="connsiteX46" fmla="*/ 133315 w 956275"/>
                <a:gd name="connsiteY46" fmla="*/ 374904 h 503380"/>
                <a:gd name="connsiteX47" fmla="*/ 124171 w 956275"/>
                <a:gd name="connsiteY47" fmla="*/ 411480 h 503380"/>
                <a:gd name="connsiteX48" fmla="*/ 142459 w 956275"/>
                <a:gd name="connsiteY48" fmla="*/ 429768 h 503380"/>
                <a:gd name="connsiteX49" fmla="*/ 96739 w 956275"/>
                <a:gd name="connsiteY49" fmla="*/ 457200 h 503380"/>
                <a:gd name="connsiteX50" fmla="*/ 13820 w 956275"/>
                <a:gd name="connsiteY50" fmla="*/ 496783 h 503380"/>
                <a:gd name="connsiteX51" fmla="*/ 13820 w 956275"/>
                <a:gd name="connsiteY51" fmla="*/ 496784 h 503380"/>
                <a:gd name="connsiteX52" fmla="*/ 13820 w 956275"/>
                <a:gd name="connsiteY52" fmla="*/ 496784 h 503380"/>
                <a:gd name="connsiteX53" fmla="*/ 132458 w 956275"/>
                <a:gd name="connsiteY53" fmla="*/ 430387 h 503380"/>
                <a:gd name="connsiteX54" fmla="*/ 40672 w 956275"/>
                <a:gd name="connsiteY54" fmla="*/ 486852 h 503380"/>
                <a:gd name="connsiteX55" fmla="*/ 40672 w 956275"/>
                <a:gd name="connsiteY55" fmla="*/ 486852 h 503380"/>
                <a:gd name="connsiteX0" fmla="*/ 40672 w 956275"/>
                <a:gd name="connsiteY0" fmla="*/ 486852 h 503380"/>
                <a:gd name="connsiteX1" fmla="*/ 13820 w 956275"/>
                <a:gd name="connsiteY1" fmla="*/ 496784 h 503380"/>
                <a:gd name="connsiteX2" fmla="*/ 13820 w 956275"/>
                <a:gd name="connsiteY2" fmla="*/ 496784 h 503380"/>
                <a:gd name="connsiteX3" fmla="*/ 51019 w 956275"/>
                <a:gd name="connsiteY3" fmla="*/ 493776 h 503380"/>
                <a:gd name="connsiteX4" fmla="*/ 151603 w 956275"/>
                <a:gd name="connsiteY4" fmla="*/ 466344 h 503380"/>
                <a:gd name="connsiteX5" fmla="*/ 252187 w 956275"/>
                <a:gd name="connsiteY5" fmla="*/ 384048 h 503380"/>
                <a:gd name="connsiteX6" fmla="*/ 444211 w 956275"/>
                <a:gd name="connsiteY6" fmla="*/ 301752 h 503380"/>
                <a:gd name="connsiteX7" fmla="*/ 526507 w 956275"/>
                <a:gd name="connsiteY7" fmla="*/ 192024 h 503380"/>
                <a:gd name="connsiteX8" fmla="*/ 672811 w 956275"/>
                <a:gd name="connsiteY8" fmla="*/ 155448 h 503380"/>
                <a:gd name="connsiteX9" fmla="*/ 718531 w 956275"/>
                <a:gd name="connsiteY9" fmla="*/ 155448 h 503380"/>
                <a:gd name="connsiteX10" fmla="*/ 755107 w 956275"/>
                <a:gd name="connsiteY10" fmla="*/ 137160 h 503380"/>
                <a:gd name="connsiteX11" fmla="*/ 709387 w 956275"/>
                <a:gd name="connsiteY11" fmla="*/ 137160 h 503380"/>
                <a:gd name="connsiteX12" fmla="*/ 617947 w 956275"/>
                <a:gd name="connsiteY12" fmla="*/ 137160 h 503380"/>
                <a:gd name="connsiteX13" fmla="*/ 563083 w 956275"/>
                <a:gd name="connsiteY13" fmla="*/ 146304 h 503380"/>
                <a:gd name="connsiteX14" fmla="*/ 553939 w 956275"/>
                <a:gd name="connsiteY14" fmla="*/ 155448 h 503380"/>
                <a:gd name="connsiteX15" fmla="*/ 535651 w 956275"/>
                <a:gd name="connsiteY15" fmla="*/ 146304 h 503380"/>
                <a:gd name="connsiteX16" fmla="*/ 663667 w 956275"/>
                <a:gd name="connsiteY16" fmla="*/ 91440 h 503380"/>
                <a:gd name="connsiteX17" fmla="*/ 718531 w 956275"/>
                <a:gd name="connsiteY17" fmla="*/ 91440 h 503380"/>
                <a:gd name="connsiteX18" fmla="*/ 809971 w 956275"/>
                <a:gd name="connsiteY18" fmla="*/ 82296 h 503380"/>
                <a:gd name="connsiteX19" fmla="*/ 937987 w 956275"/>
                <a:gd name="connsiteY19" fmla="*/ 27432 h 503380"/>
                <a:gd name="connsiteX20" fmla="*/ 919699 w 956275"/>
                <a:gd name="connsiteY20" fmla="*/ 0 h 503380"/>
                <a:gd name="connsiteX21" fmla="*/ 883123 w 956275"/>
                <a:gd name="connsiteY21" fmla="*/ 27432 h 503380"/>
                <a:gd name="connsiteX22" fmla="*/ 846547 w 956275"/>
                <a:gd name="connsiteY22" fmla="*/ 36576 h 503380"/>
                <a:gd name="connsiteX23" fmla="*/ 773395 w 956275"/>
                <a:gd name="connsiteY23" fmla="*/ 64008 h 503380"/>
                <a:gd name="connsiteX24" fmla="*/ 718531 w 956275"/>
                <a:gd name="connsiteY24" fmla="*/ 64008 h 503380"/>
                <a:gd name="connsiteX25" fmla="*/ 608803 w 956275"/>
                <a:gd name="connsiteY25" fmla="*/ 64008 h 503380"/>
                <a:gd name="connsiteX26" fmla="*/ 553939 w 956275"/>
                <a:gd name="connsiteY26" fmla="*/ 100584 h 503380"/>
                <a:gd name="connsiteX27" fmla="*/ 517363 w 956275"/>
                <a:gd name="connsiteY27" fmla="*/ 146304 h 503380"/>
                <a:gd name="connsiteX28" fmla="*/ 471643 w 956275"/>
                <a:gd name="connsiteY28" fmla="*/ 182880 h 503380"/>
                <a:gd name="connsiteX29" fmla="*/ 425923 w 956275"/>
                <a:gd name="connsiteY29" fmla="*/ 256032 h 503380"/>
                <a:gd name="connsiteX30" fmla="*/ 352771 w 956275"/>
                <a:gd name="connsiteY30" fmla="*/ 301752 h 503380"/>
                <a:gd name="connsiteX31" fmla="*/ 252187 w 956275"/>
                <a:gd name="connsiteY31" fmla="*/ 347472 h 503380"/>
                <a:gd name="connsiteX32" fmla="*/ 215611 w 956275"/>
                <a:gd name="connsiteY32" fmla="*/ 374904 h 503380"/>
                <a:gd name="connsiteX33" fmla="*/ 169891 w 956275"/>
                <a:gd name="connsiteY33" fmla="*/ 402336 h 503380"/>
                <a:gd name="connsiteX34" fmla="*/ 151603 w 956275"/>
                <a:gd name="connsiteY34" fmla="*/ 402336 h 503380"/>
                <a:gd name="connsiteX35" fmla="*/ 169891 w 956275"/>
                <a:gd name="connsiteY35" fmla="*/ 365760 h 503380"/>
                <a:gd name="connsiteX36" fmla="*/ 224755 w 956275"/>
                <a:gd name="connsiteY36" fmla="*/ 301752 h 503380"/>
                <a:gd name="connsiteX37" fmla="*/ 316195 w 956275"/>
                <a:gd name="connsiteY37" fmla="*/ 219456 h 503380"/>
                <a:gd name="connsiteX38" fmla="*/ 361915 w 956275"/>
                <a:gd name="connsiteY38" fmla="*/ 146304 h 503380"/>
                <a:gd name="connsiteX39" fmla="*/ 361915 w 956275"/>
                <a:gd name="connsiteY39" fmla="*/ 64008 h 503380"/>
                <a:gd name="connsiteX40" fmla="*/ 352771 w 956275"/>
                <a:gd name="connsiteY40" fmla="*/ 54864 h 503380"/>
                <a:gd name="connsiteX41" fmla="*/ 343627 w 956275"/>
                <a:gd name="connsiteY41" fmla="*/ 128016 h 503380"/>
                <a:gd name="connsiteX42" fmla="*/ 316195 w 956275"/>
                <a:gd name="connsiteY42" fmla="*/ 173736 h 503380"/>
                <a:gd name="connsiteX43" fmla="*/ 243043 w 956275"/>
                <a:gd name="connsiteY43" fmla="*/ 237744 h 503380"/>
                <a:gd name="connsiteX44" fmla="*/ 215611 w 956275"/>
                <a:gd name="connsiteY44" fmla="*/ 256032 h 503380"/>
                <a:gd name="connsiteX45" fmla="*/ 142459 w 956275"/>
                <a:gd name="connsiteY45" fmla="*/ 347472 h 503380"/>
                <a:gd name="connsiteX46" fmla="*/ 133315 w 956275"/>
                <a:gd name="connsiteY46" fmla="*/ 374904 h 503380"/>
                <a:gd name="connsiteX47" fmla="*/ 124171 w 956275"/>
                <a:gd name="connsiteY47" fmla="*/ 411480 h 503380"/>
                <a:gd name="connsiteX48" fmla="*/ 142459 w 956275"/>
                <a:gd name="connsiteY48" fmla="*/ 429768 h 503380"/>
                <a:gd name="connsiteX49" fmla="*/ 96739 w 956275"/>
                <a:gd name="connsiteY49" fmla="*/ 457200 h 503380"/>
                <a:gd name="connsiteX50" fmla="*/ 13820 w 956275"/>
                <a:gd name="connsiteY50" fmla="*/ 496783 h 503380"/>
                <a:gd name="connsiteX51" fmla="*/ 13820 w 956275"/>
                <a:gd name="connsiteY51" fmla="*/ 496784 h 503380"/>
                <a:gd name="connsiteX52" fmla="*/ 40672 w 956275"/>
                <a:gd name="connsiteY52" fmla="*/ 486851 h 503380"/>
                <a:gd name="connsiteX53" fmla="*/ 132458 w 956275"/>
                <a:gd name="connsiteY53" fmla="*/ 430387 h 503380"/>
                <a:gd name="connsiteX54" fmla="*/ 40672 w 956275"/>
                <a:gd name="connsiteY54" fmla="*/ 486852 h 503380"/>
                <a:gd name="connsiteX55" fmla="*/ 40672 w 956275"/>
                <a:gd name="connsiteY55" fmla="*/ 486852 h 503380"/>
                <a:gd name="connsiteX0" fmla="*/ 97137 w 956275"/>
                <a:gd name="connsiteY0" fmla="*/ 578637 h 578637"/>
                <a:gd name="connsiteX1" fmla="*/ 13820 w 956275"/>
                <a:gd name="connsiteY1" fmla="*/ 496784 h 578637"/>
                <a:gd name="connsiteX2" fmla="*/ 13820 w 956275"/>
                <a:gd name="connsiteY2" fmla="*/ 496784 h 578637"/>
                <a:gd name="connsiteX3" fmla="*/ 51019 w 956275"/>
                <a:gd name="connsiteY3" fmla="*/ 493776 h 578637"/>
                <a:gd name="connsiteX4" fmla="*/ 151603 w 956275"/>
                <a:gd name="connsiteY4" fmla="*/ 466344 h 578637"/>
                <a:gd name="connsiteX5" fmla="*/ 252187 w 956275"/>
                <a:gd name="connsiteY5" fmla="*/ 384048 h 578637"/>
                <a:gd name="connsiteX6" fmla="*/ 444211 w 956275"/>
                <a:gd name="connsiteY6" fmla="*/ 301752 h 578637"/>
                <a:gd name="connsiteX7" fmla="*/ 526507 w 956275"/>
                <a:gd name="connsiteY7" fmla="*/ 192024 h 578637"/>
                <a:gd name="connsiteX8" fmla="*/ 672811 w 956275"/>
                <a:gd name="connsiteY8" fmla="*/ 155448 h 578637"/>
                <a:gd name="connsiteX9" fmla="*/ 718531 w 956275"/>
                <a:gd name="connsiteY9" fmla="*/ 155448 h 578637"/>
                <a:gd name="connsiteX10" fmla="*/ 755107 w 956275"/>
                <a:gd name="connsiteY10" fmla="*/ 137160 h 578637"/>
                <a:gd name="connsiteX11" fmla="*/ 709387 w 956275"/>
                <a:gd name="connsiteY11" fmla="*/ 137160 h 578637"/>
                <a:gd name="connsiteX12" fmla="*/ 617947 w 956275"/>
                <a:gd name="connsiteY12" fmla="*/ 137160 h 578637"/>
                <a:gd name="connsiteX13" fmla="*/ 563083 w 956275"/>
                <a:gd name="connsiteY13" fmla="*/ 146304 h 578637"/>
                <a:gd name="connsiteX14" fmla="*/ 553939 w 956275"/>
                <a:gd name="connsiteY14" fmla="*/ 155448 h 578637"/>
                <a:gd name="connsiteX15" fmla="*/ 535651 w 956275"/>
                <a:gd name="connsiteY15" fmla="*/ 146304 h 578637"/>
                <a:gd name="connsiteX16" fmla="*/ 663667 w 956275"/>
                <a:gd name="connsiteY16" fmla="*/ 91440 h 578637"/>
                <a:gd name="connsiteX17" fmla="*/ 718531 w 956275"/>
                <a:gd name="connsiteY17" fmla="*/ 91440 h 578637"/>
                <a:gd name="connsiteX18" fmla="*/ 809971 w 956275"/>
                <a:gd name="connsiteY18" fmla="*/ 82296 h 578637"/>
                <a:gd name="connsiteX19" fmla="*/ 937987 w 956275"/>
                <a:gd name="connsiteY19" fmla="*/ 27432 h 578637"/>
                <a:gd name="connsiteX20" fmla="*/ 919699 w 956275"/>
                <a:gd name="connsiteY20" fmla="*/ 0 h 578637"/>
                <a:gd name="connsiteX21" fmla="*/ 883123 w 956275"/>
                <a:gd name="connsiteY21" fmla="*/ 27432 h 578637"/>
                <a:gd name="connsiteX22" fmla="*/ 846547 w 956275"/>
                <a:gd name="connsiteY22" fmla="*/ 36576 h 578637"/>
                <a:gd name="connsiteX23" fmla="*/ 773395 w 956275"/>
                <a:gd name="connsiteY23" fmla="*/ 64008 h 578637"/>
                <a:gd name="connsiteX24" fmla="*/ 718531 w 956275"/>
                <a:gd name="connsiteY24" fmla="*/ 64008 h 578637"/>
                <a:gd name="connsiteX25" fmla="*/ 608803 w 956275"/>
                <a:gd name="connsiteY25" fmla="*/ 64008 h 578637"/>
                <a:gd name="connsiteX26" fmla="*/ 553939 w 956275"/>
                <a:gd name="connsiteY26" fmla="*/ 100584 h 578637"/>
                <a:gd name="connsiteX27" fmla="*/ 517363 w 956275"/>
                <a:gd name="connsiteY27" fmla="*/ 146304 h 578637"/>
                <a:gd name="connsiteX28" fmla="*/ 471643 w 956275"/>
                <a:gd name="connsiteY28" fmla="*/ 182880 h 578637"/>
                <a:gd name="connsiteX29" fmla="*/ 425923 w 956275"/>
                <a:gd name="connsiteY29" fmla="*/ 256032 h 578637"/>
                <a:gd name="connsiteX30" fmla="*/ 352771 w 956275"/>
                <a:gd name="connsiteY30" fmla="*/ 301752 h 578637"/>
                <a:gd name="connsiteX31" fmla="*/ 252187 w 956275"/>
                <a:gd name="connsiteY31" fmla="*/ 347472 h 578637"/>
                <a:gd name="connsiteX32" fmla="*/ 215611 w 956275"/>
                <a:gd name="connsiteY32" fmla="*/ 374904 h 578637"/>
                <a:gd name="connsiteX33" fmla="*/ 169891 w 956275"/>
                <a:gd name="connsiteY33" fmla="*/ 402336 h 578637"/>
                <a:gd name="connsiteX34" fmla="*/ 151603 w 956275"/>
                <a:gd name="connsiteY34" fmla="*/ 402336 h 578637"/>
                <a:gd name="connsiteX35" fmla="*/ 169891 w 956275"/>
                <a:gd name="connsiteY35" fmla="*/ 365760 h 578637"/>
                <a:gd name="connsiteX36" fmla="*/ 224755 w 956275"/>
                <a:gd name="connsiteY36" fmla="*/ 301752 h 578637"/>
                <a:gd name="connsiteX37" fmla="*/ 316195 w 956275"/>
                <a:gd name="connsiteY37" fmla="*/ 219456 h 578637"/>
                <a:gd name="connsiteX38" fmla="*/ 361915 w 956275"/>
                <a:gd name="connsiteY38" fmla="*/ 146304 h 578637"/>
                <a:gd name="connsiteX39" fmla="*/ 361915 w 956275"/>
                <a:gd name="connsiteY39" fmla="*/ 64008 h 578637"/>
                <a:gd name="connsiteX40" fmla="*/ 352771 w 956275"/>
                <a:gd name="connsiteY40" fmla="*/ 54864 h 578637"/>
                <a:gd name="connsiteX41" fmla="*/ 343627 w 956275"/>
                <a:gd name="connsiteY41" fmla="*/ 128016 h 578637"/>
                <a:gd name="connsiteX42" fmla="*/ 316195 w 956275"/>
                <a:gd name="connsiteY42" fmla="*/ 173736 h 578637"/>
                <a:gd name="connsiteX43" fmla="*/ 243043 w 956275"/>
                <a:gd name="connsiteY43" fmla="*/ 237744 h 578637"/>
                <a:gd name="connsiteX44" fmla="*/ 215611 w 956275"/>
                <a:gd name="connsiteY44" fmla="*/ 256032 h 578637"/>
                <a:gd name="connsiteX45" fmla="*/ 142459 w 956275"/>
                <a:gd name="connsiteY45" fmla="*/ 347472 h 578637"/>
                <a:gd name="connsiteX46" fmla="*/ 133315 w 956275"/>
                <a:gd name="connsiteY46" fmla="*/ 374904 h 578637"/>
                <a:gd name="connsiteX47" fmla="*/ 124171 w 956275"/>
                <a:gd name="connsiteY47" fmla="*/ 411480 h 578637"/>
                <a:gd name="connsiteX48" fmla="*/ 142459 w 956275"/>
                <a:gd name="connsiteY48" fmla="*/ 429768 h 578637"/>
                <a:gd name="connsiteX49" fmla="*/ 96739 w 956275"/>
                <a:gd name="connsiteY49" fmla="*/ 457200 h 578637"/>
                <a:gd name="connsiteX50" fmla="*/ 13820 w 956275"/>
                <a:gd name="connsiteY50" fmla="*/ 496783 h 578637"/>
                <a:gd name="connsiteX51" fmla="*/ 13820 w 956275"/>
                <a:gd name="connsiteY51" fmla="*/ 496784 h 578637"/>
                <a:gd name="connsiteX52" fmla="*/ 40672 w 956275"/>
                <a:gd name="connsiteY52" fmla="*/ 486851 h 578637"/>
                <a:gd name="connsiteX53" fmla="*/ 132458 w 956275"/>
                <a:gd name="connsiteY53" fmla="*/ 430387 h 578637"/>
                <a:gd name="connsiteX54" fmla="*/ 40672 w 956275"/>
                <a:gd name="connsiteY54" fmla="*/ 486852 h 578637"/>
                <a:gd name="connsiteX55" fmla="*/ 97137 w 956275"/>
                <a:gd name="connsiteY55" fmla="*/ 578637 h 578637"/>
                <a:gd name="connsiteX0" fmla="*/ 97137 w 956275"/>
                <a:gd name="connsiteY0" fmla="*/ 578637 h 578637"/>
                <a:gd name="connsiteX1" fmla="*/ 13820 w 956275"/>
                <a:gd name="connsiteY1" fmla="*/ 496784 h 578637"/>
                <a:gd name="connsiteX2" fmla="*/ 13820 w 956275"/>
                <a:gd name="connsiteY2" fmla="*/ 496784 h 578637"/>
                <a:gd name="connsiteX3" fmla="*/ 51019 w 956275"/>
                <a:gd name="connsiteY3" fmla="*/ 493776 h 578637"/>
                <a:gd name="connsiteX4" fmla="*/ 151603 w 956275"/>
                <a:gd name="connsiteY4" fmla="*/ 466344 h 578637"/>
                <a:gd name="connsiteX5" fmla="*/ 252187 w 956275"/>
                <a:gd name="connsiteY5" fmla="*/ 384048 h 578637"/>
                <a:gd name="connsiteX6" fmla="*/ 444211 w 956275"/>
                <a:gd name="connsiteY6" fmla="*/ 301752 h 578637"/>
                <a:gd name="connsiteX7" fmla="*/ 526507 w 956275"/>
                <a:gd name="connsiteY7" fmla="*/ 192024 h 578637"/>
                <a:gd name="connsiteX8" fmla="*/ 672811 w 956275"/>
                <a:gd name="connsiteY8" fmla="*/ 155448 h 578637"/>
                <a:gd name="connsiteX9" fmla="*/ 718531 w 956275"/>
                <a:gd name="connsiteY9" fmla="*/ 155448 h 578637"/>
                <a:gd name="connsiteX10" fmla="*/ 755107 w 956275"/>
                <a:gd name="connsiteY10" fmla="*/ 137160 h 578637"/>
                <a:gd name="connsiteX11" fmla="*/ 709387 w 956275"/>
                <a:gd name="connsiteY11" fmla="*/ 137160 h 578637"/>
                <a:gd name="connsiteX12" fmla="*/ 617947 w 956275"/>
                <a:gd name="connsiteY12" fmla="*/ 137160 h 578637"/>
                <a:gd name="connsiteX13" fmla="*/ 563083 w 956275"/>
                <a:gd name="connsiteY13" fmla="*/ 146304 h 578637"/>
                <a:gd name="connsiteX14" fmla="*/ 553939 w 956275"/>
                <a:gd name="connsiteY14" fmla="*/ 155448 h 578637"/>
                <a:gd name="connsiteX15" fmla="*/ 535651 w 956275"/>
                <a:gd name="connsiteY15" fmla="*/ 146304 h 578637"/>
                <a:gd name="connsiteX16" fmla="*/ 663667 w 956275"/>
                <a:gd name="connsiteY16" fmla="*/ 91440 h 578637"/>
                <a:gd name="connsiteX17" fmla="*/ 718531 w 956275"/>
                <a:gd name="connsiteY17" fmla="*/ 91440 h 578637"/>
                <a:gd name="connsiteX18" fmla="*/ 809971 w 956275"/>
                <a:gd name="connsiteY18" fmla="*/ 82296 h 578637"/>
                <a:gd name="connsiteX19" fmla="*/ 937987 w 956275"/>
                <a:gd name="connsiteY19" fmla="*/ 27432 h 578637"/>
                <a:gd name="connsiteX20" fmla="*/ 919699 w 956275"/>
                <a:gd name="connsiteY20" fmla="*/ 0 h 578637"/>
                <a:gd name="connsiteX21" fmla="*/ 883123 w 956275"/>
                <a:gd name="connsiteY21" fmla="*/ 27432 h 578637"/>
                <a:gd name="connsiteX22" fmla="*/ 846547 w 956275"/>
                <a:gd name="connsiteY22" fmla="*/ 36576 h 578637"/>
                <a:gd name="connsiteX23" fmla="*/ 773395 w 956275"/>
                <a:gd name="connsiteY23" fmla="*/ 64008 h 578637"/>
                <a:gd name="connsiteX24" fmla="*/ 718531 w 956275"/>
                <a:gd name="connsiteY24" fmla="*/ 64008 h 578637"/>
                <a:gd name="connsiteX25" fmla="*/ 608803 w 956275"/>
                <a:gd name="connsiteY25" fmla="*/ 64008 h 578637"/>
                <a:gd name="connsiteX26" fmla="*/ 553939 w 956275"/>
                <a:gd name="connsiteY26" fmla="*/ 100584 h 578637"/>
                <a:gd name="connsiteX27" fmla="*/ 517363 w 956275"/>
                <a:gd name="connsiteY27" fmla="*/ 146304 h 578637"/>
                <a:gd name="connsiteX28" fmla="*/ 471643 w 956275"/>
                <a:gd name="connsiteY28" fmla="*/ 182880 h 578637"/>
                <a:gd name="connsiteX29" fmla="*/ 425923 w 956275"/>
                <a:gd name="connsiteY29" fmla="*/ 256032 h 578637"/>
                <a:gd name="connsiteX30" fmla="*/ 352771 w 956275"/>
                <a:gd name="connsiteY30" fmla="*/ 301752 h 578637"/>
                <a:gd name="connsiteX31" fmla="*/ 252187 w 956275"/>
                <a:gd name="connsiteY31" fmla="*/ 347472 h 578637"/>
                <a:gd name="connsiteX32" fmla="*/ 215611 w 956275"/>
                <a:gd name="connsiteY32" fmla="*/ 374904 h 578637"/>
                <a:gd name="connsiteX33" fmla="*/ 169891 w 956275"/>
                <a:gd name="connsiteY33" fmla="*/ 402336 h 578637"/>
                <a:gd name="connsiteX34" fmla="*/ 151603 w 956275"/>
                <a:gd name="connsiteY34" fmla="*/ 402336 h 578637"/>
                <a:gd name="connsiteX35" fmla="*/ 169891 w 956275"/>
                <a:gd name="connsiteY35" fmla="*/ 365760 h 578637"/>
                <a:gd name="connsiteX36" fmla="*/ 224755 w 956275"/>
                <a:gd name="connsiteY36" fmla="*/ 301752 h 578637"/>
                <a:gd name="connsiteX37" fmla="*/ 316195 w 956275"/>
                <a:gd name="connsiteY37" fmla="*/ 219456 h 578637"/>
                <a:gd name="connsiteX38" fmla="*/ 361915 w 956275"/>
                <a:gd name="connsiteY38" fmla="*/ 146304 h 578637"/>
                <a:gd name="connsiteX39" fmla="*/ 361915 w 956275"/>
                <a:gd name="connsiteY39" fmla="*/ 64008 h 578637"/>
                <a:gd name="connsiteX40" fmla="*/ 352771 w 956275"/>
                <a:gd name="connsiteY40" fmla="*/ 54864 h 578637"/>
                <a:gd name="connsiteX41" fmla="*/ 343627 w 956275"/>
                <a:gd name="connsiteY41" fmla="*/ 128016 h 578637"/>
                <a:gd name="connsiteX42" fmla="*/ 316195 w 956275"/>
                <a:gd name="connsiteY42" fmla="*/ 173736 h 578637"/>
                <a:gd name="connsiteX43" fmla="*/ 243043 w 956275"/>
                <a:gd name="connsiteY43" fmla="*/ 237744 h 578637"/>
                <a:gd name="connsiteX44" fmla="*/ 215611 w 956275"/>
                <a:gd name="connsiteY44" fmla="*/ 256032 h 578637"/>
                <a:gd name="connsiteX45" fmla="*/ 142459 w 956275"/>
                <a:gd name="connsiteY45" fmla="*/ 347472 h 578637"/>
                <a:gd name="connsiteX46" fmla="*/ 133315 w 956275"/>
                <a:gd name="connsiteY46" fmla="*/ 374904 h 578637"/>
                <a:gd name="connsiteX47" fmla="*/ 124171 w 956275"/>
                <a:gd name="connsiteY47" fmla="*/ 411480 h 578637"/>
                <a:gd name="connsiteX48" fmla="*/ 142459 w 956275"/>
                <a:gd name="connsiteY48" fmla="*/ 429768 h 578637"/>
                <a:gd name="connsiteX49" fmla="*/ 96739 w 956275"/>
                <a:gd name="connsiteY49" fmla="*/ 457200 h 578637"/>
                <a:gd name="connsiteX50" fmla="*/ 13820 w 956275"/>
                <a:gd name="connsiteY50" fmla="*/ 496783 h 578637"/>
                <a:gd name="connsiteX51" fmla="*/ 13820 w 956275"/>
                <a:gd name="connsiteY51" fmla="*/ 496784 h 578637"/>
                <a:gd name="connsiteX52" fmla="*/ 40672 w 956275"/>
                <a:gd name="connsiteY52" fmla="*/ 486851 h 578637"/>
                <a:gd name="connsiteX53" fmla="*/ 132458 w 956275"/>
                <a:gd name="connsiteY53" fmla="*/ 430387 h 578637"/>
                <a:gd name="connsiteX54" fmla="*/ 97137 w 956275"/>
                <a:gd name="connsiteY54" fmla="*/ 578637 h 578637"/>
                <a:gd name="connsiteX55" fmla="*/ 97137 w 956275"/>
                <a:gd name="connsiteY55" fmla="*/ 578637 h 578637"/>
                <a:gd name="connsiteX0" fmla="*/ 97137 w 956275"/>
                <a:gd name="connsiteY0" fmla="*/ 578637 h 578637"/>
                <a:gd name="connsiteX1" fmla="*/ 13820 w 956275"/>
                <a:gd name="connsiteY1" fmla="*/ 496784 h 578637"/>
                <a:gd name="connsiteX2" fmla="*/ 13820 w 956275"/>
                <a:gd name="connsiteY2" fmla="*/ 496784 h 578637"/>
                <a:gd name="connsiteX3" fmla="*/ 51019 w 956275"/>
                <a:gd name="connsiteY3" fmla="*/ 493776 h 578637"/>
                <a:gd name="connsiteX4" fmla="*/ 151603 w 956275"/>
                <a:gd name="connsiteY4" fmla="*/ 466344 h 578637"/>
                <a:gd name="connsiteX5" fmla="*/ 252187 w 956275"/>
                <a:gd name="connsiteY5" fmla="*/ 384048 h 578637"/>
                <a:gd name="connsiteX6" fmla="*/ 444211 w 956275"/>
                <a:gd name="connsiteY6" fmla="*/ 301752 h 578637"/>
                <a:gd name="connsiteX7" fmla="*/ 526507 w 956275"/>
                <a:gd name="connsiteY7" fmla="*/ 192024 h 578637"/>
                <a:gd name="connsiteX8" fmla="*/ 672811 w 956275"/>
                <a:gd name="connsiteY8" fmla="*/ 155448 h 578637"/>
                <a:gd name="connsiteX9" fmla="*/ 718531 w 956275"/>
                <a:gd name="connsiteY9" fmla="*/ 155448 h 578637"/>
                <a:gd name="connsiteX10" fmla="*/ 755107 w 956275"/>
                <a:gd name="connsiteY10" fmla="*/ 137160 h 578637"/>
                <a:gd name="connsiteX11" fmla="*/ 709387 w 956275"/>
                <a:gd name="connsiteY11" fmla="*/ 137160 h 578637"/>
                <a:gd name="connsiteX12" fmla="*/ 617947 w 956275"/>
                <a:gd name="connsiteY12" fmla="*/ 137160 h 578637"/>
                <a:gd name="connsiteX13" fmla="*/ 563083 w 956275"/>
                <a:gd name="connsiteY13" fmla="*/ 146304 h 578637"/>
                <a:gd name="connsiteX14" fmla="*/ 553939 w 956275"/>
                <a:gd name="connsiteY14" fmla="*/ 155448 h 578637"/>
                <a:gd name="connsiteX15" fmla="*/ 535651 w 956275"/>
                <a:gd name="connsiteY15" fmla="*/ 146304 h 578637"/>
                <a:gd name="connsiteX16" fmla="*/ 663667 w 956275"/>
                <a:gd name="connsiteY16" fmla="*/ 91440 h 578637"/>
                <a:gd name="connsiteX17" fmla="*/ 718531 w 956275"/>
                <a:gd name="connsiteY17" fmla="*/ 91440 h 578637"/>
                <a:gd name="connsiteX18" fmla="*/ 809971 w 956275"/>
                <a:gd name="connsiteY18" fmla="*/ 82296 h 578637"/>
                <a:gd name="connsiteX19" fmla="*/ 937987 w 956275"/>
                <a:gd name="connsiteY19" fmla="*/ 27432 h 578637"/>
                <a:gd name="connsiteX20" fmla="*/ 919699 w 956275"/>
                <a:gd name="connsiteY20" fmla="*/ 0 h 578637"/>
                <a:gd name="connsiteX21" fmla="*/ 883123 w 956275"/>
                <a:gd name="connsiteY21" fmla="*/ 27432 h 578637"/>
                <a:gd name="connsiteX22" fmla="*/ 846547 w 956275"/>
                <a:gd name="connsiteY22" fmla="*/ 36576 h 578637"/>
                <a:gd name="connsiteX23" fmla="*/ 773395 w 956275"/>
                <a:gd name="connsiteY23" fmla="*/ 64008 h 578637"/>
                <a:gd name="connsiteX24" fmla="*/ 718531 w 956275"/>
                <a:gd name="connsiteY24" fmla="*/ 64008 h 578637"/>
                <a:gd name="connsiteX25" fmla="*/ 608803 w 956275"/>
                <a:gd name="connsiteY25" fmla="*/ 64008 h 578637"/>
                <a:gd name="connsiteX26" fmla="*/ 553939 w 956275"/>
                <a:gd name="connsiteY26" fmla="*/ 100584 h 578637"/>
                <a:gd name="connsiteX27" fmla="*/ 517363 w 956275"/>
                <a:gd name="connsiteY27" fmla="*/ 146304 h 578637"/>
                <a:gd name="connsiteX28" fmla="*/ 471643 w 956275"/>
                <a:gd name="connsiteY28" fmla="*/ 182880 h 578637"/>
                <a:gd name="connsiteX29" fmla="*/ 425923 w 956275"/>
                <a:gd name="connsiteY29" fmla="*/ 256032 h 578637"/>
                <a:gd name="connsiteX30" fmla="*/ 352771 w 956275"/>
                <a:gd name="connsiteY30" fmla="*/ 301752 h 578637"/>
                <a:gd name="connsiteX31" fmla="*/ 252187 w 956275"/>
                <a:gd name="connsiteY31" fmla="*/ 347472 h 578637"/>
                <a:gd name="connsiteX32" fmla="*/ 215611 w 956275"/>
                <a:gd name="connsiteY32" fmla="*/ 374904 h 578637"/>
                <a:gd name="connsiteX33" fmla="*/ 169891 w 956275"/>
                <a:gd name="connsiteY33" fmla="*/ 402336 h 578637"/>
                <a:gd name="connsiteX34" fmla="*/ 151603 w 956275"/>
                <a:gd name="connsiteY34" fmla="*/ 402336 h 578637"/>
                <a:gd name="connsiteX35" fmla="*/ 169891 w 956275"/>
                <a:gd name="connsiteY35" fmla="*/ 365760 h 578637"/>
                <a:gd name="connsiteX36" fmla="*/ 224755 w 956275"/>
                <a:gd name="connsiteY36" fmla="*/ 301752 h 578637"/>
                <a:gd name="connsiteX37" fmla="*/ 316195 w 956275"/>
                <a:gd name="connsiteY37" fmla="*/ 219456 h 578637"/>
                <a:gd name="connsiteX38" fmla="*/ 361915 w 956275"/>
                <a:gd name="connsiteY38" fmla="*/ 146304 h 578637"/>
                <a:gd name="connsiteX39" fmla="*/ 361915 w 956275"/>
                <a:gd name="connsiteY39" fmla="*/ 64008 h 578637"/>
                <a:gd name="connsiteX40" fmla="*/ 352771 w 956275"/>
                <a:gd name="connsiteY40" fmla="*/ 54864 h 578637"/>
                <a:gd name="connsiteX41" fmla="*/ 343627 w 956275"/>
                <a:gd name="connsiteY41" fmla="*/ 128016 h 578637"/>
                <a:gd name="connsiteX42" fmla="*/ 316195 w 956275"/>
                <a:gd name="connsiteY42" fmla="*/ 173736 h 578637"/>
                <a:gd name="connsiteX43" fmla="*/ 243043 w 956275"/>
                <a:gd name="connsiteY43" fmla="*/ 237744 h 578637"/>
                <a:gd name="connsiteX44" fmla="*/ 215611 w 956275"/>
                <a:gd name="connsiteY44" fmla="*/ 256032 h 578637"/>
                <a:gd name="connsiteX45" fmla="*/ 142459 w 956275"/>
                <a:gd name="connsiteY45" fmla="*/ 347472 h 578637"/>
                <a:gd name="connsiteX46" fmla="*/ 133315 w 956275"/>
                <a:gd name="connsiteY46" fmla="*/ 374904 h 578637"/>
                <a:gd name="connsiteX47" fmla="*/ 124171 w 956275"/>
                <a:gd name="connsiteY47" fmla="*/ 411480 h 578637"/>
                <a:gd name="connsiteX48" fmla="*/ 142459 w 956275"/>
                <a:gd name="connsiteY48" fmla="*/ 429768 h 578637"/>
                <a:gd name="connsiteX49" fmla="*/ 96739 w 956275"/>
                <a:gd name="connsiteY49" fmla="*/ 457200 h 578637"/>
                <a:gd name="connsiteX50" fmla="*/ 13820 w 956275"/>
                <a:gd name="connsiteY50" fmla="*/ 496783 h 578637"/>
                <a:gd name="connsiteX51" fmla="*/ 13820 w 956275"/>
                <a:gd name="connsiteY51" fmla="*/ 496784 h 578637"/>
                <a:gd name="connsiteX52" fmla="*/ 23012 w 956275"/>
                <a:gd name="connsiteY52" fmla="*/ 560977 h 578637"/>
                <a:gd name="connsiteX53" fmla="*/ 132458 w 956275"/>
                <a:gd name="connsiteY53" fmla="*/ 430387 h 578637"/>
                <a:gd name="connsiteX54" fmla="*/ 97137 w 956275"/>
                <a:gd name="connsiteY54" fmla="*/ 578637 h 578637"/>
                <a:gd name="connsiteX55" fmla="*/ 97137 w 956275"/>
                <a:gd name="connsiteY55" fmla="*/ 578637 h 578637"/>
                <a:gd name="connsiteX0" fmla="*/ 97137 w 956275"/>
                <a:gd name="connsiteY0" fmla="*/ 578637 h 578637"/>
                <a:gd name="connsiteX1" fmla="*/ 13820 w 956275"/>
                <a:gd name="connsiteY1" fmla="*/ 496784 h 578637"/>
                <a:gd name="connsiteX2" fmla="*/ 13820 w 956275"/>
                <a:gd name="connsiteY2" fmla="*/ 496784 h 578637"/>
                <a:gd name="connsiteX3" fmla="*/ 51019 w 956275"/>
                <a:gd name="connsiteY3" fmla="*/ 493776 h 578637"/>
                <a:gd name="connsiteX4" fmla="*/ 151603 w 956275"/>
                <a:gd name="connsiteY4" fmla="*/ 466344 h 578637"/>
                <a:gd name="connsiteX5" fmla="*/ 252187 w 956275"/>
                <a:gd name="connsiteY5" fmla="*/ 384048 h 578637"/>
                <a:gd name="connsiteX6" fmla="*/ 444211 w 956275"/>
                <a:gd name="connsiteY6" fmla="*/ 301752 h 578637"/>
                <a:gd name="connsiteX7" fmla="*/ 526507 w 956275"/>
                <a:gd name="connsiteY7" fmla="*/ 192024 h 578637"/>
                <a:gd name="connsiteX8" fmla="*/ 672811 w 956275"/>
                <a:gd name="connsiteY8" fmla="*/ 155448 h 578637"/>
                <a:gd name="connsiteX9" fmla="*/ 718531 w 956275"/>
                <a:gd name="connsiteY9" fmla="*/ 155448 h 578637"/>
                <a:gd name="connsiteX10" fmla="*/ 755107 w 956275"/>
                <a:gd name="connsiteY10" fmla="*/ 137160 h 578637"/>
                <a:gd name="connsiteX11" fmla="*/ 709387 w 956275"/>
                <a:gd name="connsiteY11" fmla="*/ 137160 h 578637"/>
                <a:gd name="connsiteX12" fmla="*/ 617947 w 956275"/>
                <a:gd name="connsiteY12" fmla="*/ 137160 h 578637"/>
                <a:gd name="connsiteX13" fmla="*/ 563083 w 956275"/>
                <a:gd name="connsiteY13" fmla="*/ 146304 h 578637"/>
                <a:gd name="connsiteX14" fmla="*/ 553939 w 956275"/>
                <a:gd name="connsiteY14" fmla="*/ 155448 h 578637"/>
                <a:gd name="connsiteX15" fmla="*/ 535651 w 956275"/>
                <a:gd name="connsiteY15" fmla="*/ 146304 h 578637"/>
                <a:gd name="connsiteX16" fmla="*/ 663667 w 956275"/>
                <a:gd name="connsiteY16" fmla="*/ 91440 h 578637"/>
                <a:gd name="connsiteX17" fmla="*/ 718531 w 956275"/>
                <a:gd name="connsiteY17" fmla="*/ 91440 h 578637"/>
                <a:gd name="connsiteX18" fmla="*/ 809971 w 956275"/>
                <a:gd name="connsiteY18" fmla="*/ 82296 h 578637"/>
                <a:gd name="connsiteX19" fmla="*/ 937987 w 956275"/>
                <a:gd name="connsiteY19" fmla="*/ 27432 h 578637"/>
                <a:gd name="connsiteX20" fmla="*/ 919699 w 956275"/>
                <a:gd name="connsiteY20" fmla="*/ 0 h 578637"/>
                <a:gd name="connsiteX21" fmla="*/ 883123 w 956275"/>
                <a:gd name="connsiteY21" fmla="*/ 27432 h 578637"/>
                <a:gd name="connsiteX22" fmla="*/ 846547 w 956275"/>
                <a:gd name="connsiteY22" fmla="*/ 36576 h 578637"/>
                <a:gd name="connsiteX23" fmla="*/ 773395 w 956275"/>
                <a:gd name="connsiteY23" fmla="*/ 64008 h 578637"/>
                <a:gd name="connsiteX24" fmla="*/ 718531 w 956275"/>
                <a:gd name="connsiteY24" fmla="*/ 64008 h 578637"/>
                <a:gd name="connsiteX25" fmla="*/ 608803 w 956275"/>
                <a:gd name="connsiteY25" fmla="*/ 64008 h 578637"/>
                <a:gd name="connsiteX26" fmla="*/ 553939 w 956275"/>
                <a:gd name="connsiteY26" fmla="*/ 100584 h 578637"/>
                <a:gd name="connsiteX27" fmla="*/ 517363 w 956275"/>
                <a:gd name="connsiteY27" fmla="*/ 146304 h 578637"/>
                <a:gd name="connsiteX28" fmla="*/ 471643 w 956275"/>
                <a:gd name="connsiteY28" fmla="*/ 182880 h 578637"/>
                <a:gd name="connsiteX29" fmla="*/ 425923 w 956275"/>
                <a:gd name="connsiteY29" fmla="*/ 256032 h 578637"/>
                <a:gd name="connsiteX30" fmla="*/ 352771 w 956275"/>
                <a:gd name="connsiteY30" fmla="*/ 301752 h 578637"/>
                <a:gd name="connsiteX31" fmla="*/ 252187 w 956275"/>
                <a:gd name="connsiteY31" fmla="*/ 347472 h 578637"/>
                <a:gd name="connsiteX32" fmla="*/ 215611 w 956275"/>
                <a:gd name="connsiteY32" fmla="*/ 374904 h 578637"/>
                <a:gd name="connsiteX33" fmla="*/ 169891 w 956275"/>
                <a:gd name="connsiteY33" fmla="*/ 402336 h 578637"/>
                <a:gd name="connsiteX34" fmla="*/ 151603 w 956275"/>
                <a:gd name="connsiteY34" fmla="*/ 402336 h 578637"/>
                <a:gd name="connsiteX35" fmla="*/ 169891 w 956275"/>
                <a:gd name="connsiteY35" fmla="*/ 365760 h 578637"/>
                <a:gd name="connsiteX36" fmla="*/ 224755 w 956275"/>
                <a:gd name="connsiteY36" fmla="*/ 301752 h 578637"/>
                <a:gd name="connsiteX37" fmla="*/ 316195 w 956275"/>
                <a:gd name="connsiteY37" fmla="*/ 219456 h 578637"/>
                <a:gd name="connsiteX38" fmla="*/ 361915 w 956275"/>
                <a:gd name="connsiteY38" fmla="*/ 146304 h 578637"/>
                <a:gd name="connsiteX39" fmla="*/ 361915 w 956275"/>
                <a:gd name="connsiteY39" fmla="*/ 64008 h 578637"/>
                <a:gd name="connsiteX40" fmla="*/ 352771 w 956275"/>
                <a:gd name="connsiteY40" fmla="*/ 54864 h 578637"/>
                <a:gd name="connsiteX41" fmla="*/ 343627 w 956275"/>
                <a:gd name="connsiteY41" fmla="*/ 128016 h 578637"/>
                <a:gd name="connsiteX42" fmla="*/ 316195 w 956275"/>
                <a:gd name="connsiteY42" fmla="*/ 173736 h 578637"/>
                <a:gd name="connsiteX43" fmla="*/ 243043 w 956275"/>
                <a:gd name="connsiteY43" fmla="*/ 237744 h 578637"/>
                <a:gd name="connsiteX44" fmla="*/ 215611 w 956275"/>
                <a:gd name="connsiteY44" fmla="*/ 256032 h 578637"/>
                <a:gd name="connsiteX45" fmla="*/ 142459 w 956275"/>
                <a:gd name="connsiteY45" fmla="*/ 347472 h 578637"/>
                <a:gd name="connsiteX46" fmla="*/ 133315 w 956275"/>
                <a:gd name="connsiteY46" fmla="*/ 374904 h 578637"/>
                <a:gd name="connsiteX47" fmla="*/ 124171 w 956275"/>
                <a:gd name="connsiteY47" fmla="*/ 411480 h 578637"/>
                <a:gd name="connsiteX48" fmla="*/ 142459 w 956275"/>
                <a:gd name="connsiteY48" fmla="*/ 429768 h 578637"/>
                <a:gd name="connsiteX49" fmla="*/ 96739 w 956275"/>
                <a:gd name="connsiteY49" fmla="*/ 457200 h 578637"/>
                <a:gd name="connsiteX50" fmla="*/ 13820 w 956275"/>
                <a:gd name="connsiteY50" fmla="*/ 496783 h 578637"/>
                <a:gd name="connsiteX51" fmla="*/ 13820 w 956275"/>
                <a:gd name="connsiteY51" fmla="*/ 496784 h 578637"/>
                <a:gd name="connsiteX52" fmla="*/ 132458 w 956275"/>
                <a:gd name="connsiteY52" fmla="*/ 430387 h 578637"/>
                <a:gd name="connsiteX53" fmla="*/ 132458 w 956275"/>
                <a:gd name="connsiteY53" fmla="*/ 430387 h 578637"/>
                <a:gd name="connsiteX54" fmla="*/ 97137 w 956275"/>
                <a:gd name="connsiteY54" fmla="*/ 578637 h 578637"/>
                <a:gd name="connsiteX55" fmla="*/ 97137 w 956275"/>
                <a:gd name="connsiteY55" fmla="*/ 578637 h 578637"/>
                <a:gd name="connsiteX0" fmla="*/ 89270 w 948408"/>
                <a:gd name="connsiteY0" fmla="*/ 578637 h 578637"/>
                <a:gd name="connsiteX1" fmla="*/ 5953 w 948408"/>
                <a:gd name="connsiteY1" fmla="*/ 496784 h 578637"/>
                <a:gd name="connsiteX2" fmla="*/ 5953 w 948408"/>
                <a:gd name="connsiteY2" fmla="*/ 496784 h 578637"/>
                <a:gd name="connsiteX3" fmla="*/ 43152 w 948408"/>
                <a:gd name="connsiteY3" fmla="*/ 493776 h 578637"/>
                <a:gd name="connsiteX4" fmla="*/ 143736 w 948408"/>
                <a:gd name="connsiteY4" fmla="*/ 466344 h 578637"/>
                <a:gd name="connsiteX5" fmla="*/ 244320 w 948408"/>
                <a:gd name="connsiteY5" fmla="*/ 384048 h 578637"/>
                <a:gd name="connsiteX6" fmla="*/ 436344 w 948408"/>
                <a:gd name="connsiteY6" fmla="*/ 301752 h 578637"/>
                <a:gd name="connsiteX7" fmla="*/ 518640 w 948408"/>
                <a:gd name="connsiteY7" fmla="*/ 192024 h 578637"/>
                <a:gd name="connsiteX8" fmla="*/ 664944 w 948408"/>
                <a:gd name="connsiteY8" fmla="*/ 155448 h 578637"/>
                <a:gd name="connsiteX9" fmla="*/ 710664 w 948408"/>
                <a:gd name="connsiteY9" fmla="*/ 155448 h 578637"/>
                <a:gd name="connsiteX10" fmla="*/ 747240 w 948408"/>
                <a:gd name="connsiteY10" fmla="*/ 137160 h 578637"/>
                <a:gd name="connsiteX11" fmla="*/ 701520 w 948408"/>
                <a:gd name="connsiteY11" fmla="*/ 137160 h 578637"/>
                <a:gd name="connsiteX12" fmla="*/ 610080 w 948408"/>
                <a:gd name="connsiteY12" fmla="*/ 137160 h 578637"/>
                <a:gd name="connsiteX13" fmla="*/ 555216 w 948408"/>
                <a:gd name="connsiteY13" fmla="*/ 146304 h 578637"/>
                <a:gd name="connsiteX14" fmla="*/ 546072 w 948408"/>
                <a:gd name="connsiteY14" fmla="*/ 155448 h 578637"/>
                <a:gd name="connsiteX15" fmla="*/ 527784 w 948408"/>
                <a:gd name="connsiteY15" fmla="*/ 146304 h 578637"/>
                <a:gd name="connsiteX16" fmla="*/ 655800 w 948408"/>
                <a:gd name="connsiteY16" fmla="*/ 91440 h 578637"/>
                <a:gd name="connsiteX17" fmla="*/ 710664 w 948408"/>
                <a:gd name="connsiteY17" fmla="*/ 91440 h 578637"/>
                <a:gd name="connsiteX18" fmla="*/ 802104 w 948408"/>
                <a:gd name="connsiteY18" fmla="*/ 82296 h 578637"/>
                <a:gd name="connsiteX19" fmla="*/ 930120 w 948408"/>
                <a:gd name="connsiteY19" fmla="*/ 27432 h 578637"/>
                <a:gd name="connsiteX20" fmla="*/ 911832 w 948408"/>
                <a:gd name="connsiteY20" fmla="*/ 0 h 578637"/>
                <a:gd name="connsiteX21" fmla="*/ 875256 w 948408"/>
                <a:gd name="connsiteY21" fmla="*/ 27432 h 578637"/>
                <a:gd name="connsiteX22" fmla="*/ 838680 w 948408"/>
                <a:gd name="connsiteY22" fmla="*/ 36576 h 578637"/>
                <a:gd name="connsiteX23" fmla="*/ 765528 w 948408"/>
                <a:gd name="connsiteY23" fmla="*/ 64008 h 578637"/>
                <a:gd name="connsiteX24" fmla="*/ 710664 w 948408"/>
                <a:gd name="connsiteY24" fmla="*/ 64008 h 578637"/>
                <a:gd name="connsiteX25" fmla="*/ 600936 w 948408"/>
                <a:gd name="connsiteY25" fmla="*/ 64008 h 578637"/>
                <a:gd name="connsiteX26" fmla="*/ 546072 w 948408"/>
                <a:gd name="connsiteY26" fmla="*/ 100584 h 578637"/>
                <a:gd name="connsiteX27" fmla="*/ 509496 w 948408"/>
                <a:gd name="connsiteY27" fmla="*/ 146304 h 578637"/>
                <a:gd name="connsiteX28" fmla="*/ 463776 w 948408"/>
                <a:gd name="connsiteY28" fmla="*/ 182880 h 578637"/>
                <a:gd name="connsiteX29" fmla="*/ 418056 w 948408"/>
                <a:gd name="connsiteY29" fmla="*/ 256032 h 578637"/>
                <a:gd name="connsiteX30" fmla="*/ 344904 w 948408"/>
                <a:gd name="connsiteY30" fmla="*/ 301752 h 578637"/>
                <a:gd name="connsiteX31" fmla="*/ 244320 w 948408"/>
                <a:gd name="connsiteY31" fmla="*/ 347472 h 578637"/>
                <a:gd name="connsiteX32" fmla="*/ 207744 w 948408"/>
                <a:gd name="connsiteY32" fmla="*/ 374904 h 578637"/>
                <a:gd name="connsiteX33" fmla="*/ 162024 w 948408"/>
                <a:gd name="connsiteY33" fmla="*/ 402336 h 578637"/>
                <a:gd name="connsiteX34" fmla="*/ 143736 w 948408"/>
                <a:gd name="connsiteY34" fmla="*/ 402336 h 578637"/>
                <a:gd name="connsiteX35" fmla="*/ 162024 w 948408"/>
                <a:gd name="connsiteY35" fmla="*/ 365760 h 578637"/>
                <a:gd name="connsiteX36" fmla="*/ 216888 w 948408"/>
                <a:gd name="connsiteY36" fmla="*/ 301752 h 578637"/>
                <a:gd name="connsiteX37" fmla="*/ 308328 w 948408"/>
                <a:gd name="connsiteY37" fmla="*/ 219456 h 578637"/>
                <a:gd name="connsiteX38" fmla="*/ 354048 w 948408"/>
                <a:gd name="connsiteY38" fmla="*/ 146304 h 578637"/>
                <a:gd name="connsiteX39" fmla="*/ 354048 w 948408"/>
                <a:gd name="connsiteY39" fmla="*/ 64008 h 578637"/>
                <a:gd name="connsiteX40" fmla="*/ 344904 w 948408"/>
                <a:gd name="connsiteY40" fmla="*/ 54864 h 578637"/>
                <a:gd name="connsiteX41" fmla="*/ 335760 w 948408"/>
                <a:gd name="connsiteY41" fmla="*/ 128016 h 578637"/>
                <a:gd name="connsiteX42" fmla="*/ 308328 w 948408"/>
                <a:gd name="connsiteY42" fmla="*/ 173736 h 578637"/>
                <a:gd name="connsiteX43" fmla="*/ 235176 w 948408"/>
                <a:gd name="connsiteY43" fmla="*/ 237744 h 578637"/>
                <a:gd name="connsiteX44" fmla="*/ 207744 w 948408"/>
                <a:gd name="connsiteY44" fmla="*/ 256032 h 578637"/>
                <a:gd name="connsiteX45" fmla="*/ 134592 w 948408"/>
                <a:gd name="connsiteY45" fmla="*/ 347472 h 578637"/>
                <a:gd name="connsiteX46" fmla="*/ 125448 w 948408"/>
                <a:gd name="connsiteY46" fmla="*/ 374904 h 578637"/>
                <a:gd name="connsiteX47" fmla="*/ 116304 w 948408"/>
                <a:gd name="connsiteY47" fmla="*/ 411480 h 578637"/>
                <a:gd name="connsiteX48" fmla="*/ 134592 w 948408"/>
                <a:gd name="connsiteY48" fmla="*/ 429768 h 578637"/>
                <a:gd name="connsiteX49" fmla="*/ 88872 w 948408"/>
                <a:gd name="connsiteY49" fmla="*/ 457200 h 578637"/>
                <a:gd name="connsiteX50" fmla="*/ 5953 w 948408"/>
                <a:gd name="connsiteY50" fmla="*/ 496783 h 578637"/>
                <a:gd name="connsiteX51" fmla="*/ 124591 w 948408"/>
                <a:gd name="connsiteY51" fmla="*/ 430387 h 578637"/>
                <a:gd name="connsiteX52" fmla="*/ 124591 w 948408"/>
                <a:gd name="connsiteY52" fmla="*/ 430387 h 578637"/>
                <a:gd name="connsiteX53" fmla="*/ 124591 w 948408"/>
                <a:gd name="connsiteY53" fmla="*/ 430387 h 578637"/>
                <a:gd name="connsiteX54" fmla="*/ 89270 w 948408"/>
                <a:gd name="connsiteY54" fmla="*/ 578637 h 578637"/>
                <a:gd name="connsiteX55" fmla="*/ 89270 w 948408"/>
                <a:gd name="connsiteY55" fmla="*/ 578637 h 578637"/>
                <a:gd name="connsiteX0" fmla="*/ 83317 w 942455"/>
                <a:gd name="connsiteY0" fmla="*/ 578637 h 578637"/>
                <a:gd name="connsiteX1" fmla="*/ 0 w 942455"/>
                <a:gd name="connsiteY1" fmla="*/ 496784 h 578637"/>
                <a:gd name="connsiteX2" fmla="*/ 0 w 942455"/>
                <a:gd name="connsiteY2" fmla="*/ 496784 h 578637"/>
                <a:gd name="connsiteX3" fmla="*/ 37199 w 942455"/>
                <a:gd name="connsiteY3" fmla="*/ 493776 h 578637"/>
                <a:gd name="connsiteX4" fmla="*/ 137783 w 942455"/>
                <a:gd name="connsiteY4" fmla="*/ 466344 h 578637"/>
                <a:gd name="connsiteX5" fmla="*/ 238367 w 942455"/>
                <a:gd name="connsiteY5" fmla="*/ 384048 h 578637"/>
                <a:gd name="connsiteX6" fmla="*/ 430391 w 942455"/>
                <a:gd name="connsiteY6" fmla="*/ 301752 h 578637"/>
                <a:gd name="connsiteX7" fmla="*/ 512687 w 942455"/>
                <a:gd name="connsiteY7" fmla="*/ 192024 h 578637"/>
                <a:gd name="connsiteX8" fmla="*/ 658991 w 942455"/>
                <a:gd name="connsiteY8" fmla="*/ 155448 h 578637"/>
                <a:gd name="connsiteX9" fmla="*/ 704711 w 942455"/>
                <a:gd name="connsiteY9" fmla="*/ 155448 h 578637"/>
                <a:gd name="connsiteX10" fmla="*/ 741287 w 942455"/>
                <a:gd name="connsiteY10" fmla="*/ 137160 h 578637"/>
                <a:gd name="connsiteX11" fmla="*/ 695567 w 942455"/>
                <a:gd name="connsiteY11" fmla="*/ 137160 h 578637"/>
                <a:gd name="connsiteX12" fmla="*/ 604127 w 942455"/>
                <a:gd name="connsiteY12" fmla="*/ 137160 h 578637"/>
                <a:gd name="connsiteX13" fmla="*/ 549263 w 942455"/>
                <a:gd name="connsiteY13" fmla="*/ 146304 h 578637"/>
                <a:gd name="connsiteX14" fmla="*/ 540119 w 942455"/>
                <a:gd name="connsiteY14" fmla="*/ 155448 h 578637"/>
                <a:gd name="connsiteX15" fmla="*/ 521831 w 942455"/>
                <a:gd name="connsiteY15" fmla="*/ 146304 h 578637"/>
                <a:gd name="connsiteX16" fmla="*/ 649847 w 942455"/>
                <a:gd name="connsiteY16" fmla="*/ 91440 h 578637"/>
                <a:gd name="connsiteX17" fmla="*/ 704711 w 942455"/>
                <a:gd name="connsiteY17" fmla="*/ 91440 h 578637"/>
                <a:gd name="connsiteX18" fmla="*/ 796151 w 942455"/>
                <a:gd name="connsiteY18" fmla="*/ 82296 h 578637"/>
                <a:gd name="connsiteX19" fmla="*/ 924167 w 942455"/>
                <a:gd name="connsiteY19" fmla="*/ 27432 h 578637"/>
                <a:gd name="connsiteX20" fmla="*/ 905879 w 942455"/>
                <a:gd name="connsiteY20" fmla="*/ 0 h 578637"/>
                <a:gd name="connsiteX21" fmla="*/ 869303 w 942455"/>
                <a:gd name="connsiteY21" fmla="*/ 27432 h 578637"/>
                <a:gd name="connsiteX22" fmla="*/ 832727 w 942455"/>
                <a:gd name="connsiteY22" fmla="*/ 36576 h 578637"/>
                <a:gd name="connsiteX23" fmla="*/ 759575 w 942455"/>
                <a:gd name="connsiteY23" fmla="*/ 64008 h 578637"/>
                <a:gd name="connsiteX24" fmla="*/ 704711 w 942455"/>
                <a:gd name="connsiteY24" fmla="*/ 64008 h 578637"/>
                <a:gd name="connsiteX25" fmla="*/ 594983 w 942455"/>
                <a:gd name="connsiteY25" fmla="*/ 64008 h 578637"/>
                <a:gd name="connsiteX26" fmla="*/ 540119 w 942455"/>
                <a:gd name="connsiteY26" fmla="*/ 100584 h 578637"/>
                <a:gd name="connsiteX27" fmla="*/ 503543 w 942455"/>
                <a:gd name="connsiteY27" fmla="*/ 146304 h 578637"/>
                <a:gd name="connsiteX28" fmla="*/ 457823 w 942455"/>
                <a:gd name="connsiteY28" fmla="*/ 182880 h 578637"/>
                <a:gd name="connsiteX29" fmla="*/ 412103 w 942455"/>
                <a:gd name="connsiteY29" fmla="*/ 256032 h 578637"/>
                <a:gd name="connsiteX30" fmla="*/ 338951 w 942455"/>
                <a:gd name="connsiteY30" fmla="*/ 301752 h 578637"/>
                <a:gd name="connsiteX31" fmla="*/ 238367 w 942455"/>
                <a:gd name="connsiteY31" fmla="*/ 347472 h 578637"/>
                <a:gd name="connsiteX32" fmla="*/ 201791 w 942455"/>
                <a:gd name="connsiteY32" fmla="*/ 374904 h 578637"/>
                <a:gd name="connsiteX33" fmla="*/ 156071 w 942455"/>
                <a:gd name="connsiteY33" fmla="*/ 402336 h 578637"/>
                <a:gd name="connsiteX34" fmla="*/ 137783 w 942455"/>
                <a:gd name="connsiteY34" fmla="*/ 402336 h 578637"/>
                <a:gd name="connsiteX35" fmla="*/ 156071 w 942455"/>
                <a:gd name="connsiteY35" fmla="*/ 365760 h 578637"/>
                <a:gd name="connsiteX36" fmla="*/ 210935 w 942455"/>
                <a:gd name="connsiteY36" fmla="*/ 301752 h 578637"/>
                <a:gd name="connsiteX37" fmla="*/ 302375 w 942455"/>
                <a:gd name="connsiteY37" fmla="*/ 219456 h 578637"/>
                <a:gd name="connsiteX38" fmla="*/ 348095 w 942455"/>
                <a:gd name="connsiteY38" fmla="*/ 146304 h 578637"/>
                <a:gd name="connsiteX39" fmla="*/ 348095 w 942455"/>
                <a:gd name="connsiteY39" fmla="*/ 64008 h 578637"/>
                <a:gd name="connsiteX40" fmla="*/ 338951 w 942455"/>
                <a:gd name="connsiteY40" fmla="*/ 54864 h 578637"/>
                <a:gd name="connsiteX41" fmla="*/ 329807 w 942455"/>
                <a:gd name="connsiteY41" fmla="*/ 128016 h 578637"/>
                <a:gd name="connsiteX42" fmla="*/ 302375 w 942455"/>
                <a:gd name="connsiteY42" fmla="*/ 173736 h 578637"/>
                <a:gd name="connsiteX43" fmla="*/ 229223 w 942455"/>
                <a:gd name="connsiteY43" fmla="*/ 237744 h 578637"/>
                <a:gd name="connsiteX44" fmla="*/ 201791 w 942455"/>
                <a:gd name="connsiteY44" fmla="*/ 256032 h 578637"/>
                <a:gd name="connsiteX45" fmla="*/ 128639 w 942455"/>
                <a:gd name="connsiteY45" fmla="*/ 347472 h 578637"/>
                <a:gd name="connsiteX46" fmla="*/ 119495 w 942455"/>
                <a:gd name="connsiteY46" fmla="*/ 374904 h 578637"/>
                <a:gd name="connsiteX47" fmla="*/ 110351 w 942455"/>
                <a:gd name="connsiteY47" fmla="*/ 411480 h 578637"/>
                <a:gd name="connsiteX48" fmla="*/ 128639 w 942455"/>
                <a:gd name="connsiteY48" fmla="*/ 429768 h 578637"/>
                <a:gd name="connsiteX49" fmla="*/ 82919 w 942455"/>
                <a:gd name="connsiteY49" fmla="*/ 457200 h 578637"/>
                <a:gd name="connsiteX50" fmla="*/ 118640 w 942455"/>
                <a:gd name="connsiteY50" fmla="*/ 430387 h 578637"/>
                <a:gd name="connsiteX51" fmla="*/ 118638 w 942455"/>
                <a:gd name="connsiteY51" fmla="*/ 430387 h 578637"/>
                <a:gd name="connsiteX52" fmla="*/ 118638 w 942455"/>
                <a:gd name="connsiteY52" fmla="*/ 430387 h 578637"/>
                <a:gd name="connsiteX53" fmla="*/ 118638 w 942455"/>
                <a:gd name="connsiteY53" fmla="*/ 430387 h 578637"/>
                <a:gd name="connsiteX54" fmla="*/ 83317 w 942455"/>
                <a:gd name="connsiteY54" fmla="*/ 578637 h 578637"/>
                <a:gd name="connsiteX55" fmla="*/ 83317 w 942455"/>
                <a:gd name="connsiteY55" fmla="*/ 578637 h 578637"/>
                <a:gd name="connsiteX0" fmla="*/ 118639 w 942455"/>
                <a:gd name="connsiteY0" fmla="*/ 430387 h 578637"/>
                <a:gd name="connsiteX1" fmla="*/ 0 w 942455"/>
                <a:gd name="connsiteY1" fmla="*/ 496784 h 578637"/>
                <a:gd name="connsiteX2" fmla="*/ 0 w 942455"/>
                <a:gd name="connsiteY2" fmla="*/ 496784 h 578637"/>
                <a:gd name="connsiteX3" fmla="*/ 37199 w 942455"/>
                <a:gd name="connsiteY3" fmla="*/ 493776 h 578637"/>
                <a:gd name="connsiteX4" fmla="*/ 137783 w 942455"/>
                <a:gd name="connsiteY4" fmla="*/ 466344 h 578637"/>
                <a:gd name="connsiteX5" fmla="*/ 238367 w 942455"/>
                <a:gd name="connsiteY5" fmla="*/ 384048 h 578637"/>
                <a:gd name="connsiteX6" fmla="*/ 430391 w 942455"/>
                <a:gd name="connsiteY6" fmla="*/ 301752 h 578637"/>
                <a:gd name="connsiteX7" fmla="*/ 512687 w 942455"/>
                <a:gd name="connsiteY7" fmla="*/ 192024 h 578637"/>
                <a:gd name="connsiteX8" fmla="*/ 658991 w 942455"/>
                <a:gd name="connsiteY8" fmla="*/ 155448 h 578637"/>
                <a:gd name="connsiteX9" fmla="*/ 704711 w 942455"/>
                <a:gd name="connsiteY9" fmla="*/ 155448 h 578637"/>
                <a:gd name="connsiteX10" fmla="*/ 741287 w 942455"/>
                <a:gd name="connsiteY10" fmla="*/ 137160 h 578637"/>
                <a:gd name="connsiteX11" fmla="*/ 695567 w 942455"/>
                <a:gd name="connsiteY11" fmla="*/ 137160 h 578637"/>
                <a:gd name="connsiteX12" fmla="*/ 604127 w 942455"/>
                <a:gd name="connsiteY12" fmla="*/ 137160 h 578637"/>
                <a:gd name="connsiteX13" fmla="*/ 549263 w 942455"/>
                <a:gd name="connsiteY13" fmla="*/ 146304 h 578637"/>
                <a:gd name="connsiteX14" fmla="*/ 540119 w 942455"/>
                <a:gd name="connsiteY14" fmla="*/ 155448 h 578637"/>
                <a:gd name="connsiteX15" fmla="*/ 521831 w 942455"/>
                <a:gd name="connsiteY15" fmla="*/ 146304 h 578637"/>
                <a:gd name="connsiteX16" fmla="*/ 649847 w 942455"/>
                <a:gd name="connsiteY16" fmla="*/ 91440 h 578637"/>
                <a:gd name="connsiteX17" fmla="*/ 704711 w 942455"/>
                <a:gd name="connsiteY17" fmla="*/ 91440 h 578637"/>
                <a:gd name="connsiteX18" fmla="*/ 796151 w 942455"/>
                <a:gd name="connsiteY18" fmla="*/ 82296 h 578637"/>
                <a:gd name="connsiteX19" fmla="*/ 924167 w 942455"/>
                <a:gd name="connsiteY19" fmla="*/ 27432 h 578637"/>
                <a:gd name="connsiteX20" fmla="*/ 905879 w 942455"/>
                <a:gd name="connsiteY20" fmla="*/ 0 h 578637"/>
                <a:gd name="connsiteX21" fmla="*/ 869303 w 942455"/>
                <a:gd name="connsiteY21" fmla="*/ 27432 h 578637"/>
                <a:gd name="connsiteX22" fmla="*/ 832727 w 942455"/>
                <a:gd name="connsiteY22" fmla="*/ 36576 h 578637"/>
                <a:gd name="connsiteX23" fmla="*/ 759575 w 942455"/>
                <a:gd name="connsiteY23" fmla="*/ 64008 h 578637"/>
                <a:gd name="connsiteX24" fmla="*/ 704711 w 942455"/>
                <a:gd name="connsiteY24" fmla="*/ 64008 h 578637"/>
                <a:gd name="connsiteX25" fmla="*/ 594983 w 942455"/>
                <a:gd name="connsiteY25" fmla="*/ 64008 h 578637"/>
                <a:gd name="connsiteX26" fmla="*/ 540119 w 942455"/>
                <a:gd name="connsiteY26" fmla="*/ 100584 h 578637"/>
                <a:gd name="connsiteX27" fmla="*/ 503543 w 942455"/>
                <a:gd name="connsiteY27" fmla="*/ 146304 h 578637"/>
                <a:gd name="connsiteX28" fmla="*/ 457823 w 942455"/>
                <a:gd name="connsiteY28" fmla="*/ 182880 h 578637"/>
                <a:gd name="connsiteX29" fmla="*/ 412103 w 942455"/>
                <a:gd name="connsiteY29" fmla="*/ 256032 h 578637"/>
                <a:gd name="connsiteX30" fmla="*/ 338951 w 942455"/>
                <a:gd name="connsiteY30" fmla="*/ 301752 h 578637"/>
                <a:gd name="connsiteX31" fmla="*/ 238367 w 942455"/>
                <a:gd name="connsiteY31" fmla="*/ 347472 h 578637"/>
                <a:gd name="connsiteX32" fmla="*/ 201791 w 942455"/>
                <a:gd name="connsiteY32" fmla="*/ 374904 h 578637"/>
                <a:gd name="connsiteX33" fmla="*/ 156071 w 942455"/>
                <a:gd name="connsiteY33" fmla="*/ 402336 h 578637"/>
                <a:gd name="connsiteX34" fmla="*/ 137783 w 942455"/>
                <a:gd name="connsiteY34" fmla="*/ 402336 h 578637"/>
                <a:gd name="connsiteX35" fmla="*/ 156071 w 942455"/>
                <a:gd name="connsiteY35" fmla="*/ 365760 h 578637"/>
                <a:gd name="connsiteX36" fmla="*/ 210935 w 942455"/>
                <a:gd name="connsiteY36" fmla="*/ 301752 h 578637"/>
                <a:gd name="connsiteX37" fmla="*/ 302375 w 942455"/>
                <a:gd name="connsiteY37" fmla="*/ 219456 h 578637"/>
                <a:gd name="connsiteX38" fmla="*/ 348095 w 942455"/>
                <a:gd name="connsiteY38" fmla="*/ 146304 h 578637"/>
                <a:gd name="connsiteX39" fmla="*/ 348095 w 942455"/>
                <a:gd name="connsiteY39" fmla="*/ 64008 h 578637"/>
                <a:gd name="connsiteX40" fmla="*/ 338951 w 942455"/>
                <a:gd name="connsiteY40" fmla="*/ 54864 h 578637"/>
                <a:gd name="connsiteX41" fmla="*/ 329807 w 942455"/>
                <a:gd name="connsiteY41" fmla="*/ 128016 h 578637"/>
                <a:gd name="connsiteX42" fmla="*/ 302375 w 942455"/>
                <a:gd name="connsiteY42" fmla="*/ 173736 h 578637"/>
                <a:gd name="connsiteX43" fmla="*/ 229223 w 942455"/>
                <a:gd name="connsiteY43" fmla="*/ 237744 h 578637"/>
                <a:gd name="connsiteX44" fmla="*/ 201791 w 942455"/>
                <a:gd name="connsiteY44" fmla="*/ 256032 h 578637"/>
                <a:gd name="connsiteX45" fmla="*/ 128639 w 942455"/>
                <a:gd name="connsiteY45" fmla="*/ 347472 h 578637"/>
                <a:gd name="connsiteX46" fmla="*/ 119495 w 942455"/>
                <a:gd name="connsiteY46" fmla="*/ 374904 h 578637"/>
                <a:gd name="connsiteX47" fmla="*/ 110351 w 942455"/>
                <a:gd name="connsiteY47" fmla="*/ 411480 h 578637"/>
                <a:gd name="connsiteX48" fmla="*/ 128639 w 942455"/>
                <a:gd name="connsiteY48" fmla="*/ 429768 h 578637"/>
                <a:gd name="connsiteX49" fmla="*/ 82919 w 942455"/>
                <a:gd name="connsiteY49" fmla="*/ 457200 h 578637"/>
                <a:gd name="connsiteX50" fmla="*/ 118640 w 942455"/>
                <a:gd name="connsiteY50" fmla="*/ 430387 h 578637"/>
                <a:gd name="connsiteX51" fmla="*/ 118638 w 942455"/>
                <a:gd name="connsiteY51" fmla="*/ 430387 h 578637"/>
                <a:gd name="connsiteX52" fmla="*/ 118638 w 942455"/>
                <a:gd name="connsiteY52" fmla="*/ 430387 h 578637"/>
                <a:gd name="connsiteX53" fmla="*/ 118638 w 942455"/>
                <a:gd name="connsiteY53" fmla="*/ 430387 h 578637"/>
                <a:gd name="connsiteX54" fmla="*/ 83317 w 942455"/>
                <a:gd name="connsiteY54" fmla="*/ 578637 h 578637"/>
                <a:gd name="connsiteX55" fmla="*/ 118639 w 942455"/>
                <a:gd name="connsiteY55" fmla="*/ 430387 h 578637"/>
                <a:gd name="connsiteX0" fmla="*/ 118639 w 942455"/>
                <a:gd name="connsiteY0" fmla="*/ 430387 h 578637"/>
                <a:gd name="connsiteX1" fmla="*/ 0 w 942455"/>
                <a:gd name="connsiteY1" fmla="*/ 496784 h 578637"/>
                <a:gd name="connsiteX2" fmla="*/ 0 w 942455"/>
                <a:gd name="connsiteY2" fmla="*/ 496784 h 578637"/>
                <a:gd name="connsiteX3" fmla="*/ 118639 w 942455"/>
                <a:gd name="connsiteY3" fmla="*/ 430387 h 578637"/>
                <a:gd name="connsiteX4" fmla="*/ 137783 w 942455"/>
                <a:gd name="connsiteY4" fmla="*/ 466344 h 578637"/>
                <a:gd name="connsiteX5" fmla="*/ 238367 w 942455"/>
                <a:gd name="connsiteY5" fmla="*/ 384048 h 578637"/>
                <a:gd name="connsiteX6" fmla="*/ 430391 w 942455"/>
                <a:gd name="connsiteY6" fmla="*/ 301752 h 578637"/>
                <a:gd name="connsiteX7" fmla="*/ 512687 w 942455"/>
                <a:gd name="connsiteY7" fmla="*/ 192024 h 578637"/>
                <a:gd name="connsiteX8" fmla="*/ 658991 w 942455"/>
                <a:gd name="connsiteY8" fmla="*/ 155448 h 578637"/>
                <a:gd name="connsiteX9" fmla="*/ 704711 w 942455"/>
                <a:gd name="connsiteY9" fmla="*/ 155448 h 578637"/>
                <a:gd name="connsiteX10" fmla="*/ 741287 w 942455"/>
                <a:gd name="connsiteY10" fmla="*/ 137160 h 578637"/>
                <a:gd name="connsiteX11" fmla="*/ 695567 w 942455"/>
                <a:gd name="connsiteY11" fmla="*/ 137160 h 578637"/>
                <a:gd name="connsiteX12" fmla="*/ 604127 w 942455"/>
                <a:gd name="connsiteY12" fmla="*/ 137160 h 578637"/>
                <a:gd name="connsiteX13" fmla="*/ 549263 w 942455"/>
                <a:gd name="connsiteY13" fmla="*/ 146304 h 578637"/>
                <a:gd name="connsiteX14" fmla="*/ 540119 w 942455"/>
                <a:gd name="connsiteY14" fmla="*/ 155448 h 578637"/>
                <a:gd name="connsiteX15" fmla="*/ 521831 w 942455"/>
                <a:gd name="connsiteY15" fmla="*/ 146304 h 578637"/>
                <a:gd name="connsiteX16" fmla="*/ 649847 w 942455"/>
                <a:gd name="connsiteY16" fmla="*/ 91440 h 578637"/>
                <a:gd name="connsiteX17" fmla="*/ 704711 w 942455"/>
                <a:gd name="connsiteY17" fmla="*/ 91440 h 578637"/>
                <a:gd name="connsiteX18" fmla="*/ 796151 w 942455"/>
                <a:gd name="connsiteY18" fmla="*/ 82296 h 578637"/>
                <a:gd name="connsiteX19" fmla="*/ 924167 w 942455"/>
                <a:gd name="connsiteY19" fmla="*/ 27432 h 578637"/>
                <a:gd name="connsiteX20" fmla="*/ 905879 w 942455"/>
                <a:gd name="connsiteY20" fmla="*/ 0 h 578637"/>
                <a:gd name="connsiteX21" fmla="*/ 869303 w 942455"/>
                <a:gd name="connsiteY21" fmla="*/ 27432 h 578637"/>
                <a:gd name="connsiteX22" fmla="*/ 832727 w 942455"/>
                <a:gd name="connsiteY22" fmla="*/ 36576 h 578637"/>
                <a:gd name="connsiteX23" fmla="*/ 759575 w 942455"/>
                <a:gd name="connsiteY23" fmla="*/ 64008 h 578637"/>
                <a:gd name="connsiteX24" fmla="*/ 704711 w 942455"/>
                <a:gd name="connsiteY24" fmla="*/ 64008 h 578637"/>
                <a:gd name="connsiteX25" fmla="*/ 594983 w 942455"/>
                <a:gd name="connsiteY25" fmla="*/ 64008 h 578637"/>
                <a:gd name="connsiteX26" fmla="*/ 540119 w 942455"/>
                <a:gd name="connsiteY26" fmla="*/ 100584 h 578637"/>
                <a:gd name="connsiteX27" fmla="*/ 503543 w 942455"/>
                <a:gd name="connsiteY27" fmla="*/ 146304 h 578637"/>
                <a:gd name="connsiteX28" fmla="*/ 457823 w 942455"/>
                <a:gd name="connsiteY28" fmla="*/ 182880 h 578637"/>
                <a:gd name="connsiteX29" fmla="*/ 412103 w 942455"/>
                <a:gd name="connsiteY29" fmla="*/ 256032 h 578637"/>
                <a:gd name="connsiteX30" fmla="*/ 338951 w 942455"/>
                <a:gd name="connsiteY30" fmla="*/ 301752 h 578637"/>
                <a:gd name="connsiteX31" fmla="*/ 238367 w 942455"/>
                <a:gd name="connsiteY31" fmla="*/ 347472 h 578637"/>
                <a:gd name="connsiteX32" fmla="*/ 201791 w 942455"/>
                <a:gd name="connsiteY32" fmla="*/ 374904 h 578637"/>
                <a:gd name="connsiteX33" fmla="*/ 156071 w 942455"/>
                <a:gd name="connsiteY33" fmla="*/ 402336 h 578637"/>
                <a:gd name="connsiteX34" fmla="*/ 137783 w 942455"/>
                <a:gd name="connsiteY34" fmla="*/ 402336 h 578637"/>
                <a:gd name="connsiteX35" fmla="*/ 156071 w 942455"/>
                <a:gd name="connsiteY35" fmla="*/ 365760 h 578637"/>
                <a:gd name="connsiteX36" fmla="*/ 210935 w 942455"/>
                <a:gd name="connsiteY36" fmla="*/ 301752 h 578637"/>
                <a:gd name="connsiteX37" fmla="*/ 302375 w 942455"/>
                <a:gd name="connsiteY37" fmla="*/ 219456 h 578637"/>
                <a:gd name="connsiteX38" fmla="*/ 348095 w 942455"/>
                <a:gd name="connsiteY38" fmla="*/ 146304 h 578637"/>
                <a:gd name="connsiteX39" fmla="*/ 348095 w 942455"/>
                <a:gd name="connsiteY39" fmla="*/ 64008 h 578637"/>
                <a:gd name="connsiteX40" fmla="*/ 338951 w 942455"/>
                <a:gd name="connsiteY40" fmla="*/ 54864 h 578637"/>
                <a:gd name="connsiteX41" fmla="*/ 329807 w 942455"/>
                <a:gd name="connsiteY41" fmla="*/ 128016 h 578637"/>
                <a:gd name="connsiteX42" fmla="*/ 302375 w 942455"/>
                <a:gd name="connsiteY42" fmla="*/ 173736 h 578637"/>
                <a:gd name="connsiteX43" fmla="*/ 229223 w 942455"/>
                <a:gd name="connsiteY43" fmla="*/ 237744 h 578637"/>
                <a:gd name="connsiteX44" fmla="*/ 201791 w 942455"/>
                <a:gd name="connsiteY44" fmla="*/ 256032 h 578637"/>
                <a:gd name="connsiteX45" fmla="*/ 128639 w 942455"/>
                <a:gd name="connsiteY45" fmla="*/ 347472 h 578637"/>
                <a:gd name="connsiteX46" fmla="*/ 119495 w 942455"/>
                <a:gd name="connsiteY46" fmla="*/ 374904 h 578637"/>
                <a:gd name="connsiteX47" fmla="*/ 110351 w 942455"/>
                <a:gd name="connsiteY47" fmla="*/ 411480 h 578637"/>
                <a:gd name="connsiteX48" fmla="*/ 128639 w 942455"/>
                <a:gd name="connsiteY48" fmla="*/ 429768 h 578637"/>
                <a:gd name="connsiteX49" fmla="*/ 82919 w 942455"/>
                <a:gd name="connsiteY49" fmla="*/ 457200 h 578637"/>
                <a:gd name="connsiteX50" fmla="*/ 118640 w 942455"/>
                <a:gd name="connsiteY50" fmla="*/ 430387 h 578637"/>
                <a:gd name="connsiteX51" fmla="*/ 118638 w 942455"/>
                <a:gd name="connsiteY51" fmla="*/ 430387 h 578637"/>
                <a:gd name="connsiteX52" fmla="*/ 118638 w 942455"/>
                <a:gd name="connsiteY52" fmla="*/ 430387 h 578637"/>
                <a:gd name="connsiteX53" fmla="*/ 118638 w 942455"/>
                <a:gd name="connsiteY53" fmla="*/ 430387 h 578637"/>
                <a:gd name="connsiteX54" fmla="*/ 83317 w 942455"/>
                <a:gd name="connsiteY54" fmla="*/ 578637 h 578637"/>
                <a:gd name="connsiteX55" fmla="*/ 118639 w 942455"/>
                <a:gd name="connsiteY55" fmla="*/ 430387 h 578637"/>
                <a:gd name="connsiteX0" fmla="*/ 118639 w 942455"/>
                <a:gd name="connsiteY0" fmla="*/ 430387 h 578637"/>
                <a:gd name="connsiteX1" fmla="*/ 0 w 942455"/>
                <a:gd name="connsiteY1" fmla="*/ 496784 h 578637"/>
                <a:gd name="connsiteX2" fmla="*/ 118639 w 942455"/>
                <a:gd name="connsiteY2" fmla="*/ 430387 h 578637"/>
                <a:gd name="connsiteX3" fmla="*/ 118639 w 942455"/>
                <a:gd name="connsiteY3" fmla="*/ 430387 h 578637"/>
                <a:gd name="connsiteX4" fmla="*/ 137783 w 942455"/>
                <a:gd name="connsiteY4" fmla="*/ 466344 h 578637"/>
                <a:gd name="connsiteX5" fmla="*/ 238367 w 942455"/>
                <a:gd name="connsiteY5" fmla="*/ 384048 h 578637"/>
                <a:gd name="connsiteX6" fmla="*/ 430391 w 942455"/>
                <a:gd name="connsiteY6" fmla="*/ 301752 h 578637"/>
                <a:gd name="connsiteX7" fmla="*/ 512687 w 942455"/>
                <a:gd name="connsiteY7" fmla="*/ 192024 h 578637"/>
                <a:gd name="connsiteX8" fmla="*/ 658991 w 942455"/>
                <a:gd name="connsiteY8" fmla="*/ 155448 h 578637"/>
                <a:gd name="connsiteX9" fmla="*/ 704711 w 942455"/>
                <a:gd name="connsiteY9" fmla="*/ 155448 h 578637"/>
                <a:gd name="connsiteX10" fmla="*/ 741287 w 942455"/>
                <a:gd name="connsiteY10" fmla="*/ 137160 h 578637"/>
                <a:gd name="connsiteX11" fmla="*/ 695567 w 942455"/>
                <a:gd name="connsiteY11" fmla="*/ 137160 h 578637"/>
                <a:gd name="connsiteX12" fmla="*/ 604127 w 942455"/>
                <a:gd name="connsiteY12" fmla="*/ 137160 h 578637"/>
                <a:gd name="connsiteX13" fmla="*/ 549263 w 942455"/>
                <a:gd name="connsiteY13" fmla="*/ 146304 h 578637"/>
                <a:gd name="connsiteX14" fmla="*/ 540119 w 942455"/>
                <a:gd name="connsiteY14" fmla="*/ 155448 h 578637"/>
                <a:gd name="connsiteX15" fmla="*/ 521831 w 942455"/>
                <a:gd name="connsiteY15" fmla="*/ 146304 h 578637"/>
                <a:gd name="connsiteX16" fmla="*/ 649847 w 942455"/>
                <a:gd name="connsiteY16" fmla="*/ 91440 h 578637"/>
                <a:gd name="connsiteX17" fmla="*/ 704711 w 942455"/>
                <a:gd name="connsiteY17" fmla="*/ 91440 h 578637"/>
                <a:gd name="connsiteX18" fmla="*/ 796151 w 942455"/>
                <a:gd name="connsiteY18" fmla="*/ 82296 h 578637"/>
                <a:gd name="connsiteX19" fmla="*/ 924167 w 942455"/>
                <a:gd name="connsiteY19" fmla="*/ 27432 h 578637"/>
                <a:gd name="connsiteX20" fmla="*/ 905879 w 942455"/>
                <a:gd name="connsiteY20" fmla="*/ 0 h 578637"/>
                <a:gd name="connsiteX21" fmla="*/ 869303 w 942455"/>
                <a:gd name="connsiteY21" fmla="*/ 27432 h 578637"/>
                <a:gd name="connsiteX22" fmla="*/ 832727 w 942455"/>
                <a:gd name="connsiteY22" fmla="*/ 36576 h 578637"/>
                <a:gd name="connsiteX23" fmla="*/ 759575 w 942455"/>
                <a:gd name="connsiteY23" fmla="*/ 64008 h 578637"/>
                <a:gd name="connsiteX24" fmla="*/ 704711 w 942455"/>
                <a:gd name="connsiteY24" fmla="*/ 64008 h 578637"/>
                <a:gd name="connsiteX25" fmla="*/ 594983 w 942455"/>
                <a:gd name="connsiteY25" fmla="*/ 64008 h 578637"/>
                <a:gd name="connsiteX26" fmla="*/ 540119 w 942455"/>
                <a:gd name="connsiteY26" fmla="*/ 100584 h 578637"/>
                <a:gd name="connsiteX27" fmla="*/ 503543 w 942455"/>
                <a:gd name="connsiteY27" fmla="*/ 146304 h 578637"/>
                <a:gd name="connsiteX28" fmla="*/ 457823 w 942455"/>
                <a:gd name="connsiteY28" fmla="*/ 182880 h 578637"/>
                <a:gd name="connsiteX29" fmla="*/ 412103 w 942455"/>
                <a:gd name="connsiteY29" fmla="*/ 256032 h 578637"/>
                <a:gd name="connsiteX30" fmla="*/ 338951 w 942455"/>
                <a:gd name="connsiteY30" fmla="*/ 301752 h 578637"/>
                <a:gd name="connsiteX31" fmla="*/ 238367 w 942455"/>
                <a:gd name="connsiteY31" fmla="*/ 347472 h 578637"/>
                <a:gd name="connsiteX32" fmla="*/ 201791 w 942455"/>
                <a:gd name="connsiteY32" fmla="*/ 374904 h 578637"/>
                <a:gd name="connsiteX33" fmla="*/ 156071 w 942455"/>
                <a:gd name="connsiteY33" fmla="*/ 402336 h 578637"/>
                <a:gd name="connsiteX34" fmla="*/ 137783 w 942455"/>
                <a:gd name="connsiteY34" fmla="*/ 402336 h 578637"/>
                <a:gd name="connsiteX35" fmla="*/ 156071 w 942455"/>
                <a:gd name="connsiteY35" fmla="*/ 365760 h 578637"/>
                <a:gd name="connsiteX36" fmla="*/ 210935 w 942455"/>
                <a:gd name="connsiteY36" fmla="*/ 301752 h 578637"/>
                <a:gd name="connsiteX37" fmla="*/ 302375 w 942455"/>
                <a:gd name="connsiteY37" fmla="*/ 219456 h 578637"/>
                <a:gd name="connsiteX38" fmla="*/ 348095 w 942455"/>
                <a:gd name="connsiteY38" fmla="*/ 146304 h 578637"/>
                <a:gd name="connsiteX39" fmla="*/ 348095 w 942455"/>
                <a:gd name="connsiteY39" fmla="*/ 64008 h 578637"/>
                <a:gd name="connsiteX40" fmla="*/ 338951 w 942455"/>
                <a:gd name="connsiteY40" fmla="*/ 54864 h 578637"/>
                <a:gd name="connsiteX41" fmla="*/ 329807 w 942455"/>
                <a:gd name="connsiteY41" fmla="*/ 128016 h 578637"/>
                <a:gd name="connsiteX42" fmla="*/ 302375 w 942455"/>
                <a:gd name="connsiteY42" fmla="*/ 173736 h 578637"/>
                <a:gd name="connsiteX43" fmla="*/ 229223 w 942455"/>
                <a:gd name="connsiteY43" fmla="*/ 237744 h 578637"/>
                <a:gd name="connsiteX44" fmla="*/ 201791 w 942455"/>
                <a:gd name="connsiteY44" fmla="*/ 256032 h 578637"/>
                <a:gd name="connsiteX45" fmla="*/ 128639 w 942455"/>
                <a:gd name="connsiteY45" fmla="*/ 347472 h 578637"/>
                <a:gd name="connsiteX46" fmla="*/ 119495 w 942455"/>
                <a:gd name="connsiteY46" fmla="*/ 374904 h 578637"/>
                <a:gd name="connsiteX47" fmla="*/ 110351 w 942455"/>
                <a:gd name="connsiteY47" fmla="*/ 411480 h 578637"/>
                <a:gd name="connsiteX48" fmla="*/ 128639 w 942455"/>
                <a:gd name="connsiteY48" fmla="*/ 429768 h 578637"/>
                <a:gd name="connsiteX49" fmla="*/ 82919 w 942455"/>
                <a:gd name="connsiteY49" fmla="*/ 457200 h 578637"/>
                <a:gd name="connsiteX50" fmla="*/ 118640 w 942455"/>
                <a:gd name="connsiteY50" fmla="*/ 430387 h 578637"/>
                <a:gd name="connsiteX51" fmla="*/ 118638 w 942455"/>
                <a:gd name="connsiteY51" fmla="*/ 430387 h 578637"/>
                <a:gd name="connsiteX52" fmla="*/ 118638 w 942455"/>
                <a:gd name="connsiteY52" fmla="*/ 430387 h 578637"/>
                <a:gd name="connsiteX53" fmla="*/ 118638 w 942455"/>
                <a:gd name="connsiteY53" fmla="*/ 430387 h 578637"/>
                <a:gd name="connsiteX54" fmla="*/ 83317 w 942455"/>
                <a:gd name="connsiteY54" fmla="*/ 578637 h 578637"/>
                <a:gd name="connsiteX55" fmla="*/ 118639 w 942455"/>
                <a:gd name="connsiteY55" fmla="*/ 430387 h 578637"/>
                <a:gd name="connsiteX0" fmla="*/ 118639 w 942455"/>
                <a:gd name="connsiteY0" fmla="*/ 430387 h 496784"/>
                <a:gd name="connsiteX1" fmla="*/ 0 w 942455"/>
                <a:gd name="connsiteY1" fmla="*/ 496784 h 496784"/>
                <a:gd name="connsiteX2" fmla="*/ 118639 w 942455"/>
                <a:gd name="connsiteY2" fmla="*/ 430387 h 496784"/>
                <a:gd name="connsiteX3" fmla="*/ 118639 w 942455"/>
                <a:gd name="connsiteY3" fmla="*/ 430387 h 496784"/>
                <a:gd name="connsiteX4" fmla="*/ 137783 w 942455"/>
                <a:gd name="connsiteY4" fmla="*/ 466344 h 496784"/>
                <a:gd name="connsiteX5" fmla="*/ 238367 w 942455"/>
                <a:gd name="connsiteY5" fmla="*/ 384048 h 496784"/>
                <a:gd name="connsiteX6" fmla="*/ 430391 w 942455"/>
                <a:gd name="connsiteY6" fmla="*/ 301752 h 496784"/>
                <a:gd name="connsiteX7" fmla="*/ 512687 w 942455"/>
                <a:gd name="connsiteY7" fmla="*/ 192024 h 496784"/>
                <a:gd name="connsiteX8" fmla="*/ 658991 w 942455"/>
                <a:gd name="connsiteY8" fmla="*/ 155448 h 496784"/>
                <a:gd name="connsiteX9" fmla="*/ 704711 w 942455"/>
                <a:gd name="connsiteY9" fmla="*/ 155448 h 496784"/>
                <a:gd name="connsiteX10" fmla="*/ 741287 w 942455"/>
                <a:gd name="connsiteY10" fmla="*/ 137160 h 496784"/>
                <a:gd name="connsiteX11" fmla="*/ 695567 w 942455"/>
                <a:gd name="connsiteY11" fmla="*/ 137160 h 496784"/>
                <a:gd name="connsiteX12" fmla="*/ 604127 w 942455"/>
                <a:gd name="connsiteY12" fmla="*/ 137160 h 496784"/>
                <a:gd name="connsiteX13" fmla="*/ 549263 w 942455"/>
                <a:gd name="connsiteY13" fmla="*/ 146304 h 496784"/>
                <a:gd name="connsiteX14" fmla="*/ 540119 w 942455"/>
                <a:gd name="connsiteY14" fmla="*/ 155448 h 496784"/>
                <a:gd name="connsiteX15" fmla="*/ 521831 w 942455"/>
                <a:gd name="connsiteY15" fmla="*/ 146304 h 496784"/>
                <a:gd name="connsiteX16" fmla="*/ 649847 w 942455"/>
                <a:gd name="connsiteY16" fmla="*/ 91440 h 496784"/>
                <a:gd name="connsiteX17" fmla="*/ 704711 w 942455"/>
                <a:gd name="connsiteY17" fmla="*/ 91440 h 496784"/>
                <a:gd name="connsiteX18" fmla="*/ 796151 w 942455"/>
                <a:gd name="connsiteY18" fmla="*/ 82296 h 496784"/>
                <a:gd name="connsiteX19" fmla="*/ 924167 w 942455"/>
                <a:gd name="connsiteY19" fmla="*/ 27432 h 496784"/>
                <a:gd name="connsiteX20" fmla="*/ 905879 w 942455"/>
                <a:gd name="connsiteY20" fmla="*/ 0 h 496784"/>
                <a:gd name="connsiteX21" fmla="*/ 869303 w 942455"/>
                <a:gd name="connsiteY21" fmla="*/ 27432 h 496784"/>
                <a:gd name="connsiteX22" fmla="*/ 832727 w 942455"/>
                <a:gd name="connsiteY22" fmla="*/ 36576 h 496784"/>
                <a:gd name="connsiteX23" fmla="*/ 759575 w 942455"/>
                <a:gd name="connsiteY23" fmla="*/ 64008 h 496784"/>
                <a:gd name="connsiteX24" fmla="*/ 704711 w 942455"/>
                <a:gd name="connsiteY24" fmla="*/ 64008 h 496784"/>
                <a:gd name="connsiteX25" fmla="*/ 594983 w 942455"/>
                <a:gd name="connsiteY25" fmla="*/ 64008 h 496784"/>
                <a:gd name="connsiteX26" fmla="*/ 540119 w 942455"/>
                <a:gd name="connsiteY26" fmla="*/ 100584 h 496784"/>
                <a:gd name="connsiteX27" fmla="*/ 503543 w 942455"/>
                <a:gd name="connsiteY27" fmla="*/ 146304 h 496784"/>
                <a:gd name="connsiteX28" fmla="*/ 457823 w 942455"/>
                <a:gd name="connsiteY28" fmla="*/ 182880 h 496784"/>
                <a:gd name="connsiteX29" fmla="*/ 412103 w 942455"/>
                <a:gd name="connsiteY29" fmla="*/ 256032 h 496784"/>
                <a:gd name="connsiteX30" fmla="*/ 338951 w 942455"/>
                <a:gd name="connsiteY30" fmla="*/ 301752 h 496784"/>
                <a:gd name="connsiteX31" fmla="*/ 238367 w 942455"/>
                <a:gd name="connsiteY31" fmla="*/ 347472 h 496784"/>
                <a:gd name="connsiteX32" fmla="*/ 201791 w 942455"/>
                <a:gd name="connsiteY32" fmla="*/ 374904 h 496784"/>
                <a:gd name="connsiteX33" fmla="*/ 156071 w 942455"/>
                <a:gd name="connsiteY33" fmla="*/ 402336 h 496784"/>
                <a:gd name="connsiteX34" fmla="*/ 137783 w 942455"/>
                <a:gd name="connsiteY34" fmla="*/ 402336 h 496784"/>
                <a:gd name="connsiteX35" fmla="*/ 156071 w 942455"/>
                <a:gd name="connsiteY35" fmla="*/ 365760 h 496784"/>
                <a:gd name="connsiteX36" fmla="*/ 210935 w 942455"/>
                <a:gd name="connsiteY36" fmla="*/ 301752 h 496784"/>
                <a:gd name="connsiteX37" fmla="*/ 302375 w 942455"/>
                <a:gd name="connsiteY37" fmla="*/ 219456 h 496784"/>
                <a:gd name="connsiteX38" fmla="*/ 348095 w 942455"/>
                <a:gd name="connsiteY38" fmla="*/ 146304 h 496784"/>
                <a:gd name="connsiteX39" fmla="*/ 348095 w 942455"/>
                <a:gd name="connsiteY39" fmla="*/ 64008 h 496784"/>
                <a:gd name="connsiteX40" fmla="*/ 338951 w 942455"/>
                <a:gd name="connsiteY40" fmla="*/ 54864 h 496784"/>
                <a:gd name="connsiteX41" fmla="*/ 329807 w 942455"/>
                <a:gd name="connsiteY41" fmla="*/ 128016 h 496784"/>
                <a:gd name="connsiteX42" fmla="*/ 302375 w 942455"/>
                <a:gd name="connsiteY42" fmla="*/ 173736 h 496784"/>
                <a:gd name="connsiteX43" fmla="*/ 229223 w 942455"/>
                <a:gd name="connsiteY43" fmla="*/ 237744 h 496784"/>
                <a:gd name="connsiteX44" fmla="*/ 201791 w 942455"/>
                <a:gd name="connsiteY44" fmla="*/ 256032 h 496784"/>
                <a:gd name="connsiteX45" fmla="*/ 128639 w 942455"/>
                <a:gd name="connsiteY45" fmla="*/ 347472 h 496784"/>
                <a:gd name="connsiteX46" fmla="*/ 119495 w 942455"/>
                <a:gd name="connsiteY46" fmla="*/ 374904 h 496784"/>
                <a:gd name="connsiteX47" fmla="*/ 110351 w 942455"/>
                <a:gd name="connsiteY47" fmla="*/ 411480 h 496784"/>
                <a:gd name="connsiteX48" fmla="*/ 128639 w 942455"/>
                <a:gd name="connsiteY48" fmla="*/ 429768 h 496784"/>
                <a:gd name="connsiteX49" fmla="*/ 82919 w 942455"/>
                <a:gd name="connsiteY49" fmla="*/ 457200 h 496784"/>
                <a:gd name="connsiteX50" fmla="*/ 118640 w 942455"/>
                <a:gd name="connsiteY50" fmla="*/ 430387 h 496784"/>
                <a:gd name="connsiteX51" fmla="*/ 118638 w 942455"/>
                <a:gd name="connsiteY51" fmla="*/ 430387 h 496784"/>
                <a:gd name="connsiteX52" fmla="*/ 118638 w 942455"/>
                <a:gd name="connsiteY52" fmla="*/ 430387 h 496784"/>
                <a:gd name="connsiteX53" fmla="*/ 118638 w 942455"/>
                <a:gd name="connsiteY53" fmla="*/ 430387 h 496784"/>
                <a:gd name="connsiteX54" fmla="*/ 118639 w 942455"/>
                <a:gd name="connsiteY54" fmla="*/ 430387 h 496784"/>
                <a:gd name="connsiteX55" fmla="*/ 118639 w 942455"/>
                <a:gd name="connsiteY55" fmla="*/ 430387 h 496784"/>
                <a:gd name="connsiteX0" fmla="*/ 37386 w 861202"/>
                <a:gd name="connsiteY0" fmla="*/ 430387 h 474067"/>
                <a:gd name="connsiteX1" fmla="*/ 37385 w 861202"/>
                <a:gd name="connsiteY1" fmla="*/ 430387 h 474067"/>
                <a:gd name="connsiteX2" fmla="*/ 37386 w 861202"/>
                <a:gd name="connsiteY2" fmla="*/ 430387 h 474067"/>
                <a:gd name="connsiteX3" fmla="*/ 37386 w 861202"/>
                <a:gd name="connsiteY3" fmla="*/ 430387 h 474067"/>
                <a:gd name="connsiteX4" fmla="*/ 56530 w 861202"/>
                <a:gd name="connsiteY4" fmla="*/ 466344 h 474067"/>
                <a:gd name="connsiteX5" fmla="*/ 157114 w 861202"/>
                <a:gd name="connsiteY5" fmla="*/ 384048 h 474067"/>
                <a:gd name="connsiteX6" fmla="*/ 349138 w 861202"/>
                <a:gd name="connsiteY6" fmla="*/ 301752 h 474067"/>
                <a:gd name="connsiteX7" fmla="*/ 431434 w 861202"/>
                <a:gd name="connsiteY7" fmla="*/ 192024 h 474067"/>
                <a:gd name="connsiteX8" fmla="*/ 577738 w 861202"/>
                <a:gd name="connsiteY8" fmla="*/ 155448 h 474067"/>
                <a:gd name="connsiteX9" fmla="*/ 623458 w 861202"/>
                <a:gd name="connsiteY9" fmla="*/ 155448 h 474067"/>
                <a:gd name="connsiteX10" fmla="*/ 660034 w 861202"/>
                <a:gd name="connsiteY10" fmla="*/ 137160 h 474067"/>
                <a:gd name="connsiteX11" fmla="*/ 614314 w 861202"/>
                <a:gd name="connsiteY11" fmla="*/ 137160 h 474067"/>
                <a:gd name="connsiteX12" fmla="*/ 522874 w 861202"/>
                <a:gd name="connsiteY12" fmla="*/ 137160 h 474067"/>
                <a:gd name="connsiteX13" fmla="*/ 468010 w 861202"/>
                <a:gd name="connsiteY13" fmla="*/ 146304 h 474067"/>
                <a:gd name="connsiteX14" fmla="*/ 458866 w 861202"/>
                <a:gd name="connsiteY14" fmla="*/ 155448 h 474067"/>
                <a:gd name="connsiteX15" fmla="*/ 440578 w 861202"/>
                <a:gd name="connsiteY15" fmla="*/ 146304 h 474067"/>
                <a:gd name="connsiteX16" fmla="*/ 568594 w 861202"/>
                <a:gd name="connsiteY16" fmla="*/ 91440 h 474067"/>
                <a:gd name="connsiteX17" fmla="*/ 623458 w 861202"/>
                <a:gd name="connsiteY17" fmla="*/ 91440 h 474067"/>
                <a:gd name="connsiteX18" fmla="*/ 714898 w 861202"/>
                <a:gd name="connsiteY18" fmla="*/ 82296 h 474067"/>
                <a:gd name="connsiteX19" fmla="*/ 842914 w 861202"/>
                <a:gd name="connsiteY19" fmla="*/ 27432 h 474067"/>
                <a:gd name="connsiteX20" fmla="*/ 824626 w 861202"/>
                <a:gd name="connsiteY20" fmla="*/ 0 h 474067"/>
                <a:gd name="connsiteX21" fmla="*/ 788050 w 861202"/>
                <a:gd name="connsiteY21" fmla="*/ 27432 h 474067"/>
                <a:gd name="connsiteX22" fmla="*/ 751474 w 861202"/>
                <a:gd name="connsiteY22" fmla="*/ 36576 h 474067"/>
                <a:gd name="connsiteX23" fmla="*/ 678322 w 861202"/>
                <a:gd name="connsiteY23" fmla="*/ 64008 h 474067"/>
                <a:gd name="connsiteX24" fmla="*/ 623458 w 861202"/>
                <a:gd name="connsiteY24" fmla="*/ 64008 h 474067"/>
                <a:gd name="connsiteX25" fmla="*/ 513730 w 861202"/>
                <a:gd name="connsiteY25" fmla="*/ 64008 h 474067"/>
                <a:gd name="connsiteX26" fmla="*/ 458866 w 861202"/>
                <a:gd name="connsiteY26" fmla="*/ 100584 h 474067"/>
                <a:gd name="connsiteX27" fmla="*/ 422290 w 861202"/>
                <a:gd name="connsiteY27" fmla="*/ 146304 h 474067"/>
                <a:gd name="connsiteX28" fmla="*/ 376570 w 861202"/>
                <a:gd name="connsiteY28" fmla="*/ 182880 h 474067"/>
                <a:gd name="connsiteX29" fmla="*/ 330850 w 861202"/>
                <a:gd name="connsiteY29" fmla="*/ 256032 h 474067"/>
                <a:gd name="connsiteX30" fmla="*/ 257698 w 861202"/>
                <a:gd name="connsiteY30" fmla="*/ 301752 h 474067"/>
                <a:gd name="connsiteX31" fmla="*/ 157114 w 861202"/>
                <a:gd name="connsiteY31" fmla="*/ 347472 h 474067"/>
                <a:gd name="connsiteX32" fmla="*/ 120538 w 861202"/>
                <a:gd name="connsiteY32" fmla="*/ 374904 h 474067"/>
                <a:gd name="connsiteX33" fmla="*/ 74818 w 861202"/>
                <a:gd name="connsiteY33" fmla="*/ 402336 h 474067"/>
                <a:gd name="connsiteX34" fmla="*/ 56530 w 861202"/>
                <a:gd name="connsiteY34" fmla="*/ 402336 h 474067"/>
                <a:gd name="connsiteX35" fmla="*/ 74818 w 861202"/>
                <a:gd name="connsiteY35" fmla="*/ 365760 h 474067"/>
                <a:gd name="connsiteX36" fmla="*/ 129682 w 861202"/>
                <a:gd name="connsiteY36" fmla="*/ 301752 h 474067"/>
                <a:gd name="connsiteX37" fmla="*/ 221122 w 861202"/>
                <a:gd name="connsiteY37" fmla="*/ 219456 h 474067"/>
                <a:gd name="connsiteX38" fmla="*/ 266842 w 861202"/>
                <a:gd name="connsiteY38" fmla="*/ 146304 h 474067"/>
                <a:gd name="connsiteX39" fmla="*/ 266842 w 861202"/>
                <a:gd name="connsiteY39" fmla="*/ 64008 h 474067"/>
                <a:gd name="connsiteX40" fmla="*/ 257698 w 861202"/>
                <a:gd name="connsiteY40" fmla="*/ 54864 h 474067"/>
                <a:gd name="connsiteX41" fmla="*/ 248554 w 861202"/>
                <a:gd name="connsiteY41" fmla="*/ 128016 h 474067"/>
                <a:gd name="connsiteX42" fmla="*/ 221122 w 861202"/>
                <a:gd name="connsiteY42" fmla="*/ 173736 h 474067"/>
                <a:gd name="connsiteX43" fmla="*/ 147970 w 861202"/>
                <a:gd name="connsiteY43" fmla="*/ 237744 h 474067"/>
                <a:gd name="connsiteX44" fmla="*/ 120538 w 861202"/>
                <a:gd name="connsiteY44" fmla="*/ 256032 h 474067"/>
                <a:gd name="connsiteX45" fmla="*/ 47386 w 861202"/>
                <a:gd name="connsiteY45" fmla="*/ 347472 h 474067"/>
                <a:gd name="connsiteX46" fmla="*/ 38242 w 861202"/>
                <a:gd name="connsiteY46" fmla="*/ 374904 h 474067"/>
                <a:gd name="connsiteX47" fmla="*/ 29098 w 861202"/>
                <a:gd name="connsiteY47" fmla="*/ 411480 h 474067"/>
                <a:gd name="connsiteX48" fmla="*/ 47386 w 861202"/>
                <a:gd name="connsiteY48" fmla="*/ 429768 h 474067"/>
                <a:gd name="connsiteX49" fmla="*/ 1666 w 861202"/>
                <a:gd name="connsiteY49" fmla="*/ 457200 h 474067"/>
                <a:gd name="connsiteX50" fmla="*/ 37387 w 861202"/>
                <a:gd name="connsiteY50" fmla="*/ 430387 h 474067"/>
                <a:gd name="connsiteX51" fmla="*/ 37385 w 861202"/>
                <a:gd name="connsiteY51" fmla="*/ 430387 h 474067"/>
                <a:gd name="connsiteX52" fmla="*/ 37385 w 861202"/>
                <a:gd name="connsiteY52" fmla="*/ 430387 h 474067"/>
                <a:gd name="connsiteX53" fmla="*/ 37385 w 861202"/>
                <a:gd name="connsiteY53" fmla="*/ 430387 h 474067"/>
                <a:gd name="connsiteX54" fmla="*/ 37386 w 861202"/>
                <a:gd name="connsiteY54" fmla="*/ 430387 h 474067"/>
                <a:gd name="connsiteX55" fmla="*/ 37386 w 861202"/>
                <a:gd name="connsiteY55" fmla="*/ 430387 h 474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861202" h="474067">
                  <a:moveTo>
                    <a:pt x="37386" y="430387"/>
                  </a:moveTo>
                  <a:lnTo>
                    <a:pt x="37385" y="430387"/>
                  </a:lnTo>
                  <a:lnTo>
                    <a:pt x="37386" y="430387"/>
                  </a:lnTo>
                  <a:lnTo>
                    <a:pt x="37386" y="430387"/>
                  </a:lnTo>
                  <a:cubicBezTo>
                    <a:pt x="40577" y="436380"/>
                    <a:pt x="36575" y="474067"/>
                    <a:pt x="56530" y="466344"/>
                  </a:cubicBezTo>
                  <a:cubicBezTo>
                    <a:pt x="76485" y="458621"/>
                    <a:pt x="108346" y="411480"/>
                    <a:pt x="157114" y="384048"/>
                  </a:cubicBezTo>
                  <a:cubicBezTo>
                    <a:pt x="205882" y="356616"/>
                    <a:pt x="303418" y="333756"/>
                    <a:pt x="349138" y="301752"/>
                  </a:cubicBezTo>
                  <a:cubicBezTo>
                    <a:pt x="394858" y="269748"/>
                    <a:pt x="393334" y="216408"/>
                    <a:pt x="431434" y="192024"/>
                  </a:cubicBezTo>
                  <a:cubicBezTo>
                    <a:pt x="469534" y="167640"/>
                    <a:pt x="545734" y="161544"/>
                    <a:pt x="577738" y="155448"/>
                  </a:cubicBezTo>
                  <a:cubicBezTo>
                    <a:pt x="609742" y="149352"/>
                    <a:pt x="609742" y="158496"/>
                    <a:pt x="623458" y="155448"/>
                  </a:cubicBezTo>
                  <a:cubicBezTo>
                    <a:pt x="637174" y="152400"/>
                    <a:pt x="661558" y="140208"/>
                    <a:pt x="660034" y="137160"/>
                  </a:cubicBezTo>
                  <a:cubicBezTo>
                    <a:pt x="658510" y="134112"/>
                    <a:pt x="614314" y="137160"/>
                    <a:pt x="614314" y="137160"/>
                  </a:cubicBezTo>
                  <a:cubicBezTo>
                    <a:pt x="591454" y="137160"/>
                    <a:pt x="547258" y="135636"/>
                    <a:pt x="522874" y="137160"/>
                  </a:cubicBezTo>
                  <a:cubicBezTo>
                    <a:pt x="498490" y="138684"/>
                    <a:pt x="478678" y="143256"/>
                    <a:pt x="468010" y="146304"/>
                  </a:cubicBezTo>
                  <a:cubicBezTo>
                    <a:pt x="457342" y="149352"/>
                    <a:pt x="463438" y="155448"/>
                    <a:pt x="458866" y="155448"/>
                  </a:cubicBezTo>
                  <a:cubicBezTo>
                    <a:pt x="454294" y="155448"/>
                    <a:pt x="422290" y="156972"/>
                    <a:pt x="440578" y="146304"/>
                  </a:cubicBezTo>
                  <a:cubicBezTo>
                    <a:pt x="458866" y="135636"/>
                    <a:pt x="538114" y="100584"/>
                    <a:pt x="568594" y="91440"/>
                  </a:cubicBezTo>
                  <a:cubicBezTo>
                    <a:pt x="599074" y="82296"/>
                    <a:pt x="599074" y="92964"/>
                    <a:pt x="623458" y="91440"/>
                  </a:cubicBezTo>
                  <a:cubicBezTo>
                    <a:pt x="647842" y="89916"/>
                    <a:pt x="678322" y="92964"/>
                    <a:pt x="714898" y="82296"/>
                  </a:cubicBezTo>
                  <a:cubicBezTo>
                    <a:pt x="751474" y="71628"/>
                    <a:pt x="824626" y="41148"/>
                    <a:pt x="842914" y="27432"/>
                  </a:cubicBezTo>
                  <a:cubicBezTo>
                    <a:pt x="861202" y="13716"/>
                    <a:pt x="833770" y="0"/>
                    <a:pt x="824626" y="0"/>
                  </a:cubicBezTo>
                  <a:cubicBezTo>
                    <a:pt x="815482" y="0"/>
                    <a:pt x="800242" y="21336"/>
                    <a:pt x="788050" y="27432"/>
                  </a:cubicBezTo>
                  <a:cubicBezTo>
                    <a:pt x="775858" y="33528"/>
                    <a:pt x="769762" y="30480"/>
                    <a:pt x="751474" y="36576"/>
                  </a:cubicBezTo>
                  <a:cubicBezTo>
                    <a:pt x="733186" y="42672"/>
                    <a:pt x="699658" y="59436"/>
                    <a:pt x="678322" y="64008"/>
                  </a:cubicBezTo>
                  <a:cubicBezTo>
                    <a:pt x="656986" y="68580"/>
                    <a:pt x="623458" y="64008"/>
                    <a:pt x="623458" y="64008"/>
                  </a:cubicBezTo>
                  <a:cubicBezTo>
                    <a:pt x="596026" y="64008"/>
                    <a:pt x="541162" y="57912"/>
                    <a:pt x="513730" y="64008"/>
                  </a:cubicBezTo>
                  <a:cubicBezTo>
                    <a:pt x="486298" y="70104"/>
                    <a:pt x="474106" y="86868"/>
                    <a:pt x="458866" y="100584"/>
                  </a:cubicBezTo>
                  <a:cubicBezTo>
                    <a:pt x="443626" y="114300"/>
                    <a:pt x="436006" y="132588"/>
                    <a:pt x="422290" y="146304"/>
                  </a:cubicBezTo>
                  <a:cubicBezTo>
                    <a:pt x="408574" y="160020"/>
                    <a:pt x="391810" y="164592"/>
                    <a:pt x="376570" y="182880"/>
                  </a:cubicBezTo>
                  <a:cubicBezTo>
                    <a:pt x="361330" y="201168"/>
                    <a:pt x="350662" y="236220"/>
                    <a:pt x="330850" y="256032"/>
                  </a:cubicBezTo>
                  <a:cubicBezTo>
                    <a:pt x="311038" y="275844"/>
                    <a:pt x="286654" y="286512"/>
                    <a:pt x="257698" y="301752"/>
                  </a:cubicBezTo>
                  <a:cubicBezTo>
                    <a:pt x="228742" y="316992"/>
                    <a:pt x="179974" y="335280"/>
                    <a:pt x="157114" y="347472"/>
                  </a:cubicBezTo>
                  <a:cubicBezTo>
                    <a:pt x="134254" y="359664"/>
                    <a:pt x="134254" y="365760"/>
                    <a:pt x="120538" y="374904"/>
                  </a:cubicBezTo>
                  <a:cubicBezTo>
                    <a:pt x="106822" y="384048"/>
                    <a:pt x="85486" y="397764"/>
                    <a:pt x="74818" y="402336"/>
                  </a:cubicBezTo>
                  <a:cubicBezTo>
                    <a:pt x="64150" y="406908"/>
                    <a:pt x="56530" y="408432"/>
                    <a:pt x="56530" y="402336"/>
                  </a:cubicBezTo>
                  <a:cubicBezTo>
                    <a:pt x="56530" y="396240"/>
                    <a:pt x="62626" y="382524"/>
                    <a:pt x="74818" y="365760"/>
                  </a:cubicBezTo>
                  <a:cubicBezTo>
                    <a:pt x="87010" y="348996"/>
                    <a:pt x="105298" y="326136"/>
                    <a:pt x="129682" y="301752"/>
                  </a:cubicBezTo>
                  <a:cubicBezTo>
                    <a:pt x="154066" y="277368"/>
                    <a:pt x="198262" y="245364"/>
                    <a:pt x="221122" y="219456"/>
                  </a:cubicBezTo>
                  <a:cubicBezTo>
                    <a:pt x="243982" y="193548"/>
                    <a:pt x="259222" y="172212"/>
                    <a:pt x="266842" y="146304"/>
                  </a:cubicBezTo>
                  <a:cubicBezTo>
                    <a:pt x="274462" y="120396"/>
                    <a:pt x="268366" y="79248"/>
                    <a:pt x="266842" y="64008"/>
                  </a:cubicBezTo>
                  <a:cubicBezTo>
                    <a:pt x="265318" y="48768"/>
                    <a:pt x="260746" y="44196"/>
                    <a:pt x="257698" y="54864"/>
                  </a:cubicBezTo>
                  <a:cubicBezTo>
                    <a:pt x="254650" y="65532"/>
                    <a:pt x="254650" y="108204"/>
                    <a:pt x="248554" y="128016"/>
                  </a:cubicBezTo>
                  <a:cubicBezTo>
                    <a:pt x="242458" y="147828"/>
                    <a:pt x="237886" y="155448"/>
                    <a:pt x="221122" y="173736"/>
                  </a:cubicBezTo>
                  <a:cubicBezTo>
                    <a:pt x="204358" y="192024"/>
                    <a:pt x="164734" y="224028"/>
                    <a:pt x="147970" y="237744"/>
                  </a:cubicBezTo>
                  <a:cubicBezTo>
                    <a:pt x="131206" y="251460"/>
                    <a:pt x="137302" y="237744"/>
                    <a:pt x="120538" y="256032"/>
                  </a:cubicBezTo>
                  <a:cubicBezTo>
                    <a:pt x="103774" y="274320"/>
                    <a:pt x="61102" y="327660"/>
                    <a:pt x="47386" y="347472"/>
                  </a:cubicBezTo>
                  <a:cubicBezTo>
                    <a:pt x="33670" y="367284"/>
                    <a:pt x="41290" y="364236"/>
                    <a:pt x="38242" y="374904"/>
                  </a:cubicBezTo>
                  <a:cubicBezTo>
                    <a:pt x="35194" y="385572"/>
                    <a:pt x="27574" y="402336"/>
                    <a:pt x="29098" y="411480"/>
                  </a:cubicBezTo>
                  <a:cubicBezTo>
                    <a:pt x="30622" y="420624"/>
                    <a:pt x="51958" y="422148"/>
                    <a:pt x="47386" y="429768"/>
                  </a:cubicBezTo>
                  <a:cubicBezTo>
                    <a:pt x="42814" y="437388"/>
                    <a:pt x="3332" y="457097"/>
                    <a:pt x="1666" y="457200"/>
                  </a:cubicBezTo>
                  <a:cubicBezTo>
                    <a:pt x="0" y="457303"/>
                    <a:pt x="31434" y="434856"/>
                    <a:pt x="37387" y="430387"/>
                  </a:cubicBezTo>
                  <a:cubicBezTo>
                    <a:pt x="43340" y="425918"/>
                    <a:pt x="26821" y="429886"/>
                    <a:pt x="37385" y="430387"/>
                  </a:cubicBezTo>
                  <a:lnTo>
                    <a:pt x="37385" y="430387"/>
                  </a:lnTo>
                  <a:lnTo>
                    <a:pt x="37385" y="430387"/>
                  </a:lnTo>
                  <a:lnTo>
                    <a:pt x="37386" y="430387"/>
                  </a:lnTo>
                  <a:lnTo>
                    <a:pt x="37386" y="430387"/>
                  </a:lnTo>
                  <a:close/>
                </a:path>
              </a:pathLst>
            </a:custGeom>
            <a:solidFill>
              <a:srgbClr val="8DAA44"/>
            </a:solidFill>
            <a:ln w="6350" cap="flat" cmpd="sng" algn="ctr">
              <a:solidFill>
                <a:srgbClr val="663300"/>
              </a:solidFill>
              <a:prstDash val="solid"/>
            </a:ln>
            <a:effectLst/>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0" cap="none" spc="0" normalizeH="0" baseline="0" noProof="0" dirty="0">
                <a:ln>
                  <a:noFill/>
                </a:ln>
                <a:solidFill>
                  <a:prstClr val="white"/>
                </a:solidFill>
                <a:effectLst/>
                <a:uLnTx/>
                <a:uFillTx/>
                <a:latin typeface="News Gothic MT" panose="020B0503020103020203" pitchFamily="34" charset="0"/>
                <a:ea typeface="MS PGothic" charset="0"/>
                <a:cs typeface="+mn-cs"/>
              </a:endParaRPr>
            </a:p>
          </p:txBody>
        </p:sp>
        <p:sp>
          <p:nvSpPr>
            <p:cNvPr id="10" name="Freeform 205">
              <a:extLst>
                <a:ext uri="{FF2B5EF4-FFF2-40B4-BE49-F238E27FC236}">
                  <a16:creationId xmlns:a16="http://schemas.microsoft.com/office/drawing/2014/main" id="{FC8908EE-695F-4F2E-B17F-29BCF0DE5086}"/>
                </a:ext>
              </a:extLst>
            </p:cNvPr>
            <p:cNvSpPr/>
            <p:nvPr/>
          </p:nvSpPr>
          <p:spPr>
            <a:xfrm rot="5703770" flipH="1">
              <a:off x="6523200" y="1542406"/>
              <a:ext cx="680583" cy="1176268"/>
            </a:xfrm>
            <a:custGeom>
              <a:avLst/>
              <a:gdLst>
                <a:gd name="connsiteX0" fmla="*/ 19812 w 1226820"/>
                <a:gd name="connsiteY0" fmla="*/ 841248 h 864108"/>
                <a:gd name="connsiteX1" fmla="*/ 92964 w 1226820"/>
                <a:gd name="connsiteY1" fmla="*/ 649224 h 864108"/>
                <a:gd name="connsiteX2" fmla="*/ 193548 w 1226820"/>
                <a:gd name="connsiteY2" fmla="*/ 548640 h 864108"/>
                <a:gd name="connsiteX3" fmla="*/ 321564 w 1226820"/>
                <a:gd name="connsiteY3" fmla="*/ 493776 h 864108"/>
                <a:gd name="connsiteX4" fmla="*/ 422148 w 1226820"/>
                <a:gd name="connsiteY4" fmla="*/ 466344 h 864108"/>
                <a:gd name="connsiteX5" fmla="*/ 522732 w 1226820"/>
                <a:gd name="connsiteY5" fmla="*/ 384048 h 864108"/>
                <a:gd name="connsiteX6" fmla="*/ 714756 w 1226820"/>
                <a:gd name="connsiteY6" fmla="*/ 301752 h 864108"/>
                <a:gd name="connsiteX7" fmla="*/ 797052 w 1226820"/>
                <a:gd name="connsiteY7" fmla="*/ 192024 h 864108"/>
                <a:gd name="connsiteX8" fmla="*/ 943356 w 1226820"/>
                <a:gd name="connsiteY8" fmla="*/ 155448 h 864108"/>
                <a:gd name="connsiteX9" fmla="*/ 989076 w 1226820"/>
                <a:gd name="connsiteY9" fmla="*/ 155448 h 864108"/>
                <a:gd name="connsiteX10" fmla="*/ 1025652 w 1226820"/>
                <a:gd name="connsiteY10" fmla="*/ 137160 h 864108"/>
                <a:gd name="connsiteX11" fmla="*/ 979932 w 1226820"/>
                <a:gd name="connsiteY11" fmla="*/ 137160 h 864108"/>
                <a:gd name="connsiteX12" fmla="*/ 888492 w 1226820"/>
                <a:gd name="connsiteY12" fmla="*/ 137160 h 864108"/>
                <a:gd name="connsiteX13" fmla="*/ 833628 w 1226820"/>
                <a:gd name="connsiteY13" fmla="*/ 146304 h 864108"/>
                <a:gd name="connsiteX14" fmla="*/ 824484 w 1226820"/>
                <a:gd name="connsiteY14" fmla="*/ 155448 h 864108"/>
                <a:gd name="connsiteX15" fmla="*/ 806196 w 1226820"/>
                <a:gd name="connsiteY15" fmla="*/ 146304 h 864108"/>
                <a:gd name="connsiteX16" fmla="*/ 934212 w 1226820"/>
                <a:gd name="connsiteY16" fmla="*/ 91440 h 864108"/>
                <a:gd name="connsiteX17" fmla="*/ 989076 w 1226820"/>
                <a:gd name="connsiteY17" fmla="*/ 91440 h 864108"/>
                <a:gd name="connsiteX18" fmla="*/ 1080516 w 1226820"/>
                <a:gd name="connsiteY18" fmla="*/ 82296 h 864108"/>
                <a:gd name="connsiteX19" fmla="*/ 1208532 w 1226820"/>
                <a:gd name="connsiteY19" fmla="*/ 27432 h 864108"/>
                <a:gd name="connsiteX20" fmla="*/ 1190244 w 1226820"/>
                <a:gd name="connsiteY20" fmla="*/ 0 h 864108"/>
                <a:gd name="connsiteX21" fmla="*/ 1153668 w 1226820"/>
                <a:gd name="connsiteY21" fmla="*/ 27432 h 864108"/>
                <a:gd name="connsiteX22" fmla="*/ 1117092 w 1226820"/>
                <a:gd name="connsiteY22" fmla="*/ 36576 h 864108"/>
                <a:gd name="connsiteX23" fmla="*/ 1043940 w 1226820"/>
                <a:gd name="connsiteY23" fmla="*/ 64008 h 864108"/>
                <a:gd name="connsiteX24" fmla="*/ 989076 w 1226820"/>
                <a:gd name="connsiteY24" fmla="*/ 64008 h 864108"/>
                <a:gd name="connsiteX25" fmla="*/ 879348 w 1226820"/>
                <a:gd name="connsiteY25" fmla="*/ 64008 h 864108"/>
                <a:gd name="connsiteX26" fmla="*/ 824484 w 1226820"/>
                <a:gd name="connsiteY26" fmla="*/ 100584 h 864108"/>
                <a:gd name="connsiteX27" fmla="*/ 787908 w 1226820"/>
                <a:gd name="connsiteY27" fmla="*/ 146304 h 864108"/>
                <a:gd name="connsiteX28" fmla="*/ 742188 w 1226820"/>
                <a:gd name="connsiteY28" fmla="*/ 182880 h 864108"/>
                <a:gd name="connsiteX29" fmla="*/ 696468 w 1226820"/>
                <a:gd name="connsiteY29" fmla="*/ 256032 h 864108"/>
                <a:gd name="connsiteX30" fmla="*/ 623316 w 1226820"/>
                <a:gd name="connsiteY30" fmla="*/ 301752 h 864108"/>
                <a:gd name="connsiteX31" fmla="*/ 522732 w 1226820"/>
                <a:gd name="connsiteY31" fmla="*/ 347472 h 864108"/>
                <a:gd name="connsiteX32" fmla="*/ 486156 w 1226820"/>
                <a:gd name="connsiteY32" fmla="*/ 374904 h 864108"/>
                <a:gd name="connsiteX33" fmla="*/ 440436 w 1226820"/>
                <a:gd name="connsiteY33" fmla="*/ 402336 h 864108"/>
                <a:gd name="connsiteX34" fmla="*/ 422148 w 1226820"/>
                <a:gd name="connsiteY34" fmla="*/ 402336 h 864108"/>
                <a:gd name="connsiteX35" fmla="*/ 440436 w 1226820"/>
                <a:gd name="connsiteY35" fmla="*/ 365760 h 864108"/>
                <a:gd name="connsiteX36" fmla="*/ 495300 w 1226820"/>
                <a:gd name="connsiteY36" fmla="*/ 301752 h 864108"/>
                <a:gd name="connsiteX37" fmla="*/ 586740 w 1226820"/>
                <a:gd name="connsiteY37" fmla="*/ 219456 h 864108"/>
                <a:gd name="connsiteX38" fmla="*/ 632460 w 1226820"/>
                <a:gd name="connsiteY38" fmla="*/ 146304 h 864108"/>
                <a:gd name="connsiteX39" fmla="*/ 632460 w 1226820"/>
                <a:gd name="connsiteY39" fmla="*/ 64008 h 864108"/>
                <a:gd name="connsiteX40" fmla="*/ 623316 w 1226820"/>
                <a:gd name="connsiteY40" fmla="*/ 54864 h 864108"/>
                <a:gd name="connsiteX41" fmla="*/ 614172 w 1226820"/>
                <a:gd name="connsiteY41" fmla="*/ 128016 h 864108"/>
                <a:gd name="connsiteX42" fmla="*/ 586740 w 1226820"/>
                <a:gd name="connsiteY42" fmla="*/ 173736 h 864108"/>
                <a:gd name="connsiteX43" fmla="*/ 513588 w 1226820"/>
                <a:gd name="connsiteY43" fmla="*/ 237744 h 864108"/>
                <a:gd name="connsiteX44" fmla="*/ 486156 w 1226820"/>
                <a:gd name="connsiteY44" fmla="*/ 256032 h 864108"/>
                <a:gd name="connsiteX45" fmla="*/ 413004 w 1226820"/>
                <a:gd name="connsiteY45" fmla="*/ 347472 h 864108"/>
                <a:gd name="connsiteX46" fmla="*/ 403860 w 1226820"/>
                <a:gd name="connsiteY46" fmla="*/ 374904 h 864108"/>
                <a:gd name="connsiteX47" fmla="*/ 394716 w 1226820"/>
                <a:gd name="connsiteY47" fmla="*/ 411480 h 864108"/>
                <a:gd name="connsiteX48" fmla="*/ 413004 w 1226820"/>
                <a:gd name="connsiteY48" fmla="*/ 429768 h 864108"/>
                <a:gd name="connsiteX49" fmla="*/ 367284 w 1226820"/>
                <a:gd name="connsiteY49" fmla="*/ 457200 h 864108"/>
                <a:gd name="connsiteX50" fmla="*/ 220980 w 1226820"/>
                <a:gd name="connsiteY50" fmla="*/ 493776 h 864108"/>
                <a:gd name="connsiteX51" fmla="*/ 175260 w 1226820"/>
                <a:gd name="connsiteY51" fmla="*/ 530352 h 864108"/>
                <a:gd name="connsiteX52" fmla="*/ 92964 w 1226820"/>
                <a:gd name="connsiteY52" fmla="*/ 585216 h 864108"/>
                <a:gd name="connsiteX53" fmla="*/ 19812 w 1226820"/>
                <a:gd name="connsiteY53" fmla="*/ 704088 h 864108"/>
                <a:gd name="connsiteX54" fmla="*/ 1524 w 1226820"/>
                <a:gd name="connsiteY54" fmla="*/ 786384 h 864108"/>
                <a:gd name="connsiteX55" fmla="*/ 19812 w 1226820"/>
                <a:gd name="connsiteY55" fmla="*/ 841248 h 864108"/>
                <a:gd name="connsiteX0" fmla="*/ 218332 w 1253874"/>
                <a:gd name="connsiteY0" fmla="*/ 554512 h 811313"/>
                <a:gd name="connsiteX1" fmla="*/ 120018 w 1253874"/>
                <a:gd name="connsiteY1" fmla="*/ 649224 h 811313"/>
                <a:gd name="connsiteX2" fmla="*/ 220602 w 1253874"/>
                <a:gd name="connsiteY2" fmla="*/ 548640 h 811313"/>
                <a:gd name="connsiteX3" fmla="*/ 348618 w 1253874"/>
                <a:gd name="connsiteY3" fmla="*/ 493776 h 811313"/>
                <a:gd name="connsiteX4" fmla="*/ 449202 w 1253874"/>
                <a:gd name="connsiteY4" fmla="*/ 466344 h 811313"/>
                <a:gd name="connsiteX5" fmla="*/ 549786 w 1253874"/>
                <a:gd name="connsiteY5" fmla="*/ 384048 h 811313"/>
                <a:gd name="connsiteX6" fmla="*/ 741810 w 1253874"/>
                <a:gd name="connsiteY6" fmla="*/ 301752 h 811313"/>
                <a:gd name="connsiteX7" fmla="*/ 824106 w 1253874"/>
                <a:gd name="connsiteY7" fmla="*/ 192024 h 811313"/>
                <a:gd name="connsiteX8" fmla="*/ 970410 w 1253874"/>
                <a:gd name="connsiteY8" fmla="*/ 155448 h 811313"/>
                <a:gd name="connsiteX9" fmla="*/ 1016130 w 1253874"/>
                <a:gd name="connsiteY9" fmla="*/ 155448 h 811313"/>
                <a:gd name="connsiteX10" fmla="*/ 1052706 w 1253874"/>
                <a:gd name="connsiteY10" fmla="*/ 137160 h 811313"/>
                <a:gd name="connsiteX11" fmla="*/ 1006986 w 1253874"/>
                <a:gd name="connsiteY11" fmla="*/ 137160 h 811313"/>
                <a:gd name="connsiteX12" fmla="*/ 915546 w 1253874"/>
                <a:gd name="connsiteY12" fmla="*/ 137160 h 811313"/>
                <a:gd name="connsiteX13" fmla="*/ 860682 w 1253874"/>
                <a:gd name="connsiteY13" fmla="*/ 146304 h 811313"/>
                <a:gd name="connsiteX14" fmla="*/ 851538 w 1253874"/>
                <a:gd name="connsiteY14" fmla="*/ 155448 h 811313"/>
                <a:gd name="connsiteX15" fmla="*/ 833250 w 1253874"/>
                <a:gd name="connsiteY15" fmla="*/ 146304 h 811313"/>
                <a:gd name="connsiteX16" fmla="*/ 961266 w 1253874"/>
                <a:gd name="connsiteY16" fmla="*/ 91440 h 811313"/>
                <a:gd name="connsiteX17" fmla="*/ 1016130 w 1253874"/>
                <a:gd name="connsiteY17" fmla="*/ 91440 h 811313"/>
                <a:gd name="connsiteX18" fmla="*/ 1107570 w 1253874"/>
                <a:gd name="connsiteY18" fmla="*/ 82296 h 811313"/>
                <a:gd name="connsiteX19" fmla="*/ 1235586 w 1253874"/>
                <a:gd name="connsiteY19" fmla="*/ 27432 h 811313"/>
                <a:gd name="connsiteX20" fmla="*/ 1217298 w 1253874"/>
                <a:gd name="connsiteY20" fmla="*/ 0 h 811313"/>
                <a:gd name="connsiteX21" fmla="*/ 1180722 w 1253874"/>
                <a:gd name="connsiteY21" fmla="*/ 27432 h 811313"/>
                <a:gd name="connsiteX22" fmla="*/ 1144146 w 1253874"/>
                <a:gd name="connsiteY22" fmla="*/ 36576 h 811313"/>
                <a:gd name="connsiteX23" fmla="*/ 1070994 w 1253874"/>
                <a:gd name="connsiteY23" fmla="*/ 64008 h 811313"/>
                <a:gd name="connsiteX24" fmla="*/ 1016130 w 1253874"/>
                <a:gd name="connsiteY24" fmla="*/ 64008 h 811313"/>
                <a:gd name="connsiteX25" fmla="*/ 906402 w 1253874"/>
                <a:gd name="connsiteY25" fmla="*/ 64008 h 811313"/>
                <a:gd name="connsiteX26" fmla="*/ 851538 w 1253874"/>
                <a:gd name="connsiteY26" fmla="*/ 100584 h 811313"/>
                <a:gd name="connsiteX27" fmla="*/ 814962 w 1253874"/>
                <a:gd name="connsiteY27" fmla="*/ 146304 h 811313"/>
                <a:gd name="connsiteX28" fmla="*/ 769242 w 1253874"/>
                <a:gd name="connsiteY28" fmla="*/ 182880 h 811313"/>
                <a:gd name="connsiteX29" fmla="*/ 723522 w 1253874"/>
                <a:gd name="connsiteY29" fmla="*/ 256032 h 811313"/>
                <a:gd name="connsiteX30" fmla="*/ 650370 w 1253874"/>
                <a:gd name="connsiteY30" fmla="*/ 301752 h 811313"/>
                <a:gd name="connsiteX31" fmla="*/ 549786 w 1253874"/>
                <a:gd name="connsiteY31" fmla="*/ 347472 h 811313"/>
                <a:gd name="connsiteX32" fmla="*/ 513210 w 1253874"/>
                <a:gd name="connsiteY32" fmla="*/ 374904 h 811313"/>
                <a:gd name="connsiteX33" fmla="*/ 467490 w 1253874"/>
                <a:gd name="connsiteY33" fmla="*/ 402336 h 811313"/>
                <a:gd name="connsiteX34" fmla="*/ 449202 w 1253874"/>
                <a:gd name="connsiteY34" fmla="*/ 402336 h 811313"/>
                <a:gd name="connsiteX35" fmla="*/ 467490 w 1253874"/>
                <a:gd name="connsiteY35" fmla="*/ 365760 h 811313"/>
                <a:gd name="connsiteX36" fmla="*/ 522354 w 1253874"/>
                <a:gd name="connsiteY36" fmla="*/ 301752 h 811313"/>
                <a:gd name="connsiteX37" fmla="*/ 613794 w 1253874"/>
                <a:gd name="connsiteY37" fmla="*/ 219456 h 811313"/>
                <a:gd name="connsiteX38" fmla="*/ 659514 w 1253874"/>
                <a:gd name="connsiteY38" fmla="*/ 146304 h 811313"/>
                <a:gd name="connsiteX39" fmla="*/ 659514 w 1253874"/>
                <a:gd name="connsiteY39" fmla="*/ 64008 h 811313"/>
                <a:gd name="connsiteX40" fmla="*/ 650370 w 1253874"/>
                <a:gd name="connsiteY40" fmla="*/ 54864 h 811313"/>
                <a:gd name="connsiteX41" fmla="*/ 641226 w 1253874"/>
                <a:gd name="connsiteY41" fmla="*/ 128016 h 811313"/>
                <a:gd name="connsiteX42" fmla="*/ 613794 w 1253874"/>
                <a:gd name="connsiteY42" fmla="*/ 173736 h 811313"/>
                <a:gd name="connsiteX43" fmla="*/ 540642 w 1253874"/>
                <a:gd name="connsiteY43" fmla="*/ 237744 h 811313"/>
                <a:gd name="connsiteX44" fmla="*/ 513210 w 1253874"/>
                <a:gd name="connsiteY44" fmla="*/ 256032 h 811313"/>
                <a:gd name="connsiteX45" fmla="*/ 440058 w 1253874"/>
                <a:gd name="connsiteY45" fmla="*/ 347472 h 811313"/>
                <a:gd name="connsiteX46" fmla="*/ 430914 w 1253874"/>
                <a:gd name="connsiteY46" fmla="*/ 374904 h 811313"/>
                <a:gd name="connsiteX47" fmla="*/ 421770 w 1253874"/>
                <a:gd name="connsiteY47" fmla="*/ 411480 h 811313"/>
                <a:gd name="connsiteX48" fmla="*/ 440058 w 1253874"/>
                <a:gd name="connsiteY48" fmla="*/ 429768 h 811313"/>
                <a:gd name="connsiteX49" fmla="*/ 394338 w 1253874"/>
                <a:gd name="connsiteY49" fmla="*/ 457200 h 811313"/>
                <a:gd name="connsiteX50" fmla="*/ 248034 w 1253874"/>
                <a:gd name="connsiteY50" fmla="*/ 493776 h 811313"/>
                <a:gd name="connsiteX51" fmla="*/ 202314 w 1253874"/>
                <a:gd name="connsiteY51" fmla="*/ 530352 h 811313"/>
                <a:gd name="connsiteX52" fmla="*/ 120018 w 1253874"/>
                <a:gd name="connsiteY52" fmla="*/ 585216 h 811313"/>
                <a:gd name="connsiteX53" fmla="*/ 46866 w 1253874"/>
                <a:gd name="connsiteY53" fmla="*/ 704088 h 811313"/>
                <a:gd name="connsiteX54" fmla="*/ 28578 w 1253874"/>
                <a:gd name="connsiteY54" fmla="*/ 786384 h 811313"/>
                <a:gd name="connsiteX55" fmla="*/ 218332 w 1253874"/>
                <a:gd name="connsiteY55" fmla="*/ 554512 h 811313"/>
                <a:gd name="connsiteX0" fmla="*/ 187852 w 1223394"/>
                <a:gd name="connsiteY0" fmla="*/ 554512 h 709205"/>
                <a:gd name="connsiteX1" fmla="*/ 89538 w 1223394"/>
                <a:gd name="connsiteY1" fmla="*/ 649224 h 709205"/>
                <a:gd name="connsiteX2" fmla="*/ 190122 w 1223394"/>
                <a:gd name="connsiteY2" fmla="*/ 548640 h 709205"/>
                <a:gd name="connsiteX3" fmla="*/ 318138 w 1223394"/>
                <a:gd name="connsiteY3" fmla="*/ 493776 h 709205"/>
                <a:gd name="connsiteX4" fmla="*/ 418722 w 1223394"/>
                <a:gd name="connsiteY4" fmla="*/ 466344 h 709205"/>
                <a:gd name="connsiteX5" fmla="*/ 519306 w 1223394"/>
                <a:gd name="connsiteY5" fmla="*/ 384048 h 709205"/>
                <a:gd name="connsiteX6" fmla="*/ 711330 w 1223394"/>
                <a:gd name="connsiteY6" fmla="*/ 301752 h 709205"/>
                <a:gd name="connsiteX7" fmla="*/ 793626 w 1223394"/>
                <a:gd name="connsiteY7" fmla="*/ 192024 h 709205"/>
                <a:gd name="connsiteX8" fmla="*/ 939930 w 1223394"/>
                <a:gd name="connsiteY8" fmla="*/ 155448 h 709205"/>
                <a:gd name="connsiteX9" fmla="*/ 985650 w 1223394"/>
                <a:gd name="connsiteY9" fmla="*/ 155448 h 709205"/>
                <a:gd name="connsiteX10" fmla="*/ 1022226 w 1223394"/>
                <a:gd name="connsiteY10" fmla="*/ 137160 h 709205"/>
                <a:gd name="connsiteX11" fmla="*/ 976506 w 1223394"/>
                <a:gd name="connsiteY11" fmla="*/ 137160 h 709205"/>
                <a:gd name="connsiteX12" fmla="*/ 885066 w 1223394"/>
                <a:gd name="connsiteY12" fmla="*/ 137160 h 709205"/>
                <a:gd name="connsiteX13" fmla="*/ 830202 w 1223394"/>
                <a:gd name="connsiteY13" fmla="*/ 146304 h 709205"/>
                <a:gd name="connsiteX14" fmla="*/ 821058 w 1223394"/>
                <a:gd name="connsiteY14" fmla="*/ 155448 h 709205"/>
                <a:gd name="connsiteX15" fmla="*/ 802770 w 1223394"/>
                <a:gd name="connsiteY15" fmla="*/ 146304 h 709205"/>
                <a:gd name="connsiteX16" fmla="*/ 930786 w 1223394"/>
                <a:gd name="connsiteY16" fmla="*/ 91440 h 709205"/>
                <a:gd name="connsiteX17" fmla="*/ 985650 w 1223394"/>
                <a:gd name="connsiteY17" fmla="*/ 91440 h 709205"/>
                <a:gd name="connsiteX18" fmla="*/ 1077090 w 1223394"/>
                <a:gd name="connsiteY18" fmla="*/ 82296 h 709205"/>
                <a:gd name="connsiteX19" fmla="*/ 1205106 w 1223394"/>
                <a:gd name="connsiteY19" fmla="*/ 27432 h 709205"/>
                <a:gd name="connsiteX20" fmla="*/ 1186818 w 1223394"/>
                <a:gd name="connsiteY20" fmla="*/ 0 h 709205"/>
                <a:gd name="connsiteX21" fmla="*/ 1150242 w 1223394"/>
                <a:gd name="connsiteY21" fmla="*/ 27432 h 709205"/>
                <a:gd name="connsiteX22" fmla="*/ 1113666 w 1223394"/>
                <a:gd name="connsiteY22" fmla="*/ 36576 h 709205"/>
                <a:gd name="connsiteX23" fmla="*/ 1040514 w 1223394"/>
                <a:gd name="connsiteY23" fmla="*/ 64008 h 709205"/>
                <a:gd name="connsiteX24" fmla="*/ 985650 w 1223394"/>
                <a:gd name="connsiteY24" fmla="*/ 64008 h 709205"/>
                <a:gd name="connsiteX25" fmla="*/ 875922 w 1223394"/>
                <a:gd name="connsiteY25" fmla="*/ 64008 h 709205"/>
                <a:gd name="connsiteX26" fmla="*/ 821058 w 1223394"/>
                <a:gd name="connsiteY26" fmla="*/ 100584 h 709205"/>
                <a:gd name="connsiteX27" fmla="*/ 784482 w 1223394"/>
                <a:gd name="connsiteY27" fmla="*/ 146304 h 709205"/>
                <a:gd name="connsiteX28" fmla="*/ 738762 w 1223394"/>
                <a:gd name="connsiteY28" fmla="*/ 182880 h 709205"/>
                <a:gd name="connsiteX29" fmla="*/ 693042 w 1223394"/>
                <a:gd name="connsiteY29" fmla="*/ 256032 h 709205"/>
                <a:gd name="connsiteX30" fmla="*/ 619890 w 1223394"/>
                <a:gd name="connsiteY30" fmla="*/ 301752 h 709205"/>
                <a:gd name="connsiteX31" fmla="*/ 519306 w 1223394"/>
                <a:gd name="connsiteY31" fmla="*/ 347472 h 709205"/>
                <a:gd name="connsiteX32" fmla="*/ 482730 w 1223394"/>
                <a:gd name="connsiteY32" fmla="*/ 374904 h 709205"/>
                <a:gd name="connsiteX33" fmla="*/ 437010 w 1223394"/>
                <a:gd name="connsiteY33" fmla="*/ 402336 h 709205"/>
                <a:gd name="connsiteX34" fmla="*/ 418722 w 1223394"/>
                <a:gd name="connsiteY34" fmla="*/ 402336 h 709205"/>
                <a:gd name="connsiteX35" fmla="*/ 437010 w 1223394"/>
                <a:gd name="connsiteY35" fmla="*/ 365760 h 709205"/>
                <a:gd name="connsiteX36" fmla="*/ 491874 w 1223394"/>
                <a:gd name="connsiteY36" fmla="*/ 301752 h 709205"/>
                <a:gd name="connsiteX37" fmla="*/ 583314 w 1223394"/>
                <a:gd name="connsiteY37" fmla="*/ 219456 h 709205"/>
                <a:gd name="connsiteX38" fmla="*/ 629034 w 1223394"/>
                <a:gd name="connsiteY38" fmla="*/ 146304 h 709205"/>
                <a:gd name="connsiteX39" fmla="*/ 629034 w 1223394"/>
                <a:gd name="connsiteY39" fmla="*/ 64008 h 709205"/>
                <a:gd name="connsiteX40" fmla="*/ 619890 w 1223394"/>
                <a:gd name="connsiteY40" fmla="*/ 54864 h 709205"/>
                <a:gd name="connsiteX41" fmla="*/ 610746 w 1223394"/>
                <a:gd name="connsiteY41" fmla="*/ 128016 h 709205"/>
                <a:gd name="connsiteX42" fmla="*/ 583314 w 1223394"/>
                <a:gd name="connsiteY42" fmla="*/ 173736 h 709205"/>
                <a:gd name="connsiteX43" fmla="*/ 510162 w 1223394"/>
                <a:gd name="connsiteY43" fmla="*/ 237744 h 709205"/>
                <a:gd name="connsiteX44" fmla="*/ 482730 w 1223394"/>
                <a:gd name="connsiteY44" fmla="*/ 256032 h 709205"/>
                <a:gd name="connsiteX45" fmla="*/ 409578 w 1223394"/>
                <a:gd name="connsiteY45" fmla="*/ 347472 h 709205"/>
                <a:gd name="connsiteX46" fmla="*/ 400434 w 1223394"/>
                <a:gd name="connsiteY46" fmla="*/ 374904 h 709205"/>
                <a:gd name="connsiteX47" fmla="*/ 391290 w 1223394"/>
                <a:gd name="connsiteY47" fmla="*/ 411480 h 709205"/>
                <a:gd name="connsiteX48" fmla="*/ 409578 w 1223394"/>
                <a:gd name="connsiteY48" fmla="*/ 429768 h 709205"/>
                <a:gd name="connsiteX49" fmla="*/ 363858 w 1223394"/>
                <a:gd name="connsiteY49" fmla="*/ 457200 h 709205"/>
                <a:gd name="connsiteX50" fmla="*/ 217554 w 1223394"/>
                <a:gd name="connsiteY50" fmla="*/ 493776 h 709205"/>
                <a:gd name="connsiteX51" fmla="*/ 171834 w 1223394"/>
                <a:gd name="connsiteY51" fmla="*/ 530352 h 709205"/>
                <a:gd name="connsiteX52" fmla="*/ 89538 w 1223394"/>
                <a:gd name="connsiteY52" fmla="*/ 585216 h 709205"/>
                <a:gd name="connsiteX53" fmla="*/ 16386 w 1223394"/>
                <a:gd name="connsiteY53" fmla="*/ 704088 h 709205"/>
                <a:gd name="connsiteX54" fmla="*/ 187853 w 1223394"/>
                <a:gd name="connsiteY54" fmla="*/ 554512 h 709205"/>
                <a:gd name="connsiteX55" fmla="*/ 187852 w 1223394"/>
                <a:gd name="connsiteY55" fmla="*/ 554512 h 709205"/>
                <a:gd name="connsiteX0" fmla="*/ 110754 w 1146296"/>
                <a:gd name="connsiteY0" fmla="*/ 554512 h 649224"/>
                <a:gd name="connsiteX1" fmla="*/ 12440 w 1146296"/>
                <a:gd name="connsiteY1" fmla="*/ 649224 h 649224"/>
                <a:gd name="connsiteX2" fmla="*/ 113024 w 1146296"/>
                <a:gd name="connsiteY2" fmla="*/ 548640 h 649224"/>
                <a:gd name="connsiteX3" fmla="*/ 241040 w 1146296"/>
                <a:gd name="connsiteY3" fmla="*/ 493776 h 649224"/>
                <a:gd name="connsiteX4" fmla="*/ 341624 w 1146296"/>
                <a:gd name="connsiteY4" fmla="*/ 466344 h 649224"/>
                <a:gd name="connsiteX5" fmla="*/ 442208 w 1146296"/>
                <a:gd name="connsiteY5" fmla="*/ 384048 h 649224"/>
                <a:gd name="connsiteX6" fmla="*/ 634232 w 1146296"/>
                <a:gd name="connsiteY6" fmla="*/ 301752 h 649224"/>
                <a:gd name="connsiteX7" fmla="*/ 716528 w 1146296"/>
                <a:gd name="connsiteY7" fmla="*/ 192024 h 649224"/>
                <a:gd name="connsiteX8" fmla="*/ 862832 w 1146296"/>
                <a:gd name="connsiteY8" fmla="*/ 155448 h 649224"/>
                <a:gd name="connsiteX9" fmla="*/ 908552 w 1146296"/>
                <a:gd name="connsiteY9" fmla="*/ 155448 h 649224"/>
                <a:gd name="connsiteX10" fmla="*/ 945128 w 1146296"/>
                <a:gd name="connsiteY10" fmla="*/ 137160 h 649224"/>
                <a:gd name="connsiteX11" fmla="*/ 899408 w 1146296"/>
                <a:gd name="connsiteY11" fmla="*/ 137160 h 649224"/>
                <a:gd name="connsiteX12" fmla="*/ 807968 w 1146296"/>
                <a:gd name="connsiteY12" fmla="*/ 137160 h 649224"/>
                <a:gd name="connsiteX13" fmla="*/ 753104 w 1146296"/>
                <a:gd name="connsiteY13" fmla="*/ 146304 h 649224"/>
                <a:gd name="connsiteX14" fmla="*/ 743960 w 1146296"/>
                <a:gd name="connsiteY14" fmla="*/ 155448 h 649224"/>
                <a:gd name="connsiteX15" fmla="*/ 725672 w 1146296"/>
                <a:gd name="connsiteY15" fmla="*/ 146304 h 649224"/>
                <a:gd name="connsiteX16" fmla="*/ 853688 w 1146296"/>
                <a:gd name="connsiteY16" fmla="*/ 91440 h 649224"/>
                <a:gd name="connsiteX17" fmla="*/ 908552 w 1146296"/>
                <a:gd name="connsiteY17" fmla="*/ 91440 h 649224"/>
                <a:gd name="connsiteX18" fmla="*/ 999992 w 1146296"/>
                <a:gd name="connsiteY18" fmla="*/ 82296 h 649224"/>
                <a:gd name="connsiteX19" fmla="*/ 1128008 w 1146296"/>
                <a:gd name="connsiteY19" fmla="*/ 27432 h 649224"/>
                <a:gd name="connsiteX20" fmla="*/ 1109720 w 1146296"/>
                <a:gd name="connsiteY20" fmla="*/ 0 h 649224"/>
                <a:gd name="connsiteX21" fmla="*/ 1073144 w 1146296"/>
                <a:gd name="connsiteY21" fmla="*/ 27432 h 649224"/>
                <a:gd name="connsiteX22" fmla="*/ 1036568 w 1146296"/>
                <a:gd name="connsiteY22" fmla="*/ 36576 h 649224"/>
                <a:gd name="connsiteX23" fmla="*/ 963416 w 1146296"/>
                <a:gd name="connsiteY23" fmla="*/ 64008 h 649224"/>
                <a:gd name="connsiteX24" fmla="*/ 908552 w 1146296"/>
                <a:gd name="connsiteY24" fmla="*/ 64008 h 649224"/>
                <a:gd name="connsiteX25" fmla="*/ 798824 w 1146296"/>
                <a:gd name="connsiteY25" fmla="*/ 64008 h 649224"/>
                <a:gd name="connsiteX26" fmla="*/ 743960 w 1146296"/>
                <a:gd name="connsiteY26" fmla="*/ 100584 h 649224"/>
                <a:gd name="connsiteX27" fmla="*/ 707384 w 1146296"/>
                <a:gd name="connsiteY27" fmla="*/ 146304 h 649224"/>
                <a:gd name="connsiteX28" fmla="*/ 661664 w 1146296"/>
                <a:gd name="connsiteY28" fmla="*/ 182880 h 649224"/>
                <a:gd name="connsiteX29" fmla="*/ 615944 w 1146296"/>
                <a:gd name="connsiteY29" fmla="*/ 256032 h 649224"/>
                <a:gd name="connsiteX30" fmla="*/ 542792 w 1146296"/>
                <a:gd name="connsiteY30" fmla="*/ 301752 h 649224"/>
                <a:gd name="connsiteX31" fmla="*/ 442208 w 1146296"/>
                <a:gd name="connsiteY31" fmla="*/ 347472 h 649224"/>
                <a:gd name="connsiteX32" fmla="*/ 405632 w 1146296"/>
                <a:gd name="connsiteY32" fmla="*/ 374904 h 649224"/>
                <a:gd name="connsiteX33" fmla="*/ 359912 w 1146296"/>
                <a:gd name="connsiteY33" fmla="*/ 402336 h 649224"/>
                <a:gd name="connsiteX34" fmla="*/ 341624 w 1146296"/>
                <a:gd name="connsiteY34" fmla="*/ 402336 h 649224"/>
                <a:gd name="connsiteX35" fmla="*/ 359912 w 1146296"/>
                <a:gd name="connsiteY35" fmla="*/ 365760 h 649224"/>
                <a:gd name="connsiteX36" fmla="*/ 414776 w 1146296"/>
                <a:gd name="connsiteY36" fmla="*/ 301752 h 649224"/>
                <a:gd name="connsiteX37" fmla="*/ 506216 w 1146296"/>
                <a:gd name="connsiteY37" fmla="*/ 219456 h 649224"/>
                <a:gd name="connsiteX38" fmla="*/ 551936 w 1146296"/>
                <a:gd name="connsiteY38" fmla="*/ 146304 h 649224"/>
                <a:gd name="connsiteX39" fmla="*/ 551936 w 1146296"/>
                <a:gd name="connsiteY39" fmla="*/ 64008 h 649224"/>
                <a:gd name="connsiteX40" fmla="*/ 542792 w 1146296"/>
                <a:gd name="connsiteY40" fmla="*/ 54864 h 649224"/>
                <a:gd name="connsiteX41" fmla="*/ 533648 w 1146296"/>
                <a:gd name="connsiteY41" fmla="*/ 128016 h 649224"/>
                <a:gd name="connsiteX42" fmla="*/ 506216 w 1146296"/>
                <a:gd name="connsiteY42" fmla="*/ 173736 h 649224"/>
                <a:gd name="connsiteX43" fmla="*/ 433064 w 1146296"/>
                <a:gd name="connsiteY43" fmla="*/ 237744 h 649224"/>
                <a:gd name="connsiteX44" fmla="*/ 405632 w 1146296"/>
                <a:gd name="connsiteY44" fmla="*/ 256032 h 649224"/>
                <a:gd name="connsiteX45" fmla="*/ 332480 w 1146296"/>
                <a:gd name="connsiteY45" fmla="*/ 347472 h 649224"/>
                <a:gd name="connsiteX46" fmla="*/ 323336 w 1146296"/>
                <a:gd name="connsiteY46" fmla="*/ 374904 h 649224"/>
                <a:gd name="connsiteX47" fmla="*/ 314192 w 1146296"/>
                <a:gd name="connsiteY47" fmla="*/ 411480 h 649224"/>
                <a:gd name="connsiteX48" fmla="*/ 332480 w 1146296"/>
                <a:gd name="connsiteY48" fmla="*/ 429768 h 649224"/>
                <a:gd name="connsiteX49" fmla="*/ 286760 w 1146296"/>
                <a:gd name="connsiteY49" fmla="*/ 457200 h 649224"/>
                <a:gd name="connsiteX50" fmla="*/ 140456 w 1146296"/>
                <a:gd name="connsiteY50" fmla="*/ 493776 h 649224"/>
                <a:gd name="connsiteX51" fmla="*/ 94736 w 1146296"/>
                <a:gd name="connsiteY51" fmla="*/ 530352 h 649224"/>
                <a:gd name="connsiteX52" fmla="*/ 12440 w 1146296"/>
                <a:gd name="connsiteY52" fmla="*/ 585216 h 649224"/>
                <a:gd name="connsiteX53" fmla="*/ 20096 w 1146296"/>
                <a:gd name="connsiteY53" fmla="*/ 612769 h 649224"/>
                <a:gd name="connsiteX54" fmla="*/ 110755 w 1146296"/>
                <a:gd name="connsiteY54" fmla="*/ 554512 h 649224"/>
                <a:gd name="connsiteX55" fmla="*/ 110754 w 1146296"/>
                <a:gd name="connsiteY55" fmla="*/ 554512 h 649224"/>
                <a:gd name="connsiteX0" fmla="*/ 101388 w 1136930"/>
                <a:gd name="connsiteY0" fmla="*/ 554512 h 649224"/>
                <a:gd name="connsiteX1" fmla="*/ 3074 w 1136930"/>
                <a:gd name="connsiteY1" fmla="*/ 649224 h 649224"/>
                <a:gd name="connsiteX2" fmla="*/ 103658 w 1136930"/>
                <a:gd name="connsiteY2" fmla="*/ 548640 h 649224"/>
                <a:gd name="connsiteX3" fmla="*/ 231674 w 1136930"/>
                <a:gd name="connsiteY3" fmla="*/ 493776 h 649224"/>
                <a:gd name="connsiteX4" fmla="*/ 332258 w 1136930"/>
                <a:gd name="connsiteY4" fmla="*/ 466344 h 649224"/>
                <a:gd name="connsiteX5" fmla="*/ 432842 w 1136930"/>
                <a:gd name="connsiteY5" fmla="*/ 384048 h 649224"/>
                <a:gd name="connsiteX6" fmla="*/ 624866 w 1136930"/>
                <a:gd name="connsiteY6" fmla="*/ 301752 h 649224"/>
                <a:gd name="connsiteX7" fmla="*/ 707162 w 1136930"/>
                <a:gd name="connsiteY7" fmla="*/ 192024 h 649224"/>
                <a:gd name="connsiteX8" fmla="*/ 853466 w 1136930"/>
                <a:gd name="connsiteY8" fmla="*/ 155448 h 649224"/>
                <a:gd name="connsiteX9" fmla="*/ 899186 w 1136930"/>
                <a:gd name="connsiteY9" fmla="*/ 155448 h 649224"/>
                <a:gd name="connsiteX10" fmla="*/ 935762 w 1136930"/>
                <a:gd name="connsiteY10" fmla="*/ 137160 h 649224"/>
                <a:gd name="connsiteX11" fmla="*/ 890042 w 1136930"/>
                <a:gd name="connsiteY11" fmla="*/ 137160 h 649224"/>
                <a:gd name="connsiteX12" fmla="*/ 798602 w 1136930"/>
                <a:gd name="connsiteY12" fmla="*/ 137160 h 649224"/>
                <a:gd name="connsiteX13" fmla="*/ 743738 w 1136930"/>
                <a:gd name="connsiteY13" fmla="*/ 146304 h 649224"/>
                <a:gd name="connsiteX14" fmla="*/ 734594 w 1136930"/>
                <a:gd name="connsiteY14" fmla="*/ 155448 h 649224"/>
                <a:gd name="connsiteX15" fmla="*/ 716306 w 1136930"/>
                <a:gd name="connsiteY15" fmla="*/ 146304 h 649224"/>
                <a:gd name="connsiteX16" fmla="*/ 844322 w 1136930"/>
                <a:gd name="connsiteY16" fmla="*/ 91440 h 649224"/>
                <a:gd name="connsiteX17" fmla="*/ 899186 w 1136930"/>
                <a:gd name="connsiteY17" fmla="*/ 91440 h 649224"/>
                <a:gd name="connsiteX18" fmla="*/ 990626 w 1136930"/>
                <a:gd name="connsiteY18" fmla="*/ 82296 h 649224"/>
                <a:gd name="connsiteX19" fmla="*/ 1118642 w 1136930"/>
                <a:gd name="connsiteY19" fmla="*/ 27432 h 649224"/>
                <a:gd name="connsiteX20" fmla="*/ 1100354 w 1136930"/>
                <a:gd name="connsiteY20" fmla="*/ 0 h 649224"/>
                <a:gd name="connsiteX21" fmla="*/ 1063778 w 1136930"/>
                <a:gd name="connsiteY21" fmla="*/ 27432 h 649224"/>
                <a:gd name="connsiteX22" fmla="*/ 1027202 w 1136930"/>
                <a:gd name="connsiteY22" fmla="*/ 36576 h 649224"/>
                <a:gd name="connsiteX23" fmla="*/ 954050 w 1136930"/>
                <a:gd name="connsiteY23" fmla="*/ 64008 h 649224"/>
                <a:gd name="connsiteX24" fmla="*/ 899186 w 1136930"/>
                <a:gd name="connsiteY24" fmla="*/ 64008 h 649224"/>
                <a:gd name="connsiteX25" fmla="*/ 789458 w 1136930"/>
                <a:gd name="connsiteY25" fmla="*/ 64008 h 649224"/>
                <a:gd name="connsiteX26" fmla="*/ 734594 w 1136930"/>
                <a:gd name="connsiteY26" fmla="*/ 100584 h 649224"/>
                <a:gd name="connsiteX27" fmla="*/ 698018 w 1136930"/>
                <a:gd name="connsiteY27" fmla="*/ 146304 h 649224"/>
                <a:gd name="connsiteX28" fmla="*/ 652298 w 1136930"/>
                <a:gd name="connsiteY28" fmla="*/ 182880 h 649224"/>
                <a:gd name="connsiteX29" fmla="*/ 606578 w 1136930"/>
                <a:gd name="connsiteY29" fmla="*/ 256032 h 649224"/>
                <a:gd name="connsiteX30" fmla="*/ 533426 w 1136930"/>
                <a:gd name="connsiteY30" fmla="*/ 301752 h 649224"/>
                <a:gd name="connsiteX31" fmla="*/ 432842 w 1136930"/>
                <a:gd name="connsiteY31" fmla="*/ 347472 h 649224"/>
                <a:gd name="connsiteX32" fmla="*/ 396266 w 1136930"/>
                <a:gd name="connsiteY32" fmla="*/ 374904 h 649224"/>
                <a:gd name="connsiteX33" fmla="*/ 350546 w 1136930"/>
                <a:gd name="connsiteY33" fmla="*/ 402336 h 649224"/>
                <a:gd name="connsiteX34" fmla="*/ 332258 w 1136930"/>
                <a:gd name="connsiteY34" fmla="*/ 402336 h 649224"/>
                <a:gd name="connsiteX35" fmla="*/ 350546 w 1136930"/>
                <a:gd name="connsiteY35" fmla="*/ 365760 h 649224"/>
                <a:gd name="connsiteX36" fmla="*/ 405410 w 1136930"/>
                <a:gd name="connsiteY36" fmla="*/ 301752 h 649224"/>
                <a:gd name="connsiteX37" fmla="*/ 496850 w 1136930"/>
                <a:gd name="connsiteY37" fmla="*/ 219456 h 649224"/>
                <a:gd name="connsiteX38" fmla="*/ 542570 w 1136930"/>
                <a:gd name="connsiteY38" fmla="*/ 146304 h 649224"/>
                <a:gd name="connsiteX39" fmla="*/ 542570 w 1136930"/>
                <a:gd name="connsiteY39" fmla="*/ 64008 h 649224"/>
                <a:gd name="connsiteX40" fmla="*/ 533426 w 1136930"/>
                <a:gd name="connsiteY40" fmla="*/ 54864 h 649224"/>
                <a:gd name="connsiteX41" fmla="*/ 524282 w 1136930"/>
                <a:gd name="connsiteY41" fmla="*/ 128016 h 649224"/>
                <a:gd name="connsiteX42" fmla="*/ 496850 w 1136930"/>
                <a:gd name="connsiteY42" fmla="*/ 173736 h 649224"/>
                <a:gd name="connsiteX43" fmla="*/ 423698 w 1136930"/>
                <a:gd name="connsiteY43" fmla="*/ 237744 h 649224"/>
                <a:gd name="connsiteX44" fmla="*/ 396266 w 1136930"/>
                <a:gd name="connsiteY44" fmla="*/ 256032 h 649224"/>
                <a:gd name="connsiteX45" fmla="*/ 323114 w 1136930"/>
                <a:gd name="connsiteY45" fmla="*/ 347472 h 649224"/>
                <a:gd name="connsiteX46" fmla="*/ 313970 w 1136930"/>
                <a:gd name="connsiteY46" fmla="*/ 374904 h 649224"/>
                <a:gd name="connsiteX47" fmla="*/ 304826 w 1136930"/>
                <a:gd name="connsiteY47" fmla="*/ 411480 h 649224"/>
                <a:gd name="connsiteX48" fmla="*/ 323114 w 1136930"/>
                <a:gd name="connsiteY48" fmla="*/ 429768 h 649224"/>
                <a:gd name="connsiteX49" fmla="*/ 277394 w 1136930"/>
                <a:gd name="connsiteY49" fmla="*/ 457200 h 649224"/>
                <a:gd name="connsiteX50" fmla="*/ 131090 w 1136930"/>
                <a:gd name="connsiteY50" fmla="*/ 493776 h 649224"/>
                <a:gd name="connsiteX51" fmla="*/ 85370 w 1136930"/>
                <a:gd name="connsiteY51" fmla="*/ 530352 h 649224"/>
                <a:gd name="connsiteX52" fmla="*/ 3074 w 1136930"/>
                <a:gd name="connsiteY52" fmla="*/ 585216 h 649224"/>
                <a:gd name="connsiteX53" fmla="*/ 103816 w 1136930"/>
                <a:gd name="connsiteY53" fmla="*/ 555040 h 649224"/>
                <a:gd name="connsiteX54" fmla="*/ 101389 w 1136930"/>
                <a:gd name="connsiteY54" fmla="*/ 554512 h 649224"/>
                <a:gd name="connsiteX55" fmla="*/ 101388 w 1136930"/>
                <a:gd name="connsiteY55" fmla="*/ 554512 h 649224"/>
                <a:gd name="connsiteX0" fmla="*/ 101388 w 1136930"/>
                <a:gd name="connsiteY0" fmla="*/ 554512 h 589331"/>
                <a:gd name="connsiteX1" fmla="*/ 103816 w 1136930"/>
                <a:gd name="connsiteY1" fmla="*/ 555041 h 589331"/>
                <a:gd name="connsiteX2" fmla="*/ 103658 w 1136930"/>
                <a:gd name="connsiteY2" fmla="*/ 548640 h 589331"/>
                <a:gd name="connsiteX3" fmla="*/ 231674 w 1136930"/>
                <a:gd name="connsiteY3" fmla="*/ 493776 h 589331"/>
                <a:gd name="connsiteX4" fmla="*/ 332258 w 1136930"/>
                <a:gd name="connsiteY4" fmla="*/ 466344 h 589331"/>
                <a:gd name="connsiteX5" fmla="*/ 432842 w 1136930"/>
                <a:gd name="connsiteY5" fmla="*/ 384048 h 589331"/>
                <a:gd name="connsiteX6" fmla="*/ 624866 w 1136930"/>
                <a:gd name="connsiteY6" fmla="*/ 301752 h 589331"/>
                <a:gd name="connsiteX7" fmla="*/ 707162 w 1136930"/>
                <a:gd name="connsiteY7" fmla="*/ 192024 h 589331"/>
                <a:gd name="connsiteX8" fmla="*/ 853466 w 1136930"/>
                <a:gd name="connsiteY8" fmla="*/ 155448 h 589331"/>
                <a:gd name="connsiteX9" fmla="*/ 899186 w 1136930"/>
                <a:gd name="connsiteY9" fmla="*/ 155448 h 589331"/>
                <a:gd name="connsiteX10" fmla="*/ 935762 w 1136930"/>
                <a:gd name="connsiteY10" fmla="*/ 137160 h 589331"/>
                <a:gd name="connsiteX11" fmla="*/ 890042 w 1136930"/>
                <a:gd name="connsiteY11" fmla="*/ 137160 h 589331"/>
                <a:gd name="connsiteX12" fmla="*/ 798602 w 1136930"/>
                <a:gd name="connsiteY12" fmla="*/ 137160 h 589331"/>
                <a:gd name="connsiteX13" fmla="*/ 743738 w 1136930"/>
                <a:gd name="connsiteY13" fmla="*/ 146304 h 589331"/>
                <a:gd name="connsiteX14" fmla="*/ 734594 w 1136930"/>
                <a:gd name="connsiteY14" fmla="*/ 155448 h 589331"/>
                <a:gd name="connsiteX15" fmla="*/ 716306 w 1136930"/>
                <a:gd name="connsiteY15" fmla="*/ 146304 h 589331"/>
                <a:gd name="connsiteX16" fmla="*/ 844322 w 1136930"/>
                <a:gd name="connsiteY16" fmla="*/ 91440 h 589331"/>
                <a:gd name="connsiteX17" fmla="*/ 899186 w 1136930"/>
                <a:gd name="connsiteY17" fmla="*/ 91440 h 589331"/>
                <a:gd name="connsiteX18" fmla="*/ 990626 w 1136930"/>
                <a:gd name="connsiteY18" fmla="*/ 82296 h 589331"/>
                <a:gd name="connsiteX19" fmla="*/ 1118642 w 1136930"/>
                <a:gd name="connsiteY19" fmla="*/ 27432 h 589331"/>
                <a:gd name="connsiteX20" fmla="*/ 1100354 w 1136930"/>
                <a:gd name="connsiteY20" fmla="*/ 0 h 589331"/>
                <a:gd name="connsiteX21" fmla="*/ 1063778 w 1136930"/>
                <a:gd name="connsiteY21" fmla="*/ 27432 h 589331"/>
                <a:gd name="connsiteX22" fmla="*/ 1027202 w 1136930"/>
                <a:gd name="connsiteY22" fmla="*/ 36576 h 589331"/>
                <a:gd name="connsiteX23" fmla="*/ 954050 w 1136930"/>
                <a:gd name="connsiteY23" fmla="*/ 64008 h 589331"/>
                <a:gd name="connsiteX24" fmla="*/ 899186 w 1136930"/>
                <a:gd name="connsiteY24" fmla="*/ 64008 h 589331"/>
                <a:gd name="connsiteX25" fmla="*/ 789458 w 1136930"/>
                <a:gd name="connsiteY25" fmla="*/ 64008 h 589331"/>
                <a:gd name="connsiteX26" fmla="*/ 734594 w 1136930"/>
                <a:gd name="connsiteY26" fmla="*/ 100584 h 589331"/>
                <a:gd name="connsiteX27" fmla="*/ 698018 w 1136930"/>
                <a:gd name="connsiteY27" fmla="*/ 146304 h 589331"/>
                <a:gd name="connsiteX28" fmla="*/ 652298 w 1136930"/>
                <a:gd name="connsiteY28" fmla="*/ 182880 h 589331"/>
                <a:gd name="connsiteX29" fmla="*/ 606578 w 1136930"/>
                <a:gd name="connsiteY29" fmla="*/ 256032 h 589331"/>
                <a:gd name="connsiteX30" fmla="*/ 533426 w 1136930"/>
                <a:gd name="connsiteY30" fmla="*/ 301752 h 589331"/>
                <a:gd name="connsiteX31" fmla="*/ 432842 w 1136930"/>
                <a:gd name="connsiteY31" fmla="*/ 347472 h 589331"/>
                <a:gd name="connsiteX32" fmla="*/ 396266 w 1136930"/>
                <a:gd name="connsiteY32" fmla="*/ 374904 h 589331"/>
                <a:gd name="connsiteX33" fmla="*/ 350546 w 1136930"/>
                <a:gd name="connsiteY33" fmla="*/ 402336 h 589331"/>
                <a:gd name="connsiteX34" fmla="*/ 332258 w 1136930"/>
                <a:gd name="connsiteY34" fmla="*/ 402336 h 589331"/>
                <a:gd name="connsiteX35" fmla="*/ 350546 w 1136930"/>
                <a:gd name="connsiteY35" fmla="*/ 365760 h 589331"/>
                <a:gd name="connsiteX36" fmla="*/ 405410 w 1136930"/>
                <a:gd name="connsiteY36" fmla="*/ 301752 h 589331"/>
                <a:gd name="connsiteX37" fmla="*/ 496850 w 1136930"/>
                <a:gd name="connsiteY37" fmla="*/ 219456 h 589331"/>
                <a:gd name="connsiteX38" fmla="*/ 542570 w 1136930"/>
                <a:gd name="connsiteY38" fmla="*/ 146304 h 589331"/>
                <a:gd name="connsiteX39" fmla="*/ 542570 w 1136930"/>
                <a:gd name="connsiteY39" fmla="*/ 64008 h 589331"/>
                <a:gd name="connsiteX40" fmla="*/ 533426 w 1136930"/>
                <a:gd name="connsiteY40" fmla="*/ 54864 h 589331"/>
                <a:gd name="connsiteX41" fmla="*/ 524282 w 1136930"/>
                <a:gd name="connsiteY41" fmla="*/ 128016 h 589331"/>
                <a:gd name="connsiteX42" fmla="*/ 496850 w 1136930"/>
                <a:gd name="connsiteY42" fmla="*/ 173736 h 589331"/>
                <a:gd name="connsiteX43" fmla="*/ 423698 w 1136930"/>
                <a:gd name="connsiteY43" fmla="*/ 237744 h 589331"/>
                <a:gd name="connsiteX44" fmla="*/ 396266 w 1136930"/>
                <a:gd name="connsiteY44" fmla="*/ 256032 h 589331"/>
                <a:gd name="connsiteX45" fmla="*/ 323114 w 1136930"/>
                <a:gd name="connsiteY45" fmla="*/ 347472 h 589331"/>
                <a:gd name="connsiteX46" fmla="*/ 313970 w 1136930"/>
                <a:gd name="connsiteY46" fmla="*/ 374904 h 589331"/>
                <a:gd name="connsiteX47" fmla="*/ 304826 w 1136930"/>
                <a:gd name="connsiteY47" fmla="*/ 411480 h 589331"/>
                <a:gd name="connsiteX48" fmla="*/ 323114 w 1136930"/>
                <a:gd name="connsiteY48" fmla="*/ 429768 h 589331"/>
                <a:gd name="connsiteX49" fmla="*/ 277394 w 1136930"/>
                <a:gd name="connsiteY49" fmla="*/ 457200 h 589331"/>
                <a:gd name="connsiteX50" fmla="*/ 131090 w 1136930"/>
                <a:gd name="connsiteY50" fmla="*/ 493776 h 589331"/>
                <a:gd name="connsiteX51" fmla="*/ 85370 w 1136930"/>
                <a:gd name="connsiteY51" fmla="*/ 530352 h 589331"/>
                <a:gd name="connsiteX52" fmla="*/ 3074 w 1136930"/>
                <a:gd name="connsiteY52" fmla="*/ 585216 h 589331"/>
                <a:gd name="connsiteX53" fmla="*/ 103816 w 1136930"/>
                <a:gd name="connsiteY53" fmla="*/ 555040 h 589331"/>
                <a:gd name="connsiteX54" fmla="*/ 101389 w 1136930"/>
                <a:gd name="connsiteY54" fmla="*/ 554512 h 589331"/>
                <a:gd name="connsiteX55" fmla="*/ 101388 w 1136930"/>
                <a:gd name="connsiteY55" fmla="*/ 554512 h 589331"/>
                <a:gd name="connsiteX0" fmla="*/ 19040 w 1054582"/>
                <a:gd name="connsiteY0" fmla="*/ 554512 h 567361"/>
                <a:gd name="connsiteX1" fmla="*/ 21468 w 1054582"/>
                <a:gd name="connsiteY1" fmla="*/ 555041 h 567361"/>
                <a:gd name="connsiteX2" fmla="*/ 21310 w 1054582"/>
                <a:gd name="connsiteY2" fmla="*/ 548640 h 567361"/>
                <a:gd name="connsiteX3" fmla="*/ 149326 w 1054582"/>
                <a:gd name="connsiteY3" fmla="*/ 493776 h 567361"/>
                <a:gd name="connsiteX4" fmla="*/ 249910 w 1054582"/>
                <a:gd name="connsiteY4" fmla="*/ 466344 h 567361"/>
                <a:gd name="connsiteX5" fmla="*/ 350494 w 1054582"/>
                <a:gd name="connsiteY5" fmla="*/ 384048 h 567361"/>
                <a:gd name="connsiteX6" fmla="*/ 542518 w 1054582"/>
                <a:gd name="connsiteY6" fmla="*/ 301752 h 567361"/>
                <a:gd name="connsiteX7" fmla="*/ 624814 w 1054582"/>
                <a:gd name="connsiteY7" fmla="*/ 192024 h 567361"/>
                <a:gd name="connsiteX8" fmla="*/ 771118 w 1054582"/>
                <a:gd name="connsiteY8" fmla="*/ 155448 h 567361"/>
                <a:gd name="connsiteX9" fmla="*/ 816838 w 1054582"/>
                <a:gd name="connsiteY9" fmla="*/ 155448 h 567361"/>
                <a:gd name="connsiteX10" fmla="*/ 853414 w 1054582"/>
                <a:gd name="connsiteY10" fmla="*/ 137160 h 567361"/>
                <a:gd name="connsiteX11" fmla="*/ 807694 w 1054582"/>
                <a:gd name="connsiteY11" fmla="*/ 137160 h 567361"/>
                <a:gd name="connsiteX12" fmla="*/ 716254 w 1054582"/>
                <a:gd name="connsiteY12" fmla="*/ 137160 h 567361"/>
                <a:gd name="connsiteX13" fmla="*/ 661390 w 1054582"/>
                <a:gd name="connsiteY13" fmla="*/ 146304 h 567361"/>
                <a:gd name="connsiteX14" fmla="*/ 652246 w 1054582"/>
                <a:gd name="connsiteY14" fmla="*/ 155448 h 567361"/>
                <a:gd name="connsiteX15" fmla="*/ 633958 w 1054582"/>
                <a:gd name="connsiteY15" fmla="*/ 146304 h 567361"/>
                <a:gd name="connsiteX16" fmla="*/ 761974 w 1054582"/>
                <a:gd name="connsiteY16" fmla="*/ 91440 h 567361"/>
                <a:gd name="connsiteX17" fmla="*/ 816838 w 1054582"/>
                <a:gd name="connsiteY17" fmla="*/ 91440 h 567361"/>
                <a:gd name="connsiteX18" fmla="*/ 908278 w 1054582"/>
                <a:gd name="connsiteY18" fmla="*/ 82296 h 567361"/>
                <a:gd name="connsiteX19" fmla="*/ 1036294 w 1054582"/>
                <a:gd name="connsiteY19" fmla="*/ 27432 h 567361"/>
                <a:gd name="connsiteX20" fmla="*/ 1018006 w 1054582"/>
                <a:gd name="connsiteY20" fmla="*/ 0 h 567361"/>
                <a:gd name="connsiteX21" fmla="*/ 981430 w 1054582"/>
                <a:gd name="connsiteY21" fmla="*/ 27432 h 567361"/>
                <a:gd name="connsiteX22" fmla="*/ 944854 w 1054582"/>
                <a:gd name="connsiteY22" fmla="*/ 36576 h 567361"/>
                <a:gd name="connsiteX23" fmla="*/ 871702 w 1054582"/>
                <a:gd name="connsiteY23" fmla="*/ 64008 h 567361"/>
                <a:gd name="connsiteX24" fmla="*/ 816838 w 1054582"/>
                <a:gd name="connsiteY24" fmla="*/ 64008 h 567361"/>
                <a:gd name="connsiteX25" fmla="*/ 707110 w 1054582"/>
                <a:gd name="connsiteY25" fmla="*/ 64008 h 567361"/>
                <a:gd name="connsiteX26" fmla="*/ 652246 w 1054582"/>
                <a:gd name="connsiteY26" fmla="*/ 100584 h 567361"/>
                <a:gd name="connsiteX27" fmla="*/ 615670 w 1054582"/>
                <a:gd name="connsiteY27" fmla="*/ 146304 h 567361"/>
                <a:gd name="connsiteX28" fmla="*/ 569950 w 1054582"/>
                <a:gd name="connsiteY28" fmla="*/ 182880 h 567361"/>
                <a:gd name="connsiteX29" fmla="*/ 524230 w 1054582"/>
                <a:gd name="connsiteY29" fmla="*/ 256032 h 567361"/>
                <a:gd name="connsiteX30" fmla="*/ 451078 w 1054582"/>
                <a:gd name="connsiteY30" fmla="*/ 301752 h 567361"/>
                <a:gd name="connsiteX31" fmla="*/ 350494 w 1054582"/>
                <a:gd name="connsiteY31" fmla="*/ 347472 h 567361"/>
                <a:gd name="connsiteX32" fmla="*/ 313918 w 1054582"/>
                <a:gd name="connsiteY32" fmla="*/ 374904 h 567361"/>
                <a:gd name="connsiteX33" fmla="*/ 268198 w 1054582"/>
                <a:gd name="connsiteY33" fmla="*/ 402336 h 567361"/>
                <a:gd name="connsiteX34" fmla="*/ 249910 w 1054582"/>
                <a:gd name="connsiteY34" fmla="*/ 402336 h 567361"/>
                <a:gd name="connsiteX35" fmla="*/ 268198 w 1054582"/>
                <a:gd name="connsiteY35" fmla="*/ 365760 h 567361"/>
                <a:gd name="connsiteX36" fmla="*/ 323062 w 1054582"/>
                <a:gd name="connsiteY36" fmla="*/ 301752 h 567361"/>
                <a:gd name="connsiteX37" fmla="*/ 414502 w 1054582"/>
                <a:gd name="connsiteY37" fmla="*/ 219456 h 567361"/>
                <a:gd name="connsiteX38" fmla="*/ 460222 w 1054582"/>
                <a:gd name="connsiteY38" fmla="*/ 146304 h 567361"/>
                <a:gd name="connsiteX39" fmla="*/ 460222 w 1054582"/>
                <a:gd name="connsiteY39" fmla="*/ 64008 h 567361"/>
                <a:gd name="connsiteX40" fmla="*/ 451078 w 1054582"/>
                <a:gd name="connsiteY40" fmla="*/ 54864 h 567361"/>
                <a:gd name="connsiteX41" fmla="*/ 441934 w 1054582"/>
                <a:gd name="connsiteY41" fmla="*/ 128016 h 567361"/>
                <a:gd name="connsiteX42" fmla="*/ 414502 w 1054582"/>
                <a:gd name="connsiteY42" fmla="*/ 173736 h 567361"/>
                <a:gd name="connsiteX43" fmla="*/ 341350 w 1054582"/>
                <a:gd name="connsiteY43" fmla="*/ 237744 h 567361"/>
                <a:gd name="connsiteX44" fmla="*/ 313918 w 1054582"/>
                <a:gd name="connsiteY44" fmla="*/ 256032 h 567361"/>
                <a:gd name="connsiteX45" fmla="*/ 240766 w 1054582"/>
                <a:gd name="connsiteY45" fmla="*/ 347472 h 567361"/>
                <a:gd name="connsiteX46" fmla="*/ 231622 w 1054582"/>
                <a:gd name="connsiteY46" fmla="*/ 374904 h 567361"/>
                <a:gd name="connsiteX47" fmla="*/ 222478 w 1054582"/>
                <a:gd name="connsiteY47" fmla="*/ 411480 h 567361"/>
                <a:gd name="connsiteX48" fmla="*/ 240766 w 1054582"/>
                <a:gd name="connsiteY48" fmla="*/ 429768 h 567361"/>
                <a:gd name="connsiteX49" fmla="*/ 195046 w 1054582"/>
                <a:gd name="connsiteY49" fmla="*/ 457200 h 567361"/>
                <a:gd name="connsiteX50" fmla="*/ 48742 w 1054582"/>
                <a:gd name="connsiteY50" fmla="*/ 493776 h 567361"/>
                <a:gd name="connsiteX51" fmla="*/ 3022 w 1054582"/>
                <a:gd name="connsiteY51" fmla="*/ 530352 h 567361"/>
                <a:gd name="connsiteX52" fmla="*/ 37669 w 1054582"/>
                <a:gd name="connsiteY52" fmla="*/ 480583 h 567361"/>
                <a:gd name="connsiteX53" fmla="*/ 21468 w 1054582"/>
                <a:gd name="connsiteY53" fmla="*/ 555040 h 567361"/>
                <a:gd name="connsiteX54" fmla="*/ 19041 w 1054582"/>
                <a:gd name="connsiteY54" fmla="*/ 554512 h 567361"/>
                <a:gd name="connsiteX55" fmla="*/ 19040 w 1054582"/>
                <a:gd name="connsiteY55" fmla="*/ 554512 h 567361"/>
                <a:gd name="connsiteX0" fmla="*/ 112127 w 1054582"/>
                <a:gd name="connsiteY0" fmla="*/ 496784 h 567361"/>
                <a:gd name="connsiteX1" fmla="*/ 21468 w 1054582"/>
                <a:gd name="connsiteY1" fmla="*/ 555041 h 567361"/>
                <a:gd name="connsiteX2" fmla="*/ 21310 w 1054582"/>
                <a:gd name="connsiteY2" fmla="*/ 548640 h 567361"/>
                <a:gd name="connsiteX3" fmla="*/ 149326 w 1054582"/>
                <a:gd name="connsiteY3" fmla="*/ 493776 h 567361"/>
                <a:gd name="connsiteX4" fmla="*/ 249910 w 1054582"/>
                <a:gd name="connsiteY4" fmla="*/ 466344 h 567361"/>
                <a:gd name="connsiteX5" fmla="*/ 350494 w 1054582"/>
                <a:gd name="connsiteY5" fmla="*/ 384048 h 567361"/>
                <a:gd name="connsiteX6" fmla="*/ 542518 w 1054582"/>
                <a:gd name="connsiteY6" fmla="*/ 301752 h 567361"/>
                <a:gd name="connsiteX7" fmla="*/ 624814 w 1054582"/>
                <a:gd name="connsiteY7" fmla="*/ 192024 h 567361"/>
                <a:gd name="connsiteX8" fmla="*/ 771118 w 1054582"/>
                <a:gd name="connsiteY8" fmla="*/ 155448 h 567361"/>
                <a:gd name="connsiteX9" fmla="*/ 816838 w 1054582"/>
                <a:gd name="connsiteY9" fmla="*/ 155448 h 567361"/>
                <a:gd name="connsiteX10" fmla="*/ 853414 w 1054582"/>
                <a:gd name="connsiteY10" fmla="*/ 137160 h 567361"/>
                <a:gd name="connsiteX11" fmla="*/ 807694 w 1054582"/>
                <a:gd name="connsiteY11" fmla="*/ 137160 h 567361"/>
                <a:gd name="connsiteX12" fmla="*/ 716254 w 1054582"/>
                <a:gd name="connsiteY12" fmla="*/ 137160 h 567361"/>
                <a:gd name="connsiteX13" fmla="*/ 661390 w 1054582"/>
                <a:gd name="connsiteY13" fmla="*/ 146304 h 567361"/>
                <a:gd name="connsiteX14" fmla="*/ 652246 w 1054582"/>
                <a:gd name="connsiteY14" fmla="*/ 155448 h 567361"/>
                <a:gd name="connsiteX15" fmla="*/ 633958 w 1054582"/>
                <a:gd name="connsiteY15" fmla="*/ 146304 h 567361"/>
                <a:gd name="connsiteX16" fmla="*/ 761974 w 1054582"/>
                <a:gd name="connsiteY16" fmla="*/ 91440 h 567361"/>
                <a:gd name="connsiteX17" fmla="*/ 816838 w 1054582"/>
                <a:gd name="connsiteY17" fmla="*/ 91440 h 567361"/>
                <a:gd name="connsiteX18" fmla="*/ 908278 w 1054582"/>
                <a:gd name="connsiteY18" fmla="*/ 82296 h 567361"/>
                <a:gd name="connsiteX19" fmla="*/ 1036294 w 1054582"/>
                <a:gd name="connsiteY19" fmla="*/ 27432 h 567361"/>
                <a:gd name="connsiteX20" fmla="*/ 1018006 w 1054582"/>
                <a:gd name="connsiteY20" fmla="*/ 0 h 567361"/>
                <a:gd name="connsiteX21" fmla="*/ 981430 w 1054582"/>
                <a:gd name="connsiteY21" fmla="*/ 27432 h 567361"/>
                <a:gd name="connsiteX22" fmla="*/ 944854 w 1054582"/>
                <a:gd name="connsiteY22" fmla="*/ 36576 h 567361"/>
                <a:gd name="connsiteX23" fmla="*/ 871702 w 1054582"/>
                <a:gd name="connsiteY23" fmla="*/ 64008 h 567361"/>
                <a:gd name="connsiteX24" fmla="*/ 816838 w 1054582"/>
                <a:gd name="connsiteY24" fmla="*/ 64008 h 567361"/>
                <a:gd name="connsiteX25" fmla="*/ 707110 w 1054582"/>
                <a:gd name="connsiteY25" fmla="*/ 64008 h 567361"/>
                <a:gd name="connsiteX26" fmla="*/ 652246 w 1054582"/>
                <a:gd name="connsiteY26" fmla="*/ 100584 h 567361"/>
                <a:gd name="connsiteX27" fmla="*/ 615670 w 1054582"/>
                <a:gd name="connsiteY27" fmla="*/ 146304 h 567361"/>
                <a:gd name="connsiteX28" fmla="*/ 569950 w 1054582"/>
                <a:gd name="connsiteY28" fmla="*/ 182880 h 567361"/>
                <a:gd name="connsiteX29" fmla="*/ 524230 w 1054582"/>
                <a:gd name="connsiteY29" fmla="*/ 256032 h 567361"/>
                <a:gd name="connsiteX30" fmla="*/ 451078 w 1054582"/>
                <a:gd name="connsiteY30" fmla="*/ 301752 h 567361"/>
                <a:gd name="connsiteX31" fmla="*/ 350494 w 1054582"/>
                <a:gd name="connsiteY31" fmla="*/ 347472 h 567361"/>
                <a:gd name="connsiteX32" fmla="*/ 313918 w 1054582"/>
                <a:gd name="connsiteY32" fmla="*/ 374904 h 567361"/>
                <a:gd name="connsiteX33" fmla="*/ 268198 w 1054582"/>
                <a:gd name="connsiteY33" fmla="*/ 402336 h 567361"/>
                <a:gd name="connsiteX34" fmla="*/ 249910 w 1054582"/>
                <a:gd name="connsiteY34" fmla="*/ 402336 h 567361"/>
                <a:gd name="connsiteX35" fmla="*/ 268198 w 1054582"/>
                <a:gd name="connsiteY35" fmla="*/ 365760 h 567361"/>
                <a:gd name="connsiteX36" fmla="*/ 323062 w 1054582"/>
                <a:gd name="connsiteY36" fmla="*/ 301752 h 567361"/>
                <a:gd name="connsiteX37" fmla="*/ 414502 w 1054582"/>
                <a:gd name="connsiteY37" fmla="*/ 219456 h 567361"/>
                <a:gd name="connsiteX38" fmla="*/ 460222 w 1054582"/>
                <a:gd name="connsiteY38" fmla="*/ 146304 h 567361"/>
                <a:gd name="connsiteX39" fmla="*/ 460222 w 1054582"/>
                <a:gd name="connsiteY39" fmla="*/ 64008 h 567361"/>
                <a:gd name="connsiteX40" fmla="*/ 451078 w 1054582"/>
                <a:gd name="connsiteY40" fmla="*/ 54864 h 567361"/>
                <a:gd name="connsiteX41" fmla="*/ 441934 w 1054582"/>
                <a:gd name="connsiteY41" fmla="*/ 128016 h 567361"/>
                <a:gd name="connsiteX42" fmla="*/ 414502 w 1054582"/>
                <a:gd name="connsiteY42" fmla="*/ 173736 h 567361"/>
                <a:gd name="connsiteX43" fmla="*/ 341350 w 1054582"/>
                <a:gd name="connsiteY43" fmla="*/ 237744 h 567361"/>
                <a:gd name="connsiteX44" fmla="*/ 313918 w 1054582"/>
                <a:gd name="connsiteY44" fmla="*/ 256032 h 567361"/>
                <a:gd name="connsiteX45" fmla="*/ 240766 w 1054582"/>
                <a:gd name="connsiteY45" fmla="*/ 347472 h 567361"/>
                <a:gd name="connsiteX46" fmla="*/ 231622 w 1054582"/>
                <a:gd name="connsiteY46" fmla="*/ 374904 h 567361"/>
                <a:gd name="connsiteX47" fmla="*/ 222478 w 1054582"/>
                <a:gd name="connsiteY47" fmla="*/ 411480 h 567361"/>
                <a:gd name="connsiteX48" fmla="*/ 240766 w 1054582"/>
                <a:gd name="connsiteY48" fmla="*/ 429768 h 567361"/>
                <a:gd name="connsiteX49" fmla="*/ 195046 w 1054582"/>
                <a:gd name="connsiteY49" fmla="*/ 457200 h 567361"/>
                <a:gd name="connsiteX50" fmla="*/ 48742 w 1054582"/>
                <a:gd name="connsiteY50" fmla="*/ 493776 h 567361"/>
                <a:gd name="connsiteX51" fmla="*/ 3022 w 1054582"/>
                <a:gd name="connsiteY51" fmla="*/ 530352 h 567361"/>
                <a:gd name="connsiteX52" fmla="*/ 37669 w 1054582"/>
                <a:gd name="connsiteY52" fmla="*/ 480583 h 567361"/>
                <a:gd name="connsiteX53" fmla="*/ 21468 w 1054582"/>
                <a:gd name="connsiteY53" fmla="*/ 555040 h 567361"/>
                <a:gd name="connsiteX54" fmla="*/ 19041 w 1054582"/>
                <a:gd name="connsiteY54" fmla="*/ 554512 h 567361"/>
                <a:gd name="connsiteX55" fmla="*/ 112127 w 1054582"/>
                <a:gd name="connsiteY55" fmla="*/ 496784 h 567361"/>
                <a:gd name="connsiteX0" fmla="*/ 112127 w 1054582"/>
                <a:gd name="connsiteY0" fmla="*/ 496784 h 558851"/>
                <a:gd name="connsiteX1" fmla="*/ 21468 w 1054582"/>
                <a:gd name="connsiteY1" fmla="*/ 555041 h 558851"/>
                <a:gd name="connsiteX2" fmla="*/ 21310 w 1054582"/>
                <a:gd name="connsiteY2" fmla="*/ 548640 h 558851"/>
                <a:gd name="connsiteX3" fmla="*/ 149326 w 1054582"/>
                <a:gd name="connsiteY3" fmla="*/ 493776 h 558851"/>
                <a:gd name="connsiteX4" fmla="*/ 249910 w 1054582"/>
                <a:gd name="connsiteY4" fmla="*/ 466344 h 558851"/>
                <a:gd name="connsiteX5" fmla="*/ 350494 w 1054582"/>
                <a:gd name="connsiteY5" fmla="*/ 384048 h 558851"/>
                <a:gd name="connsiteX6" fmla="*/ 542518 w 1054582"/>
                <a:gd name="connsiteY6" fmla="*/ 301752 h 558851"/>
                <a:gd name="connsiteX7" fmla="*/ 624814 w 1054582"/>
                <a:gd name="connsiteY7" fmla="*/ 192024 h 558851"/>
                <a:gd name="connsiteX8" fmla="*/ 771118 w 1054582"/>
                <a:gd name="connsiteY8" fmla="*/ 155448 h 558851"/>
                <a:gd name="connsiteX9" fmla="*/ 816838 w 1054582"/>
                <a:gd name="connsiteY9" fmla="*/ 155448 h 558851"/>
                <a:gd name="connsiteX10" fmla="*/ 853414 w 1054582"/>
                <a:gd name="connsiteY10" fmla="*/ 137160 h 558851"/>
                <a:gd name="connsiteX11" fmla="*/ 807694 w 1054582"/>
                <a:gd name="connsiteY11" fmla="*/ 137160 h 558851"/>
                <a:gd name="connsiteX12" fmla="*/ 716254 w 1054582"/>
                <a:gd name="connsiteY12" fmla="*/ 137160 h 558851"/>
                <a:gd name="connsiteX13" fmla="*/ 661390 w 1054582"/>
                <a:gd name="connsiteY13" fmla="*/ 146304 h 558851"/>
                <a:gd name="connsiteX14" fmla="*/ 652246 w 1054582"/>
                <a:gd name="connsiteY14" fmla="*/ 155448 h 558851"/>
                <a:gd name="connsiteX15" fmla="*/ 633958 w 1054582"/>
                <a:gd name="connsiteY15" fmla="*/ 146304 h 558851"/>
                <a:gd name="connsiteX16" fmla="*/ 761974 w 1054582"/>
                <a:gd name="connsiteY16" fmla="*/ 91440 h 558851"/>
                <a:gd name="connsiteX17" fmla="*/ 816838 w 1054582"/>
                <a:gd name="connsiteY17" fmla="*/ 91440 h 558851"/>
                <a:gd name="connsiteX18" fmla="*/ 908278 w 1054582"/>
                <a:gd name="connsiteY18" fmla="*/ 82296 h 558851"/>
                <a:gd name="connsiteX19" fmla="*/ 1036294 w 1054582"/>
                <a:gd name="connsiteY19" fmla="*/ 27432 h 558851"/>
                <a:gd name="connsiteX20" fmla="*/ 1018006 w 1054582"/>
                <a:gd name="connsiteY20" fmla="*/ 0 h 558851"/>
                <a:gd name="connsiteX21" fmla="*/ 981430 w 1054582"/>
                <a:gd name="connsiteY21" fmla="*/ 27432 h 558851"/>
                <a:gd name="connsiteX22" fmla="*/ 944854 w 1054582"/>
                <a:gd name="connsiteY22" fmla="*/ 36576 h 558851"/>
                <a:gd name="connsiteX23" fmla="*/ 871702 w 1054582"/>
                <a:gd name="connsiteY23" fmla="*/ 64008 h 558851"/>
                <a:gd name="connsiteX24" fmla="*/ 816838 w 1054582"/>
                <a:gd name="connsiteY24" fmla="*/ 64008 h 558851"/>
                <a:gd name="connsiteX25" fmla="*/ 707110 w 1054582"/>
                <a:gd name="connsiteY25" fmla="*/ 64008 h 558851"/>
                <a:gd name="connsiteX26" fmla="*/ 652246 w 1054582"/>
                <a:gd name="connsiteY26" fmla="*/ 100584 h 558851"/>
                <a:gd name="connsiteX27" fmla="*/ 615670 w 1054582"/>
                <a:gd name="connsiteY27" fmla="*/ 146304 h 558851"/>
                <a:gd name="connsiteX28" fmla="*/ 569950 w 1054582"/>
                <a:gd name="connsiteY28" fmla="*/ 182880 h 558851"/>
                <a:gd name="connsiteX29" fmla="*/ 524230 w 1054582"/>
                <a:gd name="connsiteY29" fmla="*/ 256032 h 558851"/>
                <a:gd name="connsiteX30" fmla="*/ 451078 w 1054582"/>
                <a:gd name="connsiteY30" fmla="*/ 301752 h 558851"/>
                <a:gd name="connsiteX31" fmla="*/ 350494 w 1054582"/>
                <a:gd name="connsiteY31" fmla="*/ 347472 h 558851"/>
                <a:gd name="connsiteX32" fmla="*/ 313918 w 1054582"/>
                <a:gd name="connsiteY32" fmla="*/ 374904 h 558851"/>
                <a:gd name="connsiteX33" fmla="*/ 268198 w 1054582"/>
                <a:gd name="connsiteY33" fmla="*/ 402336 h 558851"/>
                <a:gd name="connsiteX34" fmla="*/ 249910 w 1054582"/>
                <a:gd name="connsiteY34" fmla="*/ 402336 h 558851"/>
                <a:gd name="connsiteX35" fmla="*/ 268198 w 1054582"/>
                <a:gd name="connsiteY35" fmla="*/ 365760 h 558851"/>
                <a:gd name="connsiteX36" fmla="*/ 323062 w 1054582"/>
                <a:gd name="connsiteY36" fmla="*/ 301752 h 558851"/>
                <a:gd name="connsiteX37" fmla="*/ 414502 w 1054582"/>
                <a:gd name="connsiteY37" fmla="*/ 219456 h 558851"/>
                <a:gd name="connsiteX38" fmla="*/ 460222 w 1054582"/>
                <a:gd name="connsiteY38" fmla="*/ 146304 h 558851"/>
                <a:gd name="connsiteX39" fmla="*/ 460222 w 1054582"/>
                <a:gd name="connsiteY39" fmla="*/ 64008 h 558851"/>
                <a:gd name="connsiteX40" fmla="*/ 451078 w 1054582"/>
                <a:gd name="connsiteY40" fmla="*/ 54864 h 558851"/>
                <a:gd name="connsiteX41" fmla="*/ 441934 w 1054582"/>
                <a:gd name="connsiteY41" fmla="*/ 128016 h 558851"/>
                <a:gd name="connsiteX42" fmla="*/ 414502 w 1054582"/>
                <a:gd name="connsiteY42" fmla="*/ 173736 h 558851"/>
                <a:gd name="connsiteX43" fmla="*/ 341350 w 1054582"/>
                <a:gd name="connsiteY43" fmla="*/ 237744 h 558851"/>
                <a:gd name="connsiteX44" fmla="*/ 313918 w 1054582"/>
                <a:gd name="connsiteY44" fmla="*/ 256032 h 558851"/>
                <a:gd name="connsiteX45" fmla="*/ 240766 w 1054582"/>
                <a:gd name="connsiteY45" fmla="*/ 347472 h 558851"/>
                <a:gd name="connsiteX46" fmla="*/ 231622 w 1054582"/>
                <a:gd name="connsiteY46" fmla="*/ 374904 h 558851"/>
                <a:gd name="connsiteX47" fmla="*/ 222478 w 1054582"/>
                <a:gd name="connsiteY47" fmla="*/ 411480 h 558851"/>
                <a:gd name="connsiteX48" fmla="*/ 240766 w 1054582"/>
                <a:gd name="connsiteY48" fmla="*/ 429768 h 558851"/>
                <a:gd name="connsiteX49" fmla="*/ 195046 w 1054582"/>
                <a:gd name="connsiteY49" fmla="*/ 457200 h 558851"/>
                <a:gd name="connsiteX50" fmla="*/ 48742 w 1054582"/>
                <a:gd name="connsiteY50" fmla="*/ 493776 h 558851"/>
                <a:gd name="connsiteX51" fmla="*/ 3022 w 1054582"/>
                <a:gd name="connsiteY51" fmla="*/ 530352 h 558851"/>
                <a:gd name="connsiteX52" fmla="*/ 37669 w 1054582"/>
                <a:gd name="connsiteY52" fmla="*/ 480583 h 558851"/>
                <a:gd name="connsiteX53" fmla="*/ 21468 w 1054582"/>
                <a:gd name="connsiteY53" fmla="*/ 555040 h 558851"/>
                <a:gd name="connsiteX54" fmla="*/ 37669 w 1054582"/>
                <a:gd name="connsiteY54" fmla="*/ 480583 h 558851"/>
                <a:gd name="connsiteX55" fmla="*/ 112127 w 1054582"/>
                <a:gd name="connsiteY55" fmla="*/ 496784 h 558851"/>
                <a:gd name="connsiteX0" fmla="*/ 112127 w 1054582"/>
                <a:gd name="connsiteY0" fmla="*/ 496784 h 558851"/>
                <a:gd name="connsiteX1" fmla="*/ 21468 w 1054582"/>
                <a:gd name="connsiteY1" fmla="*/ 555041 h 558851"/>
                <a:gd name="connsiteX2" fmla="*/ 21310 w 1054582"/>
                <a:gd name="connsiteY2" fmla="*/ 548640 h 558851"/>
                <a:gd name="connsiteX3" fmla="*/ 149326 w 1054582"/>
                <a:gd name="connsiteY3" fmla="*/ 493776 h 558851"/>
                <a:gd name="connsiteX4" fmla="*/ 249910 w 1054582"/>
                <a:gd name="connsiteY4" fmla="*/ 466344 h 558851"/>
                <a:gd name="connsiteX5" fmla="*/ 350494 w 1054582"/>
                <a:gd name="connsiteY5" fmla="*/ 384048 h 558851"/>
                <a:gd name="connsiteX6" fmla="*/ 542518 w 1054582"/>
                <a:gd name="connsiteY6" fmla="*/ 301752 h 558851"/>
                <a:gd name="connsiteX7" fmla="*/ 624814 w 1054582"/>
                <a:gd name="connsiteY7" fmla="*/ 192024 h 558851"/>
                <a:gd name="connsiteX8" fmla="*/ 771118 w 1054582"/>
                <a:gd name="connsiteY8" fmla="*/ 155448 h 558851"/>
                <a:gd name="connsiteX9" fmla="*/ 816838 w 1054582"/>
                <a:gd name="connsiteY9" fmla="*/ 155448 h 558851"/>
                <a:gd name="connsiteX10" fmla="*/ 853414 w 1054582"/>
                <a:gd name="connsiteY10" fmla="*/ 137160 h 558851"/>
                <a:gd name="connsiteX11" fmla="*/ 807694 w 1054582"/>
                <a:gd name="connsiteY11" fmla="*/ 137160 h 558851"/>
                <a:gd name="connsiteX12" fmla="*/ 716254 w 1054582"/>
                <a:gd name="connsiteY12" fmla="*/ 137160 h 558851"/>
                <a:gd name="connsiteX13" fmla="*/ 661390 w 1054582"/>
                <a:gd name="connsiteY13" fmla="*/ 146304 h 558851"/>
                <a:gd name="connsiteX14" fmla="*/ 652246 w 1054582"/>
                <a:gd name="connsiteY14" fmla="*/ 155448 h 558851"/>
                <a:gd name="connsiteX15" fmla="*/ 633958 w 1054582"/>
                <a:gd name="connsiteY15" fmla="*/ 146304 h 558851"/>
                <a:gd name="connsiteX16" fmla="*/ 761974 w 1054582"/>
                <a:gd name="connsiteY16" fmla="*/ 91440 h 558851"/>
                <a:gd name="connsiteX17" fmla="*/ 816838 w 1054582"/>
                <a:gd name="connsiteY17" fmla="*/ 91440 h 558851"/>
                <a:gd name="connsiteX18" fmla="*/ 908278 w 1054582"/>
                <a:gd name="connsiteY18" fmla="*/ 82296 h 558851"/>
                <a:gd name="connsiteX19" fmla="*/ 1036294 w 1054582"/>
                <a:gd name="connsiteY19" fmla="*/ 27432 h 558851"/>
                <a:gd name="connsiteX20" fmla="*/ 1018006 w 1054582"/>
                <a:gd name="connsiteY20" fmla="*/ 0 h 558851"/>
                <a:gd name="connsiteX21" fmla="*/ 981430 w 1054582"/>
                <a:gd name="connsiteY21" fmla="*/ 27432 h 558851"/>
                <a:gd name="connsiteX22" fmla="*/ 944854 w 1054582"/>
                <a:gd name="connsiteY22" fmla="*/ 36576 h 558851"/>
                <a:gd name="connsiteX23" fmla="*/ 871702 w 1054582"/>
                <a:gd name="connsiteY23" fmla="*/ 64008 h 558851"/>
                <a:gd name="connsiteX24" fmla="*/ 816838 w 1054582"/>
                <a:gd name="connsiteY24" fmla="*/ 64008 h 558851"/>
                <a:gd name="connsiteX25" fmla="*/ 707110 w 1054582"/>
                <a:gd name="connsiteY25" fmla="*/ 64008 h 558851"/>
                <a:gd name="connsiteX26" fmla="*/ 652246 w 1054582"/>
                <a:gd name="connsiteY26" fmla="*/ 100584 h 558851"/>
                <a:gd name="connsiteX27" fmla="*/ 615670 w 1054582"/>
                <a:gd name="connsiteY27" fmla="*/ 146304 h 558851"/>
                <a:gd name="connsiteX28" fmla="*/ 569950 w 1054582"/>
                <a:gd name="connsiteY28" fmla="*/ 182880 h 558851"/>
                <a:gd name="connsiteX29" fmla="*/ 524230 w 1054582"/>
                <a:gd name="connsiteY29" fmla="*/ 256032 h 558851"/>
                <a:gd name="connsiteX30" fmla="*/ 451078 w 1054582"/>
                <a:gd name="connsiteY30" fmla="*/ 301752 h 558851"/>
                <a:gd name="connsiteX31" fmla="*/ 350494 w 1054582"/>
                <a:gd name="connsiteY31" fmla="*/ 347472 h 558851"/>
                <a:gd name="connsiteX32" fmla="*/ 313918 w 1054582"/>
                <a:gd name="connsiteY32" fmla="*/ 374904 h 558851"/>
                <a:gd name="connsiteX33" fmla="*/ 268198 w 1054582"/>
                <a:gd name="connsiteY33" fmla="*/ 402336 h 558851"/>
                <a:gd name="connsiteX34" fmla="*/ 249910 w 1054582"/>
                <a:gd name="connsiteY34" fmla="*/ 402336 h 558851"/>
                <a:gd name="connsiteX35" fmla="*/ 268198 w 1054582"/>
                <a:gd name="connsiteY35" fmla="*/ 365760 h 558851"/>
                <a:gd name="connsiteX36" fmla="*/ 323062 w 1054582"/>
                <a:gd name="connsiteY36" fmla="*/ 301752 h 558851"/>
                <a:gd name="connsiteX37" fmla="*/ 414502 w 1054582"/>
                <a:gd name="connsiteY37" fmla="*/ 219456 h 558851"/>
                <a:gd name="connsiteX38" fmla="*/ 460222 w 1054582"/>
                <a:gd name="connsiteY38" fmla="*/ 146304 h 558851"/>
                <a:gd name="connsiteX39" fmla="*/ 460222 w 1054582"/>
                <a:gd name="connsiteY39" fmla="*/ 64008 h 558851"/>
                <a:gd name="connsiteX40" fmla="*/ 451078 w 1054582"/>
                <a:gd name="connsiteY40" fmla="*/ 54864 h 558851"/>
                <a:gd name="connsiteX41" fmla="*/ 441934 w 1054582"/>
                <a:gd name="connsiteY41" fmla="*/ 128016 h 558851"/>
                <a:gd name="connsiteX42" fmla="*/ 414502 w 1054582"/>
                <a:gd name="connsiteY42" fmla="*/ 173736 h 558851"/>
                <a:gd name="connsiteX43" fmla="*/ 341350 w 1054582"/>
                <a:gd name="connsiteY43" fmla="*/ 237744 h 558851"/>
                <a:gd name="connsiteX44" fmla="*/ 313918 w 1054582"/>
                <a:gd name="connsiteY44" fmla="*/ 256032 h 558851"/>
                <a:gd name="connsiteX45" fmla="*/ 240766 w 1054582"/>
                <a:gd name="connsiteY45" fmla="*/ 347472 h 558851"/>
                <a:gd name="connsiteX46" fmla="*/ 231622 w 1054582"/>
                <a:gd name="connsiteY46" fmla="*/ 374904 h 558851"/>
                <a:gd name="connsiteX47" fmla="*/ 222478 w 1054582"/>
                <a:gd name="connsiteY47" fmla="*/ 411480 h 558851"/>
                <a:gd name="connsiteX48" fmla="*/ 240766 w 1054582"/>
                <a:gd name="connsiteY48" fmla="*/ 429768 h 558851"/>
                <a:gd name="connsiteX49" fmla="*/ 195046 w 1054582"/>
                <a:gd name="connsiteY49" fmla="*/ 457200 h 558851"/>
                <a:gd name="connsiteX50" fmla="*/ 48742 w 1054582"/>
                <a:gd name="connsiteY50" fmla="*/ 493776 h 558851"/>
                <a:gd name="connsiteX51" fmla="*/ 3022 w 1054582"/>
                <a:gd name="connsiteY51" fmla="*/ 530352 h 558851"/>
                <a:gd name="connsiteX52" fmla="*/ 37669 w 1054582"/>
                <a:gd name="connsiteY52" fmla="*/ 480583 h 558851"/>
                <a:gd name="connsiteX53" fmla="*/ 21468 w 1054582"/>
                <a:gd name="connsiteY53" fmla="*/ 555040 h 558851"/>
                <a:gd name="connsiteX54" fmla="*/ 112127 w 1054582"/>
                <a:gd name="connsiteY54" fmla="*/ 496784 h 558851"/>
                <a:gd name="connsiteX55" fmla="*/ 112127 w 1054582"/>
                <a:gd name="connsiteY55" fmla="*/ 496784 h 558851"/>
                <a:gd name="connsiteX0" fmla="*/ 112127 w 1054582"/>
                <a:gd name="connsiteY0" fmla="*/ 496784 h 558851"/>
                <a:gd name="connsiteX1" fmla="*/ 21468 w 1054582"/>
                <a:gd name="connsiteY1" fmla="*/ 555041 h 558851"/>
                <a:gd name="connsiteX2" fmla="*/ 21310 w 1054582"/>
                <a:gd name="connsiteY2" fmla="*/ 548640 h 558851"/>
                <a:gd name="connsiteX3" fmla="*/ 149326 w 1054582"/>
                <a:gd name="connsiteY3" fmla="*/ 493776 h 558851"/>
                <a:gd name="connsiteX4" fmla="*/ 249910 w 1054582"/>
                <a:gd name="connsiteY4" fmla="*/ 466344 h 558851"/>
                <a:gd name="connsiteX5" fmla="*/ 350494 w 1054582"/>
                <a:gd name="connsiteY5" fmla="*/ 384048 h 558851"/>
                <a:gd name="connsiteX6" fmla="*/ 542518 w 1054582"/>
                <a:gd name="connsiteY6" fmla="*/ 301752 h 558851"/>
                <a:gd name="connsiteX7" fmla="*/ 624814 w 1054582"/>
                <a:gd name="connsiteY7" fmla="*/ 192024 h 558851"/>
                <a:gd name="connsiteX8" fmla="*/ 771118 w 1054582"/>
                <a:gd name="connsiteY8" fmla="*/ 155448 h 558851"/>
                <a:gd name="connsiteX9" fmla="*/ 816838 w 1054582"/>
                <a:gd name="connsiteY9" fmla="*/ 155448 h 558851"/>
                <a:gd name="connsiteX10" fmla="*/ 853414 w 1054582"/>
                <a:gd name="connsiteY10" fmla="*/ 137160 h 558851"/>
                <a:gd name="connsiteX11" fmla="*/ 807694 w 1054582"/>
                <a:gd name="connsiteY11" fmla="*/ 137160 h 558851"/>
                <a:gd name="connsiteX12" fmla="*/ 716254 w 1054582"/>
                <a:gd name="connsiteY12" fmla="*/ 137160 h 558851"/>
                <a:gd name="connsiteX13" fmla="*/ 661390 w 1054582"/>
                <a:gd name="connsiteY13" fmla="*/ 146304 h 558851"/>
                <a:gd name="connsiteX14" fmla="*/ 652246 w 1054582"/>
                <a:gd name="connsiteY14" fmla="*/ 155448 h 558851"/>
                <a:gd name="connsiteX15" fmla="*/ 633958 w 1054582"/>
                <a:gd name="connsiteY15" fmla="*/ 146304 h 558851"/>
                <a:gd name="connsiteX16" fmla="*/ 761974 w 1054582"/>
                <a:gd name="connsiteY16" fmla="*/ 91440 h 558851"/>
                <a:gd name="connsiteX17" fmla="*/ 816838 w 1054582"/>
                <a:gd name="connsiteY17" fmla="*/ 91440 h 558851"/>
                <a:gd name="connsiteX18" fmla="*/ 908278 w 1054582"/>
                <a:gd name="connsiteY18" fmla="*/ 82296 h 558851"/>
                <a:gd name="connsiteX19" fmla="*/ 1036294 w 1054582"/>
                <a:gd name="connsiteY19" fmla="*/ 27432 h 558851"/>
                <a:gd name="connsiteX20" fmla="*/ 1018006 w 1054582"/>
                <a:gd name="connsiteY20" fmla="*/ 0 h 558851"/>
                <a:gd name="connsiteX21" fmla="*/ 981430 w 1054582"/>
                <a:gd name="connsiteY21" fmla="*/ 27432 h 558851"/>
                <a:gd name="connsiteX22" fmla="*/ 944854 w 1054582"/>
                <a:gd name="connsiteY22" fmla="*/ 36576 h 558851"/>
                <a:gd name="connsiteX23" fmla="*/ 871702 w 1054582"/>
                <a:gd name="connsiteY23" fmla="*/ 64008 h 558851"/>
                <a:gd name="connsiteX24" fmla="*/ 816838 w 1054582"/>
                <a:gd name="connsiteY24" fmla="*/ 64008 h 558851"/>
                <a:gd name="connsiteX25" fmla="*/ 707110 w 1054582"/>
                <a:gd name="connsiteY25" fmla="*/ 64008 h 558851"/>
                <a:gd name="connsiteX26" fmla="*/ 652246 w 1054582"/>
                <a:gd name="connsiteY26" fmla="*/ 100584 h 558851"/>
                <a:gd name="connsiteX27" fmla="*/ 615670 w 1054582"/>
                <a:gd name="connsiteY27" fmla="*/ 146304 h 558851"/>
                <a:gd name="connsiteX28" fmla="*/ 569950 w 1054582"/>
                <a:gd name="connsiteY28" fmla="*/ 182880 h 558851"/>
                <a:gd name="connsiteX29" fmla="*/ 524230 w 1054582"/>
                <a:gd name="connsiteY29" fmla="*/ 256032 h 558851"/>
                <a:gd name="connsiteX30" fmla="*/ 451078 w 1054582"/>
                <a:gd name="connsiteY30" fmla="*/ 301752 h 558851"/>
                <a:gd name="connsiteX31" fmla="*/ 350494 w 1054582"/>
                <a:gd name="connsiteY31" fmla="*/ 347472 h 558851"/>
                <a:gd name="connsiteX32" fmla="*/ 313918 w 1054582"/>
                <a:gd name="connsiteY32" fmla="*/ 374904 h 558851"/>
                <a:gd name="connsiteX33" fmla="*/ 268198 w 1054582"/>
                <a:gd name="connsiteY33" fmla="*/ 402336 h 558851"/>
                <a:gd name="connsiteX34" fmla="*/ 249910 w 1054582"/>
                <a:gd name="connsiteY34" fmla="*/ 402336 h 558851"/>
                <a:gd name="connsiteX35" fmla="*/ 268198 w 1054582"/>
                <a:gd name="connsiteY35" fmla="*/ 365760 h 558851"/>
                <a:gd name="connsiteX36" fmla="*/ 323062 w 1054582"/>
                <a:gd name="connsiteY36" fmla="*/ 301752 h 558851"/>
                <a:gd name="connsiteX37" fmla="*/ 414502 w 1054582"/>
                <a:gd name="connsiteY37" fmla="*/ 219456 h 558851"/>
                <a:gd name="connsiteX38" fmla="*/ 460222 w 1054582"/>
                <a:gd name="connsiteY38" fmla="*/ 146304 h 558851"/>
                <a:gd name="connsiteX39" fmla="*/ 460222 w 1054582"/>
                <a:gd name="connsiteY39" fmla="*/ 64008 h 558851"/>
                <a:gd name="connsiteX40" fmla="*/ 451078 w 1054582"/>
                <a:gd name="connsiteY40" fmla="*/ 54864 h 558851"/>
                <a:gd name="connsiteX41" fmla="*/ 441934 w 1054582"/>
                <a:gd name="connsiteY41" fmla="*/ 128016 h 558851"/>
                <a:gd name="connsiteX42" fmla="*/ 414502 w 1054582"/>
                <a:gd name="connsiteY42" fmla="*/ 173736 h 558851"/>
                <a:gd name="connsiteX43" fmla="*/ 341350 w 1054582"/>
                <a:gd name="connsiteY43" fmla="*/ 237744 h 558851"/>
                <a:gd name="connsiteX44" fmla="*/ 313918 w 1054582"/>
                <a:gd name="connsiteY44" fmla="*/ 256032 h 558851"/>
                <a:gd name="connsiteX45" fmla="*/ 240766 w 1054582"/>
                <a:gd name="connsiteY45" fmla="*/ 347472 h 558851"/>
                <a:gd name="connsiteX46" fmla="*/ 231622 w 1054582"/>
                <a:gd name="connsiteY46" fmla="*/ 374904 h 558851"/>
                <a:gd name="connsiteX47" fmla="*/ 222478 w 1054582"/>
                <a:gd name="connsiteY47" fmla="*/ 411480 h 558851"/>
                <a:gd name="connsiteX48" fmla="*/ 240766 w 1054582"/>
                <a:gd name="connsiteY48" fmla="*/ 429768 h 558851"/>
                <a:gd name="connsiteX49" fmla="*/ 195046 w 1054582"/>
                <a:gd name="connsiteY49" fmla="*/ 457200 h 558851"/>
                <a:gd name="connsiteX50" fmla="*/ 48742 w 1054582"/>
                <a:gd name="connsiteY50" fmla="*/ 493776 h 558851"/>
                <a:gd name="connsiteX51" fmla="*/ 3022 w 1054582"/>
                <a:gd name="connsiteY51" fmla="*/ 530352 h 558851"/>
                <a:gd name="connsiteX52" fmla="*/ 37669 w 1054582"/>
                <a:gd name="connsiteY52" fmla="*/ 480583 h 558851"/>
                <a:gd name="connsiteX53" fmla="*/ 112127 w 1054582"/>
                <a:gd name="connsiteY53" fmla="*/ 496784 h 558851"/>
                <a:gd name="connsiteX54" fmla="*/ 112127 w 1054582"/>
                <a:gd name="connsiteY54" fmla="*/ 496784 h 558851"/>
                <a:gd name="connsiteX55" fmla="*/ 112127 w 1054582"/>
                <a:gd name="connsiteY55" fmla="*/ 496784 h 558851"/>
                <a:gd name="connsiteX0" fmla="*/ 112127 w 1054582"/>
                <a:gd name="connsiteY0" fmla="*/ 496784 h 558851"/>
                <a:gd name="connsiteX1" fmla="*/ 21468 w 1054582"/>
                <a:gd name="connsiteY1" fmla="*/ 555041 h 558851"/>
                <a:gd name="connsiteX2" fmla="*/ 21310 w 1054582"/>
                <a:gd name="connsiteY2" fmla="*/ 548640 h 558851"/>
                <a:gd name="connsiteX3" fmla="*/ 149326 w 1054582"/>
                <a:gd name="connsiteY3" fmla="*/ 493776 h 558851"/>
                <a:gd name="connsiteX4" fmla="*/ 249910 w 1054582"/>
                <a:gd name="connsiteY4" fmla="*/ 466344 h 558851"/>
                <a:gd name="connsiteX5" fmla="*/ 350494 w 1054582"/>
                <a:gd name="connsiteY5" fmla="*/ 384048 h 558851"/>
                <a:gd name="connsiteX6" fmla="*/ 542518 w 1054582"/>
                <a:gd name="connsiteY6" fmla="*/ 301752 h 558851"/>
                <a:gd name="connsiteX7" fmla="*/ 624814 w 1054582"/>
                <a:gd name="connsiteY7" fmla="*/ 192024 h 558851"/>
                <a:gd name="connsiteX8" fmla="*/ 771118 w 1054582"/>
                <a:gd name="connsiteY8" fmla="*/ 155448 h 558851"/>
                <a:gd name="connsiteX9" fmla="*/ 816838 w 1054582"/>
                <a:gd name="connsiteY9" fmla="*/ 155448 h 558851"/>
                <a:gd name="connsiteX10" fmla="*/ 853414 w 1054582"/>
                <a:gd name="connsiteY10" fmla="*/ 137160 h 558851"/>
                <a:gd name="connsiteX11" fmla="*/ 807694 w 1054582"/>
                <a:gd name="connsiteY11" fmla="*/ 137160 h 558851"/>
                <a:gd name="connsiteX12" fmla="*/ 716254 w 1054582"/>
                <a:gd name="connsiteY12" fmla="*/ 137160 h 558851"/>
                <a:gd name="connsiteX13" fmla="*/ 661390 w 1054582"/>
                <a:gd name="connsiteY13" fmla="*/ 146304 h 558851"/>
                <a:gd name="connsiteX14" fmla="*/ 652246 w 1054582"/>
                <a:gd name="connsiteY14" fmla="*/ 155448 h 558851"/>
                <a:gd name="connsiteX15" fmla="*/ 633958 w 1054582"/>
                <a:gd name="connsiteY15" fmla="*/ 146304 h 558851"/>
                <a:gd name="connsiteX16" fmla="*/ 761974 w 1054582"/>
                <a:gd name="connsiteY16" fmla="*/ 91440 h 558851"/>
                <a:gd name="connsiteX17" fmla="*/ 816838 w 1054582"/>
                <a:gd name="connsiteY17" fmla="*/ 91440 h 558851"/>
                <a:gd name="connsiteX18" fmla="*/ 908278 w 1054582"/>
                <a:gd name="connsiteY18" fmla="*/ 82296 h 558851"/>
                <a:gd name="connsiteX19" fmla="*/ 1036294 w 1054582"/>
                <a:gd name="connsiteY19" fmla="*/ 27432 h 558851"/>
                <a:gd name="connsiteX20" fmla="*/ 1018006 w 1054582"/>
                <a:gd name="connsiteY20" fmla="*/ 0 h 558851"/>
                <a:gd name="connsiteX21" fmla="*/ 981430 w 1054582"/>
                <a:gd name="connsiteY21" fmla="*/ 27432 h 558851"/>
                <a:gd name="connsiteX22" fmla="*/ 944854 w 1054582"/>
                <a:gd name="connsiteY22" fmla="*/ 36576 h 558851"/>
                <a:gd name="connsiteX23" fmla="*/ 871702 w 1054582"/>
                <a:gd name="connsiteY23" fmla="*/ 64008 h 558851"/>
                <a:gd name="connsiteX24" fmla="*/ 816838 w 1054582"/>
                <a:gd name="connsiteY24" fmla="*/ 64008 h 558851"/>
                <a:gd name="connsiteX25" fmla="*/ 707110 w 1054582"/>
                <a:gd name="connsiteY25" fmla="*/ 64008 h 558851"/>
                <a:gd name="connsiteX26" fmla="*/ 652246 w 1054582"/>
                <a:gd name="connsiteY26" fmla="*/ 100584 h 558851"/>
                <a:gd name="connsiteX27" fmla="*/ 615670 w 1054582"/>
                <a:gd name="connsiteY27" fmla="*/ 146304 h 558851"/>
                <a:gd name="connsiteX28" fmla="*/ 569950 w 1054582"/>
                <a:gd name="connsiteY28" fmla="*/ 182880 h 558851"/>
                <a:gd name="connsiteX29" fmla="*/ 524230 w 1054582"/>
                <a:gd name="connsiteY29" fmla="*/ 256032 h 558851"/>
                <a:gd name="connsiteX30" fmla="*/ 451078 w 1054582"/>
                <a:gd name="connsiteY30" fmla="*/ 301752 h 558851"/>
                <a:gd name="connsiteX31" fmla="*/ 350494 w 1054582"/>
                <a:gd name="connsiteY31" fmla="*/ 347472 h 558851"/>
                <a:gd name="connsiteX32" fmla="*/ 313918 w 1054582"/>
                <a:gd name="connsiteY32" fmla="*/ 374904 h 558851"/>
                <a:gd name="connsiteX33" fmla="*/ 268198 w 1054582"/>
                <a:gd name="connsiteY33" fmla="*/ 402336 h 558851"/>
                <a:gd name="connsiteX34" fmla="*/ 249910 w 1054582"/>
                <a:gd name="connsiteY34" fmla="*/ 402336 h 558851"/>
                <a:gd name="connsiteX35" fmla="*/ 268198 w 1054582"/>
                <a:gd name="connsiteY35" fmla="*/ 365760 h 558851"/>
                <a:gd name="connsiteX36" fmla="*/ 323062 w 1054582"/>
                <a:gd name="connsiteY36" fmla="*/ 301752 h 558851"/>
                <a:gd name="connsiteX37" fmla="*/ 414502 w 1054582"/>
                <a:gd name="connsiteY37" fmla="*/ 219456 h 558851"/>
                <a:gd name="connsiteX38" fmla="*/ 460222 w 1054582"/>
                <a:gd name="connsiteY38" fmla="*/ 146304 h 558851"/>
                <a:gd name="connsiteX39" fmla="*/ 460222 w 1054582"/>
                <a:gd name="connsiteY39" fmla="*/ 64008 h 558851"/>
                <a:gd name="connsiteX40" fmla="*/ 451078 w 1054582"/>
                <a:gd name="connsiteY40" fmla="*/ 54864 h 558851"/>
                <a:gd name="connsiteX41" fmla="*/ 441934 w 1054582"/>
                <a:gd name="connsiteY41" fmla="*/ 128016 h 558851"/>
                <a:gd name="connsiteX42" fmla="*/ 414502 w 1054582"/>
                <a:gd name="connsiteY42" fmla="*/ 173736 h 558851"/>
                <a:gd name="connsiteX43" fmla="*/ 341350 w 1054582"/>
                <a:gd name="connsiteY43" fmla="*/ 237744 h 558851"/>
                <a:gd name="connsiteX44" fmla="*/ 313918 w 1054582"/>
                <a:gd name="connsiteY44" fmla="*/ 256032 h 558851"/>
                <a:gd name="connsiteX45" fmla="*/ 240766 w 1054582"/>
                <a:gd name="connsiteY45" fmla="*/ 347472 h 558851"/>
                <a:gd name="connsiteX46" fmla="*/ 231622 w 1054582"/>
                <a:gd name="connsiteY46" fmla="*/ 374904 h 558851"/>
                <a:gd name="connsiteX47" fmla="*/ 222478 w 1054582"/>
                <a:gd name="connsiteY47" fmla="*/ 411480 h 558851"/>
                <a:gd name="connsiteX48" fmla="*/ 240766 w 1054582"/>
                <a:gd name="connsiteY48" fmla="*/ 429768 h 558851"/>
                <a:gd name="connsiteX49" fmla="*/ 195046 w 1054582"/>
                <a:gd name="connsiteY49" fmla="*/ 457200 h 558851"/>
                <a:gd name="connsiteX50" fmla="*/ 48742 w 1054582"/>
                <a:gd name="connsiteY50" fmla="*/ 493776 h 558851"/>
                <a:gd name="connsiteX51" fmla="*/ 37668 w 1054582"/>
                <a:gd name="connsiteY51" fmla="*/ 480583 h 558851"/>
                <a:gd name="connsiteX52" fmla="*/ 37669 w 1054582"/>
                <a:gd name="connsiteY52" fmla="*/ 480583 h 558851"/>
                <a:gd name="connsiteX53" fmla="*/ 112127 w 1054582"/>
                <a:gd name="connsiteY53" fmla="*/ 496784 h 558851"/>
                <a:gd name="connsiteX54" fmla="*/ 112127 w 1054582"/>
                <a:gd name="connsiteY54" fmla="*/ 496784 h 558851"/>
                <a:gd name="connsiteX55" fmla="*/ 112127 w 1054582"/>
                <a:gd name="connsiteY55" fmla="*/ 496784 h 558851"/>
                <a:gd name="connsiteX0" fmla="*/ 90659 w 1033114"/>
                <a:gd name="connsiteY0" fmla="*/ 496784 h 555041"/>
                <a:gd name="connsiteX1" fmla="*/ 0 w 1033114"/>
                <a:gd name="connsiteY1" fmla="*/ 555041 h 555041"/>
                <a:gd name="connsiteX2" fmla="*/ 90659 w 1033114"/>
                <a:gd name="connsiteY2" fmla="*/ 496784 h 555041"/>
                <a:gd name="connsiteX3" fmla="*/ 127858 w 1033114"/>
                <a:gd name="connsiteY3" fmla="*/ 493776 h 555041"/>
                <a:gd name="connsiteX4" fmla="*/ 228442 w 1033114"/>
                <a:gd name="connsiteY4" fmla="*/ 466344 h 555041"/>
                <a:gd name="connsiteX5" fmla="*/ 329026 w 1033114"/>
                <a:gd name="connsiteY5" fmla="*/ 384048 h 555041"/>
                <a:gd name="connsiteX6" fmla="*/ 521050 w 1033114"/>
                <a:gd name="connsiteY6" fmla="*/ 301752 h 555041"/>
                <a:gd name="connsiteX7" fmla="*/ 603346 w 1033114"/>
                <a:gd name="connsiteY7" fmla="*/ 192024 h 555041"/>
                <a:gd name="connsiteX8" fmla="*/ 749650 w 1033114"/>
                <a:gd name="connsiteY8" fmla="*/ 155448 h 555041"/>
                <a:gd name="connsiteX9" fmla="*/ 795370 w 1033114"/>
                <a:gd name="connsiteY9" fmla="*/ 155448 h 555041"/>
                <a:gd name="connsiteX10" fmla="*/ 831946 w 1033114"/>
                <a:gd name="connsiteY10" fmla="*/ 137160 h 555041"/>
                <a:gd name="connsiteX11" fmla="*/ 786226 w 1033114"/>
                <a:gd name="connsiteY11" fmla="*/ 137160 h 555041"/>
                <a:gd name="connsiteX12" fmla="*/ 694786 w 1033114"/>
                <a:gd name="connsiteY12" fmla="*/ 137160 h 555041"/>
                <a:gd name="connsiteX13" fmla="*/ 639922 w 1033114"/>
                <a:gd name="connsiteY13" fmla="*/ 146304 h 555041"/>
                <a:gd name="connsiteX14" fmla="*/ 630778 w 1033114"/>
                <a:gd name="connsiteY14" fmla="*/ 155448 h 555041"/>
                <a:gd name="connsiteX15" fmla="*/ 612490 w 1033114"/>
                <a:gd name="connsiteY15" fmla="*/ 146304 h 555041"/>
                <a:gd name="connsiteX16" fmla="*/ 740506 w 1033114"/>
                <a:gd name="connsiteY16" fmla="*/ 91440 h 555041"/>
                <a:gd name="connsiteX17" fmla="*/ 795370 w 1033114"/>
                <a:gd name="connsiteY17" fmla="*/ 91440 h 555041"/>
                <a:gd name="connsiteX18" fmla="*/ 886810 w 1033114"/>
                <a:gd name="connsiteY18" fmla="*/ 82296 h 555041"/>
                <a:gd name="connsiteX19" fmla="*/ 1014826 w 1033114"/>
                <a:gd name="connsiteY19" fmla="*/ 27432 h 555041"/>
                <a:gd name="connsiteX20" fmla="*/ 996538 w 1033114"/>
                <a:gd name="connsiteY20" fmla="*/ 0 h 555041"/>
                <a:gd name="connsiteX21" fmla="*/ 959962 w 1033114"/>
                <a:gd name="connsiteY21" fmla="*/ 27432 h 555041"/>
                <a:gd name="connsiteX22" fmla="*/ 923386 w 1033114"/>
                <a:gd name="connsiteY22" fmla="*/ 36576 h 555041"/>
                <a:gd name="connsiteX23" fmla="*/ 850234 w 1033114"/>
                <a:gd name="connsiteY23" fmla="*/ 64008 h 555041"/>
                <a:gd name="connsiteX24" fmla="*/ 795370 w 1033114"/>
                <a:gd name="connsiteY24" fmla="*/ 64008 h 555041"/>
                <a:gd name="connsiteX25" fmla="*/ 685642 w 1033114"/>
                <a:gd name="connsiteY25" fmla="*/ 64008 h 555041"/>
                <a:gd name="connsiteX26" fmla="*/ 630778 w 1033114"/>
                <a:gd name="connsiteY26" fmla="*/ 100584 h 555041"/>
                <a:gd name="connsiteX27" fmla="*/ 594202 w 1033114"/>
                <a:gd name="connsiteY27" fmla="*/ 146304 h 555041"/>
                <a:gd name="connsiteX28" fmla="*/ 548482 w 1033114"/>
                <a:gd name="connsiteY28" fmla="*/ 182880 h 555041"/>
                <a:gd name="connsiteX29" fmla="*/ 502762 w 1033114"/>
                <a:gd name="connsiteY29" fmla="*/ 256032 h 555041"/>
                <a:gd name="connsiteX30" fmla="*/ 429610 w 1033114"/>
                <a:gd name="connsiteY30" fmla="*/ 301752 h 555041"/>
                <a:gd name="connsiteX31" fmla="*/ 329026 w 1033114"/>
                <a:gd name="connsiteY31" fmla="*/ 347472 h 555041"/>
                <a:gd name="connsiteX32" fmla="*/ 292450 w 1033114"/>
                <a:gd name="connsiteY32" fmla="*/ 374904 h 555041"/>
                <a:gd name="connsiteX33" fmla="*/ 246730 w 1033114"/>
                <a:gd name="connsiteY33" fmla="*/ 402336 h 555041"/>
                <a:gd name="connsiteX34" fmla="*/ 228442 w 1033114"/>
                <a:gd name="connsiteY34" fmla="*/ 402336 h 555041"/>
                <a:gd name="connsiteX35" fmla="*/ 246730 w 1033114"/>
                <a:gd name="connsiteY35" fmla="*/ 365760 h 555041"/>
                <a:gd name="connsiteX36" fmla="*/ 301594 w 1033114"/>
                <a:gd name="connsiteY36" fmla="*/ 301752 h 555041"/>
                <a:gd name="connsiteX37" fmla="*/ 393034 w 1033114"/>
                <a:gd name="connsiteY37" fmla="*/ 219456 h 555041"/>
                <a:gd name="connsiteX38" fmla="*/ 438754 w 1033114"/>
                <a:gd name="connsiteY38" fmla="*/ 146304 h 555041"/>
                <a:gd name="connsiteX39" fmla="*/ 438754 w 1033114"/>
                <a:gd name="connsiteY39" fmla="*/ 64008 h 555041"/>
                <a:gd name="connsiteX40" fmla="*/ 429610 w 1033114"/>
                <a:gd name="connsiteY40" fmla="*/ 54864 h 555041"/>
                <a:gd name="connsiteX41" fmla="*/ 420466 w 1033114"/>
                <a:gd name="connsiteY41" fmla="*/ 128016 h 555041"/>
                <a:gd name="connsiteX42" fmla="*/ 393034 w 1033114"/>
                <a:gd name="connsiteY42" fmla="*/ 173736 h 555041"/>
                <a:gd name="connsiteX43" fmla="*/ 319882 w 1033114"/>
                <a:gd name="connsiteY43" fmla="*/ 237744 h 555041"/>
                <a:gd name="connsiteX44" fmla="*/ 292450 w 1033114"/>
                <a:gd name="connsiteY44" fmla="*/ 256032 h 555041"/>
                <a:gd name="connsiteX45" fmla="*/ 219298 w 1033114"/>
                <a:gd name="connsiteY45" fmla="*/ 347472 h 555041"/>
                <a:gd name="connsiteX46" fmla="*/ 210154 w 1033114"/>
                <a:gd name="connsiteY46" fmla="*/ 374904 h 555041"/>
                <a:gd name="connsiteX47" fmla="*/ 201010 w 1033114"/>
                <a:gd name="connsiteY47" fmla="*/ 411480 h 555041"/>
                <a:gd name="connsiteX48" fmla="*/ 219298 w 1033114"/>
                <a:gd name="connsiteY48" fmla="*/ 429768 h 555041"/>
                <a:gd name="connsiteX49" fmla="*/ 173578 w 1033114"/>
                <a:gd name="connsiteY49" fmla="*/ 457200 h 555041"/>
                <a:gd name="connsiteX50" fmla="*/ 27274 w 1033114"/>
                <a:gd name="connsiteY50" fmla="*/ 493776 h 555041"/>
                <a:gd name="connsiteX51" fmla="*/ 16200 w 1033114"/>
                <a:gd name="connsiteY51" fmla="*/ 480583 h 555041"/>
                <a:gd name="connsiteX52" fmla="*/ 16201 w 1033114"/>
                <a:gd name="connsiteY52" fmla="*/ 480583 h 555041"/>
                <a:gd name="connsiteX53" fmla="*/ 90659 w 1033114"/>
                <a:gd name="connsiteY53" fmla="*/ 496784 h 555041"/>
                <a:gd name="connsiteX54" fmla="*/ 90659 w 1033114"/>
                <a:gd name="connsiteY54" fmla="*/ 496784 h 555041"/>
                <a:gd name="connsiteX55" fmla="*/ 90659 w 1033114"/>
                <a:gd name="connsiteY55" fmla="*/ 496784 h 555041"/>
                <a:gd name="connsiteX0" fmla="*/ 89615 w 1032070"/>
                <a:gd name="connsiteY0" fmla="*/ 496784 h 498849"/>
                <a:gd name="connsiteX1" fmla="*/ 89615 w 1032070"/>
                <a:gd name="connsiteY1" fmla="*/ 496784 h 498849"/>
                <a:gd name="connsiteX2" fmla="*/ 89615 w 1032070"/>
                <a:gd name="connsiteY2" fmla="*/ 496784 h 498849"/>
                <a:gd name="connsiteX3" fmla="*/ 126814 w 1032070"/>
                <a:gd name="connsiteY3" fmla="*/ 493776 h 498849"/>
                <a:gd name="connsiteX4" fmla="*/ 227398 w 1032070"/>
                <a:gd name="connsiteY4" fmla="*/ 466344 h 498849"/>
                <a:gd name="connsiteX5" fmla="*/ 327982 w 1032070"/>
                <a:gd name="connsiteY5" fmla="*/ 384048 h 498849"/>
                <a:gd name="connsiteX6" fmla="*/ 520006 w 1032070"/>
                <a:gd name="connsiteY6" fmla="*/ 301752 h 498849"/>
                <a:gd name="connsiteX7" fmla="*/ 602302 w 1032070"/>
                <a:gd name="connsiteY7" fmla="*/ 192024 h 498849"/>
                <a:gd name="connsiteX8" fmla="*/ 748606 w 1032070"/>
                <a:gd name="connsiteY8" fmla="*/ 155448 h 498849"/>
                <a:gd name="connsiteX9" fmla="*/ 794326 w 1032070"/>
                <a:gd name="connsiteY9" fmla="*/ 155448 h 498849"/>
                <a:gd name="connsiteX10" fmla="*/ 830902 w 1032070"/>
                <a:gd name="connsiteY10" fmla="*/ 137160 h 498849"/>
                <a:gd name="connsiteX11" fmla="*/ 785182 w 1032070"/>
                <a:gd name="connsiteY11" fmla="*/ 137160 h 498849"/>
                <a:gd name="connsiteX12" fmla="*/ 693742 w 1032070"/>
                <a:gd name="connsiteY12" fmla="*/ 137160 h 498849"/>
                <a:gd name="connsiteX13" fmla="*/ 638878 w 1032070"/>
                <a:gd name="connsiteY13" fmla="*/ 146304 h 498849"/>
                <a:gd name="connsiteX14" fmla="*/ 629734 w 1032070"/>
                <a:gd name="connsiteY14" fmla="*/ 155448 h 498849"/>
                <a:gd name="connsiteX15" fmla="*/ 611446 w 1032070"/>
                <a:gd name="connsiteY15" fmla="*/ 146304 h 498849"/>
                <a:gd name="connsiteX16" fmla="*/ 739462 w 1032070"/>
                <a:gd name="connsiteY16" fmla="*/ 91440 h 498849"/>
                <a:gd name="connsiteX17" fmla="*/ 794326 w 1032070"/>
                <a:gd name="connsiteY17" fmla="*/ 91440 h 498849"/>
                <a:gd name="connsiteX18" fmla="*/ 885766 w 1032070"/>
                <a:gd name="connsiteY18" fmla="*/ 82296 h 498849"/>
                <a:gd name="connsiteX19" fmla="*/ 1013782 w 1032070"/>
                <a:gd name="connsiteY19" fmla="*/ 27432 h 498849"/>
                <a:gd name="connsiteX20" fmla="*/ 995494 w 1032070"/>
                <a:gd name="connsiteY20" fmla="*/ 0 h 498849"/>
                <a:gd name="connsiteX21" fmla="*/ 958918 w 1032070"/>
                <a:gd name="connsiteY21" fmla="*/ 27432 h 498849"/>
                <a:gd name="connsiteX22" fmla="*/ 922342 w 1032070"/>
                <a:gd name="connsiteY22" fmla="*/ 36576 h 498849"/>
                <a:gd name="connsiteX23" fmla="*/ 849190 w 1032070"/>
                <a:gd name="connsiteY23" fmla="*/ 64008 h 498849"/>
                <a:gd name="connsiteX24" fmla="*/ 794326 w 1032070"/>
                <a:gd name="connsiteY24" fmla="*/ 64008 h 498849"/>
                <a:gd name="connsiteX25" fmla="*/ 684598 w 1032070"/>
                <a:gd name="connsiteY25" fmla="*/ 64008 h 498849"/>
                <a:gd name="connsiteX26" fmla="*/ 629734 w 1032070"/>
                <a:gd name="connsiteY26" fmla="*/ 100584 h 498849"/>
                <a:gd name="connsiteX27" fmla="*/ 593158 w 1032070"/>
                <a:gd name="connsiteY27" fmla="*/ 146304 h 498849"/>
                <a:gd name="connsiteX28" fmla="*/ 547438 w 1032070"/>
                <a:gd name="connsiteY28" fmla="*/ 182880 h 498849"/>
                <a:gd name="connsiteX29" fmla="*/ 501718 w 1032070"/>
                <a:gd name="connsiteY29" fmla="*/ 256032 h 498849"/>
                <a:gd name="connsiteX30" fmla="*/ 428566 w 1032070"/>
                <a:gd name="connsiteY30" fmla="*/ 301752 h 498849"/>
                <a:gd name="connsiteX31" fmla="*/ 327982 w 1032070"/>
                <a:gd name="connsiteY31" fmla="*/ 347472 h 498849"/>
                <a:gd name="connsiteX32" fmla="*/ 291406 w 1032070"/>
                <a:gd name="connsiteY32" fmla="*/ 374904 h 498849"/>
                <a:gd name="connsiteX33" fmla="*/ 245686 w 1032070"/>
                <a:gd name="connsiteY33" fmla="*/ 402336 h 498849"/>
                <a:gd name="connsiteX34" fmla="*/ 227398 w 1032070"/>
                <a:gd name="connsiteY34" fmla="*/ 402336 h 498849"/>
                <a:gd name="connsiteX35" fmla="*/ 245686 w 1032070"/>
                <a:gd name="connsiteY35" fmla="*/ 365760 h 498849"/>
                <a:gd name="connsiteX36" fmla="*/ 300550 w 1032070"/>
                <a:gd name="connsiteY36" fmla="*/ 301752 h 498849"/>
                <a:gd name="connsiteX37" fmla="*/ 391990 w 1032070"/>
                <a:gd name="connsiteY37" fmla="*/ 219456 h 498849"/>
                <a:gd name="connsiteX38" fmla="*/ 437710 w 1032070"/>
                <a:gd name="connsiteY38" fmla="*/ 146304 h 498849"/>
                <a:gd name="connsiteX39" fmla="*/ 437710 w 1032070"/>
                <a:gd name="connsiteY39" fmla="*/ 64008 h 498849"/>
                <a:gd name="connsiteX40" fmla="*/ 428566 w 1032070"/>
                <a:gd name="connsiteY40" fmla="*/ 54864 h 498849"/>
                <a:gd name="connsiteX41" fmla="*/ 419422 w 1032070"/>
                <a:gd name="connsiteY41" fmla="*/ 128016 h 498849"/>
                <a:gd name="connsiteX42" fmla="*/ 391990 w 1032070"/>
                <a:gd name="connsiteY42" fmla="*/ 173736 h 498849"/>
                <a:gd name="connsiteX43" fmla="*/ 318838 w 1032070"/>
                <a:gd name="connsiteY43" fmla="*/ 237744 h 498849"/>
                <a:gd name="connsiteX44" fmla="*/ 291406 w 1032070"/>
                <a:gd name="connsiteY44" fmla="*/ 256032 h 498849"/>
                <a:gd name="connsiteX45" fmla="*/ 218254 w 1032070"/>
                <a:gd name="connsiteY45" fmla="*/ 347472 h 498849"/>
                <a:gd name="connsiteX46" fmla="*/ 209110 w 1032070"/>
                <a:gd name="connsiteY46" fmla="*/ 374904 h 498849"/>
                <a:gd name="connsiteX47" fmla="*/ 199966 w 1032070"/>
                <a:gd name="connsiteY47" fmla="*/ 411480 h 498849"/>
                <a:gd name="connsiteX48" fmla="*/ 218254 w 1032070"/>
                <a:gd name="connsiteY48" fmla="*/ 429768 h 498849"/>
                <a:gd name="connsiteX49" fmla="*/ 172534 w 1032070"/>
                <a:gd name="connsiteY49" fmla="*/ 457200 h 498849"/>
                <a:gd name="connsiteX50" fmla="*/ 26230 w 1032070"/>
                <a:gd name="connsiteY50" fmla="*/ 493776 h 498849"/>
                <a:gd name="connsiteX51" fmla="*/ 15156 w 1032070"/>
                <a:gd name="connsiteY51" fmla="*/ 480583 h 498849"/>
                <a:gd name="connsiteX52" fmla="*/ 15157 w 1032070"/>
                <a:gd name="connsiteY52" fmla="*/ 480583 h 498849"/>
                <a:gd name="connsiteX53" fmla="*/ 89615 w 1032070"/>
                <a:gd name="connsiteY53" fmla="*/ 496784 h 498849"/>
                <a:gd name="connsiteX54" fmla="*/ 89615 w 1032070"/>
                <a:gd name="connsiteY54" fmla="*/ 496784 h 498849"/>
                <a:gd name="connsiteX55" fmla="*/ 89615 w 1032070"/>
                <a:gd name="connsiteY55" fmla="*/ 496784 h 498849"/>
                <a:gd name="connsiteX0" fmla="*/ 89615 w 1032070"/>
                <a:gd name="connsiteY0" fmla="*/ 496784 h 498849"/>
                <a:gd name="connsiteX1" fmla="*/ 89615 w 1032070"/>
                <a:gd name="connsiteY1" fmla="*/ 496784 h 498849"/>
                <a:gd name="connsiteX2" fmla="*/ 89615 w 1032070"/>
                <a:gd name="connsiteY2" fmla="*/ 496784 h 498849"/>
                <a:gd name="connsiteX3" fmla="*/ 126814 w 1032070"/>
                <a:gd name="connsiteY3" fmla="*/ 493776 h 498849"/>
                <a:gd name="connsiteX4" fmla="*/ 227398 w 1032070"/>
                <a:gd name="connsiteY4" fmla="*/ 466344 h 498849"/>
                <a:gd name="connsiteX5" fmla="*/ 327982 w 1032070"/>
                <a:gd name="connsiteY5" fmla="*/ 384048 h 498849"/>
                <a:gd name="connsiteX6" fmla="*/ 520006 w 1032070"/>
                <a:gd name="connsiteY6" fmla="*/ 301752 h 498849"/>
                <a:gd name="connsiteX7" fmla="*/ 602302 w 1032070"/>
                <a:gd name="connsiteY7" fmla="*/ 192024 h 498849"/>
                <a:gd name="connsiteX8" fmla="*/ 748606 w 1032070"/>
                <a:gd name="connsiteY8" fmla="*/ 155448 h 498849"/>
                <a:gd name="connsiteX9" fmla="*/ 794326 w 1032070"/>
                <a:gd name="connsiteY9" fmla="*/ 155448 h 498849"/>
                <a:gd name="connsiteX10" fmla="*/ 830902 w 1032070"/>
                <a:gd name="connsiteY10" fmla="*/ 137160 h 498849"/>
                <a:gd name="connsiteX11" fmla="*/ 785182 w 1032070"/>
                <a:gd name="connsiteY11" fmla="*/ 137160 h 498849"/>
                <a:gd name="connsiteX12" fmla="*/ 693742 w 1032070"/>
                <a:gd name="connsiteY12" fmla="*/ 137160 h 498849"/>
                <a:gd name="connsiteX13" fmla="*/ 638878 w 1032070"/>
                <a:gd name="connsiteY13" fmla="*/ 146304 h 498849"/>
                <a:gd name="connsiteX14" fmla="*/ 629734 w 1032070"/>
                <a:gd name="connsiteY14" fmla="*/ 155448 h 498849"/>
                <a:gd name="connsiteX15" fmla="*/ 611446 w 1032070"/>
                <a:gd name="connsiteY15" fmla="*/ 146304 h 498849"/>
                <a:gd name="connsiteX16" fmla="*/ 739462 w 1032070"/>
                <a:gd name="connsiteY16" fmla="*/ 91440 h 498849"/>
                <a:gd name="connsiteX17" fmla="*/ 794326 w 1032070"/>
                <a:gd name="connsiteY17" fmla="*/ 91440 h 498849"/>
                <a:gd name="connsiteX18" fmla="*/ 885766 w 1032070"/>
                <a:gd name="connsiteY18" fmla="*/ 82296 h 498849"/>
                <a:gd name="connsiteX19" fmla="*/ 1013782 w 1032070"/>
                <a:gd name="connsiteY19" fmla="*/ 27432 h 498849"/>
                <a:gd name="connsiteX20" fmla="*/ 995494 w 1032070"/>
                <a:gd name="connsiteY20" fmla="*/ 0 h 498849"/>
                <a:gd name="connsiteX21" fmla="*/ 958918 w 1032070"/>
                <a:gd name="connsiteY21" fmla="*/ 27432 h 498849"/>
                <a:gd name="connsiteX22" fmla="*/ 922342 w 1032070"/>
                <a:gd name="connsiteY22" fmla="*/ 36576 h 498849"/>
                <a:gd name="connsiteX23" fmla="*/ 849190 w 1032070"/>
                <a:gd name="connsiteY23" fmla="*/ 64008 h 498849"/>
                <a:gd name="connsiteX24" fmla="*/ 794326 w 1032070"/>
                <a:gd name="connsiteY24" fmla="*/ 64008 h 498849"/>
                <a:gd name="connsiteX25" fmla="*/ 684598 w 1032070"/>
                <a:gd name="connsiteY25" fmla="*/ 64008 h 498849"/>
                <a:gd name="connsiteX26" fmla="*/ 629734 w 1032070"/>
                <a:gd name="connsiteY26" fmla="*/ 100584 h 498849"/>
                <a:gd name="connsiteX27" fmla="*/ 593158 w 1032070"/>
                <a:gd name="connsiteY27" fmla="*/ 146304 h 498849"/>
                <a:gd name="connsiteX28" fmla="*/ 547438 w 1032070"/>
                <a:gd name="connsiteY28" fmla="*/ 182880 h 498849"/>
                <a:gd name="connsiteX29" fmla="*/ 501718 w 1032070"/>
                <a:gd name="connsiteY29" fmla="*/ 256032 h 498849"/>
                <a:gd name="connsiteX30" fmla="*/ 428566 w 1032070"/>
                <a:gd name="connsiteY30" fmla="*/ 301752 h 498849"/>
                <a:gd name="connsiteX31" fmla="*/ 327982 w 1032070"/>
                <a:gd name="connsiteY31" fmla="*/ 347472 h 498849"/>
                <a:gd name="connsiteX32" fmla="*/ 291406 w 1032070"/>
                <a:gd name="connsiteY32" fmla="*/ 374904 h 498849"/>
                <a:gd name="connsiteX33" fmla="*/ 245686 w 1032070"/>
                <a:gd name="connsiteY33" fmla="*/ 402336 h 498849"/>
                <a:gd name="connsiteX34" fmla="*/ 227398 w 1032070"/>
                <a:gd name="connsiteY34" fmla="*/ 402336 h 498849"/>
                <a:gd name="connsiteX35" fmla="*/ 245686 w 1032070"/>
                <a:gd name="connsiteY35" fmla="*/ 365760 h 498849"/>
                <a:gd name="connsiteX36" fmla="*/ 300550 w 1032070"/>
                <a:gd name="connsiteY36" fmla="*/ 301752 h 498849"/>
                <a:gd name="connsiteX37" fmla="*/ 391990 w 1032070"/>
                <a:gd name="connsiteY37" fmla="*/ 219456 h 498849"/>
                <a:gd name="connsiteX38" fmla="*/ 437710 w 1032070"/>
                <a:gd name="connsiteY38" fmla="*/ 146304 h 498849"/>
                <a:gd name="connsiteX39" fmla="*/ 437710 w 1032070"/>
                <a:gd name="connsiteY39" fmla="*/ 64008 h 498849"/>
                <a:gd name="connsiteX40" fmla="*/ 428566 w 1032070"/>
                <a:gd name="connsiteY40" fmla="*/ 54864 h 498849"/>
                <a:gd name="connsiteX41" fmla="*/ 419422 w 1032070"/>
                <a:gd name="connsiteY41" fmla="*/ 128016 h 498849"/>
                <a:gd name="connsiteX42" fmla="*/ 391990 w 1032070"/>
                <a:gd name="connsiteY42" fmla="*/ 173736 h 498849"/>
                <a:gd name="connsiteX43" fmla="*/ 318838 w 1032070"/>
                <a:gd name="connsiteY43" fmla="*/ 237744 h 498849"/>
                <a:gd name="connsiteX44" fmla="*/ 291406 w 1032070"/>
                <a:gd name="connsiteY44" fmla="*/ 256032 h 498849"/>
                <a:gd name="connsiteX45" fmla="*/ 218254 w 1032070"/>
                <a:gd name="connsiteY45" fmla="*/ 347472 h 498849"/>
                <a:gd name="connsiteX46" fmla="*/ 209110 w 1032070"/>
                <a:gd name="connsiteY46" fmla="*/ 374904 h 498849"/>
                <a:gd name="connsiteX47" fmla="*/ 199966 w 1032070"/>
                <a:gd name="connsiteY47" fmla="*/ 411480 h 498849"/>
                <a:gd name="connsiteX48" fmla="*/ 218254 w 1032070"/>
                <a:gd name="connsiteY48" fmla="*/ 429768 h 498849"/>
                <a:gd name="connsiteX49" fmla="*/ 172534 w 1032070"/>
                <a:gd name="connsiteY49" fmla="*/ 457200 h 498849"/>
                <a:gd name="connsiteX50" fmla="*/ 26230 w 1032070"/>
                <a:gd name="connsiteY50" fmla="*/ 493776 h 498849"/>
                <a:gd name="connsiteX51" fmla="*/ 15156 w 1032070"/>
                <a:gd name="connsiteY51" fmla="*/ 480583 h 498849"/>
                <a:gd name="connsiteX52" fmla="*/ 89615 w 1032070"/>
                <a:gd name="connsiteY52" fmla="*/ 496784 h 498849"/>
                <a:gd name="connsiteX53" fmla="*/ 89615 w 1032070"/>
                <a:gd name="connsiteY53" fmla="*/ 496784 h 498849"/>
                <a:gd name="connsiteX54" fmla="*/ 89615 w 1032070"/>
                <a:gd name="connsiteY54" fmla="*/ 496784 h 498849"/>
                <a:gd name="connsiteX55" fmla="*/ 89615 w 1032070"/>
                <a:gd name="connsiteY55" fmla="*/ 496784 h 498849"/>
                <a:gd name="connsiteX0" fmla="*/ 77205 w 1019660"/>
                <a:gd name="connsiteY0" fmla="*/ 496784 h 500373"/>
                <a:gd name="connsiteX1" fmla="*/ 77205 w 1019660"/>
                <a:gd name="connsiteY1" fmla="*/ 496784 h 500373"/>
                <a:gd name="connsiteX2" fmla="*/ 77205 w 1019660"/>
                <a:gd name="connsiteY2" fmla="*/ 496784 h 500373"/>
                <a:gd name="connsiteX3" fmla="*/ 114404 w 1019660"/>
                <a:gd name="connsiteY3" fmla="*/ 493776 h 500373"/>
                <a:gd name="connsiteX4" fmla="*/ 214988 w 1019660"/>
                <a:gd name="connsiteY4" fmla="*/ 466344 h 500373"/>
                <a:gd name="connsiteX5" fmla="*/ 315572 w 1019660"/>
                <a:gd name="connsiteY5" fmla="*/ 384048 h 500373"/>
                <a:gd name="connsiteX6" fmla="*/ 507596 w 1019660"/>
                <a:gd name="connsiteY6" fmla="*/ 301752 h 500373"/>
                <a:gd name="connsiteX7" fmla="*/ 589892 w 1019660"/>
                <a:gd name="connsiteY7" fmla="*/ 192024 h 500373"/>
                <a:gd name="connsiteX8" fmla="*/ 736196 w 1019660"/>
                <a:gd name="connsiteY8" fmla="*/ 155448 h 500373"/>
                <a:gd name="connsiteX9" fmla="*/ 781916 w 1019660"/>
                <a:gd name="connsiteY9" fmla="*/ 155448 h 500373"/>
                <a:gd name="connsiteX10" fmla="*/ 818492 w 1019660"/>
                <a:gd name="connsiteY10" fmla="*/ 137160 h 500373"/>
                <a:gd name="connsiteX11" fmla="*/ 772772 w 1019660"/>
                <a:gd name="connsiteY11" fmla="*/ 137160 h 500373"/>
                <a:gd name="connsiteX12" fmla="*/ 681332 w 1019660"/>
                <a:gd name="connsiteY12" fmla="*/ 137160 h 500373"/>
                <a:gd name="connsiteX13" fmla="*/ 626468 w 1019660"/>
                <a:gd name="connsiteY13" fmla="*/ 146304 h 500373"/>
                <a:gd name="connsiteX14" fmla="*/ 617324 w 1019660"/>
                <a:gd name="connsiteY14" fmla="*/ 155448 h 500373"/>
                <a:gd name="connsiteX15" fmla="*/ 599036 w 1019660"/>
                <a:gd name="connsiteY15" fmla="*/ 146304 h 500373"/>
                <a:gd name="connsiteX16" fmla="*/ 727052 w 1019660"/>
                <a:gd name="connsiteY16" fmla="*/ 91440 h 500373"/>
                <a:gd name="connsiteX17" fmla="*/ 781916 w 1019660"/>
                <a:gd name="connsiteY17" fmla="*/ 91440 h 500373"/>
                <a:gd name="connsiteX18" fmla="*/ 873356 w 1019660"/>
                <a:gd name="connsiteY18" fmla="*/ 82296 h 500373"/>
                <a:gd name="connsiteX19" fmla="*/ 1001372 w 1019660"/>
                <a:gd name="connsiteY19" fmla="*/ 27432 h 500373"/>
                <a:gd name="connsiteX20" fmla="*/ 983084 w 1019660"/>
                <a:gd name="connsiteY20" fmla="*/ 0 h 500373"/>
                <a:gd name="connsiteX21" fmla="*/ 946508 w 1019660"/>
                <a:gd name="connsiteY21" fmla="*/ 27432 h 500373"/>
                <a:gd name="connsiteX22" fmla="*/ 909932 w 1019660"/>
                <a:gd name="connsiteY22" fmla="*/ 36576 h 500373"/>
                <a:gd name="connsiteX23" fmla="*/ 836780 w 1019660"/>
                <a:gd name="connsiteY23" fmla="*/ 64008 h 500373"/>
                <a:gd name="connsiteX24" fmla="*/ 781916 w 1019660"/>
                <a:gd name="connsiteY24" fmla="*/ 64008 h 500373"/>
                <a:gd name="connsiteX25" fmla="*/ 672188 w 1019660"/>
                <a:gd name="connsiteY25" fmla="*/ 64008 h 500373"/>
                <a:gd name="connsiteX26" fmla="*/ 617324 w 1019660"/>
                <a:gd name="connsiteY26" fmla="*/ 100584 h 500373"/>
                <a:gd name="connsiteX27" fmla="*/ 580748 w 1019660"/>
                <a:gd name="connsiteY27" fmla="*/ 146304 h 500373"/>
                <a:gd name="connsiteX28" fmla="*/ 535028 w 1019660"/>
                <a:gd name="connsiteY28" fmla="*/ 182880 h 500373"/>
                <a:gd name="connsiteX29" fmla="*/ 489308 w 1019660"/>
                <a:gd name="connsiteY29" fmla="*/ 256032 h 500373"/>
                <a:gd name="connsiteX30" fmla="*/ 416156 w 1019660"/>
                <a:gd name="connsiteY30" fmla="*/ 301752 h 500373"/>
                <a:gd name="connsiteX31" fmla="*/ 315572 w 1019660"/>
                <a:gd name="connsiteY31" fmla="*/ 347472 h 500373"/>
                <a:gd name="connsiteX32" fmla="*/ 278996 w 1019660"/>
                <a:gd name="connsiteY32" fmla="*/ 374904 h 500373"/>
                <a:gd name="connsiteX33" fmla="*/ 233276 w 1019660"/>
                <a:gd name="connsiteY33" fmla="*/ 402336 h 500373"/>
                <a:gd name="connsiteX34" fmla="*/ 214988 w 1019660"/>
                <a:gd name="connsiteY34" fmla="*/ 402336 h 500373"/>
                <a:gd name="connsiteX35" fmla="*/ 233276 w 1019660"/>
                <a:gd name="connsiteY35" fmla="*/ 365760 h 500373"/>
                <a:gd name="connsiteX36" fmla="*/ 288140 w 1019660"/>
                <a:gd name="connsiteY36" fmla="*/ 301752 h 500373"/>
                <a:gd name="connsiteX37" fmla="*/ 379580 w 1019660"/>
                <a:gd name="connsiteY37" fmla="*/ 219456 h 500373"/>
                <a:gd name="connsiteX38" fmla="*/ 425300 w 1019660"/>
                <a:gd name="connsiteY38" fmla="*/ 146304 h 500373"/>
                <a:gd name="connsiteX39" fmla="*/ 425300 w 1019660"/>
                <a:gd name="connsiteY39" fmla="*/ 64008 h 500373"/>
                <a:gd name="connsiteX40" fmla="*/ 416156 w 1019660"/>
                <a:gd name="connsiteY40" fmla="*/ 54864 h 500373"/>
                <a:gd name="connsiteX41" fmla="*/ 407012 w 1019660"/>
                <a:gd name="connsiteY41" fmla="*/ 128016 h 500373"/>
                <a:gd name="connsiteX42" fmla="*/ 379580 w 1019660"/>
                <a:gd name="connsiteY42" fmla="*/ 173736 h 500373"/>
                <a:gd name="connsiteX43" fmla="*/ 306428 w 1019660"/>
                <a:gd name="connsiteY43" fmla="*/ 237744 h 500373"/>
                <a:gd name="connsiteX44" fmla="*/ 278996 w 1019660"/>
                <a:gd name="connsiteY44" fmla="*/ 256032 h 500373"/>
                <a:gd name="connsiteX45" fmla="*/ 205844 w 1019660"/>
                <a:gd name="connsiteY45" fmla="*/ 347472 h 500373"/>
                <a:gd name="connsiteX46" fmla="*/ 196700 w 1019660"/>
                <a:gd name="connsiteY46" fmla="*/ 374904 h 500373"/>
                <a:gd name="connsiteX47" fmla="*/ 187556 w 1019660"/>
                <a:gd name="connsiteY47" fmla="*/ 411480 h 500373"/>
                <a:gd name="connsiteX48" fmla="*/ 205844 w 1019660"/>
                <a:gd name="connsiteY48" fmla="*/ 429768 h 500373"/>
                <a:gd name="connsiteX49" fmla="*/ 160124 w 1019660"/>
                <a:gd name="connsiteY49" fmla="*/ 457200 h 500373"/>
                <a:gd name="connsiteX50" fmla="*/ 13820 w 1019660"/>
                <a:gd name="connsiteY50" fmla="*/ 493776 h 500373"/>
                <a:gd name="connsiteX51" fmla="*/ 77205 w 1019660"/>
                <a:gd name="connsiteY51" fmla="*/ 496784 h 500373"/>
                <a:gd name="connsiteX52" fmla="*/ 77205 w 1019660"/>
                <a:gd name="connsiteY52" fmla="*/ 496784 h 500373"/>
                <a:gd name="connsiteX53" fmla="*/ 77205 w 1019660"/>
                <a:gd name="connsiteY53" fmla="*/ 496784 h 500373"/>
                <a:gd name="connsiteX54" fmla="*/ 77205 w 1019660"/>
                <a:gd name="connsiteY54" fmla="*/ 496784 h 500373"/>
                <a:gd name="connsiteX55" fmla="*/ 77205 w 1019660"/>
                <a:gd name="connsiteY55" fmla="*/ 496784 h 500373"/>
                <a:gd name="connsiteX0" fmla="*/ 13820 w 956275"/>
                <a:gd name="connsiteY0" fmla="*/ 496784 h 503380"/>
                <a:gd name="connsiteX1" fmla="*/ 13820 w 956275"/>
                <a:gd name="connsiteY1" fmla="*/ 496784 h 503380"/>
                <a:gd name="connsiteX2" fmla="*/ 13820 w 956275"/>
                <a:gd name="connsiteY2" fmla="*/ 496784 h 503380"/>
                <a:gd name="connsiteX3" fmla="*/ 51019 w 956275"/>
                <a:gd name="connsiteY3" fmla="*/ 493776 h 503380"/>
                <a:gd name="connsiteX4" fmla="*/ 151603 w 956275"/>
                <a:gd name="connsiteY4" fmla="*/ 466344 h 503380"/>
                <a:gd name="connsiteX5" fmla="*/ 252187 w 956275"/>
                <a:gd name="connsiteY5" fmla="*/ 384048 h 503380"/>
                <a:gd name="connsiteX6" fmla="*/ 444211 w 956275"/>
                <a:gd name="connsiteY6" fmla="*/ 301752 h 503380"/>
                <a:gd name="connsiteX7" fmla="*/ 526507 w 956275"/>
                <a:gd name="connsiteY7" fmla="*/ 192024 h 503380"/>
                <a:gd name="connsiteX8" fmla="*/ 672811 w 956275"/>
                <a:gd name="connsiteY8" fmla="*/ 155448 h 503380"/>
                <a:gd name="connsiteX9" fmla="*/ 718531 w 956275"/>
                <a:gd name="connsiteY9" fmla="*/ 155448 h 503380"/>
                <a:gd name="connsiteX10" fmla="*/ 755107 w 956275"/>
                <a:gd name="connsiteY10" fmla="*/ 137160 h 503380"/>
                <a:gd name="connsiteX11" fmla="*/ 709387 w 956275"/>
                <a:gd name="connsiteY11" fmla="*/ 137160 h 503380"/>
                <a:gd name="connsiteX12" fmla="*/ 617947 w 956275"/>
                <a:gd name="connsiteY12" fmla="*/ 137160 h 503380"/>
                <a:gd name="connsiteX13" fmla="*/ 563083 w 956275"/>
                <a:gd name="connsiteY13" fmla="*/ 146304 h 503380"/>
                <a:gd name="connsiteX14" fmla="*/ 553939 w 956275"/>
                <a:gd name="connsiteY14" fmla="*/ 155448 h 503380"/>
                <a:gd name="connsiteX15" fmla="*/ 535651 w 956275"/>
                <a:gd name="connsiteY15" fmla="*/ 146304 h 503380"/>
                <a:gd name="connsiteX16" fmla="*/ 663667 w 956275"/>
                <a:gd name="connsiteY16" fmla="*/ 91440 h 503380"/>
                <a:gd name="connsiteX17" fmla="*/ 718531 w 956275"/>
                <a:gd name="connsiteY17" fmla="*/ 91440 h 503380"/>
                <a:gd name="connsiteX18" fmla="*/ 809971 w 956275"/>
                <a:gd name="connsiteY18" fmla="*/ 82296 h 503380"/>
                <a:gd name="connsiteX19" fmla="*/ 937987 w 956275"/>
                <a:gd name="connsiteY19" fmla="*/ 27432 h 503380"/>
                <a:gd name="connsiteX20" fmla="*/ 919699 w 956275"/>
                <a:gd name="connsiteY20" fmla="*/ 0 h 503380"/>
                <a:gd name="connsiteX21" fmla="*/ 883123 w 956275"/>
                <a:gd name="connsiteY21" fmla="*/ 27432 h 503380"/>
                <a:gd name="connsiteX22" fmla="*/ 846547 w 956275"/>
                <a:gd name="connsiteY22" fmla="*/ 36576 h 503380"/>
                <a:gd name="connsiteX23" fmla="*/ 773395 w 956275"/>
                <a:gd name="connsiteY23" fmla="*/ 64008 h 503380"/>
                <a:gd name="connsiteX24" fmla="*/ 718531 w 956275"/>
                <a:gd name="connsiteY24" fmla="*/ 64008 h 503380"/>
                <a:gd name="connsiteX25" fmla="*/ 608803 w 956275"/>
                <a:gd name="connsiteY25" fmla="*/ 64008 h 503380"/>
                <a:gd name="connsiteX26" fmla="*/ 553939 w 956275"/>
                <a:gd name="connsiteY26" fmla="*/ 100584 h 503380"/>
                <a:gd name="connsiteX27" fmla="*/ 517363 w 956275"/>
                <a:gd name="connsiteY27" fmla="*/ 146304 h 503380"/>
                <a:gd name="connsiteX28" fmla="*/ 471643 w 956275"/>
                <a:gd name="connsiteY28" fmla="*/ 182880 h 503380"/>
                <a:gd name="connsiteX29" fmla="*/ 425923 w 956275"/>
                <a:gd name="connsiteY29" fmla="*/ 256032 h 503380"/>
                <a:gd name="connsiteX30" fmla="*/ 352771 w 956275"/>
                <a:gd name="connsiteY30" fmla="*/ 301752 h 503380"/>
                <a:gd name="connsiteX31" fmla="*/ 252187 w 956275"/>
                <a:gd name="connsiteY31" fmla="*/ 347472 h 503380"/>
                <a:gd name="connsiteX32" fmla="*/ 215611 w 956275"/>
                <a:gd name="connsiteY32" fmla="*/ 374904 h 503380"/>
                <a:gd name="connsiteX33" fmla="*/ 169891 w 956275"/>
                <a:gd name="connsiteY33" fmla="*/ 402336 h 503380"/>
                <a:gd name="connsiteX34" fmla="*/ 151603 w 956275"/>
                <a:gd name="connsiteY34" fmla="*/ 402336 h 503380"/>
                <a:gd name="connsiteX35" fmla="*/ 169891 w 956275"/>
                <a:gd name="connsiteY35" fmla="*/ 365760 h 503380"/>
                <a:gd name="connsiteX36" fmla="*/ 224755 w 956275"/>
                <a:gd name="connsiteY36" fmla="*/ 301752 h 503380"/>
                <a:gd name="connsiteX37" fmla="*/ 316195 w 956275"/>
                <a:gd name="connsiteY37" fmla="*/ 219456 h 503380"/>
                <a:gd name="connsiteX38" fmla="*/ 361915 w 956275"/>
                <a:gd name="connsiteY38" fmla="*/ 146304 h 503380"/>
                <a:gd name="connsiteX39" fmla="*/ 361915 w 956275"/>
                <a:gd name="connsiteY39" fmla="*/ 64008 h 503380"/>
                <a:gd name="connsiteX40" fmla="*/ 352771 w 956275"/>
                <a:gd name="connsiteY40" fmla="*/ 54864 h 503380"/>
                <a:gd name="connsiteX41" fmla="*/ 343627 w 956275"/>
                <a:gd name="connsiteY41" fmla="*/ 128016 h 503380"/>
                <a:gd name="connsiteX42" fmla="*/ 316195 w 956275"/>
                <a:gd name="connsiteY42" fmla="*/ 173736 h 503380"/>
                <a:gd name="connsiteX43" fmla="*/ 243043 w 956275"/>
                <a:gd name="connsiteY43" fmla="*/ 237744 h 503380"/>
                <a:gd name="connsiteX44" fmla="*/ 215611 w 956275"/>
                <a:gd name="connsiteY44" fmla="*/ 256032 h 503380"/>
                <a:gd name="connsiteX45" fmla="*/ 142459 w 956275"/>
                <a:gd name="connsiteY45" fmla="*/ 347472 h 503380"/>
                <a:gd name="connsiteX46" fmla="*/ 133315 w 956275"/>
                <a:gd name="connsiteY46" fmla="*/ 374904 h 503380"/>
                <a:gd name="connsiteX47" fmla="*/ 124171 w 956275"/>
                <a:gd name="connsiteY47" fmla="*/ 411480 h 503380"/>
                <a:gd name="connsiteX48" fmla="*/ 142459 w 956275"/>
                <a:gd name="connsiteY48" fmla="*/ 429768 h 503380"/>
                <a:gd name="connsiteX49" fmla="*/ 96739 w 956275"/>
                <a:gd name="connsiteY49" fmla="*/ 457200 h 503380"/>
                <a:gd name="connsiteX50" fmla="*/ 13820 w 956275"/>
                <a:gd name="connsiteY50" fmla="*/ 496783 h 503380"/>
                <a:gd name="connsiteX51" fmla="*/ 13820 w 956275"/>
                <a:gd name="connsiteY51" fmla="*/ 496784 h 503380"/>
                <a:gd name="connsiteX52" fmla="*/ 13820 w 956275"/>
                <a:gd name="connsiteY52" fmla="*/ 496784 h 503380"/>
                <a:gd name="connsiteX53" fmla="*/ 13820 w 956275"/>
                <a:gd name="connsiteY53" fmla="*/ 496784 h 503380"/>
                <a:gd name="connsiteX54" fmla="*/ 13820 w 956275"/>
                <a:gd name="connsiteY54" fmla="*/ 496784 h 503380"/>
                <a:gd name="connsiteX55" fmla="*/ 13820 w 956275"/>
                <a:gd name="connsiteY55" fmla="*/ 496784 h 503380"/>
                <a:gd name="connsiteX0" fmla="*/ 40672 w 956275"/>
                <a:gd name="connsiteY0" fmla="*/ 486851 h 503380"/>
                <a:gd name="connsiteX1" fmla="*/ 13820 w 956275"/>
                <a:gd name="connsiteY1" fmla="*/ 496784 h 503380"/>
                <a:gd name="connsiteX2" fmla="*/ 13820 w 956275"/>
                <a:gd name="connsiteY2" fmla="*/ 496784 h 503380"/>
                <a:gd name="connsiteX3" fmla="*/ 51019 w 956275"/>
                <a:gd name="connsiteY3" fmla="*/ 493776 h 503380"/>
                <a:gd name="connsiteX4" fmla="*/ 151603 w 956275"/>
                <a:gd name="connsiteY4" fmla="*/ 466344 h 503380"/>
                <a:gd name="connsiteX5" fmla="*/ 252187 w 956275"/>
                <a:gd name="connsiteY5" fmla="*/ 384048 h 503380"/>
                <a:gd name="connsiteX6" fmla="*/ 444211 w 956275"/>
                <a:gd name="connsiteY6" fmla="*/ 301752 h 503380"/>
                <a:gd name="connsiteX7" fmla="*/ 526507 w 956275"/>
                <a:gd name="connsiteY7" fmla="*/ 192024 h 503380"/>
                <a:gd name="connsiteX8" fmla="*/ 672811 w 956275"/>
                <a:gd name="connsiteY8" fmla="*/ 155448 h 503380"/>
                <a:gd name="connsiteX9" fmla="*/ 718531 w 956275"/>
                <a:gd name="connsiteY9" fmla="*/ 155448 h 503380"/>
                <a:gd name="connsiteX10" fmla="*/ 755107 w 956275"/>
                <a:gd name="connsiteY10" fmla="*/ 137160 h 503380"/>
                <a:gd name="connsiteX11" fmla="*/ 709387 w 956275"/>
                <a:gd name="connsiteY11" fmla="*/ 137160 h 503380"/>
                <a:gd name="connsiteX12" fmla="*/ 617947 w 956275"/>
                <a:gd name="connsiteY12" fmla="*/ 137160 h 503380"/>
                <a:gd name="connsiteX13" fmla="*/ 563083 w 956275"/>
                <a:gd name="connsiteY13" fmla="*/ 146304 h 503380"/>
                <a:gd name="connsiteX14" fmla="*/ 553939 w 956275"/>
                <a:gd name="connsiteY14" fmla="*/ 155448 h 503380"/>
                <a:gd name="connsiteX15" fmla="*/ 535651 w 956275"/>
                <a:gd name="connsiteY15" fmla="*/ 146304 h 503380"/>
                <a:gd name="connsiteX16" fmla="*/ 663667 w 956275"/>
                <a:gd name="connsiteY16" fmla="*/ 91440 h 503380"/>
                <a:gd name="connsiteX17" fmla="*/ 718531 w 956275"/>
                <a:gd name="connsiteY17" fmla="*/ 91440 h 503380"/>
                <a:gd name="connsiteX18" fmla="*/ 809971 w 956275"/>
                <a:gd name="connsiteY18" fmla="*/ 82296 h 503380"/>
                <a:gd name="connsiteX19" fmla="*/ 937987 w 956275"/>
                <a:gd name="connsiteY19" fmla="*/ 27432 h 503380"/>
                <a:gd name="connsiteX20" fmla="*/ 919699 w 956275"/>
                <a:gd name="connsiteY20" fmla="*/ 0 h 503380"/>
                <a:gd name="connsiteX21" fmla="*/ 883123 w 956275"/>
                <a:gd name="connsiteY21" fmla="*/ 27432 h 503380"/>
                <a:gd name="connsiteX22" fmla="*/ 846547 w 956275"/>
                <a:gd name="connsiteY22" fmla="*/ 36576 h 503380"/>
                <a:gd name="connsiteX23" fmla="*/ 773395 w 956275"/>
                <a:gd name="connsiteY23" fmla="*/ 64008 h 503380"/>
                <a:gd name="connsiteX24" fmla="*/ 718531 w 956275"/>
                <a:gd name="connsiteY24" fmla="*/ 64008 h 503380"/>
                <a:gd name="connsiteX25" fmla="*/ 608803 w 956275"/>
                <a:gd name="connsiteY25" fmla="*/ 64008 h 503380"/>
                <a:gd name="connsiteX26" fmla="*/ 553939 w 956275"/>
                <a:gd name="connsiteY26" fmla="*/ 100584 h 503380"/>
                <a:gd name="connsiteX27" fmla="*/ 517363 w 956275"/>
                <a:gd name="connsiteY27" fmla="*/ 146304 h 503380"/>
                <a:gd name="connsiteX28" fmla="*/ 471643 w 956275"/>
                <a:gd name="connsiteY28" fmla="*/ 182880 h 503380"/>
                <a:gd name="connsiteX29" fmla="*/ 425923 w 956275"/>
                <a:gd name="connsiteY29" fmla="*/ 256032 h 503380"/>
                <a:gd name="connsiteX30" fmla="*/ 352771 w 956275"/>
                <a:gd name="connsiteY30" fmla="*/ 301752 h 503380"/>
                <a:gd name="connsiteX31" fmla="*/ 252187 w 956275"/>
                <a:gd name="connsiteY31" fmla="*/ 347472 h 503380"/>
                <a:gd name="connsiteX32" fmla="*/ 215611 w 956275"/>
                <a:gd name="connsiteY32" fmla="*/ 374904 h 503380"/>
                <a:gd name="connsiteX33" fmla="*/ 169891 w 956275"/>
                <a:gd name="connsiteY33" fmla="*/ 402336 h 503380"/>
                <a:gd name="connsiteX34" fmla="*/ 151603 w 956275"/>
                <a:gd name="connsiteY34" fmla="*/ 402336 h 503380"/>
                <a:gd name="connsiteX35" fmla="*/ 169891 w 956275"/>
                <a:gd name="connsiteY35" fmla="*/ 365760 h 503380"/>
                <a:gd name="connsiteX36" fmla="*/ 224755 w 956275"/>
                <a:gd name="connsiteY36" fmla="*/ 301752 h 503380"/>
                <a:gd name="connsiteX37" fmla="*/ 316195 w 956275"/>
                <a:gd name="connsiteY37" fmla="*/ 219456 h 503380"/>
                <a:gd name="connsiteX38" fmla="*/ 361915 w 956275"/>
                <a:gd name="connsiteY38" fmla="*/ 146304 h 503380"/>
                <a:gd name="connsiteX39" fmla="*/ 361915 w 956275"/>
                <a:gd name="connsiteY39" fmla="*/ 64008 h 503380"/>
                <a:gd name="connsiteX40" fmla="*/ 352771 w 956275"/>
                <a:gd name="connsiteY40" fmla="*/ 54864 h 503380"/>
                <a:gd name="connsiteX41" fmla="*/ 343627 w 956275"/>
                <a:gd name="connsiteY41" fmla="*/ 128016 h 503380"/>
                <a:gd name="connsiteX42" fmla="*/ 316195 w 956275"/>
                <a:gd name="connsiteY42" fmla="*/ 173736 h 503380"/>
                <a:gd name="connsiteX43" fmla="*/ 243043 w 956275"/>
                <a:gd name="connsiteY43" fmla="*/ 237744 h 503380"/>
                <a:gd name="connsiteX44" fmla="*/ 215611 w 956275"/>
                <a:gd name="connsiteY44" fmla="*/ 256032 h 503380"/>
                <a:gd name="connsiteX45" fmla="*/ 142459 w 956275"/>
                <a:gd name="connsiteY45" fmla="*/ 347472 h 503380"/>
                <a:gd name="connsiteX46" fmla="*/ 133315 w 956275"/>
                <a:gd name="connsiteY46" fmla="*/ 374904 h 503380"/>
                <a:gd name="connsiteX47" fmla="*/ 124171 w 956275"/>
                <a:gd name="connsiteY47" fmla="*/ 411480 h 503380"/>
                <a:gd name="connsiteX48" fmla="*/ 142459 w 956275"/>
                <a:gd name="connsiteY48" fmla="*/ 429768 h 503380"/>
                <a:gd name="connsiteX49" fmla="*/ 96739 w 956275"/>
                <a:gd name="connsiteY49" fmla="*/ 457200 h 503380"/>
                <a:gd name="connsiteX50" fmla="*/ 13820 w 956275"/>
                <a:gd name="connsiteY50" fmla="*/ 496783 h 503380"/>
                <a:gd name="connsiteX51" fmla="*/ 13820 w 956275"/>
                <a:gd name="connsiteY51" fmla="*/ 496784 h 503380"/>
                <a:gd name="connsiteX52" fmla="*/ 13820 w 956275"/>
                <a:gd name="connsiteY52" fmla="*/ 496784 h 503380"/>
                <a:gd name="connsiteX53" fmla="*/ 13820 w 956275"/>
                <a:gd name="connsiteY53" fmla="*/ 496784 h 503380"/>
                <a:gd name="connsiteX54" fmla="*/ 13820 w 956275"/>
                <a:gd name="connsiteY54" fmla="*/ 496784 h 503380"/>
                <a:gd name="connsiteX55" fmla="*/ 40672 w 956275"/>
                <a:gd name="connsiteY55" fmla="*/ 486851 h 503380"/>
                <a:gd name="connsiteX0" fmla="*/ 40672 w 956275"/>
                <a:gd name="connsiteY0" fmla="*/ 486851 h 503380"/>
                <a:gd name="connsiteX1" fmla="*/ 13820 w 956275"/>
                <a:gd name="connsiteY1" fmla="*/ 496784 h 503380"/>
                <a:gd name="connsiteX2" fmla="*/ 13820 w 956275"/>
                <a:gd name="connsiteY2" fmla="*/ 496784 h 503380"/>
                <a:gd name="connsiteX3" fmla="*/ 51019 w 956275"/>
                <a:gd name="connsiteY3" fmla="*/ 493776 h 503380"/>
                <a:gd name="connsiteX4" fmla="*/ 151603 w 956275"/>
                <a:gd name="connsiteY4" fmla="*/ 466344 h 503380"/>
                <a:gd name="connsiteX5" fmla="*/ 252187 w 956275"/>
                <a:gd name="connsiteY5" fmla="*/ 384048 h 503380"/>
                <a:gd name="connsiteX6" fmla="*/ 444211 w 956275"/>
                <a:gd name="connsiteY6" fmla="*/ 301752 h 503380"/>
                <a:gd name="connsiteX7" fmla="*/ 526507 w 956275"/>
                <a:gd name="connsiteY7" fmla="*/ 192024 h 503380"/>
                <a:gd name="connsiteX8" fmla="*/ 672811 w 956275"/>
                <a:gd name="connsiteY8" fmla="*/ 155448 h 503380"/>
                <a:gd name="connsiteX9" fmla="*/ 718531 w 956275"/>
                <a:gd name="connsiteY9" fmla="*/ 155448 h 503380"/>
                <a:gd name="connsiteX10" fmla="*/ 755107 w 956275"/>
                <a:gd name="connsiteY10" fmla="*/ 137160 h 503380"/>
                <a:gd name="connsiteX11" fmla="*/ 709387 w 956275"/>
                <a:gd name="connsiteY11" fmla="*/ 137160 h 503380"/>
                <a:gd name="connsiteX12" fmla="*/ 617947 w 956275"/>
                <a:gd name="connsiteY12" fmla="*/ 137160 h 503380"/>
                <a:gd name="connsiteX13" fmla="*/ 563083 w 956275"/>
                <a:gd name="connsiteY13" fmla="*/ 146304 h 503380"/>
                <a:gd name="connsiteX14" fmla="*/ 553939 w 956275"/>
                <a:gd name="connsiteY14" fmla="*/ 155448 h 503380"/>
                <a:gd name="connsiteX15" fmla="*/ 535651 w 956275"/>
                <a:gd name="connsiteY15" fmla="*/ 146304 h 503380"/>
                <a:gd name="connsiteX16" fmla="*/ 663667 w 956275"/>
                <a:gd name="connsiteY16" fmla="*/ 91440 h 503380"/>
                <a:gd name="connsiteX17" fmla="*/ 718531 w 956275"/>
                <a:gd name="connsiteY17" fmla="*/ 91440 h 503380"/>
                <a:gd name="connsiteX18" fmla="*/ 809971 w 956275"/>
                <a:gd name="connsiteY18" fmla="*/ 82296 h 503380"/>
                <a:gd name="connsiteX19" fmla="*/ 937987 w 956275"/>
                <a:gd name="connsiteY19" fmla="*/ 27432 h 503380"/>
                <a:gd name="connsiteX20" fmla="*/ 919699 w 956275"/>
                <a:gd name="connsiteY20" fmla="*/ 0 h 503380"/>
                <a:gd name="connsiteX21" fmla="*/ 883123 w 956275"/>
                <a:gd name="connsiteY21" fmla="*/ 27432 h 503380"/>
                <a:gd name="connsiteX22" fmla="*/ 846547 w 956275"/>
                <a:gd name="connsiteY22" fmla="*/ 36576 h 503380"/>
                <a:gd name="connsiteX23" fmla="*/ 773395 w 956275"/>
                <a:gd name="connsiteY23" fmla="*/ 64008 h 503380"/>
                <a:gd name="connsiteX24" fmla="*/ 718531 w 956275"/>
                <a:gd name="connsiteY24" fmla="*/ 64008 h 503380"/>
                <a:gd name="connsiteX25" fmla="*/ 608803 w 956275"/>
                <a:gd name="connsiteY25" fmla="*/ 64008 h 503380"/>
                <a:gd name="connsiteX26" fmla="*/ 553939 w 956275"/>
                <a:gd name="connsiteY26" fmla="*/ 100584 h 503380"/>
                <a:gd name="connsiteX27" fmla="*/ 517363 w 956275"/>
                <a:gd name="connsiteY27" fmla="*/ 146304 h 503380"/>
                <a:gd name="connsiteX28" fmla="*/ 471643 w 956275"/>
                <a:gd name="connsiteY28" fmla="*/ 182880 h 503380"/>
                <a:gd name="connsiteX29" fmla="*/ 425923 w 956275"/>
                <a:gd name="connsiteY29" fmla="*/ 256032 h 503380"/>
                <a:gd name="connsiteX30" fmla="*/ 352771 w 956275"/>
                <a:gd name="connsiteY30" fmla="*/ 301752 h 503380"/>
                <a:gd name="connsiteX31" fmla="*/ 252187 w 956275"/>
                <a:gd name="connsiteY31" fmla="*/ 347472 h 503380"/>
                <a:gd name="connsiteX32" fmla="*/ 215611 w 956275"/>
                <a:gd name="connsiteY32" fmla="*/ 374904 h 503380"/>
                <a:gd name="connsiteX33" fmla="*/ 169891 w 956275"/>
                <a:gd name="connsiteY33" fmla="*/ 402336 h 503380"/>
                <a:gd name="connsiteX34" fmla="*/ 151603 w 956275"/>
                <a:gd name="connsiteY34" fmla="*/ 402336 h 503380"/>
                <a:gd name="connsiteX35" fmla="*/ 169891 w 956275"/>
                <a:gd name="connsiteY35" fmla="*/ 365760 h 503380"/>
                <a:gd name="connsiteX36" fmla="*/ 224755 w 956275"/>
                <a:gd name="connsiteY36" fmla="*/ 301752 h 503380"/>
                <a:gd name="connsiteX37" fmla="*/ 316195 w 956275"/>
                <a:gd name="connsiteY37" fmla="*/ 219456 h 503380"/>
                <a:gd name="connsiteX38" fmla="*/ 361915 w 956275"/>
                <a:gd name="connsiteY38" fmla="*/ 146304 h 503380"/>
                <a:gd name="connsiteX39" fmla="*/ 361915 w 956275"/>
                <a:gd name="connsiteY39" fmla="*/ 64008 h 503380"/>
                <a:gd name="connsiteX40" fmla="*/ 352771 w 956275"/>
                <a:gd name="connsiteY40" fmla="*/ 54864 h 503380"/>
                <a:gd name="connsiteX41" fmla="*/ 343627 w 956275"/>
                <a:gd name="connsiteY41" fmla="*/ 128016 h 503380"/>
                <a:gd name="connsiteX42" fmla="*/ 316195 w 956275"/>
                <a:gd name="connsiteY42" fmla="*/ 173736 h 503380"/>
                <a:gd name="connsiteX43" fmla="*/ 243043 w 956275"/>
                <a:gd name="connsiteY43" fmla="*/ 237744 h 503380"/>
                <a:gd name="connsiteX44" fmla="*/ 215611 w 956275"/>
                <a:gd name="connsiteY44" fmla="*/ 256032 h 503380"/>
                <a:gd name="connsiteX45" fmla="*/ 142459 w 956275"/>
                <a:gd name="connsiteY45" fmla="*/ 347472 h 503380"/>
                <a:gd name="connsiteX46" fmla="*/ 133315 w 956275"/>
                <a:gd name="connsiteY46" fmla="*/ 374904 h 503380"/>
                <a:gd name="connsiteX47" fmla="*/ 124171 w 956275"/>
                <a:gd name="connsiteY47" fmla="*/ 411480 h 503380"/>
                <a:gd name="connsiteX48" fmla="*/ 142459 w 956275"/>
                <a:gd name="connsiteY48" fmla="*/ 429768 h 503380"/>
                <a:gd name="connsiteX49" fmla="*/ 96739 w 956275"/>
                <a:gd name="connsiteY49" fmla="*/ 457200 h 503380"/>
                <a:gd name="connsiteX50" fmla="*/ 13820 w 956275"/>
                <a:gd name="connsiteY50" fmla="*/ 496783 h 503380"/>
                <a:gd name="connsiteX51" fmla="*/ 13820 w 956275"/>
                <a:gd name="connsiteY51" fmla="*/ 496784 h 503380"/>
                <a:gd name="connsiteX52" fmla="*/ 13820 w 956275"/>
                <a:gd name="connsiteY52" fmla="*/ 496784 h 503380"/>
                <a:gd name="connsiteX53" fmla="*/ 13820 w 956275"/>
                <a:gd name="connsiteY53" fmla="*/ 496784 h 503380"/>
                <a:gd name="connsiteX54" fmla="*/ 13820 w 956275"/>
                <a:gd name="connsiteY54" fmla="*/ 496784 h 503380"/>
                <a:gd name="connsiteX55" fmla="*/ 40672 w 956275"/>
                <a:gd name="connsiteY55" fmla="*/ 486851 h 503380"/>
                <a:gd name="connsiteX0" fmla="*/ 114797 w 956275"/>
                <a:gd name="connsiteY0" fmla="*/ 504512 h 504512"/>
                <a:gd name="connsiteX1" fmla="*/ 13820 w 956275"/>
                <a:gd name="connsiteY1" fmla="*/ 496784 h 504512"/>
                <a:gd name="connsiteX2" fmla="*/ 13820 w 956275"/>
                <a:gd name="connsiteY2" fmla="*/ 496784 h 504512"/>
                <a:gd name="connsiteX3" fmla="*/ 51019 w 956275"/>
                <a:gd name="connsiteY3" fmla="*/ 493776 h 504512"/>
                <a:gd name="connsiteX4" fmla="*/ 151603 w 956275"/>
                <a:gd name="connsiteY4" fmla="*/ 466344 h 504512"/>
                <a:gd name="connsiteX5" fmla="*/ 252187 w 956275"/>
                <a:gd name="connsiteY5" fmla="*/ 384048 h 504512"/>
                <a:gd name="connsiteX6" fmla="*/ 444211 w 956275"/>
                <a:gd name="connsiteY6" fmla="*/ 301752 h 504512"/>
                <a:gd name="connsiteX7" fmla="*/ 526507 w 956275"/>
                <a:gd name="connsiteY7" fmla="*/ 192024 h 504512"/>
                <a:gd name="connsiteX8" fmla="*/ 672811 w 956275"/>
                <a:gd name="connsiteY8" fmla="*/ 155448 h 504512"/>
                <a:gd name="connsiteX9" fmla="*/ 718531 w 956275"/>
                <a:gd name="connsiteY9" fmla="*/ 155448 h 504512"/>
                <a:gd name="connsiteX10" fmla="*/ 755107 w 956275"/>
                <a:gd name="connsiteY10" fmla="*/ 137160 h 504512"/>
                <a:gd name="connsiteX11" fmla="*/ 709387 w 956275"/>
                <a:gd name="connsiteY11" fmla="*/ 137160 h 504512"/>
                <a:gd name="connsiteX12" fmla="*/ 617947 w 956275"/>
                <a:gd name="connsiteY12" fmla="*/ 137160 h 504512"/>
                <a:gd name="connsiteX13" fmla="*/ 563083 w 956275"/>
                <a:gd name="connsiteY13" fmla="*/ 146304 h 504512"/>
                <a:gd name="connsiteX14" fmla="*/ 553939 w 956275"/>
                <a:gd name="connsiteY14" fmla="*/ 155448 h 504512"/>
                <a:gd name="connsiteX15" fmla="*/ 535651 w 956275"/>
                <a:gd name="connsiteY15" fmla="*/ 146304 h 504512"/>
                <a:gd name="connsiteX16" fmla="*/ 663667 w 956275"/>
                <a:gd name="connsiteY16" fmla="*/ 91440 h 504512"/>
                <a:gd name="connsiteX17" fmla="*/ 718531 w 956275"/>
                <a:gd name="connsiteY17" fmla="*/ 91440 h 504512"/>
                <a:gd name="connsiteX18" fmla="*/ 809971 w 956275"/>
                <a:gd name="connsiteY18" fmla="*/ 82296 h 504512"/>
                <a:gd name="connsiteX19" fmla="*/ 937987 w 956275"/>
                <a:gd name="connsiteY19" fmla="*/ 27432 h 504512"/>
                <a:gd name="connsiteX20" fmla="*/ 919699 w 956275"/>
                <a:gd name="connsiteY20" fmla="*/ 0 h 504512"/>
                <a:gd name="connsiteX21" fmla="*/ 883123 w 956275"/>
                <a:gd name="connsiteY21" fmla="*/ 27432 h 504512"/>
                <a:gd name="connsiteX22" fmla="*/ 846547 w 956275"/>
                <a:gd name="connsiteY22" fmla="*/ 36576 h 504512"/>
                <a:gd name="connsiteX23" fmla="*/ 773395 w 956275"/>
                <a:gd name="connsiteY23" fmla="*/ 64008 h 504512"/>
                <a:gd name="connsiteX24" fmla="*/ 718531 w 956275"/>
                <a:gd name="connsiteY24" fmla="*/ 64008 h 504512"/>
                <a:gd name="connsiteX25" fmla="*/ 608803 w 956275"/>
                <a:gd name="connsiteY25" fmla="*/ 64008 h 504512"/>
                <a:gd name="connsiteX26" fmla="*/ 553939 w 956275"/>
                <a:gd name="connsiteY26" fmla="*/ 100584 h 504512"/>
                <a:gd name="connsiteX27" fmla="*/ 517363 w 956275"/>
                <a:gd name="connsiteY27" fmla="*/ 146304 h 504512"/>
                <a:gd name="connsiteX28" fmla="*/ 471643 w 956275"/>
                <a:gd name="connsiteY28" fmla="*/ 182880 h 504512"/>
                <a:gd name="connsiteX29" fmla="*/ 425923 w 956275"/>
                <a:gd name="connsiteY29" fmla="*/ 256032 h 504512"/>
                <a:gd name="connsiteX30" fmla="*/ 352771 w 956275"/>
                <a:gd name="connsiteY30" fmla="*/ 301752 h 504512"/>
                <a:gd name="connsiteX31" fmla="*/ 252187 w 956275"/>
                <a:gd name="connsiteY31" fmla="*/ 347472 h 504512"/>
                <a:gd name="connsiteX32" fmla="*/ 215611 w 956275"/>
                <a:gd name="connsiteY32" fmla="*/ 374904 h 504512"/>
                <a:gd name="connsiteX33" fmla="*/ 169891 w 956275"/>
                <a:gd name="connsiteY33" fmla="*/ 402336 h 504512"/>
                <a:gd name="connsiteX34" fmla="*/ 151603 w 956275"/>
                <a:gd name="connsiteY34" fmla="*/ 402336 h 504512"/>
                <a:gd name="connsiteX35" fmla="*/ 169891 w 956275"/>
                <a:gd name="connsiteY35" fmla="*/ 365760 h 504512"/>
                <a:gd name="connsiteX36" fmla="*/ 224755 w 956275"/>
                <a:gd name="connsiteY36" fmla="*/ 301752 h 504512"/>
                <a:gd name="connsiteX37" fmla="*/ 316195 w 956275"/>
                <a:gd name="connsiteY37" fmla="*/ 219456 h 504512"/>
                <a:gd name="connsiteX38" fmla="*/ 361915 w 956275"/>
                <a:gd name="connsiteY38" fmla="*/ 146304 h 504512"/>
                <a:gd name="connsiteX39" fmla="*/ 361915 w 956275"/>
                <a:gd name="connsiteY39" fmla="*/ 64008 h 504512"/>
                <a:gd name="connsiteX40" fmla="*/ 352771 w 956275"/>
                <a:gd name="connsiteY40" fmla="*/ 54864 h 504512"/>
                <a:gd name="connsiteX41" fmla="*/ 343627 w 956275"/>
                <a:gd name="connsiteY41" fmla="*/ 128016 h 504512"/>
                <a:gd name="connsiteX42" fmla="*/ 316195 w 956275"/>
                <a:gd name="connsiteY42" fmla="*/ 173736 h 504512"/>
                <a:gd name="connsiteX43" fmla="*/ 243043 w 956275"/>
                <a:gd name="connsiteY43" fmla="*/ 237744 h 504512"/>
                <a:gd name="connsiteX44" fmla="*/ 215611 w 956275"/>
                <a:gd name="connsiteY44" fmla="*/ 256032 h 504512"/>
                <a:gd name="connsiteX45" fmla="*/ 142459 w 956275"/>
                <a:gd name="connsiteY45" fmla="*/ 347472 h 504512"/>
                <a:gd name="connsiteX46" fmla="*/ 133315 w 956275"/>
                <a:gd name="connsiteY46" fmla="*/ 374904 h 504512"/>
                <a:gd name="connsiteX47" fmla="*/ 124171 w 956275"/>
                <a:gd name="connsiteY47" fmla="*/ 411480 h 504512"/>
                <a:gd name="connsiteX48" fmla="*/ 142459 w 956275"/>
                <a:gd name="connsiteY48" fmla="*/ 429768 h 504512"/>
                <a:gd name="connsiteX49" fmla="*/ 96739 w 956275"/>
                <a:gd name="connsiteY49" fmla="*/ 457200 h 504512"/>
                <a:gd name="connsiteX50" fmla="*/ 13820 w 956275"/>
                <a:gd name="connsiteY50" fmla="*/ 496783 h 504512"/>
                <a:gd name="connsiteX51" fmla="*/ 13820 w 956275"/>
                <a:gd name="connsiteY51" fmla="*/ 496784 h 504512"/>
                <a:gd name="connsiteX52" fmla="*/ 13820 w 956275"/>
                <a:gd name="connsiteY52" fmla="*/ 496784 h 504512"/>
                <a:gd name="connsiteX53" fmla="*/ 13820 w 956275"/>
                <a:gd name="connsiteY53" fmla="*/ 496784 h 504512"/>
                <a:gd name="connsiteX54" fmla="*/ 13820 w 956275"/>
                <a:gd name="connsiteY54" fmla="*/ 496784 h 504512"/>
                <a:gd name="connsiteX55" fmla="*/ 114797 w 956275"/>
                <a:gd name="connsiteY55" fmla="*/ 504512 h 504512"/>
                <a:gd name="connsiteX0" fmla="*/ 114797 w 956275"/>
                <a:gd name="connsiteY0" fmla="*/ 504512 h 505800"/>
                <a:gd name="connsiteX1" fmla="*/ 13820 w 956275"/>
                <a:gd name="connsiteY1" fmla="*/ 496784 h 505800"/>
                <a:gd name="connsiteX2" fmla="*/ 13820 w 956275"/>
                <a:gd name="connsiteY2" fmla="*/ 496784 h 505800"/>
                <a:gd name="connsiteX3" fmla="*/ 51019 w 956275"/>
                <a:gd name="connsiteY3" fmla="*/ 493776 h 505800"/>
                <a:gd name="connsiteX4" fmla="*/ 151603 w 956275"/>
                <a:gd name="connsiteY4" fmla="*/ 466344 h 505800"/>
                <a:gd name="connsiteX5" fmla="*/ 252187 w 956275"/>
                <a:gd name="connsiteY5" fmla="*/ 384048 h 505800"/>
                <a:gd name="connsiteX6" fmla="*/ 444211 w 956275"/>
                <a:gd name="connsiteY6" fmla="*/ 301752 h 505800"/>
                <a:gd name="connsiteX7" fmla="*/ 526507 w 956275"/>
                <a:gd name="connsiteY7" fmla="*/ 192024 h 505800"/>
                <a:gd name="connsiteX8" fmla="*/ 672811 w 956275"/>
                <a:gd name="connsiteY8" fmla="*/ 155448 h 505800"/>
                <a:gd name="connsiteX9" fmla="*/ 718531 w 956275"/>
                <a:gd name="connsiteY9" fmla="*/ 155448 h 505800"/>
                <a:gd name="connsiteX10" fmla="*/ 755107 w 956275"/>
                <a:gd name="connsiteY10" fmla="*/ 137160 h 505800"/>
                <a:gd name="connsiteX11" fmla="*/ 709387 w 956275"/>
                <a:gd name="connsiteY11" fmla="*/ 137160 h 505800"/>
                <a:gd name="connsiteX12" fmla="*/ 617947 w 956275"/>
                <a:gd name="connsiteY12" fmla="*/ 137160 h 505800"/>
                <a:gd name="connsiteX13" fmla="*/ 563083 w 956275"/>
                <a:gd name="connsiteY13" fmla="*/ 146304 h 505800"/>
                <a:gd name="connsiteX14" fmla="*/ 553939 w 956275"/>
                <a:gd name="connsiteY14" fmla="*/ 155448 h 505800"/>
                <a:gd name="connsiteX15" fmla="*/ 535651 w 956275"/>
                <a:gd name="connsiteY15" fmla="*/ 146304 h 505800"/>
                <a:gd name="connsiteX16" fmla="*/ 663667 w 956275"/>
                <a:gd name="connsiteY16" fmla="*/ 91440 h 505800"/>
                <a:gd name="connsiteX17" fmla="*/ 718531 w 956275"/>
                <a:gd name="connsiteY17" fmla="*/ 91440 h 505800"/>
                <a:gd name="connsiteX18" fmla="*/ 809971 w 956275"/>
                <a:gd name="connsiteY18" fmla="*/ 82296 h 505800"/>
                <a:gd name="connsiteX19" fmla="*/ 937987 w 956275"/>
                <a:gd name="connsiteY19" fmla="*/ 27432 h 505800"/>
                <a:gd name="connsiteX20" fmla="*/ 919699 w 956275"/>
                <a:gd name="connsiteY20" fmla="*/ 0 h 505800"/>
                <a:gd name="connsiteX21" fmla="*/ 883123 w 956275"/>
                <a:gd name="connsiteY21" fmla="*/ 27432 h 505800"/>
                <a:gd name="connsiteX22" fmla="*/ 846547 w 956275"/>
                <a:gd name="connsiteY22" fmla="*/ 36576 h 505800"/>
                <a:gd name="connsiteX23" fmla="*/ 773395 w 956275"/>
                <a:gd name="connsiteY23" fmla="*/ 64008 h 505800"/>
                <a:gd name="connsiteX24" fmla="*/ 718531 w 956275"/>
                <a:gd name="connsiteY24" fmla="*/ 64008 h 505800"/>
                <a:gd name="connsiteX25" fmla="*/ 608803 w 956275"/>
                <a:gd name="connsiteY25" fmla="*/ 64008 h 505800"/>
                <a:gd name="connsiteX26" fmla="*/ 553939 w 956275"/>
                <a:gd name="connsiteY26" fmla="*/ 100584 h 505800"/>
                <a:gd name="connsiteX27" fmla="*/ 517363 w 956275"/>
                <a:gd name="connsiteY27" fmla="*/ 146304 h 505800"/>
                <a:gd name="connsiteX28" fmla="*/ 471643 w 956275"/>
                <a:gd name="connsiteY28" fmla="*/ 182880 h 505800"/>
                <a:gd name="connsiteX29" fmla="*/ 425923 w 956275"/>
                <a:gd name="connsiteY29" fmla="*/ 256032 h 505800"/>
                <a:gd name="connsiteX30" fmla="*/ 352771 w 956275"/>
                <a:gd name="connsiteY30" fmla="*/ 301752 h 505800"/>
                <a:gd name="connsiteX31" fmla="*/ 252187 w 956275"/>
                <a:gd name="connsiteY31" fmla="*/ 347472 h 505800"/>
                <a:gd name="connsiteX32" fmla="*/ 215611 w 956275"/>
                <a:gd name="connsiteY32" fmla="*/ 374904 h 505800"/>
                <a:gd name="connsiteX33" fmla="*/ 169891 w 956275"/>
                <a:gd name="connsiteY33" fmla="*/ 402336 h 505800"/>
                <a:gd name="connsiteX34" fmla="*/ 151603 w 956275"/>
                <a:gd name="connsiteY34" fmla="*/ 402336 h 505800"/>
                <a:gd name="connsiteX35" fmla="*/ 169891 w 956275"/>
                <a:gd name="connsiteY35" fmla="*/ 365760 h 505800"/>
                <a:gd name="connsiteX36" fmla="*/ 224755 w 956275"/>
                <a:gd name="connsiteY36" fmla="*/ 301752 h 505800"/>
                <a:gd name="connsiteX37" fmla="*/ 316195 w 956275"/>
                <a:gd name="connsiteY37" fmla="*/ 219456 h 505800"/>
                <a:gd name="connsiteX38" fmla="*/ 361915 w 956275"/>
                <a:gd name="connsiteY38" fmla="*/ 146304 h 505800"/>
                <a:gd name="connsiteX39" fmla="*/ 361915 w 956275"/>
                <a:gd name="connsiteY39" fmla="*/ 64008 h 505800"/>
                <a:gd name="connsiteX40" fmla="*/ 352771 w 956275"/>
                <a:gd name="connsiteY40" fmla="*/ 54864 h 505800"/>
                <a:gd name="connsiteX41" fmla="*/ 343627 w 956275"/>
                <a:gd name="connsiteY41" fmla="*/ 128016 h 505800"/>
                <a:gd name="connsiteX42" fmla="*/ 316195 w 956275"/>
                <a:gd name="connsiteY42" fmla="*/ 173736 h 505800"/>
                <a:gd name="connsiteX43" fmla="*/ 243043 w 956275"/>
                <a:gd name="connsiteY43" fmla="*/ 237744 h 505800"/>
                <a:gd name="connsiteX44" fmla="*/ 215611 w 956275"/>
                <a:gd name="connsiteY44" fmla="*/ 256032 h 505800"/>
                <a:gd name="connsiteX45" fmla="*/ 142459 w 956275"/>
                <a:gd name="connsiteY45" fmla="*/ 347472 h 505800"/>
                <a:gd name="connsiteX46" fmla="*/ 133315 w 956275"/>
                <a:gd name="connsiteY46" fmla="*/ 374904 h 505800"/>
                <a:gd name="connsiteX47" fmla="*/ 124171 w 956275"/>
                <a:gd name="connsiteY47" fmla="*/ 411480 h 505800"/>
                <a:gd name="connsiteX48" fmla="*/ 142459 w 956275"/>
                <a:gd name="connsiteY48" fmla="*/ 429768 h 505800"/>
                <a:gd name="connsiteX49" fmla="*/ 96739 w 956275"/>
                <a:gd name="connsiteY49" fmla="*/ 457200 h 505800"/>
                <a:gd name="connsiteX50" fmla="*/ 13820 w 956275"/>
                <a:gd name="connsiteY50" fmla="*/ 496783 h 505800"/>
                <a:gd name="connsiteX51" fmla="*/ 13820 w 956275"/>
                <a:gd name="connsiteY51" fmla="*/ 496784 h 505800"/>
                <a:gd name="connsiteX52" fmla="*/ 13820 w 956275"/>
                <a:gd name="connsiteY52" fmla="*/ 496784 h 505800"/>
                <a:gd name="connsiteX53" fmla="*/ 13820 w 956275"/>
                <a:gd name="connsiteY53" fmla="*/ 496784 h 505800"/>
                <a:gd name="connsiteX54" fmla="*/ 114796 w 956275"/>
                <a:gd name="connsiteY54" fmla="*/ 504511 h 505800"/>
                <a:gd name="connsiteX55" fmla="*/ 114797 w 956275"/>
                <a:gd name="connsiteY55" fmla="*/ 504512 h 505800"/>
                <a:gd name="connsiteX0" fmla="*/ 114797 w 956275"/>
                <a:gd name="connsiteY0" fmla="*/ 504512 h 505800"/>
                <a:gd name="connsiteX1" fmla="*/ 13820 w 956275"/>
                <a:gd name="connsiteY1" fmla="*/ 496784 h 505800"/>
                <a:gd name="connsiteX2" fmla="*/ 13820 w 956275"/>
                <a:gd name="connsiteY2" fmla="*/ 496784 h 505800"/>
                <a:gd name="connsiteX3" fmla="*/ 51019 w 956275"/>
                <a:gd name="connsiteY3" fmla="*/ 493776 h 505800"/>
                <a:gd name="connsiteX4" fmla="*/ 151603 w 956275"/>
                <a:gd name="connsiteY4" fmla="*/ 466344 h 505800"/>
                <a:gd name="connsiteX5" fmla="*/ 252187 w 956275"/>
                <a:gd name="connsiteY5" fmla="*/ 384048 h 505800"/>
                <a:gd name="connsiteX6" fmla="*/ 444211 w 956275"/>
                <a:gd name="connsiteY6" fmla="*/ 301752 h 505800"/>
                <a:gd name="connsiteX7" fmla="*/ 526507 w 956275"/>
                <a:gd name="connsiteY7" fmla="*/ 192024 h 505800"/>
                <a:gd name="connsiteX8" fmla="*/ 672811 w 956275"/>
                <a:gd name="connsiteY8" fmla="*/ 155448 h 505800"/>
                <a:gd name="connsiteX9" fmla="*/ 718531 w 956275"/>
                <a:gd name="connsiteY9" fmla="*/ 155448 h 505800"/>
                <a:gd name="connsiteX10" fmla="*/ 755107 w 956275"/>
                <a:gd name="connsiteY10" fmla="*/ 137160 h 505800"/>
                <a:gd name="connsiteX11" fmla="*/ 709387 w 956275"/>
                <a:gd name="connsiteY11" fmla="*/ 137160 h 505800"/>
                <a:gd name="connsiteX12" fmla="*/ 617947 w 956275"/>
                <a:gd name="connsiteY12" fmla="*/ 137160 h 505800"/>
                <a:gd name="connsiteX13" fmla="*/ 563083 w 956275"/>
                <a:gd name="connsiteY13" fmla="*/ 146304 h 505800"/>
                <a:gd name="connsiteX14" fmla="*/ 553939 w 956275"/>
                <a:gd name="connsiteY14" fmla="*/ 155448 h 505800"/>
                <a:gd name="connsiteX15" fmla="*/ 535651 w 956275"/>
                <a:gd name="connsiteY15" fmla="*/ 146304 h 505800"/>
                <a:gd name="connsiteX16" fmla="*/ 663667 w 956275"/>
                <a:gd name="connsiteY16" fmla="*/ 91440 h 505800"/>
                <a:gd name="connsiteX17" fmla="*/ 718531 w 956275"/>
                <a:gd name="connsiteY17" fmla="*/ 91440 h 505800"/>
                <a:gd name="connsiteX18" fmla="*/ 809971 w 956275"/>
                <a:gd name="connsiteY18" fmla="*/ 82296 h 505800"/>
                <a:gd name="connsiteX19" fmla="*/ 937987 w 956275"/>
                <a:gd name="connsiteY19" fmla="*/ 27432 h 505800"/>
                <a:gd name="connsiteX20" fmla="*/ 919699 w 956275"/>
                <a:gd name="connsiteY20" fmla="*/ 0 h 505800"/>
                <a:gd name="connsiteX21" fmla="*/ 883123 w 956275"/>
                <a:gd name="connsiteY21" fmla="*/ 27432 h 505800"/>
                <a:gd name="connsiteX22" fmla="*/ 846547 w 956275"/>
                <a:gd name="connsiteY22" fmla="*/ 36576 h 505800"/>
                <a:gd name="connsiteX23" fmla="*/ 773395 w 956275"/>
                <a:gd name="connsiteY23" fmla="*/ 64008 h 505800"/>
                <a:gd name="connsiteX24" fmla="*/ 718531 w 956275"/>
                <a:gd name="connsiteY24" fmla="*/ 64008 h 505800"/>
                <a:gd name="connsiteX25" fmla="*/ 608803 w 956275"/>
                <a:gd name="connsiteY25" fmla="*/ 64008 h 505800"/>
                <a:gd name="connsiteX26" fmla="*/ 553939 w 956275"/>
                <a:gd name="connsiteY26" fmla="*/ 100584 h 505800"/>
                <a:gd name="connsiteX27" fmla="*/ 517363 w 956275"/>
                <a:gd name="connsiteY27" fmla="*/ 146304 h 505800"/>
                <a:gd name="connsiteX28" fmla="*/ 471643 w 956275"/>
                <a:gd name="connsiteY28" fmla="*/ 182880 h 505800"/>
                <a:gd name="connsiteX29" fmla="*/ 425923 w 956275"/>
                <a:gd name="connsiteY29" fmla="*/ 256032 h 505800"/>
                <a:gd name="connsiteX30" fmla="*/ 352771 w 956275"/>
                <a:gd name="connsiteY30" fmla="*/ 301752 h 505800"/>
                <a:gd name="connsiteX31" fmla="*/ 252187 w 956275"/>
                <a:gd name="connsiteY31" fmla="*/ 347472 h 505800"/>
                <a:gd name="connsiteX32" fmla="*/ 215611 w 956275"/>
                <a:gd name="connsiteY32" fmla="*/ 374904 h 505800"/>
                <a:gd name="connsiteX33" fmla="*/ 169891 w 956275"/>
                <a:gd name="connsiteY33" fmla="*/ 402336 h 505800"/>
                <a:gd name="connsiteX34" fmla="*/ 151603 w 956275"/>
                <a:gd name="connsiteY34" fmla="*/ 402336 h 505800"/>
                <a:gd name="connsiteX35" fmla="*/ 169891 w 956275"/>
                <a:gd name="connsiteY35" fmla="*/ 365760 h 505800"/>
                <a:gd name="connsiteX36" fmla="*/ 224755 w 956275"/>
                <a:gd name="connsiteY36" fmla="*/ 301752 h 505800"/>
                <a:gd name="connsiteX37" fmla="*/ 316195 w 956275"/>
                <a:gd name="connsiteY37" fmla="*/ 219456 h 505800"/>
                <a:gd name="connsiteX38" fmla="*/ 361915 w 956275"/>
                <a:gd name="connsiteY38" fmla="*/ 146304 h 505800"/>
                <a:gd name="connsiteX39" fmla="*/ 361915 w 956275"/>
                <a:gd name="connsiteY39" fmla="*/ 64008 h 505800"/>
                <a:gd name="connsiteX40" fmla="*/ 352771 w 956275"/>
                <a:gd name="connsiteY40" fmla="*/ 54864 h 505800"/>
                <a:gd name="connsiteX41" fmla="*/ 343627 w 956275"/>
                <a:gd name="connsiteY41" fmla="*/ 128016 h 505800"/>
                <a:gd name="connsiteX42" fmla="*/ 316195 w 956275"/>
                <a:gd name="connsiteY42" fmla="*/ 173736 h 505800"/>
                <a:gd name="connsiteX43" fmla="*/ 243043 w 956275"/>
                <a:gd name="connsiteY43" fmla="*/ 237744 h 505800"/>
                <a:gd name="connsiteX44" fmla="*/ 215611 w 956275"/>
                <a:gd name="connsiteY44" fmla="*/ 256032 h 505800"/>
                <a:gd name="connsiteX45" fmla="*/ 142459 w 956275"/>
                <a:gd name="connsiteY45" fmla="*/ 347472 h 505800"/>
                <a:gd name="connsiteX46" fmla="*/ 133315 w 956275"/>
                <a:gd name="connsiteY46" fmla="*/ 374904 h 505800"/>
                <a:gd name="connsiteX47" fmla="*/ 124171 w 956275"/>
                <a:gd name="connsiteY47" fmla="*/ 411480 h 505800"/>
                <a:gd name="connsiteX48" fmla="*/ 142459 w 956275"/>
                <a:gd name="connsiteY48" fmla="*/ 429768 h 505800"/>
                <a:gd name="connsiteX49" fmla="*/ 96739 w 956275"/>
                <a:gd name="connsiteY49" fmla="*/ 457200 h 505800"/>
                <a:gd name="connsiteX50" fmla="*/ 13820 w 956275"/>
                <a:gd name="connsiteY50" fmla="*/ 496783 h 505800"/>
                <a:gd name="connsiteX51" fmla="*/ 13820 w 956275"/>
                <a:gd name="connsiteY51" fmla="*/ 496784 h 505800"/>
                <a:gd name="connsiteX52" fmla="*/ 13820 w 956275"/>
                <a:gd name="connsiteY52" fmla="*/ 496784 h 505800"/>
                <a:gd name="connsiteX53" fmla="*/ 132458 w 956275"/>
                <a:gd name="connsiteY53" fmla="*/ 430387 h 505800"/>
                <a:gd name="connsiteX54" fmla="*/ 114796 w 956275"/>
                <a:gd name="connsiteY54" fmla="*/ 504511 h 505800"/>
                <a:gd name="connsiteX55" fmla="*/ 114797 w 956275"/>
                <a:gd name="connsiteY55" fmla="*/ 504512 h 505800"/>
                <a:gd name="connsiteX0" fmla="*/ 114798 w 956275"/>
                <a:gd name="connsiteY0" fmla="*/ 504512 h 505800"/>
                <a:gd name="connsiteX1" fmla="*/ 13820 w 956275"/>
                <a:gd name="connsiteY1" fmla="*/ 496784 h 505800"/>
                <a:gd name="connsiteX2" fmla="*/ 13820 w 956275"/>
                <a:gd name="connsiteY2" fmla="*/ 496784 h 505800"/>
                <a:gd name="connsiteX3" fmla="*/ 51019 w 956275"/>
                <a:gd name="connsiteY3" fmla="*/ 493776 h 505800"/>
                <a:gd name="connsiteX4" fmla="*/ 151603 w 956275"/>
                <a:gd name="connsiteY4" fmla="*/ 466344 h 505800"/>
                <a:gd name="connsiteX5" fmla="*/ 252187 w 956275"/>
                <a:gd name="connsiteY5" fmla="*/ 384048 h 505800"/>
                <a:gd name="connsiteX6" fmla="*/ 444211 w 956275"/>
                <a:gd name="connsiteY6" fmla="*/ 301752 h 505800"/>
                <a:gd name="connsiteX7" fmla="*/ 526507 w 956275"/>
                <a:gd name="connsiteY7" fmla="*/ 192024 h 505800"/>
                <a:gd name="connsiteX8" fmla="*/ 672811 w 956275"/>
                <a:gd name="connsiteY8" fmla="*/ 155448 h 505800"/>
                <a:gd name="connsiteX9" fmla="*/ 718531 w 956275"/>
                <a:gd name="connsiteY9" fmla="*/ 155448 h 505800"/>
                <a:gd name="connsiteX10" fmla="*/ 755107 w 956275"/>
                <a:gd name="connsiteY10" fmla="*/ 137160 h 505800"/>
                <a:gd name="connsiteX11" fmla="*/ 709387 w 956275"/>
                <a:gd name="connsiteY11" fmla="*/ 137160 h 505800"/>
                <a:gd name="connsiteX12" fmla="*/ 617947 w 956275"/>
                <a:gd name="connsiteY12" fmla="*/ 137160 h 505800"/>
                <a:gd name="connsiteX13" fmla="*/ 563083 w 956275"/>
                <a:gd name="connsiteY13" fmla="*/ 146304 h 505800"/>
                <a:gd name="connsiteX14" fmla="*/ 553939 w 956275"/>
                <a:gd name="connsiteY14" fmla="*/ 155448 h 505800"/>
                <a:gd name="connsiteX15" fmla="*/ 535651 w 956275"/>
                <a:gd name="connsiteY15" fmla="*/ 146304 h 505800"/>
                <a:gd name="connsiteX16" fmla="*/ 663667 w 956275"/>
                <a:gd name="connsiteY16" fmla="*/ 91440 h 505800"/>
                <a:gd name="connsiteX17" fmla="*/ 718531 w 956275"/>
                <a:gd name="connsiteY17" fmla="*/ 91440 h 505800"/>
                <a:gd name="connsiteX18" fmla="*/ 809971 w 956275"/>
                <a:gd name="connsiteY18" fmla="*/ 82296 h 505800"/>
                <a:gd name="connsiteX19" fmla="*/ 937987 w 956275"/>
                <a:gd name="connsiteY19" fmla="*/ 27432 h 505800"/>
                <a:gd name="connsiteX20" fmla="*/ 919699 w 956275"/>
                <a:gd name="connsiteY20" fmla="*/ 0 h 505800"/>
                <a:gd name="connsiteX21" fmla="*/ 883123 w 956275"/>
                <a:gd name="connsiteY21" fmla="*/ 27432 h 505800"/>
                <a:gd name="connsiteX22" fmla="*/ 846547 w 956275"/>
                <a:gd name="connsiteY22" fmla="*/ 36576 h 505800"/>
                <a:gd name="connsiteX23" fmla="*/ 773395 w 956275"/>
                <a:gd name="connsiteY23" fmla="*/ 64008 h 505800"/>
                <a:gd name="connsiteX24" fmla="*/ 718531 w 956275"/>
                <a:gd name="connsiteY24" fmla="*/ 64008 h 505800"/>
                <a:gd name="connsiteX25" fmla="*/ 608803 w 956275"/>
                <a:gd name="connsiteY25" fmla="*/ 64008 h 505800"/>
                <a:gd name="connsiteX26" fmla="*/ 553939 w 956275"/>
                <a:gd name="connsiteY26" fmla="*/ 100584 h 505800"/>
                <a:gd name="connsiteX27" fmla="*/ 517363 w 956275"/>
                <a:gd name="connsiteY27" fmla="*/ 146304 h 505800"/>
                <a:gd name="connsiteX28" fmla="*/ 471643 w 956275"/>
                <a:gd name="connsiteY28" fmla="*/ 182880 h 505800"/>
                <a:gd name="connsiteX29" fmla="*/ 425923 w 956275"/>
                <a:gd name="connsiteY29" fmla="*/ 256032 h 505800"/>
                <a:gd name="connsiteX30" fmla="*/ 352771 w 956275"/>
                <a:gd name="connsiteY30" fmla="*/ 301752 h 505800"/>
                <a:gd name="connsiteX31" fmla="*/ 252187 w 956275"/>
                <a:gd name="connsiteY31" fmla="*/ 347472 h 505800"/>
                <a:gd name="connsiteX32" fmla="*/ 215611 w 956275"/>
                <a:gd name="connsiteY32" fmla="*/ 374904 h 505800"/>
                <a:gd name="connsiteX33" fmla="*/ 169891 w 956275"/>
                <a:gd name="connsiteY33" fmla="*/ 402336 h 505800"/>
                <a:gd name="connsiteX34" fmla="*/ 151603 w 956275"/>
                <a:gd name="connsiteY34" fmla="*/ 402336 h 505800"/>
                <a:gd name="connsiteX35" fmla="*/ 169891 w 956275"/>
                <a:gd name="connsiteY35" fmla="*/ 365760 h 505800"/>
                <a:gd name="connsiteX36" fmla="*/ 224755 w 956275"/>
                <a:gd name="connsiteY36" fmla="*/ 301752 h 505800"/>
                <a:gd name="connsiteX37" fmla="*/ 316195 w 956275"/>
                <a:gd name="connsiteY37" fmla="*/ 219456 h 505800"/>
                <a:gd name="connsiteX38" fmla="*/ 361915 w 956275"/>
                <a:gd name="connsiteY38" fmla="*/ 146304 h 505800"/>
                <a:gd name="connsiteX39" fmla="*/ 361915 w 956275"/>
                <a:gd name="connsiteY39" fmla="*/ 64008 h 505800"/>
                <a:gd name="connsiteX40" fmla="*/ 352771 w 956275"/>
                <a:gd name="connsiteY40" fmla="*/ 54864 h 505800"/>
                <a:gd name="connsiteX41" fmla="*/ 343627 w 956275"/>
                <a:gd name="connsiteY41" fmla="*/ 128016 h 505800"/>
                <a:gd name="connsiteX42" fmla="*/ 316195 w 956275"/>
                <a:gd name="connsiteY42" fmla="*/ 173736 h 505800"/>
                <a:gd name="connsiteX43" fmla="*/ 243043 w 956275"/>
                <a:gd name="connsiteY43" fmla="*/ 237744 h 505800"/>
                <a:gd name="connsiteX44" fmla="*/ 215611 w 956275"/>
                <a:gd name="connsiteY44" fmla="*/ 256032 h 505800"/>
                <a:gd name="connsiteX45" fmla="*/ 142459 w 956275"/>
                <a:gd name="connsiteY45" fmla="*/ 347472 h 505800"/>
                <a:gd name="connsiteX46" fmla="*/ 133315 w 956275"/>
                <a:gd name="connsiteY46" fmla="*/ 374904 h 505800"/>
                <a:gd name="connsiteX47" fmla="*/ 124171 w 956275"/>
                <a:gd name="connsiteY47" fmla="*/ 411480 h 505800"/>
                <a:gd name="connsiteX48" fmla="*/ 142459 w 956275"/>
                <a:gd name="connsiteY48" fmla="*/ 429768 h 505800"/>
                <a:gd name="connsiteX49" fmla="*/ 96739 w 956275"/>
                <a:gd name="connsiteY49" fmla="*/ 457200 h 505800"/>
                <a:gd name="connsiteX50" fmla="*/ 13820 w 956275"/>
                <a:gd name="connsiteY50" fmla="*/ 496783 h 505800"/>
                <a:gd name="connsiteX51" fmla="*/ 13820 w 956275"/>
                <a:gd name="connsiteY51" fmla="*/ 496784 h 505800"/>
                <a:gd name="connsiteX52" fmla="*/ 13820 w 956275"/>
                <a:gd name="connsiteY52" fmla="*/ 496784 h 505800"/>
                <a:gd name="connsiteX53" fmla="*/ 132458 w 956275"/>
                <a:gd name="connsiteY53" fmla="*/ 430387 h 505800"/>
                <a:gd name="connsiteX54" fmla="*/ 114796 w 956275"/>
                <a:gd name="connsiteY54" fmla="*/ 504511 h 505800"/>
                <a:gd name="connsiteX55" fmla="*/ 114798 w 956275"/>
                <a:gd name="connsiteY55" fmla="*/ 504512 h 505800"/>
                <a:gd name="connsiteX0" fmla="*/ 40672 w 956275"/>
                <a:gd name="connsiteY0" fmla="*/ 486852 h 504511"/>
                <a:gd name="connsiteX1" fmla="*/ 13820 w 956275"/>
                <a:gd name="connsiteY1" fmla="*/ 496784 h 504511"/>
                <a:gd name="connsiteX2" fmla="*/ 13820 w 956275"/>
                <a:gd name="connsiteY2" fmla="*/ 496784 h 504511"/>
                <a:gd name="connsiteX3" fmla="*/ 51019 w 956275"/>
                <a:gd name="connsiteY3" fmla="*/ 493776 h 504511"/>
                <a:gd name="connsiteX4" fmla="*/ 151603 w 956275"/>
                <a:gd name="connsiteY4" fmla="*/ 466344 h 504511"/>
                <a:gd name="connsiteX5" fmla="*/ 252187 w 956275"/>
                <a:gd name="connsiteY5" fmla="*/ 384048 h 504511"/>
                <a:gd name="connsiteX6" fmla="*/ 444211 w 956275"/>
                <a:gd name="connsiteY6" fmla="*/ 301752 h 504511"/>
                <a:gd name="connsiteX7" fmla="*/ 526507 w 956275"/>
                <a:gd name="connsiteY7" fmla="*/ 192024 h 504511"/>
                <a:gd name="connsiteX8" fmla="*/ 672811 w 956275"/>
                <a:gd name="connsiteY8" fmla="*/ 155448 h 504511"/>
                <a:gd name="connsiteX9" fmla="*/ 718531 w 956275"/>
                <a:gd name="connsiteY9" fmla="*/ 155448 h 504511"/>
                <a:gd name="connsiteX10" fmla="*/ 755107 w 956275"/>
                <a:gd name="connsiteY10" fmla="*/ 137160 h 504511"/>
                <a:gd name="connsiteX11" fmla="*/ 709387 w 956275"/>
                <a:gd name="connsiteY11" fmla="*/ 137160 h 504511"/>
                <a:gd name="connsiteX12" fmla="*/ 617947 w 956275"/>
                <a:gd name="connsiteY12" fmla="*/ 137160 h 504511"/>
                <a:gd name="connsiteX13" fmla="*/ 563083 w 956275"/>
                <a:gd name="connsiteY13" fmla="*/ 146304 h 504511"/>
                <a:gd name="connsiteX14" fmla="*/ 553939 w 956275"/>
                <a:gd name="connsiteY14" fmla="*/ 155448 h 504511"/>
                <a:gd name="connsiteX15" fmla="*/ 535651 w 956275"/>
                <a:gd name="connsiteY15" fmla="*/ 146304 h 504511"/>
                <a:gd name="connsiteX16" fmla="*/ 663667 w 956275"/>
                <a:gd name="connsiteY16" fmla="*/ 91440 h 504511"/>
                <a:gd name="connsiteX17" fmla="*/ 718531 w 956275"/>
                <a:gd name="connsiteY17" fmla="*/ 91440 h 504511"/>
                <a:gd name="connsiteX18" fmla="*/ 809971 w 956275"/>
                <a:gd name="connsiteY18" fmla="*/ 82296 h 504511"/>
                <a:gd name="connsiteX19" fmla="*/ 937987 w 956275"/>
                <a:gd name="connsiteY19" fmla="*/ 27432 h 504511"/>
                <a:gd name="connsiteX20" fmla="*/ 919699 w 956275"/>
                <a:gd name="connsiteY20" fmla="*/ 0 h 504511"/>
                <a:gd name="connsiteX21" fmla="*/ 883123 w 956275"/>
                <a:gd name="connsiteY21" fmla="*/ 27432 h 504511"/>
                <a:gd name="connsiteX22" fmla="*/ 846547 w 956275"/>
                <a:gd name="connsiteY22" fmla="*/ 36576 h 504511"/>
                <a:gd name="connsiteX23" fmla="*/ 773395 w 956275"/>
                <a:gd name="connsiteY23" fmla="*/ 64008 h 504511"/>
                <a:gd name="connsiteX24" fmla="*/ 718531 w 956275"/>
                <a:gd name="connsiteY24" fmla="*/ 64008 h 504511"/>
                <a:gd name="connsiteX25" fmla="*/ 608803 w 956275"/>
                <a:gd name="connsiteY25" fmla="*/ 64008 h 504511"/>
                <a:gd name="connsiteX26" fmla="*/ 553939 w 956275"/>
                <a:gd name="connsiteY26" fmla="*/ 100584 h 504511"/>
                <a:gd name="connsiteX27" fmla="*/ 517363 w 956275"/>
                <a:gd name="connsiteY27" fmla="*/ 146304 h 504511"/>
                <a:gd name="connsiteX28" fmla="*/ 471643 w 956275"/>
                <a:gd name="connsiteY28" fmla="*/ 182880 h 504511"/>
                <a:gd name="connsiteX29" fmla="*/ 425923 w 956275"/>
                <a:gd name="connsiteY29" fmla="*/ 256032 h 504511"/>
                <a:gd name="connsiteX30" fmla="*/ 352771 w 956275"/>
                <a:gd name="connsiteY30" fmla="*/ 301752 h 504511"/>
                <a:gd name="connsiteX31" fmla="*/ 252187 w 956275"/>
                <a:gd name="connsiteY31" fmla="*/ 347472 h 504511"/>
                <a:gd name="connsiteX32" fmla="*/ 215611 w 956275"/>
                <a:gd name="connsiteY32" fmla="*/ 374904 h 504511"/>
                <a:gd name="connsiteX33" fmla="*/ 169891 w 956275"/>
                <a:gd name="connsiteY33" fmla="*/ 402336 h 504511"/>
                <a:gd name="connsiteX34" fmla="*/ 151603 w 956275"/>
                <a:gd name="connsiteY34" fmla="*/ 402336 h 504511"/>
                <a:gd name="connsiteX35" fmla="*/ 169891 w 956275"/>
                <a:gd name="connsiteY35" fmla="*/ 365760 h 504511"/>
                <a:gd name="connsiteX36" fmla="*/ 224755 w 956275"/>
                <a:gd name="connsiteY36" fmla="*/ 301752 h 504511"/>
                <a:gd name="connsiteX37" fmla="*/ 316195 w 956275"/>
                <a:gd name="connsiteY37" fmla="*/ 219456 h 504511"/>
                <a:gd name="connsiteX38" fmla="*/ 361915 w 956275"/>
                <a:gd name="connsiteY38" fmla="*/ 146304 h 504511"/>
                <a:gd name="connsiteX39" fmla="*/ 361915 w 956275"/>
                <a:gd name="connsiteY39" fmla="*/ 64008 h 504511"/>
                <a:gd name="connsiteX40" fmla="*/ 352771 w 956275"/>
                <a:gd name="connsiteY40" fmla="*/ 54864 h 504511"/>
                <a:gd name="connsiteX41" fmla="*/ 343627 w 956275"/>
                <a:gd name="connsiteY41" fmla="*/ 128016 h 504511"/>
                <a:gd name="connsiteX42" fmla="*/ 316195 w 956275"/>
                <a:gd name="connsiteY42" fmla="*/ 173736 h 504511"/>
                <a:gd name="connsiteX43" fmla="*/ 243043 w 956275"/>
                <a:gd name="connsiteY43" fmla="*/ 237744 h 504511"/>
                <a:gd name="connsiteX44" fmla="*/ 215611 w 956275"/>
                <a:gd name="connsiteY44" fmla="*/ 256032 h 504511"/>
                <a:gd name="connsiteX45" fmla="*/ 142459 w 956275"/>
                <a:gd name="connsiteY45" fmla="*/ 347472 h 504511"/>
                <a:gd name="connsiteX46" fmla="*/ 133315 w 956275"/>
                <a:gd name="connsiteY46" fmla="*/ 374904 h 504511"/>
                <a:gd name="connsiteX47" fmla="*/ 124171 w 956275"/>
                <a:gd name="connsiteY47" fmla="*/ 411480 h 504511"/>
                <a:gd name="connsiteX48" fmla="*/ 142459 w 956275"/>
                <a:gd name="connsiteY48" fmla="*/ 429768 h 504511"/>
                <a:gd name="connsiteX49" fmla="*/ 96739 w 956275"/>
                <a:gd name="connsiteY49" fmla="*/ 457200 h 504511"/>
                <a:gd name="connsiteX50" fmla="*/ 13820 w 956275"/>
                <a:gd name="connsiteY50" fmla="*/ 496783 h 504511"/>
                <a:gd name="connsiteX51" fmla="*/ 13820 w 956275"/>
                <a:gd name="connsiteY51" fmla="*/ 496784 h 504511"/>
                <a:gd name="connsiteX52" fmla="*/ 13820 w 956275"/>
                <a:gd name="connsiteY52" fmla="*/ 496784 h 504511"/>
                <a:gd name="connsiteX53" fmla="*/ 132458 w 956275"/>
                <a:gd name="connsiteY53" fmla="*/ 430387 h 504511"/>
                <a:gd name="connsiteX54" fmla="*/ 114796 w 956275"/>
                <a:gd name="connsiteY54" fmla="*/ 504511 h 504511"/>
                <a:gd name="connsiteX55" fmla="*/ 40672 w 956275"/>
                <a:gd name="connsiteY55" fmla="*/ 486852 h 504511"/>
                <a:gd name="connsiteX0" fmla="*/ 40672 w 956275"/>
                <a:gd name="connsiteY0" fmla="*/ 486852 h 504512"/>
                <a:gd name="connsiteX1" fmla="*/ 13820 w 956275"/>
                <a:gd name="connsiteY1" fmla="*/ 496784 h 504512"/>
                <a:gd name="connsiteX2" fmla="*/ 13820 w 956275"/>
                <a:gd name="connsiteY2" fmla="*/ 496784 h 504512"/>
                <a:gd name="connsiteX3" fmla="*/ 51019 w 956275"/>
                <a:gd name="connsiteY3" fmla="*/ 493776 h 504512"/>
                <a:gd name="connsiteX4" fmla="*/ 151603 w 956275"/>
                <a:gd name="connsiteY4" fmla="*/ 466344 h 504512"/>
                <a:gd name="connsiteX5" fmla="*/ 252187 w 956275"/>
                <a:gd name="connsiteY5" fmla="*/ 384048 h 504512"/>
                <a:gd name="connsiteX6" fmla="*/ 444211 w 956275"/>
                <a:gd name="connsiteY6" fmla="*/ 301752 h 504512"/>
                <a:gd name="connsiteX7" fmla="*/ 526507 w 956275"/>
                <a:gd name="connsiteY7" fmla="*/ 192024 h 504512"/>
                <a:gd name="connsiteX8" fmla="*/ 672811 w 956275"/>
                <a:gd name="connsiteY8" fmla="*/ 155448 h 504512"/>
                <a:gd name="connsiteX9" fmla="*/ 718531 w 956275"/>
                <a:gd name="connsiteY9" fmla="*/ 155448 h 504512"/>
                <a:gd name="connsiteX10" fmla="*/ 755107 w 956275"/>
                <a:gd name="connsiteY10" fmla="*/ 137160 h 504512"/>
                <a:gd name="connsiteX11" fmla="*/ 709387 w 956275"/>
                <a:gd name="connsiteY11" fmla="*/ 137160 h 504512"/>
                <a:gd name="connsiteX12" fmla="*/ 617947 w 956275"/>
                <a:gd name="connsiteY12" fmla="*/ 137160 h 504512"/>
                <a:gd name="connsiteX13" fmla="*/ 563083 w 956275"/>
                <a:gd name="connsiteY13" fmla="*/ 146304 h 504512"/>
                <a:gd name="connsiteX14" fmla="*/ 553939 w 956275"/>
                <a:gd name="connsiteY14" fmla="*/ 155448 h 504512"/>
                <a:gd name="connsiteX15" fmla="*/ 535651 w 956275"/>
                <a:gd name="connsiteY15" fmla="*/ 146304 h 504512"/>
                <a:gd name="connsiteX16" fmla="*/ 663667 w 956275"/>
                <a:gd name="connsiteY16" fmla="*/ 91440 h 504512"/>
                <a:gd name="connsiteX17" fmla="*/ 718531 w 956275"/>
                <a:gd name="connsiteY17" fmla="*/ 91440 h 504512"/>
                <a:gd name="connsiteX18" fmla="*/ 809971 w 956275"/>
                <a:gd name="connsiteY18" fmla="*/ 82296 h 504512"/>
                <a:gd name="connsiteX19" fmla="*/ 937987 w 956275"/>
                <a:gd name="connsiteY19" fmla="*/ 27432 h 504512"/>
                <a:gd name="connsiteX20" fmla="*/ 919699 w 956275"/>
                <a:gd name="connsiteY20" fmla="*/ 0 h 504512"/>
                <a:gd name="connsiteX21" fmla="*/ 883123 w 956275"/>
                <a:gd name="connsiteY21" fmla="*/ 27432 h 504512"/>
                <a:gd name="connsiteX22" fmla="*/ 846547 w 956275"/>
                <a:gd name="connsiteY22" fmla="*/ 36576 h 504512"/>
                <a:gd name="connsiteX23" fmla="*/ 773395 w 956275"/>
                <a:gd name="connsiteY23" fmla="*/ 64008 h 504512"/>
                <a:gd name="connsiteX24" fmla="*/ 718531 w 956275"/>
                <a:gd name="connsiteY24" fmla="*/ 64008 h 504512"/>
                <a:gd name="connsiteX25" fmla="*/ 608803 w 956275"/>
                <a:gd name="connsiteY25" fmla="*/ 64008 h 504512"/>
                <a:gd name="connsiteX26" fmla="*/ 553939 w 956275"/>
                <a:gd name="connsiteY26" fmla="*/ 100584 h 504512"/>
                <a:gd name="connsiteX27" fmla="*/ 517363 w 956275"/>
                <a:gd name="connsiteY27" fmla="*/ 146304 h 504512"/>
                <a:gd name="connsiteX28" fmla="*/ 471643 w 956275"/>
                <a:gd name="connsiteY28" fmla="*/ 182880 h 504512"/>
                <a:gd name="connsiteX29" fmla="*/ 425923 w 956275"/>
                <a:gd name="connsiteY29" fmla="*/ 256032 h 504512"/>
                <a:gd name="connsiteX30" fmla="*/ 352771 w 956275"/>
                <a:gd name="connsiteY30" fmla="*/ 301752 h 504512"/>
                <a:gd name="connsiteX31" fmla="*/ 252187 w 956275"/>
                <a:gd name="connsiteY31" fmla="*/ 347472 h 504512"/>
                <a:gd name="connsiteX32" fmla="*/ 215611 w 956275"/>
                <a:gd name="connsiteY32" fmla="*/ 374904 h 504512"/>
                <a:gd name="connsiteX33" fmla="*/ 169891 w 956275"/>
                <a:gd name="connsiteY33" fmla="*/ 402336 h 504512"/>
                <a:gd name="connsiteX34" fmla="*/ 151603 w 956275"/>
                <a:gd name="connsiteY34" fmla="*/ 402336 h 504512"/>
                <a:gd name="connsiteX35" fmla="*/ 169891 w 956275"/>
                <a:gd name="connsiteY35" fmla="*/ 365760 h 504512"/>
                <a:gd name="connsiteX36" fmla="*/ 224755 w 956275"/>
                <a:gd name="connsiteY36" fmla="*/ 301752 h 504512"/>
                <a:gd name="connsiteX37" fmla="*/ 316195 w 956275"/>
                <a:gd name="connsiteY37" fmla="*/ 219456 h 504512"/>
                <a:gd name="connsiteX38" fmla="*/ 361915 w 956275"/>
                <a:gd name="connsiteY38" fmla="*/ 146304 h 504512"/>
                <a:gd name="connsiteX39" fmla="*/ 361915 w 956275"/>
                <a:gd name="connsiteY39" fmla="*/ 64008 h 504512"/>
                <a:gd name="connsiteX40" fmla="*/ 352771 w 956275"/>
                <a:gd name="connsiteY40" fmla="*/ 54864 h 504512"/>
                <a:gd name="connsiteX41" fmla="*/ 343627 w 956275"/>
                <a:gd name="connsiteY41" fmla="*/ 128016 h 504512"/>
                <a:gd name="connsiteX42" fmla="*/ 316195 w 956275"/>
                <a:gd name="connsiteY42" fmla="*/ 173736 h 504512"/>
                <a:gd name="connsiteX43" fmla="*/ 243043 w 956275"/>
                <a:gd name="connsiteY43" fmla="*/ 237744 h 504512"/>
                <a:gd name="connsiteX44" fmla="*/ 215611 w 956275"/>
                <a:gd name="connsiteY44" fmla="*/ 256032 h 504512"/>
                <a:gd name="connsiteX45" fmla="*/ 142459 w 956275"/>
                <a:gd name="connsiteY45" fmla="*/ 347472 h 504512"/>
                <a:gd name="connsiteX46" fmla="*/ 133315 w 956275"/>
                <a:gd name="connsiteY46" fmla="*/ 374904 h 504512"/>
                <a:gd name="connsiteX47" fmla="*/ 124171 w 956275"/>
                <a:gd name="connsiteY47" fmla="*/ 411480 h 504512"/>
                <a:gd name="connsiteX48" fmla="*/ 142459 w 956275"/>
                <a:gd name="connsiteY48" fmla="*/ 429768 h 504512"/>
                <a:gd name="connsiteX49" fmla="*/ 96739 w 956275"/>
                <a:gd name="connsiteY49" fmla="*/ 457200 h 504512"/>
                <a:gd name="connsiteX50" fmla="*/ 13820 w 956275"/>
                <a:gd name="connsiteY50" fmla="*/ 496783 h 504512"/>
                <a:gd name="connsiteX51" fmla="*/ 13820 w 956275"/>
                <a:gd name="connsiteY51" fmla="*/ 496784 h 504512"/>
                <a:gd name="connsiteX52" fmla="*/ 13820 w 956275"/>
                <a:gd name="connsiteY52" fmla="*/ 496784 h 504512"/>
                <a:gd name="connsiteX53" fmla="*/ 132458 w 956275"/>
                <a:gd name="connsiteY53" fmla="*/ 430387 h 504512"/>
                <a:gd name="connsiteX54" fmla="*/ 114798 w 956275"/>
                <a:gd name="connsiteY54" fmla="*/ 504512 h 504512"/>
                <a:gd name="connsiteX55" fmla="*/ 40672 w 956275"/>
                <a:gd name="connsiteY55" fmla="*/ 486852 h 504512"/>
                <a:gd name="connsiteX0" fmla="*/ 40672 w 956275"/>
                <a:gd name="connsiteY0" fmla="*/ 486852 h 504512"/>
                <a:gd name="connsiteX1" fmla="*/ 13820 w 956275"/>
                <a:gd name="connsiteY1" fmla="*/ 496784 h 504512"/>
                <a:gd name="connsiteX2" fmla="*/ 13820 w 956275"/>
                <a:gd name="connsiteY2" fmla="*/ 496784 h 504512"/>
                <a:gd name="connsiteX3" fmla="*/ 51019 w 956275"/>
                <a:gd name="connsiteY3" fmla="*/ 493776 h 504512"/>
                <a:gd name="connsiteX4" fmla="*/ 151603 w 956275"/>
                <a:gd name="connsiteY4" fmla="*/ 466344 h 504512"/>
                <a:gd name="connsiteX5" fmla="*/ 252187 w 956275"/>
                <a:gd name="connsiteY5" fmla="*/ 384048 h 504512"/>
                <a:gd name="connsiteX6" fmla="*/ 444211 w 956275"/>
                <a:gd name="connsiteY6" fmla="*/ 301752 h 504512"/>
                <a:gd name="connsiteX7" fmla="*/ 526507 w 956275"/>
                <a:gd name="connsiteY7" fmla="*/ 192024 h 504512"/>
                <a:gd name="connsiteX8" fmla="*/ 672811 w 956275"/>
                <a:gd name="connsiteY8" fmla="*/ 155448 h 504512"/>
                <a:gd name="connsiteX9" fmla="*/ 718531 w 956275"/>
                <a:gd name="connsiteY9" fmla="*/ 155448 h 504512"/>
                <a:gd name="connsiteX10" fmla="*/ 755107 w 956275"/>
                <a:gd name="connsiteY10" fmla="*/ 137160 h 504512"/>
                <a:gd name="connsiteX11" fmla="*/ 709387 w 956275"/>
                <a:gd name="connsiteY11" fmla="*/ 137160 h 504512"/>
                <a:gd name="connsiteX12" fmla="*/ 617947 w 956275"/>
                <a:gd name="connsiteY12" fmla="*/ 137160 h 504512"/>
                <a:gd name="connsiteX13" fmla="*/ 563083 w 956275"/>
                <a:gd name="connsiteY13" fmla="*/ 146304 h 504512"/>
                <a:gd name="connsiteX14" fmla="*/ 553939 w 956275"/>
                <a:gd name="connsiteY14" fmla="*/ 155448 h 504512"/>
                <a:gd name="connsiteX15" fmla="*/ 535651 w 956275"/>
                <a:gd name="connsiteY15" fmla="*/ 146304 h 504512"/>
                <a:gd name="connsiteX16" fmla="*/ 663667 w 956275"/>
                <a:gd name="connsiteY16" fmla="*/ 91440 h 504512"/>
                <a:gd name="connsiteX17" fmla="*/ 718531 w 956275"/>
                <a:gd name="connsiteY17" fmla="*/ 91440 h 504512"/>
                <a:gd name="connsiteX18" fmla="*/ 809971 w 956275"/>
                <a:gd name="connsiteY18" fmla="*/ 82296 h 504512"/>
                <a:gd name="connsiteX19" fmla="*/ 937987 w 956275"/>
                <a:gd name="connsiteY19" fmla="*/ 27432 h 504512"/>
                <a:gd name="connsiteX20" fmla="*/ 919699 w 956275"/>
                <a:gd name="connsiteY20" fmla="*/ 0 h 504512"/>
                <a:gd name="connsiteX21" fmla="*/ 883123 w 956275"/>
                <a:gd name="connsiteY21" fmla="*/ 27432 h 504512"/>
                <a:gd name="connsiteX22" fmla="*/ 846547 w 956275"/>
                <a:gd name="connsiteY22" fmla="*/ 36576 h 504512"/>
                <a:gd name="connsiteX23" fmla="*/ 773395 w 956275"/>
                <a:gd name="connsiteY23" fmla="*/ 64008 h 504512"/>
                <a:gd name="connsiteX24" fmla="*/ 718531 w 956275"/>
                <a:gd name="connsiteY24" fmla="*/ 64008 h 504512"/>
                <a:gd name="connsiteX25" fmla="*/ 608803 w 956275"/>
                <a:gd name="connsiteY25" fmla="*/ 64008 h 504512"/>
                <a:gd name="connsiteX26" fmla="*/ 553939 w 956275"/>
                <a:gd name="connsiteY26" fmla="*/ 100584 h 504512"/>
                <a:gd name="connsiteX27" fmla="*/ 517363 w 956275"/>
                <a:gd name="connsiteY27" fmla="*/ 146304 h 504512"/>
                <a:gd name="connsiteX28" fmla="*/ 471643 w 956275"/>
                <a:gd name="connsiteY28" fmla="*/ 182880 h 504512"/>
                <a:gd name="connsiteX29" fmla="*/ 425923 w 956275"/>
                <a:gd name="connsiteY29" fmla="*/ 256032 h 504512"/>
                <a:gd name="connsiteX30" fmla="*/ 352771 w 956275"/>
                <a:gd name="connsiteY30" fmla="*/ 301752 h 504512"/>
                <a:gd name="connsiteX31" fmla="*/ 252187 w 956275"/>
                <a:gd name="connsiteY31" fmla="*/ 347472 h 504512"/>
                <a:gd name="connsiteX32" fmla="*/ 215611 w 956275"/>
                <a:gd name="connsiteY32" fmla="*/ 374904 h 504512"/>
                <a:gd name="connsiteX33" fmla="*/ 169891 w 956275"/>
                <a:gd name="connsiteY33" fmla="*/ 402336 h 504512"/>
                <a:gd name="connsiteX34" fmla="*/ 151603 w 956275"/>
                <a:gd name="connsiteY34" fmla="*/ 402336 h 504512"/>
                <a:gd name="connsiteX35" fmla="*/ 169891 w 956275"/>
                <a:gd name="connsiteY35" fmla="*/ 365760 h 504512"/>
                <a:gd name="connsiteX36" fmla="*/ 224755 w 956275"/>
                <a:gd name="connsiteY36" fmla="*/ 301752 h 504512"/>
                <a:gd name="connsiteX37" fmla="*/ 316195 w 956275"/>
                <a:gd name="connsiteY37" fmla="*/ 219456 h 504512"/>
                <a:gd name="connsiteX38" fmla="*/ 361915 w 956275"/>
                <a:gd name="connsiteY38" fmla="*/ 146304 h 504512"/>
                <a:gd name="connsiteX39" fmla="*/ 361915 w 956275"/>
                <a:gd name="connsiteY39" fmla="*/ 64008 h 504512"/>
                <a:gd name="connsiteX40" fmla="*/ 352771 w 956275"/>
                <a:gd name="connsiteY40" fmla="*/ 54864 h 504512"/>
                <a:gd name="connsiteX41" fmla="*/ 343627 w 956275"/>
                <a:gd name="connsiteY41" fmla="*/ 128016 h 504512"/>
                <a:gd name="connsiteX42" fmla="*/ 316195 w 956275"/>
                <a:gd name="connsiteY42" fmla="*/ 173736 h 504512"/>
                <a:gd name="connsiteX43" fmla="*/ 243043 w 956275"/>
                <a:gd name="connsiteY43" fmla="*/ 237744 h 504512"/>
                <a:gd name="connsiteX44" fmla="*/ 215611 w 956275"/>
                <a:gd name="connsiteY44" fmla="*/ 256032 h 504512"/>
                <a:gd name="connsiteX45" fmla="*/ 142459 w 956275"/>
                <a:gd name="connsiteY45" fmla="*/ 347472 h 504512"/>
                <a:gd name="connsiteX46" fmla="*/ 133315 w 956275"/>
                <a:gd name="connsiteY46" fmla="*/ 374904 h 504512"/>
                <a:gd name="connsiteX47" fmla="*/ 124171 w 956275"/>
                <a:gd name="connsiteY47" fmla="*/ 411480 h 504512"/>
                <a:gd name="connsiteX48" fmla="*/ 142459 w 956275"/>
                <a:gd name="connsiteY48" fmla="*/ 429768 h 504512"/>
                <a:gd name="connsiteX49" fmla="*/ 96739 w 956275"/>
                <a:gd name="connsiteY49" fmla="*/ 457200 h 504512"/>
                <a:gd name="connsiteX50" fmla="*/ 13820 w 956275"/>
                <a:gd name="connsiteY50" fmla="*/ 496783 h 504512"/>
                <a:gd name="connsiteX51" fmla="*/ 13820 w 956275"/>
                <a:gd name="connsiteY51" fmla="*/ 496784 h 504512"/>
                <a:gd name="connsiteX52" fmla="*/ 13820 w 956275"/>
                <a:gd name="connsiteY52" fmla="*/ 496784 h 504512"/>
                <a:gd name="connsiteX53" fmla="*/ 132458 w 956275"/>
                <a:gd name="connsiteY53" fmla="*/ 430387 h 504512"/>
                <a:gd name="connsiteX54" fmla="*/ 114797 w 956275"/>
                <a:gd name="connsiteY54" fmla="*/ 504512 h 504512"/>
                <a:gd name="connsiteX55" fmla="*/ 40672 w 956275"/>
                <a:gd name="connsiteY55" fmla="*/ 486852 h 504512"/>
                <a:gd name="connsiteX0" fmla="*/ 40672 w 956275"/>
                <a:gd name="connsiteY0" fmla="*/ 486852 h 578638"/>
                <a:gd name="connsiteX1" fmla="*/ 13820 w 956275"/>
                <a:gd name="connsiteY1" fmla="*/ 496784 h 578638"/>
                <a:gd name="connsiteX2" fmla="*/ 13820 w 956275"/>
                <a:gd name="connsiteY2" fmla="*/ 496784 h 578638"/>
                <a:gd name="connsiteX3" fmla="*/ 51019 w 956275"/>
                <a:gd name="connsiteY3" fmla="*/ 493776 h 578638"/>
                <a:gd name="connsiteX4" fmla="*/ 151603 w 956275"/>
                <a:gd name="connsiteY4" fmla="*/ 466344 h 578638"/>
                <a:gd name="connsiteX5" fmla="*/ 252187 w 956275"/>
                <a:gd name="connsiteY5" fmla="*/ 384048 h 578638"/>
                <a:gd name="connsiteX6" fmla="*/ 444211 w 956275"/>
                <a:gd name="connsiteY6" fmla="*/ 301752 h 578638"/>
                <a:gd name="connsiteX7" fmla="*/ 526507 w 956275"/>
                <a:gd name="connsiteY7" fmla="*/ 192024 h 578638"/>
                <a:gd name="connsiteX8" fmla="*/ 672811 w 956275"/>
                <a:gd name="connsiteY8" fmla="*/ 155448 h 578638"/>
                <a:gd name="connsiteX9" fmla="*/ 718531 w 956275"/>
                <a:gd name="connsiteY9" fmla="*/ 155448 h 578638"/>
                <a:gd name="connsiteX10" fmla="*/ 755107 w 956275"/>
                <a:gd name="connsiteY10" fmla="*/ 137160 h 578638"/>
                <a:gd name="connsiteX11" fmla="*/ 709387 w 956275"/>
                <a:gd name="connsiteY11" fmla="*/ 137160 h 578638"/>
                <a:gd name="connsiteX12" fmla="*/ 617947 w 956275"/>
                <a:gd name="connsiteY12" fmla="*/ 137160 h 578638"/>
                <a:gd name="connsiteX13" fmla="*/ 563083 w 956275"/>
                <a:gd name="connsiteY13" fmla="*/ 146304 h 578638"/>
                <a:gd name="connsiteX14" fmla="*/ 553939 w 956275"/>
                <a:gd name="connsiteY14" fmla="*/ 155448 h 578638"/>
                <a:gd name="connsiteX15" fmla="*/ 535651 w 956275"/>
                <a:gd name="connsiteY15" fmla="*/ 146304 h 578638"/>
                <a:gd name="connsiteX16" fmla="*/ 663667 w 956275"/>
                <a:gd name="connsiteY16" fmla="*/ 91440 h 578638"/>
                <a:gd name="connsiteX17" fmla="*/ 718531 w 956275"/>
                <a:gd name="connsiteY17" fmla="*/ 91440 h 578638"/>
                <a:gd name="connsiteX18" fmla="*/ 809971 w 956275"/>
                <a:gd name="connsiteY18" fmla="*/ 82296 h 578638"/>
                <a:gd name="connsiteX19" fmla="*/ 937987 w 956275"/>
                <a:gd name="connsiteY19" fmla="*/ 27432 h 578638"/>
                <a:gd name="connsiteX20" fmla="*/ 919699 w 956275"/>
                <a:gd name="connsiteY20" fmla="*/ 0 h 578638"/>
                <a:gd name="connsiteX21" fmla="*/ 883123 w 956275"/>
                <a:gd name="connsiteY21" fmla="*/ 27432 h 578638"/>
                <a:gd name="connsiteX22" fmla="*/ 846547 w 956275"/>
                <a:gd name="connsiteY22" fmla="*/ 36576 h 578638"/>
                <a:gd name="connsiteX23" fmla="*/ 773395 w 956275"/>
                <a:gd name="connsiteY23" fmla="*/ 64008 h 578638"/>
                <a:gd name="connsiteX24" fmla="*/ 718531 w 956275"/>
                <a:gd name="connsiteY24" fmla="*/ 64008 h 578638"/>
                <a:gd name="connsiteX25" fmla="*/ 608803 w 956275"/>
                <a:gd name="connsiteY25" fmla="*/ 64008 h 578638"/>
                <a:gd name="connsiteX26" fmla="*/ 553939 w 956275"/>
                <a:gd name="connsiteY26" fmla="*/ 100584 h 578638"/>
                <a:gd name="connsiteX27" fmla="*/ 517363 w 956275"/>
                <a:gd name="connsiteY27" fmla="*/ 146304 h 578638"/>
                <a:gd name="connsiteX28" fmla="*/ 471643 w 956275"/>
                <a:gd name="connsiteY28" fmla="*/ 182880 h 578638"/>
                <a:gd name="connsiteX29" fmla="*/ 425923 w 956275"/>
                <a:gd name="connsiteY29" fmla="*/ 256032 h 578638"/>
                <a:gd name="connsiteX30" fmla="*/ 352771 w 956275"/>
                <a:gd name="connsiteY30" fmla="*/ 301752 h 578638"/>
                <a:gd name="connsiteX31" fmla="*/ 252187 w 956275"/>
                <a:gd name="connsiteY31" fmla="*/ 347472 h 578638"/>
                <a:gd name="connsiteX32" fmla="*/ 215611 w 956275"/>
                <a:gd name="connsiteY32" fmla="*/ 374904 h 578638"/>
                <a:gd name="connsiteX33" fmla="*/ 169891 w 956275"/>
                <a:gd name="connsiteY33" fmla="*/ 402336 h 578638"/>
                <a:gd name="connsiteX34" fmla="*/ 151603 w 956275"/>
                <a:gd name="connsiteY34" fmla="*/ 402336 h 578638"/>
                <a:gd name="connsiteX35" fmla="*/ 169891 w 956275"/>
                <a:gd name="connsiteY35" fmla="*/ 365760 h 578638"/>
                <a:gd name="connsiteX36" fmla="*/ 224755 w 956275"/>
                <a:gd name="connsiteY36" fmla="*/ 301752 h 578638"/>
                <a:gd name="connsiteX37" fmla="*/ 316195 w 956275"/>
                <a:gd name="connsiteY37" fmla="*/ 219456 h 578638"/>
                <a:gd name="connsiteX38" fmla="*/ 361915 w 956275"/>
                <a:gd name="connsiteY38" fmla="*/ 146304 h 578638"/>
                <a:gd name="connsiteX39" fmla="*/ 361915 w 956275"/>
                <a:gd name="connsiteY39" fmla="*/ 64008 h 578638"/>
                <a:gd name="connsiteX40" fmla="*/ 352771 w 956275"/>
                <a:gd name="connsiteY40" fmla="*/ 54864 h 578638"/>
                <a:gd name="connsiteX41" fmla="*/ 343627 w 956275"/>
                <a:gd name="connsiteY41" fmla="*/ 128016 h 578638"/>
                <a:gd name="connsiteX42" fmla="*/ 316195 w 956275"/>
                <a:gd name="connsiteY42" fmla="*/ 173736 h 578638"/>
                <a:gd name="connsiteX43" fmla="*/ 243043 w 956275"/>
                <a:gd name="connsiteY43" fmla="*/ 237744 h 578638"/>
                <a:gd name="connsiteX44" fmla="*/ 215611 w 956275"/>
                <a:gd name="connsiteY44" fmla="*/ 256032 h 578638"/>
                <a:gd name="connsiteX45" fmla="*/ 142459 w 956275"/>
                <a:gd name="connsiteY45" fmla="*/ 347472 h 578638"/>
                <a:gd name="connsiteX46" fmla="*/ 133315 w 956275"/>
                <a:gd name="connsiteY46" fmla="*/ 374904 h 578638"/>
                <a:gd name="connsiteX47" fmla="*/ 124171 w 956275"/>
                <a:gd name="connsiteY47" fmla="*/ 411480 h 578638"/>
                <a:gd name="connsiteX48" fmla="*/ 142459 w 956275"/>
                <a:gd name="connsiteY48" fmla="*/ 429768 h 578638"/>
                <a:gd name="connsiteX49" fmla="*/ 96739 w 956275"/>
                <a:gd name="connsiteY49" fmla="*/ 457200 h 578638"/>
                <a:gd name="connsiteX50" fmla="*/ 13820 w 956275"/>
                <a:gd name="connsiteY50" fmla="*/ 496783 h 578638"/>
                <a:gd name="connsiteX51" fmla="*/ 13820 w 956275"/>
                <a:gd name="connsiteY51" fmla="*/ 496784 h 578638"/>
                <a:gd name="connsiteX52" fmla="*/ 13820 w 956275"/>
                <a:gd name="connsiteY52" fmla="*/ 496784 h 578638"/>
                <a:gd name="connsiteX53" fmla="*/ 132458 w 956275"/>
                <a:gd name="connsiteY53" fmla="*/ 430387 h 578638"/>
                <a:gd name="connsiteX54" fmla="*/ 97137 w 956275"/>
                <a:gd name="connsiteY54" fmla="*/ 578638 h 578638"/>
                <a:gd name="connsiteX55" fmla="*/ 40672 w 956275"/>
                <a:gd name="connsiteY55" fmla="*/ 486852 h 578638"/>
                <a:gd name="connsiteX0" fmla="*/ 40672 w 956275"/>
                <a:gd name="connsiteY0" fmla="*/ 486852 h 503380"/>
                <a:gd name="connsiteX1" fmla="*/ 13820 w 956275"/>
                <a:gd name="connsiteY1" fmla="*/ 496784 h 503380"/>
                <a:gd name="connsiteX2" fmla="*/ 13820 w 956275"/>
                <a:gd name="connsiteY2" fmla="*/ 496784 h 503380"/>
                <a:gd name="connsiteX3" fmla="*/ 51019 w 956275"/>
                <a:gd name="connsiteY3" fmla="*/ 493776 h 503380"/>
                <a:gd name="connsiteX4" fmla="*/ 151603 w 956275"/>
                <a:gd name="connsiteY4" fmla="*/ 466344 h 503380"/>
                <a:gd name="connsiteX5" fmla="*/ 252187 w 956275"/>
                <a:gd name="connsiteY5" fmla="*/ 384048 h 503380"/>
                <a:gd name="connsiteX6" fmla="*/ 444211 w 956275"/>
                <a:gd name="connsiteY6" fmla="*/ 301752 h 503380"/>
                <a:gd name="connsiteX7" fmla="*/ 526507 w 956275"/>
                <a:gd name="connsiteY7" fmla="*/ 192024 h 503380"/>
                <a:gd name="connsiteX8" fmla="*/ 672811 w 956275"/>
                <a:gd name="connsiteY8" fmla="*/ 155448 h 503380"/>
                <a:gd name="connsiteX9" fmla="*/ 718531 w 956275"/>
                <a:gd name="connsiteY9" fmla="*/ 155448 h 503380"/>
                <a:gd name="connsiteX10" fmla="*/ 755107 w 956275"/>
                <a:gd name="connsiteY10" fmla="*/ 137160 h 503380"/>
                <a:gd name="connsiteX11" fmla="*/ 709387 w 956275"/>
                <a:gd name="connsiteY11" fmla="*/ 137160 h 503380"/>
                <a:gd name="connsiteX12" fmla="*/ 617947 w 956275"/>
                <a:gd name="connsiteY12" fmla="*/ 137160 h 503380"/>
                <a:gd name="connsiteX13" fmla="*/ 563083 w 956275"/>
                <a:gd name="connsiteY13" fmla="*/ 146304 h 503380"/>
                <a:gd name="connsiteX14" fmla="*/ 553939 w 956275"/>
                <a:gd name="connsiteY14" fmla="*/ 155448 h 503380"/>
                <a:gd name="connsiteX15" fmla="*/ 535651 w 956275"/>
                <a:gd name="connsiteY15" fmla="*/ 146304 h 503380"/>
                <a:gd name="connsiteX16" fmla="*/ 663667 w 956275"/>
                <a:gd name="connsiteY16" fmla="*/ 91440 h 503380"/>
                <a:gd name="connsiteX17" fmla="*/ 718531 w 956275"/>
                <a:gd name="connsiteY17" fmla="*/ 91440 h 503380"/>
                <a:gd name="connsiteX18" fmla="*/ 809971 w 956275"/>
                <a:gd name="connsiteY18" fmla="*/ 82296 h 503380"/>
                <a:gd name="connsiteX19" fmla="*/ 937987 w 956275"/>
                <a:gd name="connsiteY19" fmla="*/ 27432 h 503380"/>
                <a:gd name="connsiteX20" fmla="*/ 919699 w 956275"/>
                <a:gd name="connsiteY20" fmla="*/ 0 h 503380"/>
                <a:gd name="connsiteX21" fmla="*/ 883123 w 956275"/>
                <a:gd name="connsiteY21" fmla="*/ 27432 h 503380"/>
                <a:gd name="connsiteX22" fmla="*/ 846547 w 956275"/>
                <a:gd name="connsiteY22" fmla="*/ 36576 h 503380"/>
                <a:gd name="connsiteX23" fmla="*/ 773395 w 956275"/>
                <a:gd name="connsiteY23" fmla="*/ 64008 h 503380"/>
                <a:gd name="connsiteX24" fmla="*/ 718531 w 956275"/>
                <a:gd name="connsiteY24" fmla="*/ 64008 h 503380"/>
                <a:gd name="connsiteX25" fmla="*/ 608803 w 956275"/>
                <a:gd name="connsiteY25" fmla="*/ 64008 h 503380"/>
                <a:gd name="connsiteX26" fmla="*/ 553939 w 956275"/>
                <a:gd name="connsiteY26" fmla="*/ 100584 h 503380"/>
                <a:gd name="connsiteX27" fmla="*/ 517363 w 956275"/>
                <a:gd name="connsiteY27" fmla="*/ 146304 h 503380"/>
                <a:gd name="connsiteX28" fmla="*/ 471643 w 956275"/>
                <a:gd name="connsiteY28" fmla="*/ 182880 h 503380"/>
                <a:gd name="connsiteX29" fmla="*/ 425923 w 956275"/>
                <a:gd name="connsiteY29" fmla="*/ 256032 h 503380"/>
                <a:gd name="connsiteX30" fmla="*/ 352771 w 956275"/>
                <a:gd name="connsiteY30" fmla="*/ 301752 h 503380"/>
                <a:gd name="connsiteX31" fmla="*/ 252187 w 956275"/>
                <a:gd name="connsiteY31" fmla="*/ 347472 h 503380"/>
                <a:gd name="connsiteX32" fmla="*/ 215611 w 956275"/>
                <a:gd name="connsiteY32" fmla="*/ 374904 h 503380"/>
                <a:gd name="connsiteX33" fmla="*/ 169891 w 956275"/>
                <a:gd name="connsiteY33" fmla="*/ 402336 h 503380"/>
                <a:gd name="connsiteX34" fmla="*/ 151603 w 956275"/>
                <a:gd name="connsiteY34" fmla="*/ 402336 h 503380"/>
                <a:gd name="connsiteX35" fmla="*/ 169891 w 956275"/>
                <a:gd name="connsiteY35" fmla="*/ 365760 h 503380"/>
                <a:gd name="connsiteX36" fmla="*/ 224755 w 956275"/>
                <a:gd name="connsiteY36" fmla="*/ 301752 h 503380"/>
                <a:gd name="connsiteX37" fmla="*/ 316195 w 956275"/>
                <a:gd name="connsiteY37" fmla="*/ 219456 h 503380"/>
                <a:gd name="connsiteX38" fmla="*/ 361915 w 956275"/>
                <a:gd name="connsiteY38" fmla="*/ 146304 h 503380"/>
                <a:gd name="connsiteX39" fmla="*/ 361915 w 956275"/>
                <a:gd name="connsiteY39" fmla="*/ 64008 h 503380"/>
                <a:gd name="connsiteX40" fmla="*/ 352771 w 956275"/>
                <a:gd name="connsiteY40" fmla="*/ 54864 h 503380"/>
                <a:gd name="connsiteX41" fmla="*/ 343627 w 956275"/>
                <a:gd name="connsiteY41" fmla="*/ 128016 h 503380"/>
                <a:gd name="connsiteX42" fmla="*/ 316195 w 956275"/>
                <a:gd name="connsiteY42" fmla="*/ 173736 h 503380"/>
                <a:gd name="connsiteX43" fmla="*/ 243043 w 956275"/>
                <a:gd name="connsiteY43" fmla="*/ 237744 h 503380"/>
                <a:gd name="connsiteX44" fmla="*/ 215611 w 956275"/>
                <a:gd name="connsiteY44" fmla="*/ 256032 h 503380"/>
                <a:gd name="connsiteX45" fmla="*/ 142459 w 956275"/>
                <a:gd name="connsiteY45" fmla="*/ 347472 h 503380"/>
                <a:gd name="connsiteX46" fmla="*/ 133315 w 956275"/>
                <a:gd name="connsiteY46" fmla="*/ 374904 h 503380"/>
                <a:gd name="connsiteX47" fmla="*/ 124171 w 956275"/>
                <a:gd name="connsiteY47" fmla="*/ 411480 h 503380"/>
                <a:gd name="connsiteX48" fmla="*/ 142459 w 956275"/>
                <a:gd name="connsiteY48" fmla="*/ 429768 h 503380"/>
                <a:gd name="connsiteX49" fmla="*/ 96739 w 956275"/>
                <a:gd name="connsiteY49" fmla="*/ 457200 h 503380"/>
                <a:gd name="connsiteX50" fmla="*/ 13820 w 956275"/>
                <a:gd name="connsiteY50" fmla="*/ 496783 h 503380"/>
                <a:gd name="connsiteX51" fmla="*/ 13820 w 956275"/>
                <a:gd name="connsiteY51" fmla="*/ 496784 h 503380"/>
                <a:gd name="connsiteX52" fmla="*/ 13820 w 956275"/>
                <a:gd name="connsiteY52" fmla="*/ 496784 h 503380"/>
                <a:gd name="connsiteX53" fmla="*/ 132458 w 956275"/>
                <a:gd name="connsiteY53" fmla="*/ 430387 h 503380"/>
                <a:gd name="connsiteX54" fmla="*/ 40672 w 956275"/>
                <a:gd name="connsiteY54" fmla="*/ 486852 h 503380"/>
                <a:gd name="connsiteX55" fmla="*/ 40672 w 956275"/>
                <a:gd name="connsiteY55" fmla="*/ 486852 h 503380"/>
                <a:gd name="connsiteX0" fmla="*/ 40672 w 956275"/>
                <a:gd name="connsiteY0" fmla="*/ 486852 h 503380"/>
                <a:gd name="connsiteX1" fmla="*/ 13820 w 956275"/>
                <a:gd name="connsiteY1" fmla="*/ 496784 h 503380"/>
                <a:gd name="connsiteX2" fmla="*/ 13820 w 956275"/>
                <a:gd name="connsiteY2" fmla="*/ 496784 h 503380"/>
                <a:gd name="connsiteX3" fmla="*/ 51019 w 956275"/>
                <a:gd name="connsiteY3" fmla="*/ 493776 h 503380"/>
                <a:gd name="connsiteX4" fmla="*/ 151603 w 956275"/>
                <a:gd name="connsiteY4" fmla="*/ 466344 h 503380"/>
                <a:gd name="connsiteX5" fmla="*/ 252187 w 956275"/>
                <a:gd name="connsiteY5" fmla="*/ 384048 h 503380"/>
                <a:gd name="connsiteX6" fmla="*/ 444211 w 956275"/>
                <a:gd name="connsiteY6" fmla="*/ 301752 h 503380"/>
                <a:gd name="connsiteX7" fmla="*/ 526507 w 956275"/>
                <a:gd name="connsiteY7" fmla="*/ 192024 h 503380"/>
                <a:gd name="connsiteX8" fmla="*/ 672811 w 956275"/>
                <a:gd name="connsiteY8" fmla="*/ 155448 h 503380"/>
                <a:gd name="connsiteX9" fmla="*/ 718531 w 956275"/>
                <a:gd name="connsiteY9" fmla="*/ 155448 h 503380"/>
                <a:gd name="connsiteX10" fmla="*/ 755107 w 956275"/>
                <a:gd name="connsiteY10" fmla="*/ 137160 h 503380"/>
                <a:gd name="connsiteX11" fmla="*/ 709387 w 956275"/>
                <a:gd name="connsiteY11" fmla="*/ 137160 h 503380"/>
                <a:gd name="connsiteX12" fmla="*/ 617947 w 956275"/>
                <a:gd name="connsiteY12" fmla="*/ 137160 h 503380"/>
                <a:gd name="connsiteX13" fmla="*/ 563083 w 956275"/>
                <a:gd name="connsiteY13" fmla="*/ 146304 h 503380"/>
                <a:gd name="connsiteX14" fmla="*/ 553939 w 956275"/>
                <a:gd name="connsiteY14" fmla="*/ 155448 h 503380"/>
                <a:gd name="connsiteX15" fmla="*/ 535651 w 956275"/>
                <a:gd name="connsiteY15" fmla="*/ 146304 h 503380"/>
                <a:gd name="connsiteX16" fmla="*/ 663667 w 956275"/>
                <a:gd name="connsiteY16" fmla="*/ 91440 h 503380"/>
                <a:gd name="connsiteX17" fmla="*/ 718531 w 956275"/>
                <a:gd name="connsiteY17" fmla="*/ 91440 h 503380"/>
                <a:gd name="connsiteX18" fmla="*/ 809971 w 956275"/>
                <a:gd name="connsiteY18" fmla="*/ 82296 h 503380"/>
                <a:gd name="connsiteX19" fmla="*/ 937987 w 956275"/>
                <a:gd name="connsiteY19" fmla="*/ 27432 h 503380"/>
                <a:gd name="connsiteX20" fmla="*/ 919699 w 956275"/>
                <a:gd name="connsiteY20" fmla="*/ 0 h 503380"/>
                <a:gd name="connsiteX21" fmla="*/ 883123 w 956275"/>
                <a:gd name="connsiteY21" fmla="*/ 27432 h 503380"/>
                <a:gd name="connsiteX22" fmla="*/ 846547 w 956275"/>
                <a:gd name="connsiteY22" fmla="*/ 36576 h 503380"/>
                <a:gd name="connsiteX23" fmla="*/ 773395 w 956275"/>
                <a:gd name="connsiteY23" fmla="*/ 64008 h 503380"/>
                <a:gd name="connsiteX24" fmla="*/ 718531 w 956275"/>
                <a:gd name="connsiteY24" fmla="*/ 64008 h 503380"/>
                <a:gd name="connsiteX25" fmla="*/ 608803 w 956275"/>
                <a:gd name="connsiteY25" fmla="*/ 64008 h 503380"/>
                <a:gd name="connsiteX26" fmla="*/ 553939 w 956275"/>
                <a:gd name="connsiteY26" fmla="*/ 100584 h 503380"/>
                <a:gd name="connsiteX27" fmla="*/ 517363 w 956275"/>
                <a:gd name="connsiteY27" fmla="*/ 146304 h 503380"/>
                <a:gd name="connsiteX28" fmla="*/ 471643 w 956275"/>
                <a:gd name="connsiteY28" fmla="*/ 182880 h 503380"/>
                <a:gd name="connsiteX29" fmla="*/ 425923 w 956275"/>
                <a:gd name="connsiteY29" fmla="*/ 256032 h 503380"/>
                <a:gd name="connsiteX30" fmla="*/ 352771 w 956275"/>
                <a:gd name="connsiteY30" fmla="*/ 301752 h 503380"/>
                <a:gd name="connsiteX31" fmla="*/ 252187 w 956275"/>
                <a:gd name="connsiteY31" fmla="*/ 347472 h 503380"/>
                <a:gd name="connsiteX32" fmla="*/ 215611 w 956275"/>
                <a:gd name="connsiteY32" fmla="*/ 374904 h 503380"/>
                <a:gd name="connsiteX33" fmla="*/ 169891 w 956275"/>
                <a:gd name="connsiteY33" fmla="*/ 402336 h 503380"/>
                <a:gd name="connsiteX34" fmla="*/ 151603 w 956275"/>
                <a:gd name="connsiteY34" fmla="*/ 402336 h 503380"/>
                <a:gd name="connsiteX35" fmla="*/ 169891 w 956275"/>
                <a:gd name="connsiteY35" fmla="*/ 365760 h 503380"/>
                <a:gd name="connsiteX36" fmla="*/ 224755 w 956275"/>
                <a:gd name="connsiteY36" fmla="*/ 301752 h 503380"/>
                <a:gd name="connsiteX37" fmla="*/ 316195 w 956275"/>
                <a:gd name="connsiteY37" fmla="*/ 219456 h 503380"/>
                <a:gd name="connsiteX38" fmla="*/ 361915 w 956275"/>
                <a:gd name="connsiteY38" fmla="*/ 146304 h 503380"/>
                <a:gd name="connsiteX39" fmla="*/ 361915 w 956275"/>
                <a:gd name="connsiteY39" fmla="*/ 64008 h 503380"/>
                <a:gd name="connsiteX40" fmla="*/ 352771 w 956275"/>
                <a:gd name="connsiteY40" fmla="*/ 54864 h 503380"/>
                <a:gd name="connsiteX41" fmla="*/ 343627 w 956275"/>
                <a:gd name="connsiteY41" fmla="*/ 128016 h 503380"/>
                <a:gd name="connsiteX42" fmla="*/ 316195 w 956275"/>
                <a:gd name="connsiteY42" fmla="*/ 173736 h 503380"/>
                <a:gd name="connsiteX43" fmla="*/ 243043 w 956275"/>
                <a:gd name="connsiteY43" fmla="*/ 237744 h 503380"/>
                <a:gd name="connsiteX44" fmla="*/ 215611 w 956275"/>
                <a:gd name="connsiteY44" fmla="*/ 256032 h 503380"/>
                <a:gd name="connsiteX45" fmla="*/ 142459 w 956275"/>
                <a:gd name="connsiteY45" fmla="*/ 347472 h 503380"/>
                <a:gd name="connsiteX46" fmla="*/ 133315 w 956275"/>
                <a:gd name="connsiteY46" fmla="*/ 374904 h 503380"/>
                <a:gd name="connsiteX47" fmla="*/ 124171 w 956275"/>
                <a:gd name="connsiteY47" fmla="*/ 411480 h 503380"/>
                <a:gd name="connsiteX48" fmla="*/ 142459 w 956275"/>
                <a:gd name="connsiteY48" fmla="*/ 429768 h 503380"/>
                <a:gd name="connsiteX49" fmla="*/ 96739 w 956275"/>
                <a:gd name="connsiteY49" fmla="*/ 457200 h 503380"/>
                <a:gd name="connsiteX50" fmla="*/ 13820 w 956275"/>
                <a:gd name="connsiteY50" fmla="*/ 496783 h 503380"/>
                <a:gd name="connsiteX51" fmla="*/ 13820 w 956275"/>
                <a:gd name="connsiteY51" fmla="*/ 496784 h 503380"/>
                <a:gd name="connsiteX52" fmla="*/ 40672 w 956275"/>
                <a:gd name="connsiteY52" fmla="*/ 486851 h 503380"/>
                <a:gd name="connsiteX53" fmla="*/ 132458 w 956275"/>
                <a:gd name="connsiteY53" fmla="*/ 430387 h 503380"/>
                <a:gd name="connsiteX54" fmla="*/ 40672 w 956275"/>
                <a:gd name="connsiteY54" fmla="*/ 486852 h 503380"/>
                <a:gd name="connsiteX55" fmla="*/ 40672 w 956275"/>
                <a:gd name="connsiteY55" fmla="*/ 486852 h 503380"/>
                <a:gd name="connsiteX0" fmla="*/ 97137 w 956275"/>
                <a:gd name="connsiteY0" fmla="*/ 578637 h 578637"/>
                <a:gd name="connsiteX1" fmla="*/ 13820 w 956275"/>
                <a:gd name="connsiteY1" fmla="*/ 496784 h 578637"/>
                <a:gd name="connsiteX2" fmla="*/ 13820 w 956275"/>
                <a:gd name="connsiteY2" fmla="*/ 496784 h 578637"/>
                <a:gd name="connsiteX3" fmla="*/ 51019 w 956275"/>
                <a:gd name="connsiteY3" fmla="*/ 493776 h 578637"/>
                <a:gd name="connsiteX4" fmla="*/ 151603 w 956275"/>
                <a:gd name="connsiteY4" fmla="*/ 466344 h 578637"/>
                <a:gd name="connsiteX5" fmla="*/ 252187 w 956275"/>
                <a:gd name="connsiteY5" fmla="*/ 384048 h 578637"/>
                <a:gd name="connsiteX6" fmla="*/ 444211 w 956275"/>
                <a:gd name="connsiteY6" fmla="*/ 301752 h 578637"/>
                <a:gd name="connsiteX7" fmla="*/ 526507 w 956275"/>
                <a:gd name="connsiteY7" fmla="*/ 192024 h 578637"/>
                <a:gd name="connsiteX8" fmla="*/ 672811 w 956275"/>
                <a:gd name="connsiteY8" fmla="*/ 155448 h 578637"/>
                <a:gd name="connsiteX9" fmla="*/ 718531 w 956275"/>
                <a:gd name="connsiteY9" fmla="*/ 155448 h 578637"/>
                <a:gd name="connsiteX10" fmla="*/ 755107 w 956275"/>
                <a:gd name="connsiteY10" fmla="*/ 137160 h 578637"/>
                <a:gd name="connsiteX11" fmla="*/ 709387 w 956275"/>
                <a:gd name="connsiteY11" fmla="*/ 137160 h 578637"/>
                <a:gd name="connsiteX12" fmla="*/ 617947 w 956275"/>
                <a:gd name="connsiteY12" fmla="*/ 137160 h 578637"/>
                <a:gd name="connsiteX13" fmla="*/ 563083 w 956275"/>
                <a:gd name="connsiteY13" fmla="*/ 146304 h 578637"/>
                <a:gd name="connsiteX14" fmla="*/ 553939 w 956275"/>
                <a:gd name="connsiteY14" fmla="*/ 155448 h 578637"/>
                <a:gd name="connsiteX15" fmla="*/ 535651 w 956275"/>
                <a:gd name="connsiteY15" fmla="*/ 146304 h 578637"/>
                <a:gd name="connsiteX16" fmla="*/ 663667 w 956275"/>
                <a:gd name="connsiteY16" fmla="*/ 91440 h 578637"/>
                <a:gd name="connsiteX17" fmla="*/ 718531 w 956275"/>
                <a:gd name="connsiteY17" fmla="*/ 91440 h 578637"/>
                <a:gd name="connsiteX18" fmla="*/ 809971 w 956275"/>
                <a:gd name="connsiteY18" fmla="*/ 82296 h 578637"/>
                <a:gd name="connsiteX19" fmla="*/ 937987 w 956275"/>
                <a:gd name="connsiteY19" fmla="*/ 27432 h 578637"/>
                <a:gd name="connsiteX20" fmla="*/ 919699 w 956275"/>
                <a:gd name="connsiteY20" fmla="*/ 0 h 578637"/>
                <a:gd name="connsiteX21" fmla="*/ 883123 w 956275"/>
                <a:gd name="connsiteY21" fmla="*/ 27432 h 578637"/>
                <a:gd name="connsiteX22" fmla="*/ 846547 w 956275"/>
                <a:gd name="connsiteY22" fmla="*/ 36576 h 578637"/>
                <a:gd name="connsiteX23" fmla="*/ 773395 w 956275"/>
                <a:gd name="connsiteY23" fmla="*/ 64008 h 578637"/>
                <a:gd name="connsiteX24" fmla="*/ 718531 w 956275"/>
                <a:gd name="connsiteY24" fmla="*/ 64008 h 578637"/>
                <a:gd name="connsiteX25" fmla="*/ 608803 w 956275"/>
                <a:gd name="connsiteY25" fmla="*/ 64008 h 578637"/>
                <a:gd name="connsiteX26" fmla="*/ 553939 w 956275"/>
                <a:gd name="connsiteY26" fmla="*/ 100584 h 578637"/>
                <a:gd name="connsiteX27" fmla="*/ 517363 w 956275"/>
                <a:gd name="connsiteY27" fmla="*/ 146304 h 578637"/>
                <a:gd name="connsiteX28" fmla="*/ 471643 w 956275"/>
                <a:gd name="connsiteY28" fmla="*/ 182880 h 578637"/>
                <a:gd name="connsiteX29" fmla="*/ 425923 w 956275"/>
                <a:gd name="connsiteY29" fmla="*/ 256032 h 578637"/>
                <a:gd name="connsiteX30" fmla="*/ 352771 w 956275"/>
                <a:gd name="connsiteY30" fmla="*/ 301752 h 578637"/>
                <a:gd name="connsiteX31" fmla="*/ 252187 w 956275"/>
                <a:gd name="connsiteY31" fmla="*/ 347472 h 578637"/>
                <a:gd name="connsiteX32" fmla="*/ 215611 w 956275"/>
                <a:gd name="connsiteY32" fmla="*/ 374904 h 578637"/>
                <a:gd name="connsiteX33" fmla="*/ 169891 w 956275"/>
                <a:gd name="connsiteY33" fmla="*/ 402336 h 578637"/>
                <a:gd name="connsiteX34" fmla="*/ 151603 w 956275"/>
                <a:gd name="connsiteY34" fmla="*/ 402336 h 578637"/>
                <a:gd name="connsiteX35" fmla="*/ 169891 w 956275"/>
                <a:gd name="connsiteY35" fmla="*/ 365760 h 578637"/>
                <a:gd name="connsiteX36" fmla="*/ 224755 w 956275"/>
                <a:gd name="connsiteY36" fmla="*/ 301752 h 578637"/>
                <a:gd name="connsiteX37" fmla="*/ 316195 w 956275"/>
                <a:gd name="connsiteY37" fmla="*/ 219456 h 578637"/>
                <a:gd name="connsiteX38" fmla="*/ 361915 w 956275"/>
                <a:gd name="connsiteY38" fmla="*/ 146304 h 578637"/>
                <a:gd name="connsiteX39" fmla="*/ 361915 w 956275"/>
                <a:gd name="connsiteY39" fmla="*/ 64008 h 578637"/>
                <a:gd name="connsiteX40" fmla="*/ 352771 w 956275"/>
                <a:gd name="connsiteY40" fmla="*/ 54864 h 578637"/>
                <a:gd name="connsiteX41" fmla="*/ 343627 w 956275"/>
                <a:gd name="connsiteY41" fmla="*/ 128016 h 578637"/>
                <a:gd name="connsiteX42" fmla="*/ 316195 w 956275"/>
                <a:gd name="connsiteY42" fmla="*/ 173736 h 578637"/>
                <a:gd name="connsiteX43" fmla="*/ 243043 w 956275"/>
                <a:gd name="connsiteY43" fmla="*/ 237744 h 578637"/>
                <a:gd name="connsiteX44" fmla="*/ 215611 w 956275"/>
                <a:gd name="connsiteY44" fmla="*/ 256032 h 578637"/>
                <a:gd name="connsiteX45" fmla="*/ 142459 w 956275"/>
                <a:gd name="connsiteY45" fmla="*/ 347472 h 578637"/>
                <a:gd name="connsiteX46" fmla="*/ 133315 w 956275"/>
                <a:gd name="connsiteY46" fmla="*/ 374904 h 578637"/>
                <a:gd name="connsiteX47" fmla="*/ 124171 w 956275"/>
                <a:gd name="connsiteY47" fmla="*/ 411480 h 578637"/>
                <a:gd name="connsiteX48" fmla="*/ 142459 w 956275"/>
                <a:gd name="connsiteY48" fmla="*/ 429768 h 578637"/>
                <a:gd name="connsiteX49" fmla="*/ 96739 w 956275"/>
                <a:gd name="connsiteY49" fmla="*/ 457200 h 578637"/>
                <a:gd name="connsiteX50" fmla="*/ 13820 w 956275"/>
                <a:gd name="connsiteY50" fmla="*/ 496783 h 578637"/>
                <a:gd name="connsiteX51" fmla="*/ 13820 w 956275"/>
                <a:gd name="connsiteY51" fmla="*/ 496784 h 578637"/>
                <a:gd name="connsiteX52" fmla="*/ 40672 w 956275"/>
                <a:gd name="connsiteY52" fmla="*/ 486851 h 578637"/>
                <a:gd name="connsiteX53" fmla="*/ 132458 w 956275"/>
                <a:gd name="connsiteY53" fmla="*/ 430387 h 578637"/>
                <a:gd name="connsiteX54" fmla="*/ 40672 w 956275"/>
                <a:gd name="connsiteY54" fmla="*/ 486852 h 578637"/>
                <a:gd name="connsiteX55" fmla="*/ 97137 w 956275"/>
                <a:gd name="connsiteY55" fmla="*/ 578637 h 578637"/>
                <a:gd name="connsiteX0" fmla="*/ 97137 w 956275"/>
                <a:gd name="connsiteY0" fmla="*/ 578637 h 578637"/>
                <a:gd name="connsiteX1" fmla="*/ 13820 w 956275"/>
                <a:gd name="connsiteY1" fmla="*/ 496784 h 578637"/>
                <a:gd name="connsiteX2" fmla="*/ 13820 w 956275"/>
                <a:gd name="connsiteY2" fmla="*/ 496784 h 578637"/>
                <a:gd name="connsiteX3" fmla="*/ 51019 w 956275"/>
                <a:gd name="connsiteY3" fmla="*/ 493776 h 578637"/>
                <a:gd name="connsiteX4" fmla="*/ 151603 w 956275"/>
                <a:gd name="connsiteY4" fmla="*/ 466344 h 578637"/>
                <a:gd name="connsiteX5" fmla="*/ 252187 w 956275"/>
                <a:gd name="connsiteY5" fmla="*/ 384048 h 578637"/>
                <a:gd name="connsiteX6" fmla="*/ 444211 w 956275"/>
                <a:gd name="connsiteY6" fmla="*/ 301752 h 578637"/>
                <a:gd name="connsiteX7" fmla="*/ 526507 w 956275"/>
                <a:gd name="connsiteY7" fmla="*/ 192024 h 578637"/>
                <a:gd name="connsiteX8" fmla="*/ 672811 w 956275"/>
                <a:gd name="connsiteY8" fmla="*/ 155448 h 578637"/>
                <a:gd name="connsiteX9" fmla="*/ 718531 w 956275"/>
                <a:gd name="connsiteY9" fmla="*/ 155448 h 578637"/>
                <a:gd name="connsiteX10" fmla="*/ 755107 w 956275"/>
                <a:gd name="connsiteY10" fmla="*/ 137160 h 578637"/>
                <a:gd name="connsiteX11" fmla="*/ 709387 w 956275"/>
                <a:gd name="connsiteY11" fmla="*/ 137160 h 578637"/>
                <a:gd name="connsiteX12" fmla="*/ 617947 w 956275"/>
                <a:gd name="connsiteY12" fmla="*/ 137160 h 578637"/>
                <a:gd name="connsiteX13" fmla="*/ 563083 w 956275"/>
                <a:gd name="connsiteY13" fmla="*/ 146304 h 578637"/>
                <a:gd name="connsiteX14" fmla="*/ 553939 w 956275"/>
                <a:gd name="connsiteY14" fmla="*/ 155448 h 578637"/>
                <a:gd name="connsiteX15" fmla="*/ 535651 w 956275"/>
                <a:gd name="connsiteY15" fmla="*/ 146304 h 578637"/>
                <a:gd name="connsiteX16" fmla="*/ 663667 w 956275"/>
                <a:gd name="connsiteY16" fmla="*/ 91440 h 578637"/>
                <a:gd name="connsiteX17" fmla="*/ 718531 w 956275"/>
                <a:gd name="connsiteY17" fmla="*/ 91440 h 578637"/>
                <a:gd name="connsiteX18" fmla="*/ 809971 w 956275"/>
                <a:gd name="connsiteY18" fmla="*/ 82296 h 578637"/>
                <a:gd name="connsiteX19" fmla="*/ 937987 w 956275"/>
                <a:gd name="connsiteY19" fmla="*/ 27432 h 578637"/>
                <a:gd name="connsiteX20" fmla="*/ 919699 w 956275"/>
                <a:gd name="connsiteY20" fmla="*/ 0 h 578637"/>
                <a:gd name="connsiteX21" fmla="*/ 883123 w 956275"/>
                <a:gd name="connsiteY21" fmla="*/ 27432 h 578637"/>
                <a:gd name="connsiteX22" fmla="*/ 846547 w 956275"/>
                <a:gd name="connsiteY22" fmla="*/ 36576 h 578637"/>
                <a:gd name="connsiteX23" fmla="*/ 773395 w 956275"/>
                <a:gd name="connsiteY23" fmla="*/ 64008 h 578637"/>
                <a:gd name="connsiteX24" fmla="*/ 718531 w 956275"/>
                <a:gd name="connsiteY24" fmla="*/ 64008 h 578637"/>
                <a:gd name="connsiteX25" fmla="*/ 608803 w 956275"/>
                <a:gd name="connsiteY25" fmla="*/ 64008 h 578637"/>
                <a:gd name="connsiteX26" fmla="*/ 553939 w 956275"/>
                <a:gd name="connsiteY26" fmla="*/ 100584 h 578637"/>
                <a:gd name="connsiteX27" fmla="*/ 517363 w 956275"/>
                <a:gd name="connsiteY27" fmla="*/ 146304 h 578637"/>
                <a:gd name="connsiteX28" fmla="*/ 471643 w 956275"/>
                <a:gd name="connsiteY28" fmla="*/ 182880 h 578637"/>
                <a:gd name="connsiteX29" fmla="*/ 425923 w 956275"/>
                <a:gd name="connsiteY29" fmla="*/ 256032 h 578637"/>
                <a:gd name="connsiteX30" fmla="*/ 352771 w 956275"/>
                <a:gd name="connsiteY30" fmla="*/ 301752 h 578637"/>
                <a:gd name="connsiteX31" fmla="*/ 252187 w 956275"/>
                <a:gd name="connsiteY31" fmla="*/ 347472 h 578637"/>
                <a:gd name="connsiteX32" fmla="*/ 215611 w 956275"/>
                <a:gd name="connsiteY32" fmla="*/ 374904 h 578637"/>
                <a:gd name="connsiteX33" fmla="*/ 169891 w 956275"/>
                <a:gd name="connsiteY33" fmla="*/ 402336 h 578637"/>
                <a:gd name="connsiteX34" fmla="*/ 151603 w 956275"/>
                <a:gd name="connsiteY34" fmla="*/ 402336 h 578637"/>
                <a:gd name="connsiteX35" fmla="*/ 169891 w 956275"/>
                <a:gd name="connsiteY35" fmla="*/ 365760 h 578637"/>
                <a:gd name="connsiteX36" fmla="*/ 224755 w 956275"/>
                <a:gd name="connsiteY36" fmla="*/ 301752 h 578637"/>
                <a:gd name="connsiteX37" fmla="*/ 316195 w 956275"/>
                <a:gd name="connsiteY37" fmla="*/ 219456 h 578637"/>
                <a:gd name="connsiteX38" fmla="*/ 361915 w 956275"/>
                <a:gd name="connsiteY38" fmla="*/ 146304 h 578637"/>
                <a:gd name="connsiteX39" fmla="*/ 361915 w 956275"/>
                <a:gd name="connsiteY39" fmla="*/ 64008 h 578637"/>
                <a:gd name="connsiteX40" fmla="*/ 352771 w 956275"/>
                <a:gd name="connsiteY40" fmla="*/ 54864 h 578637"/>
                <a:gd name="connsiteX41" fmla="*/ 343627 w 956275"/>
                <a:gd name="connsiteY41" fmla="*/ 128016 h 578637"/>
                <a:gd name="connsiteX42" fmla="*/ 316195 w 956275"/>
                <a:gd name="connsiteY42" fmla="*/ 173736 h 578637"/>
                <a:gd name="connsiteX43" fmla="*/ 243043 w 956275"/>
                <a:gd name="connsiteY43" fmla="*/ 237744 h 578637"/>
                <a:gd name="connsiteX44" fmla="*/ 215611 w 956275"/>
                <a:gd name="connsiteY44" fmla="*/ 256032 h 578637"/>
                <a:gd name="connsiteX45" fmla="*/ 142459 w 956275"/>
                <a:gd name="connsiteY45" fmla="*/ 347472 h 578637"/>
                <a:gd name="connsiteX46" fmla="*/ 133315 w 956275"/>
                <a:gd name="connsiteY46" fmla="*/ 374904 h 578637"/>
                <a:gd name="connsiteX47" fmla="*/ 124171 w 956275"/>
                <a:gd name="connsiteY47" fmla="*/ 411480 h 578637"/>
                <a:gd name="connsiteX48" fmla="*/ 142459 w 956275"/>
                <a:gd name="connsiteY48" fmla="*/ 429768 h 578637"/>
                <a:gd name="connsiteX49" fmla="*/ 96739 w 956275"/>
                <a:gd name="connsiteY49" fmla="*/ 457200 h 578637"/>
                <a:gd name="connsiteX50" fmla="*/ 13820 w 956275"/>
                <a:gd name="connsiteY50" fmla="*/ 496783 h 578637"/>
                <a:gd name="connsiteX51" fmla="*/ 13820 w 956275"/>
                <a:gd name="connsiteY51" fmla="*/ 496784 h 578637"/>
                <a:gd name="connsiteX52" fmla="*/ 40672 w 956275"/>
                <a:gd name="connsiteY52" fmla="*/ 486851 h 578637"/>
                <a:gd name="connsiteX53" fmla="*/ 132458 w 956275"/>
                <a:gd name="connsiteY53" fmla="*/ 430387 h 578637"/>
                <a:gd name="connsiteX54" fmla="*/ 97137 w 956275"/>
                <a:gd name="connsiteY54" fmla="*/ 578637 h 578637"/>
                <a:gd name="connsiteX55" fmla="*/ 97137 w 956275"/>
                <a:gd name="connsiteY55" fmla="*/ 578637 h 578637"/>
                <a:gd name="connsiteX0" fmla="*/ 97137 w 956275"/>
                <a:gd name="connsiteY0" fmla="*/ 578637 h 578637"/>
                <a:gd name="connsiteX1" fmla="*/ 13820 w 956275"/>
                <a:gd name="connsiteY1" fmla="*/ 496784 h 578637"/>
                <a:gd name="connsiteX2" fmla="*/ 13820 w 956275"/>
                <a:gd name="connsiteY2" fmla="*/ 496784 h 578637"/>
                <a:gd name="connsiteX3" fmla="*/ 51019 w 956275"/>
                <a:gd name="connsiteY3" fmla="*/ 493776 h 578637"/>
                <a:gd name="connsiteX4" fmla="*/ 151603 w 956275"/>
                <a:gd name="connsiteY4" fmla="*/ 466344 h 578637"/>
                <a:gd name="connsiteX5" fmla="*/ 252187 w 956275"/>
                <a:gd name="connsiteY5" fmla="*/ 384048 h 578637"/>
                <a:gd name="connsiteX6" fmla="*/ 444211 w 956275"/>
                <a:gd name="connsiteY6" fmla="*/ 301752 h 578637"/>
                <a:gd name="connsiteX7" fmla="*/ 526507 w 956275"/>
                <a:gd name="connsiteY7" fmla="*/ 192024 h 578637"/>
                <a:gd name="connsiteX8" fmla="*/ 672811 w 956275"/>
                <a:gd name="connsiteY8" fmla="*/ 155448 h 578637"/>
                <a:gd name="connsiteX9" fmla="*/ 718531 w 956275"/>
                <a:gd name="connsiteY9" fmla="*/ 155448 h 578637"/>
                <a:gd name="connsiteX10" fmla="*/ 755107 w 956275"/>
                <a:gd name="connsiteY10" fmla="*/ 137160 h 578637"/>
                <a:gd name="connsiteX11" fmla="*/ 709387 w 956275"/>
                <a:gd name="connsiteY11" fmla="*/ 137160 h 578637"/>
                <a:gd name="connsiteX12" fmla="*/ 617947 w 956275"/>
                <a:gd name="connsiteY12" fmla="*/ 137160 h 578637"/>
                <a:gd name="connsiteX13" fmla="*/ 563083 w 956275"/>
                <a:gd name="connsiteY13" fmla="*/ 146304 h 578637"/>
                <a:gd name="connsiteX14" fmla="*/ 553939 w 956275"/>
                <a:gd name="connsiteY14" fmla="*/ 155448 h 578637"/>
                <a:gd name="connsiteX15" fmla="*/ 535651 w 956275"/>
                <a:gd name="connsiteY15" fmla="*/ 146304 h 578637"/>
                <a:gd name="connsiteX16" fmla="*/ 663667 w 956275"/>
                <a:gd name="connsiteY16" fmla="*/ 91440 h 578637"/>
                <a:gd name="connsiteX17" fmla="*/ 718531 w 956275"/>
                <a:gd name="connsiteY17" fmla="*/ 91440 h 578637"/>
                <a:gd name="connsiteX18" fmla="*/ 809971 w 956275"/>
                <a:gd name="connsiteY18" fmla="*/ 82296 h 578637"/>
                <a:gd name="connsiteX19" fmla="*/ 937987 w 956275"/>
                <a:gd name="connsiteY19" fmla="*/ 27432 h 578637"/>
                <a:gd name="connsiteX20" fmla="*/ 919699 w 956275"/>
                <a:gd name="connsiteY20" fmla="*/ 0 h 578637"/>
                <a:gd name="connsiteX21" fmla="*/ 883123 w 956275"/>
                <a:gd name="connsiteY21" fmla="*/ 27432 h 578637"/>
                <a:gd name="connsiteX22" fmla="*/ 846547 w 956275"/>
                <a:gd name="connsiteY22" fmla="*/ 36576 h 578637"/>
                <a:gd name="connsiteX23" fmla="*/ 773395 w 956275"/>
                <a:gd name="connsiteY23" fmla="*/ 64008 h 578637"/>
                <a:gd name="connsiteX24" fmla="*/ 718531 w 956275"/>
                <a:gd name="connsiteY24" fmla="*/ 64008 h 578637"/>
                <a:gd name="connsiteX25" fmla="*/ 608803 w 956275"/>
                <a:gd name="connsiteY25" fmla="*/ 64008 h 578637"/>
                <a:gd name="connsiteX26" fmla="*/ 553939 w 956275"/>
                <a:gd name="connsiteY26" fmla="*/ 100584 h 578637"/>
                <a:gd name="connsiteX27" fmla="*/ 517363 w 956275"/>
                <a:gd name="connsiteY27" fmla="*/ 146304 h 578637"/>
                <a:gd name="connsiteX28" fmla="*/ 471643 w 956275"/>
                <a:gd name="connsiteY28" fmla="*/ 182880 h 578637"/>
                <a:gd name="connsiteX29" fmla="*/ 425923 w 956275"/>
                <a:gd name="connsiteY29" fmla="*/ 256032 h 578637"/>
                <a:gd name="connsiteX30" fmla="*/ 352771 w 956275"/>
                <a:gd name="connsiteY30" fmla="*/ 301752 h 578637"/>
                <a:gd name="connsiteX31" fmla="*/ 252187 w 956275"/>
                <a:gd name="connsiteY31" fmla="*/ 347472 h 578637"/>
                <a:gd name="connsiteX32" fmla="*/ 215611 w 956275"/>
                <a:gd name="connsiteY32" fmla="*/ 374904 h 578637"/>
                <a:gd name="connsiteX33" fmla="*/ 169891 w 956275"/>
                <a:gd name="connsiteY33" fmla="*/ 402336 h 578637"/>
                <a:gd name="connsiteX34" fmla="*/ 151603 w 956275"/>
                <a:gd name="connsiteY34" fmla="*/ 402336 h 578637"/>
                <a:gd name="connsiteX35" fmla="*/ 169891 w 956275"/>
                <a:gd name="connsiteY35" fmla="*/ 365760 h 578637"/>
                <a:gd name="connsiteX36" fmla="*/ 224755 w 956275"/>
                <a:gd name="connsiteY36" fmla="*/ 301752 h 578637"/>
                <a:gd name="connsiteX37" fmla="*/ 316195 w 956275"/>
                <a:gd name="connsiteY37" fmla="*/ 219456 h 578637"/>
                <a:gd name="connsiteX38" fmla="*/ 361915 w 956275"/>
                <a:gd name="connsiteY38" fmla="*/ 146304 h 578637"/>
                <a:gd name="connsiteX39" fmla="*/ 361915 w 956275"/>
                <a:gd name="connsiteY39" fmla="*/ 64008 h 578637"/>
                <a:gd name="connsiteX40" fmla="*/ 352771 w 956275"/>
                <a:gd name="connsiteY40" fmla="*/ 54864 h 578637"/>
                <a:gd name="connsiteX41" fmla="*/ 343627 w 956275"/>
                <a:gd name="connsiteY41" fmla="*/ 128016 h 578637"/>
                <a:gd name="connsiteX42" fmla="*/ 316195 w 956275"/>
                <a:gd name="connsiteY42" fmla="*/ 173736 h 578637"/>
                <a:gd name="connsiteX43" fmla="*/ 243043 w 956275"/>
                <a:gd name="connsiteY43" fmla="*/ 237744 h 578637"/>
                <a:gd name="connsiteX44" fmla="*/ 215611 w 956275"/>
                <a:gd name="connsiteY44" fmla="*/ 256032 h 578637"/>
                <a:gd name="connsiteX45" fmla="*/ 142459 w 956275"/>
                <a:gd name="connsiteY45" fmla="*/ 347472 h 578637"/>
                <a:gd name="connsiteX46" fmla="*/ 133315 w 956275"/>
                <a:gd name="connsiteY46" fmla="*/ 374904 h 578637"/>
                <a:gd name="connsiteX47" fmla="*/ 124171 w 956275"/>
                <a:gd name="connsiteY47" fmla="*/ 411480 h 578637"/>
                <a:gd name="connsiteX48" fmla="*/ 142459 w 956275"/>
                <a:gd name="connsiteY48" fmla="*/ 429768 h 578637"/>
                <a:gd name="connsiteX49" fmla="*/ 96739 w 956275"/>
                <a:gd name="connsiteY49" fmla="*/ 457200 h 578637"/>
                <a:gd name="connsiteX50" fmla="*/ 13820 w 956275"/>
                <a:gd name="connsiteY50" fmla="*/ 496783 h 578637"/>
                <a:gd name="connsiteX51" fmla="*/ 13820 w 956275"/>
                <a:gd name="connsiteY51" fmla="*/ 496784 h 578637"/>
                <a:gd name="connsiteX52" fmla="*/ 23012 w 956275"/>
                <a:gd name="connsiteY52" fmla="*/ 560977 h 578637"/>
                <a:gd name="connsiteX53" fmla="*/ 132458 w 956275"/>
                <a:gd name="connsiteY53" fmla="*/ 430387 h 578637"/>
                <a:gd name="connsiteX54" fmla="*/ 97137 w 956275"/>
                <a:gd name="connsiteY54" fmla="*/ 578637 h 578637"/>
                <a:gd name="connsiteX55" fmla="*/ 97137 w 956275"/>
                <a:gd name="connsiteY55" fmla="*/ 578637 h 578637"/>
                <a:gd name="connsiteX0" fmla="*/ 97137 w 956275"/>
                <a:gd name="connsiteY0" fmla="*/ 578637 h 578637"/>
                <a:gd name="connsiteX1" fmla="*/ 13820 w 956275"/>
                <a:gd name="connsiteY1" fmla="*/ 496784 h 578637"/>
                <a:gd name="connsiteX2" fmla="*/ 13820 w 956275"/>
                <a:gd name="connsiteY2" fmla="*/ 496784 h 578637"/>
                <a:gd name="connsiteX3" fmla="*/ 51019 w 956275"/>
                <a:gd name="connsiteY3" fmla="*/ 493776 h 578637"/>
                <a:gd name="connsiteX4" fmla="*/ 151603 w 956275"/>
                <a:gd name="connsiteY4" fmla="*/ 466344 h 578637"/>
                <a:gd name="connsiteX5" fmla="*/ 252187 w 956275"/>
                <a:gd name="connsiteY5" fmla="*/ 384048 h 578637"/>
                <a:gd name="connsiteX6" fmla="*/ 444211 w 956275"/>
                <a:gd name="connsiteY6" fmla="*/ 301752 h 578637"/>
                <a:gd name="connsiteX7" fmla="*/ 526507 w 956275"/>
                <a:gd name="connsiteY7" fmla="*/ 192024 h 578637"/>
                <a:gd name="connsiteX8" fmla="*/ 672811 w 956275"/>
                <a:gd name="connsiteY8" fmla="*/ 155448 h 578637"/>
                <a:gd name="connsiteX9" fmla="*/ 718531 w 956275"/>
                <a:gd name="connsiteY9" fmla="*/ 155448 h 578637"/>
                <a:gd name="connsiteX10" fmla="*/ 755107 w 956275"/>
                <a:gd name="connsiteY10" fmla="*/ 137160 h 578637"/>
                <a:gd name="connsiteX11" fmla="*/ 709387 w 956275"/>
                <a:gd name="connsiteY11" fmla="*/ 137160 h 578637"/>
                <a:gd name="connsiteX12" fmla="*/ 617947 w 956275"/>
                <a:gd name="connsiteY12" fmla="*/ 137160 h 578637"/>
                <a:gd name="connsiteX13" fmla="*/ 563083 w 956275"/>
                <a:gd name="connsiteY13" fmla="*/ 146304 h 578637"/>
                <a:gd name="connsiteX14" fmla="*/ 553939 w 956275"/>
                <a:gd name="connsiteY14" fmla="*/ 155448 h 578637"/>
                <a:gd name="connsiteX15" fmla="*/ 535651 w 956275"/>
                <a:gd name="connsiteY15" fmla="*/ 146304 h 578637"/>
                <a:gd name="connsiteX16" fmla="*/ 663667 w 956275"/>
                <a:gd name="connsiteY16" fmla="*/ 91440 h 578637"/>
                <a:gd name="connsiteX17" fmla="*/ 718531 w 956275"/>
                <a:gd name="connsiteY17" fmla="*/ 91440 h 578637"/>
                <a:gd name="connsiteX18" fmla="*/ 809971 w 956275"/>
                <a:gd name="connsiteY18" fmla="*/ 82296 h 578637"/>
                <a:gd name="connsiteX19" fmla="*/ 937987 w 956275"/>
                <a:gd name="connsiteY19" fmla="*/ 27432 h 578637"/>
                <a:gd name="connsiteX20" fmla="*/ 919699 w 956275"/>
                <a:gd name="connsiteY20" fmla="*/ 0 h 578637"/>
                <a:gd name="connsiteX21" fmla="*/ 883123 w 956275"/>
                <a:gd name="connsiteY21" fmla="*/ 27432 h 578637"/>
                <a:gd name="connsiteX22" fmla="*/ 846547 w 956275"/>
                <a:gd name="connsiteY22" fmla="*/ 36576 h 578637"/>
                <a:gd name="connsiteX23" fmla="*/ 773395 w 956275"/>
                <a:gd name="connsiteY23" fmla="*/ 64008 h 578637"/>
                <a:gd name="connsiteX24" fmla="*/ 718531 w 956275"/>
                <a:gd name="connsiteY24" fmla="*/ 64008 h 578637"/>
                <a:gd name="connsiteX25" fmla="*/ 608803 w 956275"/>
                <a:gd name="connsiteY25" fmla="*/ 64008 h 578637"/>
                <a:gd name="connsiteX26" fmla="*/ 553939 w 956275"/>
                <a:gd name="connsiteY26" fmla="*/ 100584 h 578637"/>
                <a:gd name="connsiteX27" fmla="*/ 517363 w 956275"/>
                <a:gd name="connsiteY27" fmla="*/ 146304 h 578637"/>
                <a:gd name="connsiteX28" fmla="*/ 471643 w 956275"/>
                <a:gd name="connsiteY28" fmla="*/ 182880 h 578637"/>
                <a:gd name="connsiteX29" fmla="*/ 425923 w 956275"/>
                <a:gd name="connsiteY29" fmla="*/ 256032 h 578637"/>
                <a:gd name="connsiteX30" fmla="*/ 352771 w 956275"/>
                <a:gd name="connsiteY30" fmla="*/ 301752 h 578637"/>
                <a:gd name="connsiteX31" fmla="*/ 252187 w 956275"/>
                <a:gd name="connsiteY31" fmla="*/ 347472 h 578637"/>
                <a:gd name="connsiteX32" fmla="*/ 215611 w 956275"/>
                <a:gd name="connsiteY32" fmla="*/ 374904 h 578637"/>
                <a:gd name="connsiteX33" fmla="*/ 169891 w 956275"/>
                <a:gd name="connsiteY33" fmla="*/ 402336 h 578637"/>
                <a:gd name="connsiteX34" fmla="*/ 151603 w 956275"/>
                <a:gd name="connsiteY34" fmla="*/ 402336 h 578637"/>
                <a:gd name="connsiteX35" fmla="*/ 169891 w 956275"/>
                <a:gd name="connsiteY35" fmla="*/ 365760 h 578637"/>
                <a:gd name="connsiteX36" fmla="*/ 224755 w 956275"/>
                <a:gd name="connsiteY36" fmla="*/ 301752 h 578637"/>
                <a:gd name="connsiteX37" fmla="*/ 316195 w 956275"/>
                <a:gd name="connsiteY37" fmla="*/ 219456 h 578637"/>
                <a:gd name="connsiteX38" fmla="*/ 361915 w 956275"/>
                <a:gd name="connsiteY38" fmla="*/ 146304 h 578637"/>
                <a:gd name="connsiteX39" fmla="*/ 361915 w 956275"/>
                <a:gd name="connsiteY39" fmla="*/ 64008 h 578637"/>
                <a:gd name="connsiteX40" fmla="*/ 352771 w 956275"/>
                <a:gd name="connsiteY40" fmla="*/ 54864 h 578637"/>
                <a:gd name="connsiteX41" fmla="*/ 343627 w 956275"/>
                <a:gd name="connsiteY41" fmla="*/ 128016 h 578637"/>
                <a:gd name="connsiteX42" fmla="*/ 316195 w 956275"/>
                <a:gd name="connsiteY42" fmla="*/ 173736 h 578637"/>
                <a:gd name="connsiteX43" fmla="*/ 243043 w 956275"/>
                <a:gd name="connsiteY43" fmla="*/ 237744 h 578637"/>
                <a:gd name="connsiteX44" fmla="*/ 215611 w 956275"/>
                <a:gd name="connsiteY44" fmla="*/ 256032 h 578637"/>
                <a:gd name="connsiteX45" fmla="*/ 142459 w 956275"/>
                <a:gd name="connsiteY45" fmla="*/ 347472 h 578637"/>
                <a:gd name="connsiteX46" fmla="*/ 133315 w 956275"/>
                <a:gd name="connsiteY46" fmla="*/ 374904 h 578637"/>
                <a:gd name="connsiteX47" fmla="*/ 124171 w 956275"/>
                <a:gd name="connsiteY47" fmla="*/ 411480 h 578637"/>
                <a:gd name="connsiteX48" fmla="*/ 142459 w 956275"/>
                <a:gd name="connsiteY48" fmla="*/ 429768 h 578637"/>
                <a:gd name="connsiteX49" fmla="*/ 96739 w 956275"/>
                <a:gd name="connsiteY49" fmla="*/ 457200 h 578637"/>
                <a:gd name="connsiteX50" fmla="*/ 13820 w 956275"/>
                <a:gd name="connsiteY50" fmla="*/ 496783 h 578637"/>
                <a:gd name="connsiteX51" fmla="*/ 13820 w 956275"/>
                <a:gd name="connsiteY51" fmla="*/ 496784 h 578637"/>
                <a:gd name="connsiteX52" fmla="*/ 132458 w 956275"/>
                <a:gd name="connsiteY52" fmla="*/ 430387 h 578637"/>
                <a:gd name="connsiteX53" fmla="*/ 132458 w 956275"/>
                <a:gd name="connsiteY53" fmla="*/ 430387 h 578637"/>
                <a:gd name="connsiteX54" fmla="*/ 97137 w 956275"/>
                <a:gd name="connsiteY54" fmla="*/ 578637 h 578637"/>
                <a:gd name="connsiteX55" fmla="*/ 97137 w 956275"/>
                <a:gd name="connsiteY55" fmla="*/ 578637 h 578637"/>
                <a:gd name="connsiteX0" fmla="*/ 89270 w 948408"/>
                <a:gd name="connsiteY0" fmla="*/ 578637 h 578637"/>
                <a:gd name="connsiteX1" fmla="*/ 5953 w 948408"/>
                <a:gd name="connsiteY1" fmla="*/ 496784 h 578637"/>
                <a:gd name="connsiteX2" fmla="*/ 5953 w 948408"/>
                <a:gd name="connsiteY2" fmla="*/ 496784 h 578637"/>
                <a:gd name="connsiteX3" fmla="*/ 43152 w 948408"/>
                <a:gd name="connsiteY3" fmla="*/ 493776 h 578637"/>
                <a:gd name="connsiteX4" fmla="*/ 143736 w 948408"/>
                <a:gd name="connsiteY4" fmla="*/ 466344 h 578637"/>
                <a:gd name="connsiteX5" fmla="*/ 244320 w 948408"/>
                <a:gd name="connsiteY5" fmla="*/ 384048 h 578637"/>
                <a:gd name="connsiteX6" fmla="*/ 436344 w 948408"/>
                <a:gd name="connsiteY6" fmla="*/ 301752 h 578637"/>
                <a:gd name="connsiteX7" fmla="*/ 518640 w 948408"/>
                <a:gd name="connsiteY7" fmla="*/ 192024 h 578637"/>
                <a:gd name="connsiteX8" fmla="*/ 664944 w 948408"/>
                <a:gd name="connsiteY8" fmla="*/ 155448 h 578637"/>
                <a:gd name="connsiteX9" fmla="*/ 710664 w 948408"/>
                <a:gd name="connsiteY9" fmla="*/ 155448 h 578637"/>
                <a:gd name="connsiteX10" fmla="*/ 747240 w 948408"/>
                <a:gd name="connsiteY10" fmla="*/ 137160 h 578637"/>
                <a:gd name="connsiteX11" fmla="*/ 701520 w 948408"/>
                <a:gd name="connsiteY11" fmla="*/ 137160 h 578637"/>
                <a:gd name="connsiteX12" fmla="*/ 610080 w 948408"/>
                <a:gd name="connsiteY12" fmla="*/ 137160 h 578637"/>
                <a:gd name="connsiteX13" fmla="*/ 555216 w 948408"/>
                <a:gd name="connsiteY13" fmla="*/ 146304 h 578637"/>
                <a:gd name="connsiteX14" fmla="*/ 546072 w 948408"/>
                <a:gd name="connsiteY14" fmla="*/ 155448 h 578637"/>
                <a:gd name="connsiteX15" fmla="*/ 527784 w 948408"/>
                <a:gd name="connsiteY15" fmla="*/ 146304 h 578637"/>
                <a:gd name="connsiteX16" fmla="*/ 655800 w 948408"/>
                <a:gd name="connsiteY16" fmla="*/ 91440 h 578637"/>
                <a:gd name="connsiteX17" fmla="*/ 710664 w 948408"/>
                <a:gd name="connsiteY17" fmla="*/ 91440 h 578637"/>
                <a:gd name="connsiteX18" fmla="*/ 802104 w 948408"/>
                <a:gd name="connsiteY18" fmla="*/ 82296 h 578637"/>
                <a:gd name="connsiteX19" fmla="*/ 930120 w 948408"/>
                <a:gd name="connsiteY19" fmla="*/ 27432 h 578637"/>
                <a:gd name="connsiteX20" fmla="*/ 911832 w 948408"/>
                <a:gd name="connsiteY20" fmla="*/ 0 h 578637"/>
                <a:gd name="connsiteX21" fmla="*/ 875256 w 948408"/>
                <a:gd name="connsiteY21" fmla="*/ 27432 h 578637"/>
                <a:gd name="connsiteX22" fmla="*/ 838680 w 948408"/>
                <a:gd name="connsiteY22" fmla="*/ 36576 h 578637"/>
                <a:gd name="connsiteX23" fmla="*/ 765528 w 948408"/>
                <a:gd name="connsiteY23" fmla="*/ 64008 h 578637"/>
                <a:gd name="connsiteX24" fmla="*/ 710664 w 948408"/>
                <a:gd name="connsiteY24" fmla="*/ 64008 h 578637"/>
                <a:gd name="connsiteX25" fmla="*/ 600936 w 948408"/>
                <a:gd name="connsiteY25" fmla="*/ 64008 h 578637"/>
                <a:gd name="connsiteX26" fmla="*/ 546072 w 948408"/>
                <a:gd name="connsiteY26" fmla="*/ 100584 h 578637"/>
                <a:gd name="connsiteX27" fmla="*/ 509496 w 948408"/>
                <a:gd name="connsiteY27" fmla="*/ 146304 h 578637"/>
                <a:gd name="connsiteX28" fmla="*/ 463776 w 948408"/>
                <a:gd name="connsiteY28" fmla="*/ 182880 h 578637"/>
                <a:gd name="connsiteX29" fmla="*/ 418056 w 948408"/>
                <a:gd name="connsiteY29" fmla="*/ 256032 h 578637"/>
                <a:gd name="connsiteX30" fmla="*/ 344904 w 948408"/>
                <a:gd name="connsiteY30" fmla="*/ 301752 h 578637"/>
                <a:gd name="connsiteX31" fmla="*/ 244320 w 948408"/>
                <a:gd name="connsiteY31" fmla="*/ 347472 h 578637"/>
                <a:gd name="connsiteX32" fmla="*/ 207744 w 948408"/>
                <a:gd name="connsiteY32" fmla="*/ 374904 h 578637"/>
                <a:gd name="connsiteX33" fmla="*/ 162024 w 948408"/>
                <a:gd name="connsiteY33" fmla="*/ 402336 h 578637"/>
                <a:gd name="connsiteX34" fmla="*/ 143736 w 948408"/>
                <a:gd name="connsiteY34" fmla="*/ 402336 h 578637"/>
                <a:gd name="connsiteX35" fmla="*/ 162024 w 948408"/>
                <a:gd name="connsiteY35" fmla="*/ 365760 h 578637"/>
                <a:gd name="connsiteX36" fmla="*/ 216888 w 948408"/>
                <a:gd name="connsiteY36" fmla="*/ 301752 h 578637"/>
                <a:gd name="connsiteX37" fmla="*/ 308328 w 948408"/>
                <a:gd name="connsiteY37" fmla="*/ 219456 h 578637"/>
                <a:gd name="connsiteX38" fmla="*/ 354048 w 948408"/>
                <a:gd name="connsiteY38" fmla="*/ 146304 h 578637"/>
                <a:gd name="connsiteX39" fmla="*/ 354048 w 948408"/>
                <a:gd name="connsiteY39" fmla="*/ 64008 h 578637"/>
                <a:gd name="connsiteX40" fmla="*/ 344904 w 948408"/>
                <a:gd name="connsiteY40" fmla="*/ 54864 h 578637"/>
                <a:gd name="connsiteX41" fmla="*/ 335760 w 948408"/>
                <a:gd name="connsiteY41" fmla="*/ 128016 h 578637"/>
                <a:gd name="connsiteX42" fmla="*/ 308328 w 948408"/>
                <a:gd name="connsiteY42" fmla="*/ 173736 h 578637"/>
                <a:gd name="connsiteX43" fmla="*/ 235176 w 948408"/>
                <a:gd name="connsiteY43" fmla="*/ 237744 h 578637"/>
                <a:gd name="connsiteX44" fmla="*/ 207744 w 948408"/>
                <a:gd name="connsiteY44" fmla="*/ 256032 h 578637"/>
                <a:gd name="connsiteX45" fmla="*/ 134592 w 948408"/>
                <a:gd name="connsiteY45" fmla="*/ 347472 h 578637"/>
                <a:gd name="connsiteX46" fmla="*/ 125448 w 948408"/>
                <a:gd name="connsiteY46" fmla="*/ 374904 h 578637"/>
                <a:gd name="connsiteX47" fmla="*/ 116304 w 948408"/>
                <a:gd name="connsiteY47" fmla="*/ 411480 h 578637"/>
                <a:gd name="connsiteX48" fmla="*/ 134592 w 948408"/>
                <a:gd name="connsiteY48" fmla="*/ 429768 h 578637"/>
                <a:gd name="connsiteX49" fmla="*/ 88872 w 948408"/>
                <a:gd name="connsiteY49" fmla="*/ 457200 h 578637"/>
                <a:gd name="connsiteX50" fmla="*/ 5953 w 948408"/>
                <a:gd name="connsiteY50" fmla="*/ 496783 h 578637"/>
                <a:gd name="connsiteX51" fmla="*/ 124591 w 948408"/>
                <a:gd name="connsiteY51" fmla="*/ 430387 h 578637"/>
                <a:gd name="connsiteX52" fmla="*/ 124591 w 948408"/>
                <a:gd name="connsiteY52" fmla="*/ 430387 h 578637"/>
                <a:gd name="connsiteX53" fmla="*/ 124591 w 948408"/>
                <a:gd name="connsiteY53" fmla="*/ 430387 h 578637"/>
                <a:gd name="connsiteX54" fmla="*/ 89270 w 948408"/>
                <a:gd name="connsiteY54" fmla="*/ 578637 h 578637"/>
                <a:gd name="connsiteX55" fmla="*/ 89270 w 948408"/>
                <a:gd name="connsiteY55" fmla="*/ 578637 h 578637"/>
                <a:gd name="connsiteX0" fmla="*/ 83317 w 942455"/>
                <a:gd name="connsiteY0" fmla="*/ 578637 h 578637"/>
                <a:gd name="connsiteX1" fmla="*/ 0 w 942455"/>
                <a:gd name="connsiteY1" fmla="*/ 496784 h 578637"/>
                <a:gd name="connsiteX2" fmla="*/ 0 w 942455"/>
                <a:gd name="connsiteY2" fmla="*/ 496784 h 578637"/>
                <a:gd name="connsiteX3" fmla="*/ 37199 w 942455"/>
                <a:gd name="connsiteY3" fmla="*/ 493776 h 578637"/>
                <a:gd name="connsiteX4" fmla="*/ 137783 w 942455"/>
                <a:gd name="connsiteY4" fmla="*/ 466344 h 578637"/>
                <a:gd name="connsiteX5" fmla="*/ 238367 w 942455"/>
                <a:gd name="connsiteY5" fmla="*/ 384048 h 578637"/>
                <a:gd name="connsiteX6" fmla="*/ 430391 w 942455"/>
                <a:gd name="connsiteY6" fmla="*/ 301752 h 578637"/>
                <a:gd name="connsiteX7" fmla="*/ 512687 w 942455"/>
                <a:gd name="connsiteY7" fmla="*/ 192024 h 578637"/>
                <a:gd name="connsiteX8" fmla="*/ 658991 w 942455"/>
                <a:gd name="connsiteY8" fmla="*/ 155448 h 578637"/>
                <a:gd name="connsiteX9" fmla="*/ 704711 w 942455"/>
                <a:gd name="connsiteY9" fmla="*/ 155448 h 578637"/>
                <a:gd name="connsiteX10" fmla="*/ 741287 w 942455"/>
                <a:gd name="connsiteY10" fmla="*/ 137160 h 578637"/>
                <a:gd name="connsiteX11" fmla="*/ 695567 w 942455"/>
                <a:gd name="connsiteY11" fmla="*/ 137160 h 578637"/>
                <a:gd name="connsiteX12" fmla="*/ 604127 w 942455"/>
                <a:gd name="connsiteY12" fmla="*/ 137160 h 578637"/>
                <a:gd name="connsiteX13" fmla="*/ 549263 w 942455"/>
                <a:gd name="connsiteY13" fmla="*/ 146304 h 578637"/>
                <a:gd name="connsiteX14" fmla="*/ 540119 w 942455"/>
                <a:gd name="connsiteY14" fmla="*/ 155448 h 578637"/>
                <a:gd name="connsiteX15" fmla="*/ 521831 w 942455"/>
                <a:gd name="connsiteY15" fmla="*/ 146304 h 578637"/>
                <a:gd name="connsiteX16" fmla="*/ 649847 w 942455"/>
                <a:gd name="connsiteY16" fmla="*/ 91440 h 578637"/>
                <a:gd name="connsiteX17" fmla="*/ 704711 w 942455"/>
                <a:gd name="connsiteY17" fmla="*/ 91440 h 578637"/>
                <a:gd name="connsiteX18" fmla="*/ 796151 w 942455"/>
                <a:gd name="connsiteY18" fmla="*/ 82296 h 578637"/>
                <a:gd name="connsiteX19" fmla="*/ 924167 w 942455"/>
                <a:gd name="connsiteY19" fmla="*/ 27432 h 578637"/>
                <a:gd name="connsiteX20" fmla="*/ 905879 w 942455"/>
                <a:gd name="connsiteY20" fmla="*/ 0 h 578637"/>
                <a:gd name="connsiteX21" fmla="*/ 869303 w 942455"/>
                <a:gd name="connsiteY21" fmla="*/ 27432 h 578637"/>
                <a:gd name="connsiteX22" fmla="*/ 832727 w 942455"/>
                <a:gd name="connsiteY22" fmla="*/ 36576 h 578637"/>
                <a:gd name="connsiteX23" fmla="*/ 759575 w 942455"/>
                <a:gd name="connsiteY23" fmla="*/ 64008 h 578637"/>
                <a:gd name="connsiteX24" fmla="*/ 704711 w 942455"/>
                <a:gd name="connsiteY24" fmla="*/ 64008 h 578637"/>
                <a:gd name="connsiteX25" fmla="*/ 594983 w 942455"/>
                <a:gd name="connsiteY25" fmla="*/ 64008 h 578637"/>
                <a:gd name="connsiteX26" fmla="*/ 540119 w 942455"/>
                <a:gd name="connsiteY26" fmla="*/ 100584 h 578637"/>
                <a:gd name="connsiteX27" fmla="*/ 503543 w 942455"/>
                <a:gd name="connsiteY27" fmla="*/ 146304 h 578637"/>
                <a:gd name="connsiteX28" fmla="*/ 457823 w 942455"/>
                <a:gd name="connsiteY28" fmla="*/ 182880 h 578637"/>
                <a:gd name="connsiteX29" fmla="*/ 412103 w 942455"/>
                <a:gd name="connsiteY29" fmla="*/ 256032 h 578637"/>
                <a:gd name="connsiteX30" fmla="*/ 338951 w 942455"/>
                <a:gd name="connsiteY30" fmla="*/ 301752 h 578637"/>
                <a:gd name="connsiteX31" fmla="*/ 238367 w 942455"/>
                <a:gd name="connsiteY31" fmla="*/ 347472 h 578637"/>
                <a:gd name="connsiteX32" fmla="*/ 201791 w 942455"/>
                <a:gd name="connsiteY32" fmla="*/ 374904 h 578637"/>
                <a:gd name="connsiteX33" fmla="*/ 156071 w 942455"/>
                <a:gd name="connsiteY33" fmla="*/ 402336 h 578637"/>
                <a:gd name="connsiteX34" fmla="*/ 137783 w 942455"/>
                <a:gd name="connsiteY34" fmla="*/ 402336 h 578637"/>
                <a:gd name="connsiteX35" fmla="*/ 156071 w 942455"/>
                <a:gd name="connsiteY35" fmla="*/ 365760 h 578637"/>
                <a:gd name="connsiteX36" fmla="*/ 210935 w 942455"/>
                <a:gd name="connsiteY36" fmla="*/ 301752 h 578637"/>
                <a:gd name="connsiteX37" fmla="*/ 302375 w 942455"/>
                <a:gd name="connsiteY37" fmla="*/ 219456 h 578637"/>
                <a:gd name="connsiteX38" fmla="*/ 348095 w 942455"/>
                <a:gd name="connsiteY38" fmla="*/ 146304 h 578637"/>
                <a:gd name="connsiteX39" fmla="*/ 348095 w 942455"/>
                <a:gd name="connsiteY39" fmla="*/ 64008 h 578637"/>
                <a:gd name="connsiteX40" fmla="*/ 338951 w 942455"/>
                <a:gd name="connsiteY40" fmla="*/ 54864 h 578637"/>
                <a:gd name="connsiteX41" fmla="*/ 329807 w 942455"/>
                <a:gd name="connsiteY41" fmla="*/ 128016 h 578637"/>
                <a:gd name="connsiteX42" fmla="*/ 302375 w 942455"/>
                <a:gd name="connsiteY42" fmla="*/ 173736 h 578637"/>
                <a:gd name="connsiteX43" fmla="*/ 229223 w 942455"/>
                <a:gd name="connsiteY43" fmla="*/ 237744 h 578637"/>
                <a:gd name="connsiteX44" fmla="*/ 201791 w 942455"/>
                <a:gd name="connsiteY44" fmla="*/ 256032 h 578637"/>
                <a:gd name="connsiteX45" fmla="*/ 128639 w 942455"/>
                <a:gd name="connsiteY45" fmla="*/ 347472 h 578637"/>
                <a:gd name="connsiteX46" fmla="*/ 119495 w 942455"/>
                <a:gd name="connsiteY46" fmla="*/ 374904 h 578637"/>
                <a:gd name="connsiteX47" fmla="*/ 110351 w 942455"/>
                <a:gd name="connsiteY47" fmla="*/ 411480 h 578637"/>
                <a:gd name="connsiteX48" fmla="*/ 128639 w 942455"/>
                <a:gd name="connsiteY48" fmla="*/ 429768 h 578637"/>
                <a:gd name="connsiteX49" fmla="*/ 82919 w 942455"/>
                <a:gd name="connsiteY49" fmla="*/ 457200 h 578637"/>
                <a:gd name="connsiteX50" fmla="*/ 118640 w 942455"/>
                <a:gd name="connsiteY50" fmla="*/ 430387 h 578637"/>
                <a:gd name="connsiteX51" fmla="*/ 118638 w 942455"/>
                <a:gd name="connsiteY51" fmla="*/ 430387 h 578637"/>
                <a:gd name="connsiteX52" fmla="*/ 118638 w 942455"/>
                <a:gd name="connsiteY52" fmla="*/ 430387 h 578637"/>
                <a:gd name="connsiteX53" fmla="*/ 118638 w 942455"/>
                <a:gd name="connsiteY53" fmla="*/ 430387 h 578637"/>
                <a:gd name="connsiteX54" fmla="*/ 83317 w 942455"/>
                <a:gd name="connsiteY54" fmla="*/ 578637 h 578637"/>
                <a:gd name="connsiteX55" fmla="*/ 83317 w 942455"/>
                <a:gd name="connsiteY55" fmla="*/ 578637 h 578637"/>
                <a:gd name="connsiteX0" fmla="*/ 118639 w 942455"/>
                <a:gd name="connsiteY0" fmla="*/ 430387 h 578637"/>
                <a:gd name="connsiteX1" fmla="*/ 0 w 942455"/>
                <a:gd name="connsiteY1" fmla="*/ 496784 h 578637"/>
                <a:gd name="connsiteX2" fmla="*/ 0 w 942455"/>
                <a:gd name="connsiteY2" fmla="*/ 496784 h 578637"/>
                <a:gd name="connsiteX3" fmla="*/ 37199 w 942455"/>
                <a:gd name="connsiteY3" fmla="*/ 493776 h 578637"/>
                <a:gd name="connsiteX4" fmla="*/ 137783 w 942455"/>
                <a:gd name="connsiteY4" fmla="*/ 466344 h 578637"/>
                <a:gd name="connsiteX5" fmla="*/ 238367 w 942455"/>
                <a:gd name="connsiteY5" fmla="*/ 384048 h 578637"/>
                <a:gd name="connsiteX6" fmla="*/ 430391 w 942455"/>
                <a:gd name="connsiteY6" fmla="*/ 301752 h 578637"/>
                <a:gd name="connsiteX7" fmla="*/ 512687 w 942455"/>
                <a:gd name="connsiteY7" fmla="*/ 192024 h 578637"/>
                <a:gd name="connsiteX8" fmla="*/ 658991 w 942455"/>
                <a:gd name="connsiteY8" fmla="*/ 155448 h 578637"/>
                <a:gd name="connsiteX9" fmla="*/ 704711 w 942455"/>
                <a:gd name="connsiteY9" fmla="*/ 155448 h 578637"/>
                <a:gd name="connsiteX10" fmla="*/ 741287 w 942455"/>
                <a:gd name="connsiteY10" fmla="*/ 137160 h 578637"/>
                <a:gd name="connsiteX11" fmla="*/ 695567 w 942455"/>
                <a:gd name="connsiteY11" fmla="*/ 137160 h 578637"/>
                <a:gd name="connsiteX12" fmla="*/ 604127 w 942455"/>
                <a:gd name="connsiteY12" fmla="*/ 137160 h 578637"/>
                <a:gd name="connsiteX13" fmla="*/ 549263 w 942455"/>
                <a:gd name="connsiteY13" fmla="*/ 146304 h 578637"/>
                <a:gd name="connsiteX14" fmla="*/ 540119 w 942455"/>
                <a:gd name="connsiteY14" fmla="*/ 155448 h 578637"/>
                <a:gd name="connsiteX15" fmla="*/ 521831 w 942455"/>
                <a:gd name="connsiteY15" fmla="*/ 146304 h 578637"/>
                <a:gd name="connsiteX16" fmla="*/ 649847 w 942455"/>
                <a:gd name="connsiteY16" fmla="*/ 91440 h 578637"/>
                <a:gd name="connsiteX17" fmla="*/ 704711 w 942455"/>
                <a:gd name="connsiteY17" fmla="*/ 91440 h 578637"/>
                <a:gd name="connsiteX18" fmla="*/ 796151 w 942455"/>
                <a:gd name="connsiteY18" fmla="*/ 82296 h 578637"/>
                <a:gd name="connsiteX19" fmla="*/ 924167 w 942455"/>
                <a:gd name="connsiteY19" fmla="*/ 27432 h 578637"/>
                <a:gd name="connsiteX20" fmla="*/ 905879 w 942455"/>
                <a:gd name="connsiteY20" fmla="*/ 0 h 578637"/>
                <a:gd name="connsiteX21" fmla="*/ 869303 w 942455"/>
                <a:gd name="connsiteY21" fmla="*/ 27432 h 578637"/>
                <a:gd name="connsiteX22" fmla="*/ 832727 w 942455"/>
                <a:gd name="connsiteY22" fmla="*/ 36576 h 578637"/>
                <a:gd name="connsiteX23" fmla="*/ 759575 w 942455"/>
                <a:gd name="connsiteY23" fmla="*/ 64008 h 578637"/>
                <a:gd name="connsiteX24" fmla="*/ 704711 w 942455"/>
                <a:gd name="connsiteY24" fmla="*/ 64008 h 578637"/>
                <a:gd name="connsiteX25" fmla="*/ 594983 w 942455"/>
                <a:gd name="connsiteY25" fmla="*/ 64008 h 578637"/>
                <a:gd name="connsiteX26" fmla="*/ 540119 w 942455"/>
                <a:gd name="connsiteY26" fmla="*/ 100584 h 578637"/>
                <a:gd name="connsiteX27" fmla="*/ 503543 w 942455"/>
                <a:gd name="connsiteY27" fmla="*/ 146304 h 578637"/>
                <a:gd name="connsiteX28" fmla="*/ 457823 w 942455"/>
                <a:gd name="connsiteY28" fmla="*/ 182880 h 578637"/>
                <a:gd name="connsiteX29" fmla="*/ 412103 w 942455"/>
                <a:gd name="connsiteY29" fmla="*/ 256032 h 578637"/>
                <a:gd name="connsiteX30" fmla="*/ 338951 w 942455"/>
                <a:gd name="connsiteY30" fmla="*/ 301752 h 578637"/>
                <a:gd name="connsiteX31" fmla="*/ 238367 w 942455"/>
                <a:gd name="connsiteY31" fmla="*/ 347472 h 578637"/>
                <a:gd name="connsiteX32" fmla="*/ 201791 w 942455"/>
                <a:gd name="connsiteY32" fmla="*/ 374904 h 578637"/>
                <a:gd name="connsiteX33" fmla="*/ 156071 w 942455"/>
                <a:gd name="connsiteY33" fmla="*/ 402336 h 578637"/>
                <a:gd name="connsiteX34" fmla="*/ 137783 w 942455"/>
                <a:gd name="connsiteY34" fmla="*/ 402336 h 578637"/>
                <a:gd name="connsiteX35" fmla="*/ 156071 w 942455"/>
                <a:gd name="connsiteY35" fmla="*/ 365760 h 578637"/>
                <a:gd name="connsiteX36" fmla="*/ 210935 w 942455"/>
                <a:gd name="connsiteY36" fmla="*/ 301752 h 578637"/>
                <a:gd name="connsiteX37" fmla="*/ 302375 w 942455"/>
                <a:gd name="connsiteY37" fmla="*/ 219456 h 578637"/>
                <a:gd name="connsiteX38" fmla="*/ 348095 w 942455"/>
                <a:gd name="connsiteY38" fmla="*/ 146304 h 578637"/>
                <a:gd name="connsiteX39" fmla="*/ 348095 w 942455"/>
                <a:gd name="connsiteY39" fmla="*/ 64008 h 578637"/>
                <a:gd name="connsiteX40" fmla="*/ 338951 w 942455"/>
                <a:gd name="connsiteY40" fmla="*/ 54864 h 578637"/>
                <a:gd name="connsiteX41" fmla="*/ 329807 w 942455"/>
                <a:gd name="connsiteY41" fmla="*/ 128016 h 578637"/>
                <a:gd name="connsiteX42" fmla="*/ 302375 w 942455"/>
                <a:gd name="connsiteY42" fmla="*/ 173736 h 578637"/>
                <a:gd name="connsiteX43" fmla="*/ 229223 w 942455"/>
                <a:gd name="connsiteY43" fmla="*/ 237744 h 578637"/>
                <a:gd name="connsiteX44" fmla="*/ 201791 w 942455"/>
                <a:gd name="connsiteY44" fmla="*/ 256032 h 578637"/>
                <a:gd name="connsiteX45" fmla="*/ 128639 w 942455"/>
                <a:gd name="connsiteY45" fmla="*/ 347472 h 578637"/>
                <a:gd name="connsiteX46" fmla="*/ 119495 w 942455"/>
                <a:gd name="connsiteY46" fmla="*/ 374904 h 578637"/>
                <a:gd name="connsiteX47" fmla="*/ 110351 w 942455"/>
                <a:gd name="connsiteY47" fmla="*/ 411480 h 578637"/>
                <a:gd name="connsiteX48" fmla="*/ 128639 w 942455"/>
                <a:gd name="connsiteY48" fmla="*/ 429768 h 578637"/>
                <a:gd name="connsiteX49" fmla="*/ 82919 w 942455"/>
                <a:gd name="connsiteY49" fmla="*/ 457200 h 578637"/>
                <a:gd name="connsiteX50" fmla="*/ 118640 w 942455"/>
                <a:gd name="connsiteY50" fmla="*/ 430387 h 578637"/>
                <a:gd name="connsiteX51" fmla="*/ 118638 w 942455"/>
                <a:gd name="connsiteY51" fmla="*/ 430387 h 578637"/>
                <a:gd name="connsiteX52" fmla="*/ 118638 w 942455"/>
                <a:gd name="connsiteY52" fmla="*/ 430387 h 578637"/>
                <a:gd name="connsiteX53" fmla="*/ 118638 w 942455"/>
                <a:gd name="connsiteY53" fmla="*/ 430387 h 578637"/>
                <a:gd name="connsiteX54" fmla="*/ 83317 w 942455"/>
                <a:gd name="connsiteY54" fmla="*/ 578637 h 578637"/>
                <a:gd name="connsiteX55" fmla="*/ 118639 w 942455"/>
                <a:gd name="connsiteY55" fmla="*/ 430387 h 578637"/>
                <a:gd name="connsiteX0" fmla="*/ 118639 w 942455"/>
                <a:gd name="connsiteY0" fmla="*/ 430387 h 578637"/>
                <a:gd name="connsiteX1" fmla="*/ 0 w 942455"/>
                <a:gd name="connsiteY1" fmla="*/ 496784 h 578637"/>
                <a:gd name="connsiteX2" fmla="*/ 0 w 942455"/>
                <a:gd name="connsiteY2" fmla="*/ 496784 h 578637"/>
                <a:gd name="connsiteX3" fmla="*/ 118639 w 942455"/>
                <a:gd name="connsiteY3" fmla="*/ 430387 h 578637"/>
                <a:gd name="connsiteX4" fmla="*/ 137783 w 942455"/>
                <a:gd name="connsiteY4" fmla="*/ 466344 h 578637"/>
                <a:gd name="connsiteX5" fmla="*/ 238367 w 942455"/>
                <a:gd name="connsiteY5" fmla="*/ 384048 h 578637"/>
                <a:gd name="connsiteX6" fmla="*/ 430391 w 942455"/>
                <a:gd name="connsiteY6" fmla="*/ 301752 h 578637"/>
                <a:gd name="connsiteX7" fmla="*/ 512687 w 942455"/>
                <a:gd name="connsiteY7" fmla="*/ 192024 h 578637"/>
                <a:gd name="connsiteX8" fmla="*/ 658991 w 942455"/>
                <a:gd name="connsiteY8" fmla="*/ 155448 h 578637"/>
                <a:gd name="connsiteX9" fmla="*/ 704711 w 942455"/>
                <a:gd name="connsiteY9" fmla="*/ 155448 h 578637"/>
                <a:gd name="connsiteX10" fmla="*/ 741287 w 942455"/>
                <a:gd name="connsiteY10" fmla="*/ 137160 h 578637"/>
                <a:gd name="connsiteX11" fmla="*/ 695567 w 942455"/>
                <a:gd name="connsiteY11" fmla="*/ 137160 h 578637"/>
                <a:gd name="connsiteX12" fmla="*/ 604127 w 942455"/>
                <a:gd name="connsiteY12" fmla="*/ 137160 h 578637"/>
                <a:gd name="connsiteX13" fmla="*/ 549263 w 942455"/>
                <a:gd name="connsiteY13" fmla="*/ 146304 h 578637"/>
                <a:gd name="connsiteX14" fmla="*/ 540119 w 942455"/>
                <a:gd name="connsiteY14" fmla="*/ 155448 h 578637"/>
                <a:gd name="connsiteX15" fmla="*/ 521831 w 942455"/>
                <a:gd name="connsiteY15" fmla="*/ 146304 h 578637"/>
                <a:gd name="connsiteX16" fmla="*/ 649847 w 942455"/>
                <a:gd name="connsiteY16" fmla="*/ 91440 h 578637"/>
                <a:gd name="connsiteX17" fmla="*/ 704711 w 942455"/>
                <a:gd name="connsiteY17" fmla="*/ 91440 h 578637"/>
                <a:gd name="connsiteX18" fmla="*/ 796151 w 942455"/>
                <a:gd name="connsiteY18" fmla="*/ 82296 h 578637"/>
                <a:gd name="connsiteX19" fmla="*/ 924167 w 942455"/>
                <a:gd name="connsiteY19" fmla="*/ 27432 h 578637"/>
                <a:gd name="connsiteX20" fmla="*/ 905879 w 942455"/>
                <a:gd name="connsiteY20" fmla="*/ 0 h 578637"/>
                <a:gd name="connsiteX21" fmla="*/ 869303 w 942455"/>
                <a:gd name="connsiteY21" fmla="*/ 27432 h 578637"/>
                <a:gd name="connsiteX22" fmla="*/ 832727 w 942455"/>
                <a:gd name="connsiteY22" fmla="*/ 36576 h 578637"/>
                <a:gd name="connsiteX23" fmla="*/ 759575 w 942455"/>
                <a:gd name="connsiteY23" fmla="*/ 64008 h 578637"/>
                <a:gd name="connsiteX24" fmla="*/ 704711 w 942455"/>
                <a:gd name="connsiteY24" fmla="*/ 64008 h 578637"/>
                <a:gd name="connsiteX25" fmla="*/ 594983 w 942455"/>
                <a:gd name="connsiteY25" fmla="*/ 64008 h 578637"/>
                <a:gd name="connsiteX26" fmla="*/ 540119 w 942455"/>
                <a:gd name="connsiteY26" fmla="*/ 100584 h 578637"/>
                <a:gd name="connsiteX27" fmla="*/ 503543 w 942455"/>
                <a:gd name="connsiteY27" fmla="*/ 146304 h 578637"/>
                <a:gd name="connsiteX28" fmla="*/ 457823 w 942455"/>
                <a:gd name="connsiteY28" fmla="*/ 182880 h 578637"/>
                <a:gd name="connsiteX29" fmla="*/ 412103 w 942455"/>
                <a:gd name="connsiteY29" fmla="*/ 256032 h 578637"/>
                <a:gd name="connsiteX30" fmla="*/ 338951 w 942455"/>
                <a:gd name="connsiteY30" fmla="*/ 301752 h 578637"/>
                <a:gd name="connsiteX31" fmla="*/ 238367 w 942455"/>
                <a:gd name="connsiteY31" fmla="*/ 347472 h 578637"/>
                <a:gd name="connsiteX32" fmla="*/ 201791 w 942455"/>
                <a:gd name="connsiteY32" fmla="*/ 374904 h 578637"/>
                <a:gd name="connsiteX33" fmla="*/ 156071 w 942455"/>
                <a:gd name="connsiteY33" fmla="*/ 402336 h 578637"/>
                <a:gd name="connsiteX34" fmla="*/ 137783 w 942455"/>
                <a:gd name="connsiteY34" fmla="*/ 402336 h 578637"/>
                <a:gd name="connsiteX35" fmla="*/ 156071 w 942455"/>
                <a:gd name="connsiteY35" fmla="*/ 365760 h 578637"/>
                <a:gd name="connsiteX36" fmla="*/ 210935 w 942455"/>
                <a:gd name="connsiteY36" fmla="*/ 301752 h 578637"/>
                <a:gd name="connsiteX37" fmla="*/ 302375 w 942455"/>
                <a:gd name="connsiteY37" fmla="*/ 219456 h 578637"/>
                <a:gd name="connsiteX38" fmla="*/ 348095 w 942455"/>
                <a:gd name="connsiteY38" fmla="*/ 146304 h 578637"/>
                <a:gd name="connsiteX39" fmla="*/ 348095 w 942455"/>
                <a:gd name="connsiteY39" fmla="*/ 64008 h 578637"/>
                <a:gd name="connsiteX40" fmla="*/ 338951 w 942455"/>
                <a:gd name="connsiteY40" fmla="*/ 54864 h 578637"/>
                <a:gd name="connsiteX41" fmla="*/ 329807 w 942455"/>
                <a:gd name="connsiteY41" fmla="*/ 128016 h 578637"/>
                <a:gd name="connsiteX42" fmla="*/ 302375 w 942455"/>
                <a:gd name="connsiteY42" fmla="*/ 173736 h 578637"/>
                <a:gd name="connsiteX43" fmla="*/ 229223 w 942455"/>
                <a:gd name="connsiteY43" fmla="*/ 237744 h 578637"/>
                <a:gd name="connsiteX44" fmla="*/ 201791 w 942455"/>
                <a:gd name="connsiteY44" fmla="*/ 256032 h 578637"/>
                <a:gd name="connsiteX45" fmla="*/ 128639 w 942455"/>
                <a:gd name="connsiteY45" fmla="*/ 347472 h 578637"/>
                <a:gd name="connsiteX46" fmla="*/ 119495 w 942455"/>
                <a:gd name="connsiteY46" fmla="*/ 374904 h 578637"/>
                <a:gd name="connsiteX47" fmla="*/ 110351 w 942455"/>
                <a:gd name="connsiteY47" fmla="*/ 411480 h 578637"/>
                <a:gd name="connsiteX48" fmla="*/ 128639 w 942455"/>
                <a:gd name="connsiteY48" fmla="*/ 429768 h 578637"/>
                <a:gd name="connsiteX49" fmla="*/ 82919 w 942455"/>
                <a:gd name="connsiteY49" fmla="*/ 457200 h 578637"/>
                <a:gd name="connsiteX50" fmla="*/ 118640 w 942455"/>
                <a:gd name="connsiteY50" fmla="*/ 430387 h 578637"/>
                <a:gd name="connsiteX51" fmla="*/ 118638 w 942455"/>
                <a:gd name="connsiteY51" fmla="*/ 430387 h 578637"/>
                <a:gd name="connsiteX52" fmla="*/ 118638 w 942455"/>
                <a:gd name="connsiteY52" fmla="*/ 430387 h 578637"/>
                <a:gd name="connsiteX53" fmla="*/ 118638 w 942455"/>
                <a:gd name="connsiteY53" fmla="*/ 430387 h 578637"/>
                <a:gd name="connsiteX54" fmla="*/ 83317 w 942455"/>
                <a:gd name="connsiteY54" fmla="*/ 578637 h 578637"/>
                <a:gd name="connsiteX55" fmla="*/ 118639 w 942455"/>
                <a:gd name="connsiteY55" fmla="*/ 430387 h 578637"/>
                <a:gd name="connsiteX0" fmla="*/ 118639 w 942455"/>
                <a:gd name="connsiteY0" fmla="*/ 430387 h 578637"/>
                <a:gd name="connsiteX1" fmla="*/ 0 w 942455"/>
                <a:gd name="connsiteY1" fmla="*/ 496784 h 578637"/>
                <a:gd name="connsiteX2" fmla="*/ 118639 w 942455"/>
                <a:gd name="connsiteY2" fmla="*/ 430387 h 578637"/>
                <a:gd name="connsiteX3" fmla="*/ 118639 w 942455"/>
                <a:gd name="connsiteY3" fmla="*/ 430387 h 578637"/>
                <a:gd name="connsiteX4" fmla="*/ 137783 w 942455"/>
                <a:gd name="connsiteY4" fmla="*/ 466344 h 578637"/>
                <a:gd name="connsiteX5" fmla="*/ 238367 w 942455"/>
                <a:gd name="connsiteY5" fmla="*/ 384048 h 578637"/>
                <a:gd name="connsiteX6" fmla="*/ 430391 w 942455"/>
                <a:gd name="connsiteY6" fmla="*/ 301752 h 578637"/>
                <a:gd name="connsiteX7" fmla="*/ 512687 w 942455"/>
                <a:gd name="connsiteY7" fmla="*/ 192024 h 578637"/>
                <a:gd name="connsiteX8" fmla="*/ 658991 w 942455"/>
                <a:gd name="connsiteY8" fmla="*/ 155448 h 578637"/>
                <a:gd name="connsiteX9" fmla="*/ 704711 w 942455"/>
                <a:gd name="connsiteY9" fmla="*/ 155448 h 578637"/>
                <a:gd name="connsiteX10" fmla="*/ 741287 w 942455"/>
                <a:gd name="connsiteY10" fmla="*/ 137160 h 578637"/>
                <a:gd name="connsiteX11" fmla="*/ 695567 w 942455"/>
                <a:gd name="connsiteY11" fmla="*/ 137160 h 578637"/>
                <a:gd name="connsiteX12" fmla="*/ 604127 w 942455"/>
                <a:gd name="connsiteY12" fmla="*/ 137160 h 578637"/>
                <a:gd name="connsiteX13" fmla="*/ 549263 w 942455"/>
                <a:gd name="connsiteY13" fmla="*/ 146304 h 578637"/>
                <a:gd name="connsiteX14" fmla="*/ 540119 w 942455"/>
                <a:gd name="connsiteY14" fmla="*/ 155448 h 578637"/>
                <a:gd name="connsiteX15" fmla="*/ 521831 w 942455"/>
                <a:gd name="connsiteY15" fmla="*/ 146304 h 578637"/>
                <a:gd name="connsiteX16" fmla="*/ 649847 w 942455"/>
                <a:gd name="connsiteY16" fmla="*/ 91440 h 578637"/>
                <a:gd name="connsiteX17" fmla="*/ 704711 w 942455"/>
                <a:gd name="connsiteY17" fmla="*/ 91440 h 578637"/>
                <a:gd name="connsiteX18" fmla="*/ 796151 w 942455"/>
                <a:gd name="connsiteY18" fmla="*/ 82296 h 578637"/>
                <a:gd name="connsiteX19" fmla="*/ 924167 w 942455"/>
                <a:gd name="connsiteY19" fmla="*/ 27432 h 578637"/>
                <a:gd name="connsiteX20" fmla="*/ 905879 w 942455"/>
                <a:gd name="connsiteY20" fmla="*/ 0 h 578637"/>
                <a:gd name="connsiteX21" fmla="*/ 869303 w 942455"/>
                <a:gd name="connsiteY21" fmla="*/ 27432 h 578637"/>
                <a:gd name="connsiteX22" fmla="*/ 832727 w 942455"/>
                <a:gd name="connsiteY22" fmla="*/ 36576 h 578637"/>
                <a:gd name="connsiteX23" fmla="*/ 759575 w 942455"/>
                <a:gd name="connsiteY23" fmla="*/ 64008 h 578637"/>
                <a:gd name="connsiteX24" fmla="*/ 704711 w 942455"/>
                <a:gd name="connsiteY24" fmla="*/ 64008 h 578637"/>
                <a:gd name="connsiteX25" fmla="*/ 594983 w 942455"/>
                <a:gd name="connsiteY25" fmla="*/ 64008 h 578637"/>
                <a:gd name="connsiteX26" fmla="*/ 540119 w 942455"/>
                <a:gd name="connsiteY26" fmla="*/ 100584 h 578637"/>
                <a:gd name="connsiteX27" fmla="*/ 503543 w 942455"/>
                <a:gd name="connsiteY27" fmla="*/ 146304 h 578637"/>
                <a:gd name="connsiteX28" fmla="*/ 457823 w 942455"/>
                <a:gd name="connsiteY28" fmla="*/ 182880 h 578637"/>
                <a:gd name="connsiteX29" fmla="*/ 412103 w 942455"/>
                <a:gd name="connsiteY29" fmla="*/ 256032 h 578637"/>
                <a:gd name="connsiteX30" fmla="*/ 338951 w 942455"/>
                <a:gd name="connsiteY30" fmla="*/ 301752 h 578637"/>
                <a:gd name="connsiteX31" fmla="*/ 238367 w 942455"/>
                <a:gd name="connsiteY31" fmla="*/ 347472 h 578637"/>
                <a:gd name="connsiteX32" fmla="*/ 201791 w 942455"/>
                <a:gd name="connsiteY32" fmla="*/ 374904 h 578637"/>
                <a:gd name="connsiteX33" fmla="*/ 156071 w 942455"/>
                <a:gd name="connsiteY33" fmla="*/ 402336 h 578637"/>
                <a:gd name="connsiteX34" fmla="*/ 137783 w 942455"/>
                <a:gd name="connsiteY34" fmla="*/ 402336 h 578637"/>
                <a:gd name="connsiteX35" fmla="*/ 156071 w 942455"/>
                <a:gd name="connsiteY35" fmla="*/ 365760 h 578637"/>
                <a:gd name="connsiteX36" fmla="*/ 210935 w 942455"/>
                <a:gd name="connsiteY36" fmla="*/ 301752 h 578637"/>
                <a:gd name="connsiteX37" fmla="*/ 302375 w 942455"/>
                <a:gd name="connsiteY37" fmla="*/ 219456 h 578637"/>
                <a:gd name="connsiteX38" fmla="*/ 348095 w 942455"/>
                <a:gd name="connsiteY38" fmla="*/ 146304 h 578637"/>
                <a:gd name="connsiteX39" fmla="*/ 348095 w 942455"/>
                <a:gd name="connsiteY39" fmla="*/ 64008 h 578637"/>
                <a:gd name="connsiteX40" fmla="*/ 338951 w 942455"/>
                <a:gd name="connsiteY40" fmla="*/ 54864 h 578637"/>
                <a:gd name="connsiteX41" fmla="*/ 329807 w 942455"/>
                <a:gd name="connsiteY41" fmla="*/ 128016 h 578637"/>
                <a:gd name="connsiteX42" fmla="*/ 302375 w 942455"/>
                <a:gd name="connsiteY42" fmla="*/ 173736 h 578637"/>
                <a:gd name="connsiteX43" fmla="*/ 229223 w 942455"/>
                <a:gd name="connsiteY43" fmla="*/ 237744 h 578637"/>
                <a:gd name="connsiteX44" fmla="*/ 201791 w 942455"/>
                <a:gd name="connsiteY44" fmla="*/ 256032 h 578637"/>
                <a:gd name="connsiteX45" fmla="*/ 128639 w 942455"/>
                <a:gd name="connsiteY45" fmla="*/ 347472 h 578637"/>
                <a:gd name="connsiteX46" fmla="*/ 119495 w 942455"/>
                <a:gd name="connsiteY46" fmla="*/ 374904 h 578637"/>
                <a:gd name="connsiteX47" fmla="*/ 110351 w 942455"/>
                <a:gd name="connsiteY47" fmla="*/ 411480 h 578637"/>
                <a:gd name="connsiteX48" fmla="*/ 128639 w 942455"/>
                <a:gd name="connsiteY48" fmla="*/ 429768 h 578637"/>
                <a:gd name="connsiteX49" fmla="*/ 82919 w 942455"/>
                <a:gd name="connsiteY49" fmla="*/ 457200 h 578637"/>
                <a:gd name="connsiteX50" fmla="*/ 118640 w 942455"/>
                <a:gd name="connsiteY50" fmla="*/ 430387 h 578637"/>
                <a:gd name="connsiteX51" fmla="*/ 118638 w 942455"/>
                <a:gd name="connsiteY51" fmla="*/ 430387 h 578637"/>
                <a:gd name="connsiteX52" fmla="*/ 118638 w 942455"/>
                <a:gd name="connsiteY52" fmla="*/ 430387 h 578637"/>
                <a:gd name="connsiteX53" fmla="*/ 118638 w 942455"/>
                <a:gd name="connsiteY53" fmla="*/ 430387 h 578637"/>
                <a:gd name="connsiteX54" fmla="*/ 83317 w 942455"/>
                <a:gd name="connsiteY54" fmla="*/ 578637 h 578637"/>
                <a:gd name="connsiteX55" fmla="*/ 118639 w 942455"/>
                <a:gd name="connsiteY55" fmla="*/ 430387 h 578637"/>
                <a:gd name="connsiteX0" fmla="*/ 118639 w 942455"/>
                <a:gd name="connsiteY0" fmla="*/ 430387 h 496784"/>
                <a:gd name="connsiteX1" fmla="*/ 0 w 942455"/>
                <a:gd name="connsiteY1" fmla="*/ 496784 h 496784"/>
                <a:gd name="connsiteX2" fmla="*/ 118639 w 942455"/>
                <a:gd name="connsiteY2" fmla="*/ 430387 h 496784"/>
                <a:gd name="connsiteX3" fmla="*/ 118639 w 942455"/>
                <a:gd name="connsiteY3" fmla="*/ 430387 h 496784"/>
                <a:gd name="connsiteX4" fmla="*/ 137783 w 942455"/>
                <a:gd name="connsiteY4" fmla="*/ 466344 h 496784"/>
                <a:gd name="connsiteX5" fmla="*/ 238367 w 942455"/>
                <a:gd name="connsiteY5" fmla="*/ 384048 h 496784"/>
                <a:gd name="connsiteX6" fmla="*/ 430391 w 942455"/>
                <a:gd name="connsiteY6" fmla="*/ 301752 h 496784"/>
                <a:gd name="connsiteX7" fmla="*/ 512687 w 942455"/>
                <a:gd name="connsiteY7" fmla="*/ 192024 h 496784"/>
                <a:gd name="connsiteX8" fmla="*/ 658991 w 942455"/>
                <a:gd name="connsiteY8" fmla="*/ 155448 h 496784"/>
                <a:gd name="connsiteX9" fmla="*/ 704711 w 942455"/>
                <a:gd name="connsiteY9" fmla="*/ 155448 h 496784"/>
                <a:gd name="connsiteX10" fmla="*/ 741287 w 942455"/>
                <a:gd name="connsiteY10" fmla="*/ 137160 h 496784"/>
                <a:gd name="connsiteX11" fmla="*/ 695567 w 942455"/>
                <a:gd name="connsiteY11" fmla="*/ 137160 h 496784"/>
                <a:gd name="connsiteX12" fmla="*/ 604127 w 942455"/>
                <a:gd name="connsiteY12" fmla="*/ 137160 h 496784"/>
                <a:gd name="connsiteX13" fmla="*/ 549263 w 942455"/>
                <a:gd name="connsiteY13" fmla="*/ 146304 h 496784"/>
                <a:gd name="connsiteX14" fmla="*/ 540119 w 942455"/>
                <a:gd name="connsiteY14" fmla="*/ 155448 h 496784"/>
                <a:gd name="connsiteX15" fmla="*/ 521831 w 942455"/>
                <a:gd name="connsiteY15" fmla="*/ 146304 h 496784"/>
                <a:gd name="connsiteX16" fmla="*/ 649847 w 942455"/>
                <a:gd name="connsiteY16" fmla="*/ 91440 h 496784"/>
                <a:gd name="connsiteX17" fmla="*/ 704711 w 942455"/>
                <a:gd name="connsiteY17" fmla="*/ 91440 h 496784"/>
                <a:gd name="connsiteX18" fmla="*/ 796151 w 942455"/>
                <a:gd name="connsiteY18" fmla="*/ 82296 h 496784"/>
                <a:gd name="connsiteX19" fmla="*/ 924167 w 942455"/>
                <a:gd name="connsiteY19" fmla="*/ 27432 h 496784"/>
                <a:gd name="connsiteX20" fmla="*/ 905879 w 942455"/>
                <a:gd name="connsiteY20" fmla="*/ 0 h 496784"/>
                <a:gd name="connsiteX21" fmla="*/ 869303 w 942455"/>
                <a:gd name="connsiteY21" fmla="*/ 27432 h 496784"/>
                <a:gd name="connsiteX22" fmla="*/ 832727 w 942455"/>
                <a:gd name="connsiteY22" fmla="*/ 36576 h 496784"/>
                <a:gd name="connsiteX23" fmla="*/ 759575 w 942455"/>
                <a:gd name="connsiteY23" fmla="*/ 64008 h 496784"/>
                <a:gd name="connsiteX24" fmla="*/ 704711 w 942455"/>
                <a:gd name="connsiteY24" fmla="*/ 64008 h 496784"/>
                <a:gd name="connsiteX25" fmla="*/ 594983 w 942455"/>
                <a:gd name="connsiteY25" fmla="*/ 64008 h 496784"/>
                <a:gd name="connsiteX26" fmla="*/ 540119 w 942455"/>
                <a:gd name="connsiteY26" fmla="*/ 100584 h 496784"/>
                <a:gd name="connsiteX27" fmla="*/ 503543 w 942455"/>
                <a:gd name="connsiteY27" fmla="*/ 146304 h 496784"/>
                <a:gd name="connsiteX28" fmla="*/ 457823 w 942455"/>
                <a:gd name="connsiteY28" fmla="*/ 182880 h 496784"/>
                <a:gd name="connsiteX29" fmla="*/ 412103 w 942455"/>
                <a:gd name="connsiteY29" fmla="*/ 256032 h 496784"/>
                <a:gd name="connsiteX30" fmla="*/ 338951 w 942455"/>
                <a:gd name="connsiteY30" fmla="*/ 301752 h 496784"/>
                <a:gd name="connsiteX31" fmla="*/ 238367 w 942455"/>
                <a:gd name="connsiteY31" fmla="*/ 347472 h 496784"/>
                <a:gd name="connsiteX32" fmla="*/ 201791 w 942455"/>
                <a:gd name="connsiteY32" fmla="*/ 374904 h 496784"/>
                <a:gd name="connsiteX33" fmla="*/ 156071 w 942455"/>
                <a:gd name="connsiteY33" fmla="*/ 402336 h 496784"/>
                <a:gd name="connsiteX34" fmla="*/ 137783 w 942455"/>
                <a:gd name="connsiteY34" fmla="*/ 402336 h 496784"/>
                <a:gd name="connsiteX35" fmla="*/ 156071 w 942455"/>
                <a:gd name="connsiteY35" fmla="*/ 365760 h 496784"/>
                <a:gd name="connsiteX36" fmla="*/ 210935 w 942455"/>
                <a:gd name="connsiteY36" fmla="*/ 301752 h 496784"/>
                <a:gd name="connsiteX37" fmla="*/ 302375 w 942455"/>
                <a:gd name="connsiteY37" fmla="*/ 219456 h 496784"/>
                <a:gd name="connsiteX38" fmla="*/ 348095 w 942455"/>
                <a:gd name="connsiteY38" fmla="*/ 146304 h 496784"/>
                <a:gd name="connsiteX39" fmla="*/ 348095 w 942455"/>
                <a:gd name="connsiteY39" fmla="*/ 64008 h 496784"/>
                <a:gd name="connsiteX40" fmla="*/ 338951 w 942455"/>
                <a:gd name="connsiteY40" fmla="*/ 54864 h 496784"/>
                <a:gd name="connsiteX41" fmla="*/ 329807 w 942455"/>
                <a:gd name="connsiteY41" fmla="*/ 128016 h 496784"/>
                <a:gd name="connsiteX42" fmla="*/ 302375 w 942455"/>
                <a:gd name="connsiteY42" fmla="*/ 173736 h 496784"/>
                <a:gd name="connsiteX43" fmla="*/ 229223 w 942455"/>
                <a:gd name="connsiteY43" fmla="*/ 237744 h 496784"/>
                <a:gd name="connsiteX44" fmla="*/ 201791 w 942455"/>
                <a:gd name="connsiteY44" fmla="*/ 256032 h 496784"/>
                <a:gd name="connsiteX45" fmla="*/ 128639 w 942455"/>
                <a:gd name="connsiteY45" fmla="*/ 347472 h 496784"/>
                <a:gd name="connsiteX46" fmla="*/ 119495 w 942455"/>
                <a:gd name="connsiteY46" fmla="*/ 374904 h 496784"/>
                <a:gd name="connsiteX47" fmla="*/ 110351 w 942455"/>
                <a:gd name="connsiteY47" fmla="*/ 411480 h 496784"/>
                <a:gd name="connsiteX48" fmla="*/ 128639 w 942455"/>
                <a:gd name="connsiteY48" fmla="*/ 429768 h 496784"/>
                <a:gd name="connsiteX49" fmla="*/ 82919 w 942455"/>
                <a:gd name="connsiteY49" fmla="*/ 457200 h 496784"/>
                <a:gd name="connsiteX50" fmla="*/ 118640 w 942455"/>
                <a:gd name="connsiteY50" fmla="*/ 430387 h 496784"/>
                <a:gd name="connsiteX51" fmla="*/ 118638 w 942455"/>
                <a:gd name="connsiteY51" fmla="*/ 430387 h 496784"/>
                <a:gd name="connsiteX52" fmla="*/ 118638 w 942455"/>
                <a:gd name="connsiteY52" fmla="*/ 430387 h 496784"/>
                <a:gd name="connsiteX53" fmla="*/ 118638 w 942455"/>
                <a:gd name="connsiteY53" fmla="*/ 430387 h 496784"/>
                <a:gd name="connsiteX54" fmla="*/ 118639 w 942455"/>
                <a:gd name="connsiteY54" fmla="*/ 430387 h 496784"/>
                <a:gd name="connsiteX55" fmla="*/ 118639 w 942455"/>
                <a:gd name="connsiteY55" fmla="*/ 430387 h 496784"/>
                <a:gd name="connsiteX0" fmla="*/ 37386 w 861202"/>
                <a:gd name="connsiteY0" fmla="*/ 430387 h 474067"/>
                <a:gd name="connsiteX1" fmla="*/ 37385 w 861202"/>
                <a:gd name="connsiteY1" fmla="*/ 430387 h 474067"/>
                <a:gd name="connsiteX2" fmla="*/ 37386 w 861202"/>
                <a:gd name="connsiteY2" fmla="*/ 430387 h 474067"/>
                <a:gd name="connsiteX3" fmla="*/ 37386 w 861202"/>
                <a:gd name="connsiteY3" fmla="*/ 430387 h 474067"/>
                <a:gd name="connsiteX4" fmla="*/ 56530 w 861202"/>
                <a:gd name="connsiteY4" fmla="*/ 466344 h 474067"/>
                <a:gd name="connsiteX5" fmla="*/ 157114 w 861202"/>
                <a:gd name="connsiteY5" fmla="*/ 384048 h 474067"/>
                <a:gd name="connsiteX6" fmla="*/ 349138 w 861202"/>
                <a:gd name="connsiteY6" fmla="*/ 301752 h 474067"/>
                <a:gd name="connsiteX7" fmla="*/ 431434 w 861202"/>
                <a:gd name="connsiteY7" fmla="*/ 192024 h 474067"/>
                <a:gd name="connsiteX8" fmla="*/ 577738 w 861202"/>
                <a:gd name="connsiteY8" fmla="*/ 155448 h 474067"/>
                <a:gd name="connsiteX9" fmla="*/ 623458 w 861202"/>
                <a:gd name="connsiteY9" fmla="*/ 155448 h 474067"/>
                <a:gd name="connsiteX10" fmla="*/ 660034 w 861202"/>
                <a:gd name="connsiteY10" fmla="*/ 137160 h 474067"/>
                <a:gd name="connsiteX11" fmla="*/ 614314 w 861202"/>
                <a:gd name="connsiteY11" fmla="*/ 137160 h 474067"/>
                <a:gd name="connsiteX12" fmla="*/ 522874 w 861202"/>
                <a:gd name="connsiteY12" fmla="*/ 137160 h 474067"/>
                <a:gd name="connsiteX13" fmla="*/ 468010 w 861202"/>
                <a:gd name="connsiteY13" fmla="*/ 146304 h 474067"/>
                <a:gd name="connsiteX14" fmla="*/ 458866 w 861202"/>
                <a:gd name="connsiteY14" fmla="*/ 155448 h 474067"/>
                <a:gd name="connsiteX15" fmla="*/ 440578 w 861202"/>
                <a:gd name="connsiteY15" fmla="*/ 146304 h 474067"/>
                <a:gd name="connsiteX16" fmla="*/ 568594 w 861202"/>
                <a:gd name="connsiteY16" fmla="*/ 91440 h 474067"/>
                <a:gd name="connsiteX17" fmla="*/ 623458 w 861202"/>
                <a:gd name="connsiteY17" fmla="*/ 91440 h 474067"/>
                <a:gd name="connsiteX18" fmla="*/ 714898 w 861202"/>
                <a:gd name="connsiteY18" fmla="*/ 82296 h 474067"/>
                <a:gd name="connsiteX19" fmla="*/ 842914 w 861202"/>
                <a:gd name="connsiteY19" fmla="*/ 27432 h 474067"/>
                <a:gd name="connsiteX20" fmla="*/ 824626 w 861202"/>
                <a:gd name="connsiteY20" fmla="*/ 0 h 474067"/>
                <a:gd name="connsiteX21" fmla="*/ 788050 w 861202"/>
                <a:gd name="connsiteY21" fmla="*/ 27432 h 474067"/>
                <a:gd name="connsiteX22" fmla="*/ 751474 w 861202"/>
                <a:gd name="connsiteY22" fmla="*/ 36576 h 474067"/>
                <a:gd name="connsiteX23" fmla="*/ 678322 w 861202"/>
                <a:gd name="connsiteY23" fmla="*/ 64008 h 474067"/>
                <a:gd name="connsiteX24" fmla="*/ 623458 w 861202"/>
                <a:gd name="connsiteY24" fmla="*/ 64008 h 474067"/>
                <a:gd name="connsiteX25" fmla="*/ 513730 w 861202"/>
                <a:gd name="connsiteY25" fmla="*/ 64008 h 474067"/>
                <a:gd name="connsiteX26" fmla="*/ 458866 w 861202"/>
                <a:gd name="connsiteY26" fmla="*/ 100584 h 474067"/>
                <a:gd name="connsiteX27" fmla="*/ 422290 w 861202"/>
                <a:gd name="connsiteY27" fmla="*/ 146304 h 474067"/>
                <a:gd name="connsiteX28" fmla="*/ 376570 w 861202"/>
                <a:gd name="connsiteY28" fmla="*/ 182880 h 474067"/>
                <a:gd name="connsiteX29" fmla="*/ 330850 w 861202"/>
                <a:gd name="connsiteY29" fmla="*/ 256032 h 474067"/>
                <a:gd name="connsiteX30" fmla="*/ 257698 w 861202"/>
                <a:gd name="connsiteY30" fmla="*/ 301752 h 474067"/>
                <a:gd name="connsiteX31" fmla="*/ 157114 w 861202"/>
                <a:gd name="connsiteY31" fmla="*/ 347472 h 474067"/>
                <a:gd name="connsiteX32" fmla="*/ 120538 w 861202"/>
                <a:gd name="connsiteY32" fmla="*/ 374904 h 474067"/>
                <a:gd name="connsiteX33" fmla="*/ 74818 w 861202"/>
                <a:gd name="connsiteY33" fmla="*/ 402336 h 474067"/>
                <a:gd name="connsiteX34" fmla="*/ 56530 w 861202"/>
                <a:gd name="connsiteY34" fmla="*/ 402336 h 474067"/>
                <a:gd name="connsiteX35" fmla="*/ 74818 w 861202"/>
                <a:gd name="connsiteY35" fmla="*/ 365760 h 474067"/>
                <a:gd name="connsiteX36" fmla="*/ 129682 w 861202"/>
                <a:gd name="connsiteY36" fmla="*/ 301752 h 474067"/>
                <a:gd name="connsiteX37" fmla="*/ 221122 w 861202"/>
                <a:gd name="connsiteY37" fmla="*/ 219456 h 474067"/>
                <a:gd name="connsiteX38" fmla="*/ 266842 w 861202"/>
                <a:gd name="connsiteY38" fmla="*/ 146304 h 474067"/>
                <a:gd name="connsiteX39" fmla="*/ 266842 w 861202"/>
                <a:gd name="connsiteY39" fmla="*/ 64008 h 474067"/>
                <a:gd name="connsiteX40" fmla="*/ 257698 w 861202"/>
                <a:gd name="connsiteY40" fmla="*/ 54864 h 474067"/>
                <a:gd name="connsiteX41" fmla="*/ 248554 w 861202"/>
                <a:gd name="connsiteY41" fmla="*/ 128016 h 474067"/>
                <a:gd name="connsiteX42" fmla="*/ 221122 w 861202"/>
                <a:gd name="connsiteY42" fmla="*/ 173736 h 474067"/>
                <a:gd name="connsiteX43" fmla="*/ 147970 w 861202"/>
                <a:gd name="connsiteY43" fmla="*/ 237744 h 474067"/>
                <a:gd name="connsiteX44" fmla="*/ 120538 w 861202"/>
                <a:gd name="connsiteY44" fmla="*/ 256032 h 474067"/>
                <a:gd name="connsiteX45" fmla="*/ 47386 w 861202"/>
                <a:gd name="connsiteY45" fmla="*/ 347472 h 474067"/>
                <a:gd name="connsiteX46" fmla="*/ 38242 w 861202"/>
                <a:gd name="connsiteY46" fmla="*/ 374904 h 474067"/>
                <a:gd name="connsiteX47" fmla="*/ 29098 w 861202"/>
                <a:gd name="connsiteY47" fmla="*/ 411480 h 474067"/>
                <a:gd name="connsiteX48" fmla="*/ 47386 w 861202"/>
                <a:gd name="connsiteY48" fmla="*/ 429768 h 474067"/>
                <a:gd name="connsiteX49" fmla="*/ 1666 w 861202"/>
                <a:gd name="connsiteY49" fmla="*/ 457200 h 474067"/>
                <a:gd name="connsiteX50" fmla="*/ 37387 w 861202"/>
                <a:gd name="connsiteY50" fmla="*/ 430387 h 474067"/>
                <a:gd name="connsiteX51" fmla="*/ 37385 w 861202"/>
                <a:gd name="connsiteY51" fmla="*/ 430387 h 474067"/>
                <a:gd name="connsiteX52" fmla="*/ 37385 w 861202"/>
                <a:gd name="connsiteY52" fmla="*/ 430387 h 474067"/>
                <a:gd name="connsiteX53" fmla="*/ 37385 w 861202"/>
                <a:gd name="connsiteY53" fmla="*/ 430387 h 474067"/>
                <a:gd name="connsiteX54" fmla="*/ 37386 w 861202"/>
                <a:gd name="connsiteY54" fmla="*/ 430387 h 474067"/>
                <a:gd name="connsiteX55" fmla="*/ 37386 w 861202"/>
                <a:gd name="connsiteY55" fmla="*/ 430387 h 474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861202" h="474067">
                  <a:moveTo>
                    <a:pt x="37386" y="430387"/>
                  </a:moveTo>
                  <a:lnTo>
                    <a:pt x="37385" y="430387"/>
                  </a:lnTo>
                  <a:lnTo>
                    <a:pt x="37386" y="430387"/>
                  </a:lnTo>
                  <a:lnTo>
                    <a:pt x="37386" y="430387"/>
                  </a:lnTo>
                  <a:cubicBezTo>
                    <a:pt x="40577" y="436380"/>
                    <a:pt x="36575" y="474067"/>
                    <a:pt x="56530" y="466344"/>
                  </a:cubicBezTo>
                  <a:cubicBezTo>
                    <a:pt x="76485" y="458621"/>
                    <a:pt x="108346" y="411480"/>
                    <a:pt x="157114" y="384048"/>
                  </a:cubicBezTo>
                  <a:cubicBezTo>
                    <a:pt x="205882" y="356616"/>
                    <a:pt x="303418" y="333756"/>
                    <a:pt x="349138" y="301752"/>
                  </a:cubicBezTo>
                  <a:cubicBezTo>
                    <a:pt x="394858" y="269748"/>
                    <a:pt x="393334" y="216408"/>
                    <a:pt x="431434" y="192024"/>
                  </a:cubicBezTo>
                  <a:cubicBezTo>
                    <a:pt x="469534" y="167640"/>
                    <a:pt x="545734" y="161544"/>
                    <a:pt x="577738" y="155448"/>
                  </a:cubicBezTo>
                  <a:cubicBezTo>
                    <a:pt x="609742" y="149352"/>
                    <a:pt x="609742" y="158496"/>
                    <a:pt x="623458" y="155448"/>
                  </a:cubicBezTo>
                  <a:cubicBezTo>
                    <a:pt x="637174" y="152400"/>
                    <a:pt x="661558" y="140208"/>
                    <a:pt x="660034" y="137160"/>
                  </a:cubicBezTo>
                  <a:cubicBezTo>
                    <a:pt x="658510" y="134112"/>
                    <a:pt x="614314" y="137160"/>
                    <a:pt x="614314" y="137160"/>
                  </a:cubicBezTo>
                  <a:cubicBezTo>
                    <a:pt x="591454" y="137160"/>
                    <a:pt x="547258" y="135636"/>
                    <a:pt x="522874" y="137160"/>
                  </a:cubicBezTo>
                  <a:cubicBezTo>
                    <a:pt x="498490" y="138684"/>
                    <a:pt x="478678" y="143256"/>
                    <a:pt x="468010" y="146304"/>
                  </a:cubicBezTo>
                  <a:cubicBezTo>
                    <a:pt x="457342" y="149352"/>
                    <a:pt x="463438" y="155448"/>
                    <a:pt x="458866" y="155448"/>
                  </a:cubicBezTo>
                  <a:cubicBezTo>
                    <a:pt x="454294" y="155448"/>
                    <a:pt x="422290" y="156972"/>
                    <a:pt x="440578" y="146304"/>
                  </a:cubicBezTo>
                  <a:cubicBezTo>
                    <a:pt x="458866" y="135636"/>
                    <a:pt x="538114" y="100584"/>
                    <a:pt x="568594" y="91440"/>
                  </a:cubicBezTo>
                  <a:cubicBezTo>
                    <a:pt x="599074" y="82296"/>
                    <a:pt x="599074" y="92964"/>
                    <a:pt x="623458" y="91440"/>
                  </a:cubicBezTo>
                  <a:cubicBezTo>
                    <a:pt x="647842" y="89916"/>
                    <a:pt x="678322" y="92964"/>
                    <a:pt x="714898" y="82296"/>
                  </a:cubicBezTo>
                  <a:cubicBezTo>
                    <a:pt x="751474" y="71628"/>
                    <a:pt x="824626" y="41148"/>
                    <a:pt x="842914" y="27432"/>
                  </a:cubicBezTo>
                  <a:cubicBezTo>
                    <a:pt x="861202" y="13716"/>
                    <a:pt x="833770" y="0"/>
                    <a:pt x="824626" y="0"/>
                  </a:cubicBezTo>
                  <a:cubicBezTo>
                    <a:pt x="815482" y="0"/>
                    <a:pt x="800242" y="21336"/>
                    <a:pt x="788050" y="27432"/>
                  </a:cubicBezTo>
                  <a:cubicBezTo>
                    <a:pt x="775858" y="33528"/>
                    <a:pt x="769762" y="30480"/>
                    <a:pt x="751474" y="36576"/>
                  </a:cubicBezTo>
                  <a:cubicBezTo>
                    <a:pt x="733186" y="42672"/>
                    <a:pt x="699658" y="59436"/>
                    <a:pt x="678322" y="64008"/>
                  </a:cubicBezTo>
                  <a:cubicBezTo>
                    <a:pt x="656986" y="68580"/>
                    <a:pt x="623458" y="64008"/>
                    <a:pt x="623458" y="64008"/>
                  </a:cubicBezTo>
                  <a:cubicBezTo>
                    <a:pt x="596026" y="64008"/>
                    <a:pt x="541162" y="57912"/>
                    <a:pt x="513730" y="64008"/>
                  </a:cubicBezTo>
                  <a:cubicBezTo>
                    <a:pt x="486298" y="70104"/>
                    <a:pt x="474106" y="86868"/>
                    <a:pt x="458866" y="100584"/>
                  </a:cubicBezTo>
                  <a:cubicBezTo>
                    <a:pt x="443626" y="114300"/>
                    <a:pt x="436006" y="132588"/>
                    <a:pt x="422290" y="146304"/>
                  </a:cubicBezTo>
                  <a:cubicBezTo>
                    <a:pt x="408574" y="160020"/>
                    <a:pt x="391810" y="164592"/>
                    <a:pt x="376570" y="182880"/>
                  </a:cubicBezTo>
                  <a:cubicBezTo>
                    <a:pt x="361330" y="201168"/>
                    <a:pt x="350662" y="236220"/>
                    <a:pt x="330850" y="256032"/>
                  </a:cubicBezTo>
                  <a:cubicBezTo>
                    <a:pt x="311038" y="275844"/>
                    <a:pt x="286654" y="286512"/>
                    <a:pt x="257698" y="301752"/>
                  </a:cubicBezTo>
                  <a:cubicBezTo>
                    <a:pt x="228742" y="316992"/>
                    <a:pt x="179974" y="335280"/>
                    <a:pt x="157114" y="347472"/>
                  </a:cubicBezTo>
                  <a:cubicBezTo>
                    <a:pt x="134254" y="359664"/>
                    <a:pt x="134254" y="365760"/>
                    <a:pt x="120538" y="374904"/>
                  </a:cubicBezTo>
                  <a:cubicBezTo>
                    <a:pt x="106822" y="384048"/>
                    <a:pt x="85486" y="397764"/>
                    <a:pt x="74818" y="402336"/>
                  </a:cubicBezTo>
                  <a:cubicBezTo>
                    <a:pt x="64150" y="406908"/>
                    <a:pt x="56530" y="408432"/>
                    <a:pt x="56530" y="402336"/>
                  </a:cubicBezTo>
                  <a:cubicBezTo>
                    <a:pt x="56530" y="396240"/>
                    <a:pt x="62626" y="382524"/>
                    <a:pt x="74818" y="365760"/>
                  </a:cubicBezTo>
                  <a:cubicBezTo>
                    <a:pt x="87010" y="348996"/>
                    <a:pt x="105298" y="326136"/>
                    <a:pt x="129682" y="301752"/>
                  </a:cubicBezTo>
                  <a:cubicBezTo>
                    <a:pt x="154066" y="277368"/>
                    <a:pt x="198262" y="245364"/>
                    <a:pt x="221122" y="219456"/>
                  </a:cubicBezTo>
                  <a:cubicBezTo>
                    <a:pt x="243982" y="193548"/>
                    <a:pt x="259222" y="172212"/>
                    <a:pt x="266842" y="146304"/>
                  </a:cubicBezTo>
                  <a:cubicBezTo>
                    <a:pt x="274462" y="120396"/>
                    <a:pt x="268366" y="79248"/>
                    <a:pt x="266842" y="64008"/>
                  </a:cubicBezTo>
                  <a:cubicBezTo>
                    <a:pt x="265318" y="48768"/>
                    <a:pt x="260746" y="44196"/>
                    <a:pt x="257698" y="54864"/>
                  </a:cubicBezTo>
                  <a:cubicBezTo>
                    <a:pt x="254650" y="65532"/>
                    <a:pt x="254650" y="108204"/>
                    <a:pt x="248554" y="128016"/>
                  </a:cubicBezTo>
                  <a:cubicBezTo>
                    <a:pt x="242458" y="147828"/>
                    <a:pt x="237886" y="155448"/>
                    <a:pt x="221122" y="173736"/>
                  </a:cubicBezTo>
                  <a:cubicBezTo>
                    <a:pt x="204358" y="192024"/>
                    <a:pt x="164734" y="224028"/>
                    <a:pt x="147970" y="237744"/>
                  </a:cubicBezTo>
                  <a:cubicBezTo>
                    <a:pt x="131206" y="251460"/>
                    <a:pt x="137302" y="237744"/>
                    <a:pt x="120538" y="256032"/>
                  </a:cubicBezTo>
                  <a:cubicBezTo>
                    <a:pt x="103774" y="274320"/>
                    <a:pt x="61102" y="327660"/>
                    <a:pt x="47386" y="347472"/>
                  </a:cubicBezTo>
                  <a:cubicBezTo>
                    <a:pt x="33670" y="367284"/>
                    <a:pt x="41290" y="364236"/>
                    <a:pt x="38242" y="374904"/>
                  </a:cubicBezTo>
                  <a:cubicBezTo>
                    <a:pt x="35194" y="385572"/>
                    <a:pt x="27574" y="402336"/>
                    <a:pt x="29098" y="411480"/>
                  </a:cubicBezTo>
                  <a:cubicBezTo>
                    <a:pt x="30622" y="420624"/>
                    <a:pt x="51958" y="422148"/>
                    <a:pt x="47386" y="429768"/>
                  </a:cubicBezTo>
                  <a:cubicBezTo>
                    <a:pt x="42814" y="437388"/>
                    <a:pt x="3332" y="457097"/>
                    <a:pt x="1666" y="457200"/>
                  </a:cubicBezTo>
                  <a:cubicBezTo>
                    <a:pt x="0" y="457303"/>
                    <a:pt x="31434" y="434856"/>
                    <a:pt x="37387" y="430387"/>
                  </a:cubicBezTo>
                  <a:cubicBezTo>
                    <a:pt x="43340" y="425918"/>
                    <a:pt x="26821" y="429886"/>
                    <a:pt x="37385" y="430387"/>
                  </a:cubicBezTo>
                  <a:lnTo>
                    <a:pt x="37385" y="430387"/>
                  </a:lnTo>
                  <a:lnTo>
                    <a:pt x="37385" y="430387"/>
                  </a:lnTo>
                  <a:lnTo>
                    <a:pt x="37386" y="430387"/>
                  </a:lnTo>
                  <a:lnTo>
                    <a:pt x="37386" y="430387"/>
                  </a:lnTo>
                  <a:close/>
                </a:path>
              </a:pathLst>
            </a:custGeom>
            <a:solidFill>
              <a:srgbClr val="8DAA44"/>
            </a:solidFill>
            <a:ln w="6350" cap="flat" cmpd="sng" algn="ctr">
              <a:solidFill>
                <a:srgbClr val="663300"/>
              </a:solidFill>
              <a:prstDash val="solid"/>
            </a:ln>
            <a:effectLst/>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0" cap="none" spc="0" normalizeH="0" baseline="0" noProof="0" dirty="0">
                <a:ln>
                  <a:noFill/>
                </a:ln>
                <a:solidFill>
                  <a:prstClr val="white"/>
                </a:solidFill>
                <a:effectLst/>
                <a:uLnTx/>
                <a:uFillTx/>
                <a:latin typeface="News Gothic MT" panose="020B0503020103020203" pitchFamily="34" charset="0"/>
                <a:ea typeface="MS PGothic" charset="0"/>
                <a:cs typeface="+mn-cs"/>
              </a:endParaRPr>
            </a:p>
          </p:txBody>
        </p:sp>
        <p:sp>
          <p:nvSpPr>
            <p:cNvPr id="11" name="Freeform 206">
              <a:extLst>
                <a:ext uri="{FF2B5EF4-FFF2-40B4-BE49-F238E27FC236}">
                  <a16:creationId xmlns:a16="http://schemas.microsoft.com/office/drawing/2014/main" id="{677FD19C-9822-4AA5-B2FC-5A13AF1721F0}"/>
                </a:ext>
              </a:extLst>
            </p:cNvPr>
            <p:cNvSpPr/>
            <p:nvPr/>
          </p:nvSpPr>
          <p:spPr>
            <a:xfrm rot="4533193" flipH="1" flipV="1">
              <a:off x="4687530" y="1970021"/>
              <a:ext cx="714252" cy="1147104"/>
            </a:xfrm>
            <a:custGeom>
              <a:avLst/>
              <a:gdLst>
                <a:gd name="connsiteX0" fmla="*/ 19812 w 1226820"/>
                <a:gd name="connsiteY0" fmla="*/ 841248 h 864108"/>
                <a:gd name="connsiteX1" fmla="*/ 92964 w 1226820"/>
                <a:gd name="connsiteY1" fmla="*/ 649224 h 864108"/>
                <a:gd name="connsiteX2" fmla="*/ 193548 w 1226820"/>
                <a:gd name="connsiteY2" fmla="*/ 548640 h 864108"/>
                <a:gd name="connsiteX3" fmla="*/ 321564 w 1226820"/>
                <a:gd name="connsiteY3" fmla="*/ 493776 h 864108"/>
                <a:gd name="connsiteX4" fmla="*/ 422148 w 1226820"/>
                <a:gd name="connsiteY4" fmla="*/ 466344 h 864108"/>
                <a:gd name="connsiteX5" fmla="*/ 522732 w 1226820"/>
                <a:gd name="connsiteY5" fmla="*/ 384048 h 864108"/>
                <a:gd name="connsiteX6" fmla="*/ 714756 w 1226820"/>
                <a:gd name="connsiteY6" fmla="*/ 301752 h 864108"/>
                <a:gd name="connsiteX7" fmla="*/ 797052 w 1226820"/>
                <a:gd name="connsiteY7" fmla="*/ 192024 h 864108"/>
                <a:gd name="connsiteX8" fmla="*/ 943356 w 1226820"/>
                <a:gd name="connsiteY8" fmla="*/ 155448 h 864108"/>
                <a:gd name="connsiteX9" fmla="*/ 989076 w 1226820"/>
                <a:gd name="connsiteY9" fmla="*/ 155448 h 864108"/>
                <a:gd name="connsiteX10" fmla="*/ 1025652 w 1226820"/>
                <a:gd name="connsiteY10" fmla="*/ 137160 h 864108"/>
                <a:gd name="connsiteX11" fmla="*/ 979932 w 1226820"/>
                <a:gd name="connsiteY11" fmla="*/ 137160 h 864108"/>
                <a:gd name="connsiteX12" fmla="*/ 888492 w 1226820"/>
                <a:gd name="connsiteY12" fmla="*/ 137160 h 864108"/>
                <a:gd name="connsiteX13" fmla="*/ 833628 w 1226820"/>
                <a:gd name="connsiteY13" fmla="*/ 146304 h 864108"/>
                <a:gd name="connsiteX14" fmla="*/ 824484 w 1226820"/>
                <a:gd name="connsiteY14" fmla="*/ 155448 h 864108"/>
                <a:gd name="connsiteX15" fmla="*/ 806196 w 1226820"/>
                <a:gd name="connsiteY15" fmla="*/ 146304 h 864108"/>
                <a:gd name="connsiteX16" fmla="*/ 934212 w 1226820"/>
                <a:gd name="connsiteY16" fmla="*/ 91440 h 864108"/>
                <a:gd name="connsiteX17" fmla="*/ 989076 w 1226820"/>
                <a:gd name="connsiteY17" fmla="*/ 91440 h 864108"/>
                <a:gd name="connsiteX18" fmla="*/ 1080516 w 1226820"/>
                <a:gd name="connsiteY18" fmla="*/ 82296 h 864108"/>
                <a:gd name="connsiteX19" fmla="*/ 1208532 w 1226820"/>
                <a:gd name="connsiteY19" fmla="*/ 27432 h 864108"/>
                <a:gd name="connsiteX20" fmla="*/ 1190244 w 1226820"/>
                <a:gd name="connsiteY20" fmla="*/ 0 h 864108"/>
                <a:gd name="connsiteX21" fmla="*/ 1153668 w 1226820"/>
                <a:gd name="connsiteY21" fmla="*/ 27432 h 864108"/>
                <a:gd name="connsiteX22" fmla="*/ 1117092 w 1226820"/>
                <a:gd name="connsiteY22" fmla="*/ 36576 h 864108"/>
                <a:gd name="connsiteX23" fmla="*/ 1043940 w 1226820"/>
                <a:gd name="connsiteY23" fmla="*/ 64008 h 864108"/>
                <a:gd name="connsiteX24" fmla="*/ 989076 w 1226820"/>
                <a:gd name="connsiteY24" fmla="*/ 64008 h 864108"/>
                <a:gd name="connsiteX25" fmla="*/ 879348 w 1226820"/>
                <a:gd name="connsiteY25" fmla="*/ 64008 h 864108"/>
                <a:gd name="connsiteX26" fmla="*/ 824484 w 1226820"/>
                <a:gd name="connsiteY26" fmla="*/ 100584 h 864108"/>
                <a:gd name="connsiteX27" fmla="*/ 787908 w 1226820"/>
                <a:gd name="connsiteY27" fmla="*/ 146304 h 864108"/>
                <a:gd name="connsiteX28" fmla="*/ 742188 w 1226820"/>
                <a:gd name="connsiteY28" fmla="*/ 182880 h 864108"/>
                <a:gd name="connsiteX29" fmla="*/ 696468 w 1226820"/>
                <a:gd name="connsiteY29" fmla="*/ 256032 h 864108"/>
                <a:gd name="connsiteX30" fmla="*/ 623316 w 1226820"/>
                <a:gd name="connsiteY30" fmla="*/ 301752 h 864108"/>
                <a:gd name="connsiteX31" fmla="*/ 522732 w 1226820"/>
                <a:gd name="connsiteY31" fmla="*/ 347472 h 864108"/>
                <a:gd name="connsiteX32" fmla="*/ 486156 w 1226820"/>
                <a:gd name="connsiteY32" fmla="*/ 374904 h 864108"/>
                <a:gd name="connsiteX33" fmla="*/ 440436 w 1226820"/>
                <a:gd name="connsiteY33" fmla="*/ 402336 h 864108"/>
                <a:gd name="connsiteX34" fmla="*/ 422148 w 1226820"/>
                <a:gd name="connsiteY34" fmla="*/ 402336 h 864108"/>
                <a:gd name="connsiteX35" fmla="*/ 440436 w 1226820"/>
                <a:gd name="connsiteY35" fmla="*/ 365760 h 864108"/>
                <a:gd name="connsiteX36" fmla="*/ 495300 w 1226820"/>
                <a:gd name="connsiteY36" fmla="*/ 301752 h 864108"/>
                <a:gd name="connsiteX37" fmla="*/ 586740 w 1226820"/>
                <a:gd name="connsiteY37" fmla="*/ 219456 h 864108"/>
                <a:gd name="connsiteX38" fmla="*/ 632460 w 1226820"/>
                <a:gd name="connsiteY38" fmla="*/ 146304 h 864108"/>
                <a:gd name="connsiteX39" fmla="*/ 632460 w 1226820"/>
                <a:gd name="connsiteY39" fmla="*/ 64008 h 864108"/>
                <a:gd name="connsiteX40" fmla="*/ 623316 w 1226820"/>
                <a:gd name="connsiteY40" fmla="*/ 54864 h 864108"/>
                <a:gd name="connsiteX41" fmla="*/ 614172 w 1226820"/>
                <a:gd name="connsiteY41" fmla="*/ 128016 h 864108"/>
                <a:gd name="connsiteX42" fmla="*/ 586740 w 1226820"/>
                <a:gd name="connsiteY42" fmla="*/ 173736 h 864108"/>
                <a:gd name="connsiteX43" fmla="*/ 513588 w 1226820"/>
                <a:gd name="connsiteY43" fmla="*/ 237744 h 864108"/>
                <a:gd name="connsiteX44" fmla="*/ 486156 w 1226820"/>
                <a:gd name="connsiteY44" fmla="*/ 256032 h 864108"/>
                <a:gd name="connsiteX45" fmla="*/ 413004 w 1226820"/>
                <a:gd name="connsiteY45" fmla="*/ 347472 h 864108"/>
                <a:gd name="connsiteX46" fmla="*/ 403860 w 1226820"/>
                <a:gd name="connsiteY46" fmla="*/ 374904 h 864108"/>
                <a:gd name="connsiteX47" fmla="*/ 394716 w 1226820"/>
                <a:gd name="connsiteY47" fmla="*/ 411480 h 864108"/>
                <a:gd name="connsiteX48" fmla="*/ 413004 w 1226820"/>
                <a:gd name="connsiteY48" fmla="*/ 429768 h 864108"/>
                <a:gd name="connsiteX49" fmla="*/ 367284 w 1226820"/>
                <a:gd name="connsiteY49" fmla="*/ 457200 h 864108"/>
                <a:gd name="connsiteX50" fmla="*/ 220980 w 1226820"/>
                <a:gd name="connsiteY50" fmla="*/ 493776 h 864108"/>
                <a:gd name="connsiteX51" fmla="*/ 175260 w 1226820"/>
                <a:gd name="connsiteY51" fmla="*/ 530352 h 864108"/>
                <a:gd name="connsiteX52" fmla="*/ 92964 w 1226820"/>
                <a:gd name="connsiteY52" fmla="*/ 585216 h 864108"/>
                <a:gd name="connsiteX53" fmla="*/ 19812 w 1226820"/>
                <a:gd name="connsiteY53" fmla="*/ 704088 h 864108"/>
                <a:gd name="connsiteX54" fmla="*/ 1524 w 1226820"/>
                <a:gd name="connsiteY54" fmla="*/ 786384 h 864108"/>
                <a:gd name="connsiteX55" fmla="*/ 19812 w 1226820"/>
                <a:gd name="connsiteY55" fmla="*/ 841248 h 864108"/>
                <a:gd name="connsiteX0" fmla="*/ 218332 w 1253874"/>
                <a:gd name="connsiteY0" fmla="*/ 554512 h 811313"/>
                <a:gd name="connsiteX1" fmla="*/ 120018 w 1253874"/>
                <a:gd name="connsiteY1" fmla="*/ 649224 h 811313"/>
                <a:gd name="connsiteX2" fmla="*/ 220602 w 1253874"/>
                <a:gd name="connsiteY2" fmla="*/ 548640 h 811313"/>
                <a:gd name="connsiteX3" fmla="*/ 348618 w 1253874"/>
                <a:gd name="connsiteY3" fmla="*/ 493776 h 811313"/>
                <a:gd name="connsiteX4" fmla="*/ 449202 w 1253874"/>
                <a:gd name="connsiteY4" fmla="*/ 466344 h 811313"/>
                <a:gd name="connsiteX5" fmla="*/ 549786 w 1253874"/>
                <a:gd name="connsiteY5" fmla="*/ 384048 h 811313"/>
                <a:gd name="connsiteX6" fmla="*/ 741810 w 1253874"/>
                <a:gd name="connsiteY6" fmla="*/ 301752 h 811313"/>
                <a:gd name="connsiteX7" fmla="*/ 824106 w 1253874"/>
                <a:gd name="connsiteY7" fmla="*/ 192024 h 811313"/>
                <a:gd name="connsiteX8" fmla="*/ 970410 w 1253874"/>
                <a:gd name="connsiteY8" fmla="*/ 155448 h 811313"/>
                <a:gd name="connsiteX9" fmla="*/ 1016130 w 1253874"/>
                <a:gd name="connsiteY9" fmla="*/ 155448 h 811313"/>
                <a:gd name="connsiteX10" fmla="*/ 1052706 w 1253874"/>
                <a:gd name="connsiteY10" fmla="*/ 137160 h 811313"/>
                <a:gd name="connsiteX11" fmla="*/ 1006986 w 1253874"/>
                <a:gd name="connsiteY11" fmla="*/ 137160 h 811313"/>
                <a:gd name="connsiteX12" fmla="*/ 915546 w 1253874"/>
                <a:gd name="connsiteY12" fmla="*/ 137160 h 811313"/>
                <a:gd name="connsiteX13" fmla="*/ 860682 w 1253874"/>
                <a:gd name="connsiteY13" fmla="*/ 146304 h 811313"/>
                <a:gd name="connsiteX14" fmla="*/ 851538 w 1253874"/>
                <a:gd name="connsiteY14" fmla="*/ 155448 h 811313"/>
                <a:gd name="connsiteX15" fmla="*/ 833250 w 1253874"/>
                <a:gd name="connsiteY15" fmla="*/ 146304 h 811313"/>
                <a:gd name="connsiteX16" fmla="*/ 961266 w 1253874"/>
                <a:gd name="connsiteY16" fmla="*/ 91440 h 811313"/>
                <a:gd name="connsiteX17" fmla="*/ 1016130 w 1253874"/>
                <a:gd name="connsiteY17" fmla="*/ 91440 h 811313"/>
                <a:gd name="connsiteX18" fmla="*/ 1107570 w 1253874"/>
                <a:gd name="connsiteY18" fmla="*/ 82296 h 811313"/>
                <a:gd name="connsiteX19" fmla="*/ 1235586 w 1253874"/>
                <a:gd name="connsiteY19" fmla="*/ 27432 h 811313"/>
                <a:gd name="connsiteX20" fmla="*/ 1217298 w 1253874"/>
                <a:gd name="connsiteY20" fmla="*/ 0 h 811313"/>
                <a:gd name="connsiteX21" fmla="*/ 1180722 w 1253874"/>
                <a:gd name="connsiteY21" fmla="*/ 27432 h 811313"/>
                <a:gd name="connsiteX22" fmla="*/ 1144146 w 1253874"/>
                <a:gd name="connsiteY22" fmla="*/ 36576 h 811313"/>
                <a:gd name="connsiteX23" fmla="*/ 1070994 w 1253874"/>
                <a:gd name="connsiteY23" fmla="*/ 64008 h 811313"/>
                <a:gd name="connsiteX24" fmla="*/ 1016130 w 1253874"/>
                <a:gd name="connsiteY24" fmla="*/ 64008 h 811313"/>
                <a:gd name="connsiteX25" fmla="*/ 906402 w 1253874"/>
                <a:gd name="connsiteY25" fmla="*/ 64008 h 811313"/>
                <a:gd name="connsiteX26" fmla="*/ 851538 w 1253874"/>
                <a:gd name="connsiteY26" fmla="*/ 100584 h 811313"/>
                <a:gd name="connsiteX27" fmla="*/ 814962 w 1253874"/>
                <a:gd name="connsiteY27" fmla="*/ 146304 h 811313"/>
                <a:gd name="connsiteX28" fmla="*/ 769242 w 1253874"/>
                <a:gd name="connsiteY28" fmla="*/ 182880 h 811313"/>
                <a:gd name="connsiteX29" fmla="*/ 723522 w 1253874"/>
                <a:gd name="connsiteY29" fmla="*/ 256032 h 811313"/>
                <a:gd name="connsiteX30" fmla="*/ 650370 w 1253874"/>
                <a:gd name="connsiteY30" fmla="*/ 301752 h 811313"/>
                <a:gd name="connsiteX31" fmla="*/ 549786 w 1253874"/>
                <a:gd name="connsiteY31" fmla="*/ 347472 h 811313"/>
                <a:gd name="connsiteX32" fmla="*/ 513210 w 1253874"/>
                <a:gd name="connsiteY32" fmla="*/ 374904 h 811313"/>
                <a:gd name="connsiteX33" fmla="*/ 467490 w 1253874"/>
                <a:gd name="connsiteY33" fmla="*/ 402336 h 811313"/>
                <a:gd name="connsiteX34" fmla="*/ 449202 w 1253874"/>
                <a:gd name="connsiteY34" fmla="*/ 402336 h 811313"/>
                <a:gd name="connsiteX35" fmla="*/ 467490 w 1253874"/>
                <a:gd name="connsiteY35" fmla="*/ 365760 h 811313"/>
                <a:gd name="connsiteX36" fmla="*/ 522354 w 1253874"/>
                <a:gd name="connsiteY36" fmla="*/ 301752 h 811313"/>
                <a:gd name="connsiteX37" fmla="*/ 613794 w 1253874"/>
                <a:gd name="connsiteY37" fmla="*/ 219456 h 811313"/>
                <a:gd name="connsiteX38" fmla="*/ 659514 w 1253874"/>
                <a:gd name="connsiteY38" fmla="*/ 146304 h 811313"/>
                <a:gd name="connsiteX39" fmla="*/ 659514 w 1253874"/>
                <a:gd name="connsiteY39" fmla="*/ 64008 h 811313"/>
                <a:gd name="connsiteX40" fmla="*/ 650370 w 1253874"/>
                <a:gd name="connsiteY40" fmla="*/ 54864 h 811313"/>
                <a:gd name="connsiteX41" fmla="*/ 641226 w 1253874"/>
                <a:gd name="connsiteY41" fmla="*/ 128016 h 811313"/>
                <a:gd name="connsiteX42" fmla="*/ 613794 w 1253874"/>
                <a:gd name="connsiteY42" fmla="*/ 173736 h 811313"/>
                <a:gd name="connsiteX43" fmla="*/ 540642 w 1253874"/>
                <a:gd name="connsiteY43" fmla="*/ 237744 h 811313"/>
                <a:gd name="connsiteX44" fmla="*/ 513210 w 1253874"/>
                <a:gd name="connsiteY44" fmla="*/ 256032 h 811313"/>
                <a:gd name="connsiteX45" fmla="*/ 440058 w 1253874"/>
                <a:gd name="connsiteY45" fmla="*/ 347472 h 811313"/>
                <a:gd name="connsiteX46" fmla="*/ 430914 w 1253874"/>
                <a:gd name="connsiteY46" fmla="*/ 374904 h 811313"/>
                <a:gd name="connsiteX47" fmla="*/ 421770 w 1253874"/>
                <a:gd name="connsiteY47" fmla="*/ 411480 h 811313"/>
                <a:gd name="connsiteX48" fmla="*/ 440058 w 1253874"/>
                <a:gd name="connsiteY48" fmla="*/ 429768 h 811313"/>
                <a:gd name="connsiteX49" fmla="*/ 394338 w 1253874"/>
                <a:gd name="connsiteY49" fmla="*/ 457200 h 811313"/>
                <a:gd name="connsiteX50" fmla="*/ 248034 w 1253874"/>
                <a:gd name="connsiteY50" fmla="*/ 493776 h 811313"/>
                <a:gd name="connsiteX51" fmla="*/ 202314 w 1253874"/>
                <a:gd name="connsiteY51" fmla="*/ 530352 h 811313"/>
                <a:gd name="connsiteX52" fmla="*/ 120018 w 1253874"/>
                <a:gd name="connsiteY52" fmla="*/ 585216 h 811313"/>
                <a:gd name="connsiteX53" fmla="*/ 46866 w 1253874"/>
                <a:gd name="connsiteY53" fmla="*/ 704088 h 811313"/>
                <a:gd name="connsiteX54" fmla="*/ 28578 w 1253874"/>
                <a:gd name="connsiteY54" fmla="*/ 786384 h 811313"/>
                <a:gd name="connsiteX55" fmla="*/ 218332 w 1253874"/>
                <a:gd name="connsiteY55" fmla="*/ 554512 h 811313"/>
                <a:gd name="connsiteX0" fmla="*/ 187852 w 1223394"/>
                <a:gd name="connsiteY0" fmla="*/ 554512 h 709205"/>
                <a:gd name="connsiteX1" fmla="*/ 89538 w 1223394"/>
                <a:gd name="connsiteY1" fmla="*/ 649224 h 709205"/>
                <a:gd name="connsiteX2" fmla="*/ 190122 w 1223394"/>
                <a:gd name="connsiteY2" fmla="*/ 548640 h 709205"/>
                <a:gd name="connsiteX3" fmla="*/ 318138 w 1223394"/>
                <a:gd name="connsiteY3" fmla="*/ 493776 h 709205"/>
                <a:gd name="connsiteX4" fmla="*/ 418722 w 1223394"/>
                <a:gd name="connsiteY4" fmla="*/ 466344 h 709205"/>
                <a:gd name="connsiteX5" fmla="*/ 519306 w 1223394"/>
                <a:gd name="connsiteY5" fmla="*/ 384048 h 709205"/>
                <a:gd name="connsiteX6" fmla="*/ 711330 w 1223394"/>
                <a:gd name="connsiteY6" fmla="*/ 301752 h 709205"/>
                <a:gd name="connsiteX7" fmla="*/ 793626 w 1223394"/>
                <a:gd name="connsiteY7" fmla="*/ 192024 h 709205"/>
                <a:gd name="connsiteX8" fmla="*/ 939930 w 1223394"/>
                <a:gd name="connsiteY8" fmla="*/ 155448 h 709205"/>
                <a:gd name="connsiteX9" fmla="*/ 985650 w 1223394"/>
                <a:gd name="connsiteY9" fmla="*/ 155448 h 709205"/>
                <a:gd name="connsiteX10" fmla="*/ 1022226 w 1223394"/>
                <a:gd name="connsiteY10" fmla="*/ 137160 h 709205"/>
                <a:gd name="connsiteX11" fmla="*/ 976506 w 1223394"/>
                <a:gd name="connsiteY11" fmla="*/ 137160 h 709205"/>
                <a:gd name="connsiteX12" fmla="*/ 885066 w 1223394"/>
                <a:gd name="connsiteY12" fmla="*/ 137160 h 709205"/>
                <a:gd name="connsiteX13" fmla="*/ 830202 w 1223394"/>
                <a:gd name="connsiteY13" fmla="*/ 146304 h 709205"/>
                <a:gd name="connsiteX14" fmla="*/ 821058 w 1223394"/>
                <a:gd name="connsiteY14" fmla="*/ 155448 h 709205"/>
                <a:gd name="connsiteX15" fmla="*/ 802770 w 1223394"/>
                <a:gd name="connsiteY15" fmla="*/ 146304 h 709205"/>
                <a:gd name="connsiteX16" fmla="*/ 930786 w 1223394"/>
                <a:gd name="connsiteY16" fmla="*/ 91440 h 709205"/>
                <a:gd name="connsiteX17" fmla="*/ 985650 w 1223394"/>
                <a:gd name="connsiteY17" fmla="*/ 91440 h 709205"/>
                <a:gd name="connsiteX18" fmla="*/ 1077090 w 1223394"/>
                <a:gd name="connsiteY18" fmla="*/ 82296 h 709205"/>
                <a:gd name="connsiteX19" fmla="*/ 1205106 w 1223394"/>
                <a:gd name="connsiteY19" fmla="*/ 27432 h 709205"/>
                <a:gd name="connsiteX20" fmla="*/ 1186818 w 1223394"/>
                <a:gd name="connsiteY20" fmla="*/ 0 h 709205"/>
                <a:gd name="connsiteX21" fmla="*/ 1150242 w 1223394"/>
                <a:gd name="connsiteY21" fmla="*/ 27432 h 709205"/>
                <a:gd name="connsiteX22" fmla="*/ 1113666 w 1223394"/>
                <a:gd name="connsiteY22" fmla="*/ 36576 h 709205"/>
                <a:gd name="connsiteX23" fmla="*/ 1040514 w 1223394"/>
                <a:gd name="connsiteY23" fmla="*/ 64008 h 709205"/>
                <a:gd name="connsiteX24" fmla="*/ 985650 w 1223394"/>
                <a:gd name="connsiteY24" fmla="*/ 64008 h 709205"/>
                <a:gd name="connsiteX25" fmla="*/ 875922 w 1223394"/>
                <a:gd name="connsiteY25" fmla="*/ 64008 h 709205"/>
                <a:gd name="connsiteX26" fmla="*/ 821058 w 1223394"/>
                <a:gd name="connsiteY26" fmla="*/ 100584 h 709205"/>
                <a:gd name="connsiteX27" fmla="*/ 784482 w 1223394"/>
                <a:gd name="connsiteY27" fmla="*/ 146304 h 709205"/>
                <a:gd name="connsiteX28" fmla="*/ 738762 w 1223394"/>
                <a:gd name="connsiteY28" fmla="*/ 182880 h 709205"/>
                <a:gd name="connsiteX29" fmla="*/ 693042 w 1223394"/>
                <a:gd name="connsiteY29" fmla="*/ 256032 h 709205"/>
                <a:gd name="connsiteX30" fmla="*/ 619890 w 1223394"/>
                <a:gd name="connsiteY30" fmla="*/ 301752 h 709205"/>
                <a:gd name="connsiteX31" fmla="*/ 519306 w 1223394"/>
                <a:gd name="connsiteY31" fmla="*/ 347472 h 709205"/>
                <a:gd name="connsiteX32" fmla="*/ 482730 w 1223394"/>
                <a:gd name="connsiteY32" fmla="*/ 374904 h 709205"/>
                <a:gd name="connsiteX33" fmla="*/ 437010 w 1223394"/>
                <a:gd name="connsiteY33" fmla="*/ 402336 h 709205"/>
                <a:gd name="connsiteX34" fmla="*/ 418722 w 1223394"/>
                <a:gd name="connsiteY34" fmla="*/ 402336 h 709205"/>
                <a:gd name="connsiteX35" fmla="*/ 437010 w 1223394"/>
                <a:gd name="connsiteY35" fmla="*/ 365760 h 709205"/>
                <a:gd name="connsiteX36" fmla="*/ 491874 w 1223394"/>
                <a:gd name="connsiteY36" fmla="*/ 301752 h 709205"/>
                <a:gd name="connsiteX37" fmla="*/ 583314 w 1223394"/>
                <a:gd name="connsiteY37" fmla="*/ 219456 h 709205"/>
                <a:gd name="connsiteX38" fmla="*/ 629034 w 1223394"/>
                <a:gd name="connsiteY38" fmla="*/ 146304 h 709205"/>
                <a:gd name="connsiteX39" fmla="*/ 629034 w 1223394"/>
                <a:gd name="connsiteY39" fmla="*/ 64008 h 709205"/>
                <a:gd name="connsiteX40" fmla="*/ 619890 w 1223394"/>
                <a:gd name="connsiteY40" fmla="*/ 54864 h 709205"/>
                <a:gd name="connsiteX41" fmla="*/ 610746 w 1223394"/>
                <a:gd name="connsiteY41" fmla="*/ 128016 h 709205"/>
                <a:gd name="connsiteX42" fmla="*/ 583314 w 1223394"/>
                <a:gd name="connsiteY42" fmla="*/ 173736 h 709205"/>
                <a:gd name="connsiteX43" fmla="*/ 510162 w 1223394"/>
                <a:gd name="connsiteY43" fmla="*/ 237744 h 709205"/>
                <a:gd name="connsiteX44" fmla="*/ 482730 w 1223394"/>
                <a:gd name="connsiteY44" fmla="*/ 256032 h 709205"/>
                <a:gd name="connsiteX45" fmla="*/ 409578 w 1223394"/>
                <a:gd name="connsiteY45" fmla="*/ 347472 h 709205"/>
                <a:gd name="connsiteX46" fmla="*/ 400434 w 1223394"/>
                <a:gd name="connsiteY46" fmla="*/ 374904 h 709205"/>
                <a:gd name="connsiteX47" fmla="*/ 391290 w 1223394"/>
                <a:gd name="connsiteY47" fmla="*/ 411480 h 709205"/>
                <a:gd name="connsiteX48" fmla="*/ 409578 w 1223394"/>
                <a:gd name="connsiteY48" fmla="*/ 429768 h 709205"/>
                <a:gd name="connsiteX49" fmla="*/ 363858 w 1223394"/>
                <a:gd name="connsiteY49" fmla="*/ 457200 h 709205"/>
                <a:gd name="connsiteX50" fmla="*/ 217554 w 1223394"/>
                <a:gd name="connsiteY50" fmla="*/ 493776 h 709205"/>
                <a:gd name="connsiteX51" fmla="*/ 171834 w 1223394"/>
                <a:gd name="connsiteY51" fmla="*/ 530352 h 709205"/>
                <a:gd name="connsiteX52" fmla="*/ 89538 w 1223394"/>
                <a:gd name="connsiteY52" fmla="*/ 585216 h 709205"/>
                <a:gd name="connsiteX53" fmla="*/ 16386 w 1223394"/>
                <a:gd name="connsiteY53" fmla="*/ 704088 h 709205"/>
                <a:gd name="connsiteX54" fmla="*/ 187853 w 1223394"/>
                <a:gd name="connsiteY54" fmla="*/ 554512 h 709205"/>
                <a:gd name="connsiteX55" fmla="*/ 187852 w 1223394"/>
                <a:gd name="connsiteY55" fmla="*/ 554512 h 709205"/>
                <a:gd name="connsiteX0" fmla="*/ 110754 w 1146296"/>
                <a:gd name="connsiteY0" fmla="*/ 554512 h 649224"/>
                <a:gd name="connsiteX1" fmla="*/ 12440 w 1146296"/>
                <a:gd name="connsiteY1" fmla="*/ 649224 h 649224"/>
                <a:gd name="connsiteX2" fmla="*/ 113024 w 1146296"/>
                <a:gd name="connsiteY2" fmla="*/ 548640 h 649224"/>
                <a:gd name="connsiteX3" fmla="*/ 241040 w 1146296"/>
                <a:gd name="connsiteY3" fmla="*/ 493776 h 649224"/>
                <a:gd name="connsiteX4" fmla="*/ 341624 w 1146296"/>
                <a:gd name="connsiteY4" fmla="*/ 466344 h 649224"/>
                <a:gd name="connsiteX5" fmla="*/ 442208 w 1146296"/>
                <a:gd name="connsiteY5" fmla="*/ 384048 h 649224"/>
                <a:gd name="connsiteX6" fmla="*/ 634232 w 1146296"/>
                <a:gd name="connsiteY6" fmla="*/ 301752 h 649224"/>
                <a:gd name="connsiteX7" fmla="*/ 716528 w 1146296"/>
                <a:gd name="connsiteY7" fmla="*/ 192024 h 649224"/>
                <a:gd name="connsiteX8" fmla="*/ 862832 w 1146296"/>
                <a:gd name="connsiteY8" fmla="*/ 155448 h 649224"/>
                <a:gd name="connsiteX9" fmla="*/ 908552 w 1146296"/>
                <a:gd name="connsiteY9" fmla="*/ 155448 h 649224"/>
                <a:gd name="connsiteX10" fmla="*/ 945128 w 1146296"/>
                <a:gd name="connsiteY10" fmla="*/ 137160 h 649224"/>
                <a:gd name="connsiteX11" fmla="*/ 899408 w 1146296"/>
                <a:gd name="connsiteY11" fmla="*/ 137160 h 649224"/>
                <a:gd name="connsiteX12" fmla="*/ 807968 w 1146296"/>
                <a:gd name="connsiteY12" fmla="*/ 137160 h 649224"/>
                <a:gd name="connsiteX13" fmla="*/ 753104 w 1146296"/>
                <a:gd name="connsiteY13" fmla="*/ 146304 h 649224"/>
                <a:gd name="connsiteX14" fmla="*/ 743960 w 1146296"/>
                <a:gd name="connsiteY14" fmla="*/ 155448 h 649224"/>
                <a:gd name="connsiteX15" fmla="*/ 725672 w 1146296"/>
                <a:gd name="connsiteY15" fmla="*/ 146304 h 649224"/>
                <a:gd name="connsiteX16" fmla="*/ 853688 w 1146296"/>
                <a:gd name="connsiteY16" fmla="*/ 91440 h 649224"/>
                <a:gd name="connsiteX17" fmla="*/ 908552 w 1146296"/>
                <a:gd name="connsiteY17" fmla="*/ 91440 h 649224"/>
                <a:gd name="connsiteX18" fmla="*/ 999992 w 1146296"/>
                <a:gd name="connsiteY18" fmla="*/ 82296 h 649224"/>
                <a:gd name="connsiteX19" fmla="*/ 1128008 w 1146296"/>
                <a:gd name="connsiteY19" fmla="*/ 27432 h 649224"/>
                <a:gd name="connsiteX20" fmla="*/ 1109720 w 1146296"/>
                <a:gd name="connsiteY20" fmla="*/ 0 h 649224"/>
                <a:gd name="connsiteX21" fmla="*/ 1073144 w 1146296"/>
                <a:gd name="connsiteY21" fmla="*/ 27432 h 649224"/>
                <a:gd name="connsiteX22" fmla="*/ 1036568 w 1146296"/>
                <a:gd name="connsiteY22" fmla="*/ 36576 h 649224"/>
                <a:gd name="connsiteX23" fmla="*/ 963416 w 1146296"/>
                <a:gd name="connsiteY23" fmla="*/ 64008 h 649224"/>
                <a:gd name="connsiteX24" fmla="*/ 908552 w 1146296"/>
                <a:gd name="connsiteY24" fmla="*/ 64008 h 649224"/>
                <a:gd name="connsiteX25" fmla="*/ 798824 w 1146296"/>
                <a:gd name="connsiteY25" fmla="*/ 64008 h 649224"/>
                <a:gd name="connsiteX26" fmla="*/ 743960 w 1146296"/>
                <a:gd name="connsiteY26" fmla="*/ 100584 h 649224"/>
                <a:gd name="connsiteX27" fmla="*/ 707384 w 1146296"/>
                <a:gd name="connsiteY27" fmla="*/ 146304 h 649224"/>
                <a:gd name="connsiteX28" fmla="*/ 661664 w 1146296"/>
                <a:gd name="connsiteY28" fmla="*/ 182880 h 649224"/>
                <a:gd name="connsiteX29" fmla="*/ 615944 w 1146296"/>
                <a:gd name="connsiteY29" fmla="*/ 256032 h 649224"/>
                <a:gd name="connsiteX30" fmla="*/ 542792 w 1146296"/>
                <a:gd name="connsiteY30" fmla="*/ 301752 h 649224"/>
                <a:gd name="connsiteX31" fmla="*/ 442208 w 1146296"/>
                <a:gd name="connsiteY31" fmla="*/ 347472 h 649224"/>
                <a:gd name="connsiteX32" fmla="*/ 405632 w 1146296"/>
                <a:gd name="connsiteY32" fmla="*/ 374904 h 649224"/>
                <a:gd name="connsiteX33" fmla="*/ 359912 w 1146296"/>
                <a:gd name="connsiteY33" fmla="*/ 402336 h 649224"/>
                <a:gd name="connsiteX34" fmla="*/ 341624 w 1146296"/>
                <a:gd name="connsiteY34" fmla="*/ 402336 h 649224"/>
                <a:gd name="connsiteX35" fmla="*/ 359912 w 1146296"/>
                <a:gd name="connsiteY35" fmla="*/ 365760 h 649224"/>
                <a:gd name="connsiteX36" fmla="*/ 414776 w 1146296"/>
                <a:gd name="connsiteY36" fmla="*/ 301752 h 649224"/>
                <a:gd name="connsiteX37" fmla="*/ 506216 w 1146296"/>
                <a:gd name="connsiteY37" fmla="*/ 219456 h 649224"/>
                <a:gd name="connsiteX38" fmla="*/ 551936 w 1146296"/>
                <a:gd name="connsiteY38" fmla="*/ 146304 h 649224"/>
                <a:gd name="connsiteX39" fmla="*/ 551936 w 1146296"/>
                <a:gd name="connsiteY39" fmla="*/ 64008 h 649224"/>
                <a:gd name="connsiteX40" fmla="*/ 542792 w 1146296"/>
                <a:gd name="connsiteY40" fmla="*/ 54864 h 649224"/>
                <a:gd name="connsiteX41" fmla="*/ 533648 w 1146296"/>
                <a:gd name="connsiteY41" fmla="*/ 128016 h 649224"/>
                <a:gd name="connsiteX42" fmla="*/ 506216 w 1146296"/>
                <a:gd name="connsiteY42" fmla="*/ 173736 h 649224"/>
                <a:gd name="connsiteX43" fmla="*/ 433064 w 1146296"/>
                <a:gd name="connsiteY43" fmla="*/ 237744 h 649224"/>
                <a:gd name="connsiteX44" fmla="*/ 405632 w 1146296"/>
                <a:gd name="connsiteY44" fmla="*/ 256032 h 649224"/>
                <a:gd name="connsiteX45" fmla="*/ 332480 w 1146296"/>
                <a:gd name="connsiteY45" fmla="*/ 347472 h 649224"/>
                <a:gd name="connsiteX46" fmla="*/ 323336 w 1146296"/>
                <a:gd name="connsiteY46" fmla="*/ 374904 h 649224"/>
                <a:gd name="connsiteX47" fmla="*/ 314192 w 1146296"/>
                <a:gd name="connsiteY47" fmla="*/ 411480 h 649224"/>
                <a:gd name="connsiteX48" fmla="*/ 332480 w 1146296"/>
                <a:gd name="connsiteY48" fmla="*/ 429768 h 649224"/>
                <a:gd name="connsiteX49" fmla="*/ 286760 w 1146296"/>
                <a:gd name="connsiteY49" fmla="*/ 457200 h 649224"/>
                <a:gd name="connsiteX50" fmla="*/ 140456 w 1146296"/>
                <a:gd name="connsiteY50" fmla="*/ 493776 h 649224"/>
                <a:gd name="connsiteX51" fmla="*/ 94736 w 1146296"/>
                <a:gd name="connsiteY51" fmla="*/ 530352 h 649224"/>
                <a:gd name="connsiteX52" fmla="*/ 12440 w 1146296"/>
                <a:gd name="connsiteY52" fmla="*/ 585216 h 649224"/>
                <a:gd name="connsiteX53" fmla="*/ 20096 w 1146296"/>
                <a:gd name="connsiteY53" fmla="*/ 612769 h 649224"/>
                <a:gd name="connsiteX54" fmla="*/ 110755 w 1146296"/>
                <a:gd name="connsiteY54" fmla="*/ 554512 h 649224"/>
                <a:gd name="connsiteX55" fmla="*/ 110754 w 1146296"/>
                <a:gd name="connsiteY55" fmla="*/ 554512 h 649224"/>
                <a:gd name="connsiteX0" fmla="*/ 101388 w 1136930"/>
                <a:gd name="connsiteY0" fmla="*/ 554512 h 649224"/>
                <a:gd name="connsiteX1" fmla="*/ 3074 w 1136930"/>
                <a:gd name="connsiteY1" fmla="*/ 649224 h 649224"/>
                <a:gd name="connsiteX2" fmla="*/ 103658 w 1136930"/>
                <a:gd name="connsiteY2" fmla="*/ 548640 h 649224"/>
                <a:gd name="connsiteX3" fmla="*/ 231674 w 1136930"/>
                <a:gd name="connsiteY3" fmla="*/ 493776 h 649224"/>
                <a:gd name="connsiteX4" fmla="*/ 332258 w 1136930"/>
                <a:gd name="connsiteY4" fmla="*/ 466344 h 649224"/>
                <a:gd name="connsiteX5" fmla="*/ 432842 w 1136930"/>
                <a:gd name="connsiteY5" fmla="*/ 384048 h 649224"/>
                <a:gd name="connsiteX6" fmla="*/ 624866 w 1136930"/>
                <a:gd name="connsiteY6" fmla="*/ 301752 h 649224"/>
                <a:gd name="connsiteX7" fmla="*/ 707162 w 1136930"/>
                <a:gd name="connsiteY7" fmla="*/ 192024 h 649224"/>
                <a:gd name="connsiteX8" fmla="*/ 853466 w 1136930"/>
                <a:gd name="connsiteY8" fmla="*/ 155448 h 649224"/>
                <a:gd name="connsiteX9" fmla="*/ 899186 w 1136930"/>
                <a:gd name="connsiteY9" fmla="*/ 155448 h 649224"/>
                <a:gd name="connsiteX10" fmla="*/ 935762 w 1136930"/>
                <a:gd name="connsiteY10" fmla="*/ 137160 h 649224"/>
                <a:gd name="connsiteX11" fmla="*/ 890042 w 1136930"/>
                <a:gd name="connsiteY11" fmla="*/ 137160 h 649224"/>
                <a:gd name="connsiteX12" fmla="*/ 798602 w 1136930"/>
                <a:gd name="connsiteY12" fmla="*/ 137160 h 649224"/>
                <a:gd name="connsiteX13" fmla="*/ 743738 w 1136930"/>
                <a:gd name="connsiteY13" fmla="*/ 146304 h 649224"/>
                <a:gd name="connsiteX14" fmla="*/ 734594 w 1136930"/>
                <a:gd name="connsiteY14" fmla="*/ 155448 h 649224"/>
                <a:gd name="connsiteX15" fmla="*/ 716306 w 1136930"/>
                <a:gd name="connsiteY15" fmla="*/ 146304 h 649224"/>
                <a:gd name="connsiteX16" fmla="*/ 844322 w 1136930"/>
                <a:gd name="connsiteY16" fmla="*/ 91440 h 649224"/>
                <a:gd name="connsiteX17" fmla="*/ 899186 w 1136930"/>
                <a:gd name="connsiteY17" fmla="*/ 91440 h 649224"/>
                <a:gd name="connsiteX18" fmla="*/ 990626 w 1136930"/>
                <a:gd name="connsiteY18" fmla="*/ 82296 h 649224"/>
                <a:gd name="connsiteX19" fmla="*/ 1118642 w 1136930"/>
                <a:gd name="connsiteY19" fmla="*/ 27432 h 649224"/>
                <a:gd name="connsiteX20" fmla="*/ 1100354 w 1136930"/>
                <a:gd name="connsiteY20" fmla="*/ 0 h 649224"/>
                <a:gd name="connsiteX21" fmla="*/ 1063778 w 1136930"/>
                <a:gd name="connsiteY21" fmla="*/ 27432 h 649224"/>
                <a:gd name="connsiteX22" fmla="*/ 1027202 w 1136930"/>
                <a:gd name="connsiteY22" fmla="*/ 36576 h 649224"/>
                <a:gd name="connsiteX23" fmla="*/ 954050 w 1136930"/>
                <a:gd name="connsiteY23" fmla="*/ 64008 h 649224"/>
                <a:gd name="connsiteX24" fmla="*/ 899186 w 1136930"/>
                <a:gd name="connsiteY24" fmla="*/ 64008 h 649224"/>
                <a:gd name="connsiteX25" fmla="*/ 789458 w 1136930"/>
                <a:gd name="connsiteY25" fmla="*/ 64008 h 649224"/>
                <a:gd name="connsiteX26" fmla="*/ 734594 w 1136930"/>
                <a:gd name="connsiteY26" fmla="*/ 100584 h 649224"/>
                <a:gd name="connsiteX27" fmla="*/ 698018 w 1136930"/>
                <a:gd name="connsiteY27" fmla="*/ 146304 h 649224"/>
                <a:gd name="connsiteX28" fmla="*/ 652298 w 1136930"/>
                <a:gd name="connsiteY28" fmla="*/ 182880 h 649224"/>
                <a:gd name="connsiteX29" fmla="*/ 606578 w 1136930"/>
                <a:gd name="connsiteY29" fmla="*/ 256032 h 649224"/>
                <a:gd name="connsiteX30" fmla="*/ 533426 w 1136930"/>
                <a:gd name="connsiteY30" fmla="*/ 301752 h 649224"/>
                <a:gd name="connsiteX31" fmla="*/ 432842 w 1136930"/>
                <a:gd name="connsiteY31" fmla="*/ 347472 h 649224"/>
                <a:gd name="connsiteX32" fmla="*/ 396266 w 1136930"/>
                <a:gd name="connsiteY32" fmla="*/ 374904 h 649224"/>
                <a:gd name="connsiteX33" fmla="*/ 350546 w 1136930"/>
                <a:gd name="connsiteY33" fmla="*/ 402336 h 649224"/>
                <a:gd name="connsiteX34" fmla="*/ 332258 w 1136930"/>
                <a:gd name="connsiteY34" fmla="*/ 402336 h 649224"/>
                <a:gd name="connsiteX35" fmla="*/ 350546 w 1136930"/>
                <a:gd name="connsiteY35" fmla="*/ 365760 h 649224"/>
                <a:gd name="connsiteX36" fmla="*/ 405410 w 1136930"/>
                <a:gd name="connsiteY36" fmla="*/ 301752 h 649224"/>
                <a:gd name="connsiteX37" fmla="*/ 496850 w 1136930"/>
                <a:gd name="connsiteY37" fmla="*/ 219456 h 649224"/>
                <a:gd name="connsiteX38" fmla="*/ 542570 w 1136930"/>
                <a:gd name="connsiteY38" fmla="*/ 146304 h 649224"/>
                <a:gd name="connsiteX39" fmla="*/ 542570 w 1136930"/>
                <a:gd name="connsiteY39" fmla="*/ 64008 h 649224"/>
                <a:gd name="connsiteX40" fmla="*/ 533426 w 1136930"/>
                <a:gd name="connsiteY40" fmla="*/ 54864 h 649224"/>
                <a:gd name="connsiteX41" fmla="*/ 524282 w 1136930"/>
                <a:gd name="connsiteY41" fmla="*/ 128016 h 649224"/>
                <a:gd name="connsiteX42" fmla="*/ 496850 w 1136930"/>
                <a:gd name="connsiteY42" fmla="*/ 173736 h 649224"/>
                <a:gd name="connsiteX43" fmla="*/ 423698 w 1136930"/>
                <a:gd name="connsiteY43" fmla="*/ 237744 h 649224"/>
                <a:gd name="connsiteX44" fmla="*/ 396266 w 1136930"/>
                <a:gd name="connsiteY44" fmla="*/ 256032 h 649224"/>
                <a:gd name="connsiteX45" fmla="*/ 323114 w 1136930"/>
                <a:gd name="connsiteY45" fmla="*/ 347472 h 649224"/>
                <a:gd name="connsiteX46" fmla="*/ 313970 w 1136930"/>
                <a:gd name="connsiteY46" fmla="*/ 374904 h 649224"/>
                <a:gd name="connsiteX47" fmla="*/ 304826 w 1136930"/>
                <a:gd name="connsiteY47" fmla="*/ 411480 h 649224"/>
                <a:gd name="connsiteX48" fmla="*/ 323114 w 1136930"/>
                <a:gd name="connsiteY48" fmla="*/ 429768 h 649224"/>
                <a:gd name="connsiteX49" fmla="*/ 277394 w 1136930"/>
                <a:gd name="connsiteY49" fmla="*/ 457200 h 649224"/>
                <a:gd name="connsiteX50" fmla="*/ 131090 w 1136930"/>
                <a:gd name="connsiteY50" fmla="*/ 493776 h 649224"/>
                <a:gd name="connsiteX51" fmla="*/ 85370 w 1136930"/>
                <a:gd name="connsiteY51" fmla="*/ 530352 h 649224"/>
                <a:gd name="connsiteX52" fmla="*/ 3074 w 1136930"/>
                <a:gd name="connsiteY52" fmla="*/ 585216 h 649224"/>
                <a:gd name="connsiteX53" fmla="*/ 103816 w 1136930"/>
                <a:gd name="connsiteY53" fmla="*/ 555040 h 649224"/>
                <a:gd name="connsiteX54" fmla="*/ 101389 w 1136930"/>
                <a:gd name="connsiteY54" fmla="*/ 554512 h 649224"/>
                <a:gd name="connsiteX55" fmla="*/ 101388 w 1136930"/>
                <a:gd name="connsiteY55" fmla="*/ 554512 h 649224"/>
                <a:gd name="connsiteX0" fmla="*/ 101388 w 1136930"/>
                <a:gd name="connsiteY0" fmla="*/ 554512 h 589331"/>
                <a:gd name="connsiteX1" fmla="*/ 103816 w 1136930"/>
                <a:gd name="connsiteY1" fmla="*/ 555041 h 589331"/>
                <a:gd name="connsiteX2" fmla="*/ 103658 w 1136930"/>
                <a:gd name="connsiteY2" fmla="*/ 548640 h 589331"/>
                <a:gd name="connsiteX3" fmla="*/ 231674 w 1136930"/>
                <a:gd name="connsiteY3" fmla="*/ 493776 h 589331"/>
                <a:gd name="connsiteX4" fmla="*/ 332258 w 1136930"/>
                <a:gd name="connsiteY4" fmla="*/ 466344 h 589331"/>
                <a:gd name="connsiteX5" fmla="*/ 432842 w 1136930"/>
                <a:gd name="connsiteY5" fmla="*/ 384048 h 589331"/>
                <a:gd name="connsiteX6" fmla="*/ 624866 w 1136930"/>
                <a:gd name="connsiteY6" fmla="*/ 301752 h 589331"/>
                <a:gd name="connsiteX7" fmla="*/ 707162 w 1136930"/>
                <a:gd name="connsiteY7" fmla="*/ 192024 h 589331"/>
                <a:gd name="connsiteX8" fmla="*/ 853466 w 1136930"/>
                <a:gd name="connsiteY8" fmla="*/ 155448 h 589331"/>
                <a:gd name="connsiteX9" fmla="*/ 899186 w 1136930"/>
                <a:gd name="connsiteY9" fmla="*/ 155448 h 589331"/>
                <a:gd name="connsiteX10" fmla="*/ 935762 w 1136930"/>
                <a:gd name="connsiteY10" fmla="*/ 137160 h 589331"/>
                <a:gd name="connsiteX11" fmla="*/ 890042 w 1136930"/>
                <a:gd name="connsiteY11" fmla="*/ 137160 h 589331"/>
                <a:gd name="connsiteX12" fmla="*/ 798602 w 1136930"/>
                <a:gd name="connsiteY12" fmla="*/ 137160 h 589331"/>
                <a:gd name="connsiteX13" fmla="*/ 743738 w 1136930"/>
                <a:gd name="connsiteY13" fmla="*/ 146304 h 589331"/>
                <a:gd name="connsiteX14" fmla="*/ 734594 w 1136930"/>
                <a:gd name="connsiteY14" fmla="*/ 155448 h 589331"/>
                <a:gd name="connsiteX15" fmla="*/ 716306 w 1136930"/>
                <a:gd name="connsiteY15" fmla="*/ 146304 h 589331"/>
                <a:gd name="connsiteX16" fmla="*/ 844322 w 1136930"/>
                <a:gd name="connsiteY16" fmla="*/ 91440 h 589331"/>
                <a:gd name="connsiteX17" fmla="*/ 899186 w 1136930"/>
                <a:gd name="connsiteY17" fmla="*/ 91440 h 589331"/>
                <a:gd name="connsiteX18" fmla="*/ 990626 w 1136930"/>
                <a:gd name="connsiteY18" fmla="*/ 82296 h 589331"/>
                <a:gd name="connsiteX19" fmla="*/ 1118642 w 1136930"/>
                <a:gd name="connsiteY19" fmla="*/ 27432 h 589331"/>
                <a:gd name="connsiteX20" fmla="*/ 1100354 w 1136930"/>
                <a:gd name="connsiteY20" fmla="*/ 0 h 589331"/>
                <a:gd name="connsiteX21" fmla="*/ 1063778 w 1136930"/>
                <a:gd name="connsiteY21" fmla="*/ 27432 h 589331"/>
                <a:gd name="connsiteX22" fmla="*/ 1027202 w 1136930"/>
                <a:gd name="connsiteY22" fmla="*/ 36576 h 589331"/>
                <a:gd name="connsiteX23" fmla="*/ 954050 w 1136930"/>
                <a:gd name="connsiteY23" fmla="*/ 64008 h 589331"/>
                <a:gd name="connsiteX24" fmla="*/ 899186 w 1136930"/>
                <a:gd name="connsiteY24" fmla="*/ 64008 h 589331"/>
                <a:gd name="connsiteX25" fmla="*/ 789458 w 1136930"/>
                <a:gd name="connsiteY25" fmla="*/ 64008 h 589331"/>
                <a:gd name="connsiteX26" fmla="*/ 734594 w 1136930"/>
                <a:gd name="connsiteY26" fmla="*/ 100584 h 589331"/>
                <a:gd name="connsiteX27" fmla="*/ 698018 w 1136930"/>
                <a:gd name="connsiteY27" fmla="*/ 146304 h 589331"/>
                <a:gd name="connsiteX28" fmla="*/ 652298 w 1136930"/>
                <a:gd name="connsiteY28" fmla="*/ 182880 h 589331"/>
                <a:gd name="connsiteX29" fmla="*/ 606578 w 1136930"/>
                <a:gd name="connsiteY29" fmla="*/ 256032 h 589331"/>
                <a:gd name="connsiteX30" fmla="*/ 533426 w 1136930"/>
                <a:gd name="connsiteY30" fmla="*/ 301752 h 589331"/>
                <a:gd name="connsiteX31" fmla="*/ 432842 w 1136930"/>
                <a:gd name="connsiteY31" fmla="*/ 347472 h 589331"/>
                <a:gd name="connsiteX32" fmla="*/ 396266 w 1136930"/>
                <a:gd name="connsiteY32" fmla="*/ 374904 h 589331"/>
                <a:gd name="connsiteX33" fmla="*/ 350546 w 1136930"/>
                <a:gd name="connsiteY33" fmla="*/ 402336 h 589331"/>
                <a:gd name="connsiteX34" fmla="*/ 332258 w 1136930"/>
                <a:gd name="connsiteY34" fmla="*/ 402336 h 589331"/>
                <a:gd name="connsiteX35" fmla="*/ 350546 w 1136930"/>
                <a:gd name="connsiteY35" fmla="*/ 365760 h 589331"/>
                <a:gd name="connsiteX36" fmla="*/ 405410 w 1136930"/>
                <a:gd name="connsiteY36" fmla="*/ 301752 h 589331"/>
                <a:gd name="connsiteX37" fmla="*/ 496850 w 1136930"/>
                <a:gd name="connsiteY37" fmla="*/ 219456 h 589331"/>
                <a:gd name="connsiteX38" fmla="*/ 542570 w 1136930"/>
                <a:gd name="connsiteY38" fmla="*/ 146304 h 589331"/>
                <a:gd name="connsiteX39" fmla="*/ 542570 w 1136930"/>
                <a:gd name="connsiteY39" fmla="*/ 64008 h 589331"/>
                <a:gd name="connsiteX40" fmla="*/ 533426 w 1136930"/>
                <a:gd name="connsiteY40" fmla="*/ 54864 h 589331"/>
                <a:gd name="connsiteX41" fmla="*/ 524282 w 1136930"/>
                <a:gd name="connsiteY41" fmla="*/ 128016 h 589331"/>
                <a:gd name="connsiteX42" fmla="*/ 496850 w 1136930"/>
                <a:gd name="connsiteY42" fmla="*/ 173736 h 589331"/>
                <a:gd name="connsiteX43" fmla="*/ 423698 w 1136930"/>
                <a:gd name="connsiteY43" fmla="*/ 237744 h 589331"/>
                <a:gd name="connsiteX44" fmla="*/ 396266 w 1136930"/>
                <a:gd name="connsiteY44" fmla="*/ 256032 h 589331"/>
                <a:gd name="connsiteX45" fmla="*/ 323114 w 1136930"/>
                <a:gd name="connsiteY45" fmla="*/ 347472 h 589331"/>
                <a:gd name="connsiteX46" fmla="*/ 313970 w 1136930"/>
                <a:gd name="connsiteY46" fmla="*/ 374904 h 589331"/>
                <a:gd name="connsiteX47" fmla="*/ 304826 w 1136930"/>
                <a:gd name="connsiteY47" fmla="*/ 411480 h 589331"/>
                <a:gd name="connsiteX48" fmla="*/ 323114 w 1136930"/>
                <a:gd name="connsiteY48" fmla="*/ 429768 h 589331"/>
                <a:gd name="connsiteX49" fmla="*/ 277394 w 1136930"/>
                <a:gd name="connsiteY49" fmla="*/ 457200 h 589331"/>
                <a:gd name="connsiteX50" fmla="*/ 131090 w 1136930"/>
                <a:gd name="connsiteY50" fmla="*/ 493776 h 589331"/>
                <a:gd name="connsiteX51" fmla="*/ 85370 w 1136930"/>
                <a:gd name="connsiteY51" fmla="*/ 530352 h 589331"/>
                <a:gd name="connsiteX52" fmla="*/ 3074 w 1136930"/>
                <a:gd name="connsiteY52" fmla="*/ 585216 h 589331"/>
                <a:gd name="connsiteX53" fmla="*/ 103816 w 1136930"/>
                <a:gd name="connsiteY53" fmla="*/ 555040 h 589331"/>
                <a:gd name="connsiteX54" fmla="*/ 101389 w 1136930"/>
                <a:gd name="connsiteY54" fmla="*/ 554512 h 589331"/>
                <a:gd name="connsiteX55" fmla="*/ 101388 w 1136930"/>
                <a:gd name="connsiteY55" fmla="*/ 554512 h 589331"/>
                <a:gd name="connsiteX0" fmla="*/ 19040 w 1054582"/>
                <a:gd name="connsiteY0" fmla="*/ 554512 h 567361"/>
                <a:gd name="connsiteX1" fmla="*/ 21468 w 1054582"/>
                <a:gd name="connsiteY1" fmla="*/ 555041 h 567361"/>
                <a:gd name="connsiteX2" fmla="*/ 21310 w 1054582"/>
                <a:gd name="connsiteY2" fmla="*/ 548640 h 567361"/>
                <a:gd name="connsiteX3" fmla="*/ 149326 w 1054582"/>
                <a:gd name="connsiteY3" fmla="*/ 493776 h 567361"/>
                <a:gd name="connsiteX4" fmla="*/ 249910 w 1054582"/>
                <a:gd name="connsiteY4" fmla="*/ 466344 h 567361"/>
                <a:gd name="connsiteX5" fmla="*/ 350494 w 1054582"/>
                <a:gd name="connsiteY5" fmla="*/ 384048 h 567361"/>
                <a:gd name="connsiteX6" fmla="*/ 542518 w 1054582"/>
                <a:gd name="connsiteY6" fmla="*/ 301752 h 567361"/>
                <a:gd name="connsiteX7" fmla="*/ 624814 w 1054582"/>
                <a:gd name="connsiteY7" fmla="*/ 192024 h 567361"/>
                <a:gd name="connsiteX8" fmla="*/ 771118 w 1054582"/>
                <a:gd name="connsiteY8" fmla="*/ 155448 h 567361"/>
                <a:gd name="connsiteX9" fmla="*/ 816838 w 1054582"/>
                <a:gd name="connsiteY9" fmla="*/ 155448 h 567361"/>
                <a:gd name="connsiteX10" fmla="*/ 853414 w 1054582"/>
                <a:gd name="connsiteY10" fmla="*/ 137160 h 567361"/>
                <a:gd name="connsiteX11" fmla="*/ 807694 w 1054582"/>
                <a:gd name="connsiteY11" fmla="*/ 137160 h 567361"/>
                <a:gd name="connsiteX12" fmla="*/ 716254 w 1054582"/>
                <a:gd name="connsiteY12" fmla="*/ 137160 h 567361"/>
                <a:gd name="connsiteX13" fmla="*/ 661390 w 1054582"/>
                <a:gd name="connsiteY13" fmla="*/ 146304 h 567361"/>
                <a:gd name="connsiteX14" fmla="*/ 652246 w 1054582"/>
                <a:gd name="connsiteY14" fmla="*/ 155448 h 567361"/>
                <a:gd name="connsiteX15" fmla="*/ 633958 w 1054582"/>
                <a:gd name="connsiteY15" fmla="*/ 146304 h 567361"/>
                <a:gd name="connsiteX16" fmla="*/ 761974 w 1054582"/>
                <a:gd name="connsiteY16" fmla="*/ 91440 h 567361"/>
                <a:gd name="connsiteX17" fmla="*/ 816838 w 1054582"/>
                <a:gd name="connsiteY17" fmla="*/ 91440 h 567361"/>
                <a:gd name="connsiteX18" fmla="*/ 908278 w 1054582"/>
                <a:gd name="connsiteY18" fmla="*/ 82296 h 567361"/>
                <a:gd name="connsiteX19" fmla="*/ 1036294 w 1054582"/>
                <a:gd name="connsiteY19" fmla="*/ 27432 h 567361"/>
                <a:gd name="connsiteX20" fmla="*/ 1018006 w 1054582"/>
                <a:gd name="connsiteY20" fmla="*/ 0 h 567361"/>
                <a:gd name="connsiteX21" fmla="*/ 981430 w 1054582"/>
                <a:gd name="connsiteY21" fmla="*/ 27432 h 567361"/>
                <a:gd name="connsiteX22" fmla="*/ 944854 w 1054582"/>
                <a:gd name="connsiteY22" fmla="*/ 36576 h 567361"/>
                <a:gd name="connsiteX23" fmla="*/ 871702 w 1054582"/>
                <a:gd name="connsiteY23" fmla="*/ 64008 h 567361"/>
                <a:gd name="connsiteX24" fmla="*/ 816838 w 1054582"/>
                <a:gd name="connsiteY24" fmla="*/ 64008 h 567361"/>
                <a:gd name="connsiteX25" fmla="*/ 707110 w 1054582"/>
                <a:gd name="connsiteY25" fmla="*/ 64008 h 567361"/>
                <a:gd name="connsiteX26" fmla="*/ 652246 w 1054582"/>
                <a:gd name="connsiteY26" fmla="*/ 100584 h 567361"/>
                <a:gd name="connsiteX27" fmla="*/ 615670 w 1054582"/>
                <a:gd name="connsiteY27" fmla="*/ 146304 h 567361"/>
                <a:gd name="connsiteX28" fmla="*/ 569950 w 1054582"/>
                <a:gd name="connsiteY28" fmla="*/ 182880 h 567361"/>
                <a:gd name="connsiteX29" fmla="*/ 524230 w 1054582"/>
                <a:gd name="connsiteY29" fmla="*/ 256032 h 567361"/>
                <a:gd name="connsiteX30" fmla="*/ 451078 w 1054582"/>
                <a:gd name="connsiteY30" fmla="*/ 301752 h 567361"/>
                <a:gd name="connsiteX31" fmla="*/ 350494 w 1054582"/>
                <a:gd name="connsiteY31" fmla="*/ 347472 h 567361"/>
                <a:gd name="connsiteX32" fmla="*/ 313918 w 1054582"/>
                <a:gd name="connsiteY32" fmla="*/ 374904 h 567361"/>
                <a:gd name="connsiteX33" fmla="*/ 268198 w 1054582"/>
                <a:gd name="connsiteY33" fmla="*/ 402336 h 567361"/>
                <a:gd name="connsiteX34" fmla="*/ 249910 w 1054582"/>
                <a:gd name="connsiteY34" fmla="*/ 402336 h 567361"/>
                <a:gd name="connsiteX35" fmla="*/ 268198 w 1054582"/>
                <a:gd name="connsiteY35" fmla="*/ 365760 h 567361"/>
                <a:gd name="connsiteX36" fmla="*/ 323062 w 1054582"/>
                <a:gd name="connsiteY36" fmla="*/ 301752 h 567361"/>
                <a:gd name="connsiteX37" fmla="*/ 414502 w 1054582"/>
                <a:gd name="connsiteY37" fmla="*/ 219456 h 567361"/>
                <a:gd name="connsiteX38" fmla="*/ 460222 w 1054582"/>
                <a:gd name="connsiteY38" fmla="*/ 146304 h 567361"/>
                <a:gd name="connsiteX39" fmla="*/ 460222 w 1054582"/>
                <a:gd name="connsiteY39" fmla="*/ 64008 h 567361"/>
                <a:gd name="connsiteX40" fmla="*/ 451078 w 1054582"/>
                <a:gd name="connsiteY40" fmla="*/ 54864 h 567361"/>
                <a:gd name="connsiteX41" fmla="*/ 441934 w 1054582"/>
                <a:gd name="connsiteY41" fmla="*/ 128016 h 567361"/>
                <a:gd name="connsiteX42" fmla="*/ 414502 w 1054582"/>
                <a:gd name="connsiteY42" fmla="*/ 173736 h 567361"/>
                <a:gd name="connsiteX43" fmla="*/ 341350 w 1054582"/>
                <a:gd name="connsiteY43" fmla="*/ 237744 h 567361"/>
                <a:gd name="connsiteX44" fmla="*/ 313918 w 1054582"/>
                <a:gd name="connsiteY44" fmla="*/ 256032 h 567361"/>
                <a:gd name="connsiteX45" fmla="*/ 240766 w 1054582"/>
                <a:gd name="connsiteY45" fmla="*/ 347472 h 567361"/>
                <a:gd name="connsiteX46" fmla="*/ 231622 w 1054582"/>
                <a:gd name="connsiteY46" fmla="*/ 374904 h 567361"/>
                <a:gd name="connsiteX47" fmla="*/ 222478 w 1054582"/>
                <a:gd name="connsiteY47" fmla="*/ 411480 h 567361"/>
                <a:gd name="connsiteX48" fmla="*/ 240766 w 1054582"/>
                <a:gd name="connsiteY48" fmla="*/ 429768 h 567361"/>
                <a:gd name="connsiteX49" fmla="*/ 195046 w 1054582"/>
                <a:gd name="connsiteY49" fmla="*/ 457200 h 567361"/>
                <a:gd name="connsiteX50" fmla="*/ 48742 w 1054582"/>
                <a:gd name="connsiteY50" fmla="*/ 493776 h 567361"/>
                <a:gd name="connsiteX51" fmla="*/ 3022 w 1054582"/>
                <a:gd name="connsiteY51" fmla="*/ 530352 h 567361"/>
                <a:gd name="connsiteX52" fmla="*/ 37669 w 1054582"/>
                <a:gd name="connsiteY52" fmla="*/ 480583 h 567361"/>
                <a:gd name="connsiteX53" fmla="*/ 21468 w 1054582"/>
                <a:gd name="connsiteY53" fmla="*/ 555040 h 567361"/>
                <a:gd name="connsiteX54" fmla="*/ 19041 w 1054582"/>
                <a:gd name="connsiteY54" fmla="*/ 554512 h 567361"/>
                <a:gd name="connsiteX55" fmla="*/ 19040 w 1054582"/>
                <a:gd name="connsiteY55" fmla="*/ 554512 h 567361"/>
                <a:gd name="connsiteX0" fmla="*/ 112127 w 1054582"/>
                <a:gd name="connsiteY0" fmla="*/ 496784 h 567361"/>
                <a:gd name="connsiteX1" fmla="*/ 21468 w 1054582"/>
                <a:gd name="connsiteY1" fmla="*/ 555041 h 567361"/>
                <a:gd name="connsiteX2" fmla="*/ 21310 w 1054582"/>
                <a:gd name="connsiteY2" fmla="*/ 548640 h 567361"/>
                <a:gd name="connsiteX3" fmla="*/ 149326 w 1054582"/>
                <a:gd name="connsiteY3" fmla="*/ 493776 h 567361"/>
                <a:gd name="connsiteX4" fmla="*/ 249910 w 1054582"/>
                <a:gd name="connsiteY4" fmla="*/ 466344 h 567361"/>
                <a:gd name="connsiteX5" fmla="*/ 350494 w 1054582"/>
                <a:gd name="connsiteY5" fmla="*/ 384048 h 567361"/>
                <a:gd name="connsiteX6" fmla="*/ 542518 w 1054582"/>
                <a:gd name="connsiteY6" fmla="*/ 301752 h 567361"/>
                <a:gd name="connsiteX7" fmla="*/ 624814 w 1054582"/>
                <a:gd name="connsiteY7" fmla="*/ 192024 h 567361"/>
                <a:gd name="connsiteX8" fmla="*/ 771118 w 1054582"/>
                <a:gd name="connsiteY8" fmla="*/ 155448 h 567361"/>
                <a:gd name="connsiteX9" fmla="*/ 816838 w 1054582"/>
                <a:gd name="connsiteY9" fmla="*/ 155448 h 567361"/>
                <a:gd name="connsiteX10" fmla="*/ 853414 w 1054582"/>
                <a:gd name="connsiteY10" fmla="*/ 137160 h 567361"/>
                <a:gd name="connsiteX11" fmla="*/ 807694 w 1054582"/>
                <a:gd name="connsiteY11" fmla="*/ 137160 h 567361"/>
                <a:gd name="connsiteX12" fmla="*/ 716254 w 1054582"/>
                <a:gd name="connsiteY12" fmla="*/ 137160 h 567361"/>
                <a:gd name="connsiteX13" fmla="*/ 661390 w 1054582"/>
                <a:gd name="connsiteY13" fmla="*/ 146304 h 567361"/>
                <a:gd name="connsiteX14" fmla="*/ 652246 w 1054582"/>
                <a:gd name="connsiteY14" fmla="*/ 155448 h 567361"/>
                <a:gd name="connsiteX15" fmla="*/ 633958 w 1054582"/>
                <a:gd name="connsiteY15" fmla="*/ 146304 h 567361"/>
                <a:gd name="connsiteX16" fmla="*/ 761974 w 1054582"/>
                <a:gd name="connsiteY16" fmla="*/ 91440 h 567361"/>
                <a:gd name="connsiteX17" fmla="*/ 816838 w 1054582"/>
                <a:gd name="connsiteY17" fmla="*/ 91440 h 567361"/>
                <a:gd name="connsiteX18" fmla="*/ 908278 w 1054582"/>
                <a:gd name="connsiteY18" fmla="*/ 82296 h 567361"/>
                <a:gd name="connsiteX19" fmla="*/ 1036294 w 1054582"/>
                <a:gd name="connsiteY19" fmla="*/ 27432 h 567361"/>
                <a:gd name="connsiteX20" fmla="*/ 1018006 w 1054582"/>
                <a:gd name="connsiteY20" fmla="*/ 0 h 567361"/>
                <a:gd name="connsiteX21" fmla="*/ 981430 w 1054582"/>
                <a:gd name="connsiteY21" fmla="*/ 27432 h 567361"/>
                <a:gd name="connsiteX22" fmla="*/ 944854 w 1054582"/>
                <a:gd name="connsiteY22" fmla="*/ 36576 h 567361"/>
                <a:gd name="connsiteX23" fmla="*/ 871702 w 1054582"/>
                <a:gd name="connsiteY23" fmla="*/ 64008 h 567361"/>
                <a:gd name="connsiteX24" fmla="*/ 816838 w 1054582"/>
                <a:gd name="connsiteY24" fmla="*/ 64008 h 567361"/>
                <a:gd name="connsiteX25" fmla="*/ 707110 w 1054582"/>
                <a:gd name="connsiteY25" fmla="*/ 64008 h 567361"/>
                <a:gd name="connsiteX26" fmla="*/ 652246 w 1054582"/>
                <a:gd name="connsiteY26" fmla="*/ 100584 h 567361"/>
                <a:gd name="connsiteX27" fmla="*/ 615670 w 1054582"/>
                <a:gd name="connsiteY27" fmla="*/ 146304 h 567361"/>
                <a:gd name="connsiteX28" fmla="*/ 569950 w 1054582"/>
                <a:gd name="connsiteY28" fmla="*/ 182880 h 567361"/>
                <a:gd name="connsiteX29" fmla="*/ 524230 w 1054582"/>
                <a:gd name="connsiteY29" fmla="*/ 256032 h 567361"/>
                <a:gd name="connsiteX30" fmla="*/ 451078 w 1054582"/>
                <a:gd name="connsiteY30" fmla="*/ 301752 h 567361"/>
                <a:gd name="connsiteX31" fmla="*/ 350494 w 1054582"/>
                <a:gd name="connsiteY31" fmla="*/ 347472 h 567361"/>
                <a:gd name="connsiteX32" fmla="*/ 313918 w 1054582"/>
                <a:gd name="connsiteY32" fmla="*/ 374904 h 567361"/>
                <a:gd name="connsiteX33" fmla="*/ 268198 w 1054582"/>
                <a:gd name="connsiteY33" fmla="*/ 402336 h 567361"/>
                <a:gd name="connsiteX34" fmla="*/ 249910 w 1054582"/>
                <a:gd name="connsiteY34" fmla="*/ 402336 h 567361"/>
                <a:gd name="connsiteX35" fmla="*/ 268198 w 1054582"/>
                <a:gd name="connsiteY35" fmla="*/ 365760 h 567361"/>
                <a:gd name="connsiteX36" fmla="*/ 323062 w 1054582"/>
                <a:gd name="connsiteY36" fmla="*/ 301752 h 567361"/>
                <a:gd name="connsiteX37" fmla="*/ 414502 w 1054582"/>
                <a:gd name="connsiteY37" fmla="*/ 219456 h 567361"/>
                <a:gd name="connsiteX38" fmla="*/ 460222 w 1054582"/>
                <a:gd name="connsiteY38" fmla="*/ 146304 h 567361"/>
                <a:gd name="connsiteX39" fmla="*/ 460222 w 1054582"/>
                <a:gd name="connsiteY39" fmla="*/ 64008 h 567361"/>
                <a:gd name="connsiteX40" fmla="*/ 451078 w 1054582"/>
                <a:gd name="connsiteY40" fmla="*/ 54864 h 567361"/>
                <a:gd name="connsiteX41" fmla="*/ 441934 w 1054582"/>
                <a:gd name="connsiteY41" fmla="*/ 128016 h 567361"/>
                <a:gd name="connsiteX42" fmla="*/ 414502 w 1054582"/>
                <a:gd name="connsiteY42" fmla="*/ 173736 h 567361"/>
                <a:gd name="connsiteX43" fmla="*/ 341350 w 1054582"/>
                <a:gd name="connsiteY43" fmla="*/ 237744 h 567361"/>
                <a:gd name="connsiteX44" fmla="*/ 313918 w 1054582"/>
                <a:gd name="connsiteY44" fmla="*/ 256032 h 567361"/>
                <a:gd name="connsiteX45" fmla="*/ 240766 w 1054582"/>
                <a:gd name="connsiteY45" fmla="*/ 347472 h 567361"/>
                <a:gd name="connsiteX46" fmla="*/ 231622 w 1054582"/>
                <a:gd name="connsiteY46" fmla="*/ 374904 h 567361"/>
                <a:gd name="connsiteX47" fmla="*/ 222478 w 1054582"/>
                <a:gd name="connsiteY47" fmla="*/ 411480 h 567361"/>
                <a:gd name="connsiteX48" fmla="*/ 240766 w 1054582"/>
                <a:gd name="connsiteY48" fmla="*/ 429768 h 567361"/>
                <a:gd name="connsiteX49" fmla="*/ 195046 w 1054582"/>
                <a:gd name="connsiteY49" fmla="*/ 457200 h 567361"/>
                <a:gd name="connsiteX50" fmla="*/ 48742 w 1054582"/>
                <a:gd name="connsiteY50" fmla="*/ 493776 h 567361"/>
                <a:gd name="connsiteX51" fmla="*/ 3022 w 1054582"/>
                <a:gd name="connsiteY51" fmla="*/ 530352 h 567361"/>
                <a:gd name="connsiteX52" fmla="*/ 37669 w 1054582"/>
                <a:gd name="connsiteY52" fmla="*/ 480583 h 567361"/>
                <a:gd name="connsiteX53" fmla="*/ 21468 w 1054582"/>
                <a:gd name="connsiteY53" fmla="*/ 555040 h 567361"/>
                <a:gd name="connsiteX54" fmla="*/ 19041 w 1054582"/>
                <a:gd name="connsiteY54" fmla="*/ 554512 h 567361"/>
                <a:gd name="connsiteX55" fmla="*/ 112127 w 1054582"/>
                <a:gd name="connsiteY55" fmla="*/ 496784 h 567361"/>
                <a:gd name="connsiteX0" fmla="*/ 112127 w 1054582"/>
                <a:gd name="connsiteY0" fmla="*/ 496784 h 558851"/>
                <a:gd name="connsiteX1" fmla="*/ 21468 w 1054582"/>
                <a:gd name="connsiteY1" fmla="*/ 555041 h 558851"/>
                <a:gd name="connsiteX2" fmla="*/ 21310 w 1054582"/>
                <a:gd name="connsiteY2" fmla="*/ 548640 h 558851"/>
                <a:gd name="connsiteX3" fmla="*/ 149326 w 1054582"/>
                <a:gd name="connsiteY3" fmla="*/ 493776 h 558851"/>
                <a:gd name="connsiteX4" fmla="*/ 249910 w 1054582"/>
                <a:gd name="connsiteY4" fmla="*/ 466344 h 558851"/>
                <a:gd name="connsiteX5" fmla="*/ 350494 w 1054582"/>
                <a:gd name="connsiteY5" fmla="*/ 384048 h 558851"/>
                <a:gd name="connsiteX6" fmla="*/ 542518 w 1054582"/>
                <a:gd name="connsiteY6" fmla="*/ 301752 h 558851"/>
                <a:gd name="connsiteX7" fmla="*/ 624814 w 1054582"/>
                <a:gd name="connsiteY7" fmla="*/ 192024 h 558851"/>
                <a:gd name="connsiteX8" fmla="*/ 771118 w 1054582"/>
                <a:gd name="connsiteY8" fmla="*/ 155448 h 558851"/>
                <a:gd name="connsiteX9" fmla="*/ 816838 w 1054582"/>
                <a:gd name="connsiteY9" fmla="*/ 155448 h 558851"/>
                <a:gd name="connsiteX10" fmla="*/ 853414 w 1054582"/>
                <a:gd name="connsiteY10" fmla="*/ 137160 h 558851"/>
                <a:gd name="connsiteX11" fmla="*/ 807694 w 1054582"/>
                <a:gd name="connsiteY11" fmla="*/ 137160 h 558851"/>
                <a:gd name="connsiteX12" fmla="*/ 716254 w 1054582"/>
                <a:gd name="connsiteY12" fmla="*/ 137160 h 558851"/>
                <a:gd name="connsiteX13" fmla="*/ 661390 w 1054582"/>
                <a:gd name="connsiteY13" fmla="*/ 146304 h 558851"/>
                <a:gd name="connsiteX14" fmla="*/ 652246 w 1054582"/>
                <a:gd name="connsiteY14" fmla="*/ 155448 h 558851"/>
                <a:gd name="connsiteX15" fmla="*/ 633958 w 1054582"/>
                <a:gd name="connsiteY15" fmla="*/ 146304 h 558851"/>
                <a:gd name="connsiteX16" fmla="*/ 761974 w 1054582"/>
                <a:gd name="connsiteY16" fmla="*/ 91440 h 558851"/>
                <a:gd name="connsiteX17" fmla="*/ 816838 w 1054582"/>
                <a:gd name="connsiteY17" fmla="*/ 91440 h 558851"/>
                <a:gd name="connsiteX18" fmla="*/ 908278 w 1054582"/>
                <a:gd name="connsiteY18" fmla="*/ 82296 h 558851"/>
                <a:gd name="connsiteX19" fmla="*/ 1036294 w 1054582"/>
                <a:gd name="connsiteY19" fmla="*/ 27432 h 558851"/>
                <a:gd name="connsiteX20" fmla="*/ 1018006 w 1054582"/>
                <a:gd name="connsiteY20" fmla="*/ 0 h 558851"/>
                <a:gd name="connsiteX21" fmla="*/ 981430 w 1054582"/>
                <a:gd name="connsiteY21" fmla="*/ 27432 h 558851"/>
                <a:gd name="connsiteX22" fmla="*/ 944854 w 1054582"/>
                <a:gd name="connsiteY22" fmla="*/ 36576 h 558851"/>
                <a:gd name="connsiteX23" fmla="*/ 871702 w 1054582"/>
                <a:gd name="connsiteY23" fmla="*/ 64008 h 558851"/>
                <a:gd name="connsiteX24" fmla="*/ 816838 w 1054582"/>
                <a:gd name="connsiteY24" fmla="*/ 64008 h 558851"/>
                <a:gd name="connsiteX25" fmla="*/ 707110 w 1054582"/>
                <a:gd name="connsiteY25" fmla="*/ 64008 h 558851"/>
                <a:gd name="connsiteX26" fmla="*/ 652246 w 1054582"/>
                <a:gd name="connsiteY26" fmla="*/ 100584 h 558851"/>
                <a:gd name="connsiteX27" fmla="*/ 615670 w 1054582"/>
                <a:gd name="connsiteY27" fmla="*/ 146304 h 558851"/>
                <a:gd name="connsiteX28" fmla="*/ 569950 w 1054582"/>
                <a:gd name="connsiteY28" fmla="*/ 182880 h 558851"/>
                <a:gd name="connsiteX29" fmla="*/ 524230 w 1054582"/>
                <a:gd name="connsiteY29" fmla="*/ 256032 h 558851"/>
                <a:gd name="connsiteX30" fmla="*/ 451078 w 1054582"/>
                <a:gd name="connsiteY30" fmla="*/ 301752 h 558851"/>
                <a:gd name="connsiteX31" fmla="*/ 350494 w 1054582"/>
                <a:gd name="connsiteY31" fmla="*/ 347472 h 558851"/>
                <a:gd name="connsiteX32" fmla="*/ 313918 w 1054582"/>
                <a:gd name="connsiteY32" fmla="*/ 374904 h 558851"/>
                <a:gd name="connsiteX33" fmla="*/ 268198 w 1054582"/>
                <a:gd name="connsiteY33" fmla="*/ 402336 h 558851"/>
                <a:gd name="connsiteX34" fmla="*/ 249910 w 1054582"/>
                <a:gd name="connsiteY34" fmla="*/ 402336 h 558851"/>
                <a:gd name="connsiteX35" fmla="*/ 268198 w 1054582"/>
                <a:gd name="connsiteY35" fmla="*/ 365760 h 558851"/>
                <a:gd name="connsiteX36" fmla="*/ 323062 w 1054582"/>
                <a:gd name="connsiteY36" fmla="*/ 301752 h 558851"/>
                <a:gd name="connsiteX37" fmla="*/ 414502 w 1054582"/>
                <a:gd name="connsiteY37" fmla="*/ 219456 h 558851"/>
                <a:gd name="connsiteX38" fmla="*/ 460222 w 1054582"/>
                <a:gd name="connsiteY38" fmla="*/ 146304 h 558851"/>
                <a:gd name="connsiteX39" fmla="*/ 460222 w 1054582"/>
                <a:gd name="connsiteY39" fmla="*/ 64008 h 558851"/>
                <a:gd name="connsiteX40" fmla="*/ 451078 w 1054582"/>
                <a:gd name="connsiteY40" fmla="*/ 54864 h 558851"/>
                <a:gd name="connsiteX41" fmla="*/ 441934 w 1054582"/>
                <a:gd name="connsiteY41" fmla="*/ 128016 h 558851"/>
                <a:gd name="connsiteX42" fmla="*/ 414502 w 1054582"/>
                <a:gd name="connsiteY42" fmla="*/ 173736 h 558851"/>
                <a:gd name="connsiteX43" fmla="*/ 341350 w 1054582"/>
                <a:gd name="connsiteY43" fmla="*/ 237744 h 558851"/>
                <a:gd name="connsiteX44" fmla="*/ 313918 w 1054582"/>
                <a:gd name="connsiteY44" fmla="*/ 256032 h 558851"/>
                <a:gd name="connsiteX45" fmla="*/ 240766 w 1054582"/>
                <a:gd name="connsiteY45" fmla="*/ 347472 h 558851"/>
                <a:gd name="connsiteX46" fmla="*/ 231622 w 1054582"/>
                <a:gd name="connsiteY46" fmla="*/ 374904 h 558851"/>
                <a:gd name="connsiteX47" fmla="*/ 222478 w 1054582"/>
                <a:gd name="connsiteY47" fmla="*/ 411480 h 558851"/>
                <a:gd name="connsiteX48" fmla="*/ 240766 w 1054582"/>
                <a:gd name="connsiteY48" fmla="*/ 429768 h 558851"/>
                <a:gd name="connsiteX49" fmla="*/ 195046 w 1054582"/>
                <a:gd name="connsiteY49" fmla="*/ 457200 h 558851"/>
                <a:gd name="connsiteX50" fmla="*/ 48742 w 1054582"/>
                <a:gd name="connsiteY50" fmla="*/ 493776 h 558851"/>
                <a:gd name="connsiteX51" fmla="*/ 3022 w 1054582"/>
                <a:gd name="connsiteY51" fmla="*/ 530352 h 558851"/>
                <a:gd name="connsiteX52" fmla="*/ 37669 w 1054582"/>
                <a:gd name="connsiteY52" fmla="*/ 480583 h 558851"/>
                <a:gd name="connsiteX53" fmla="*/ 21468 w 1054582"/>
                <a:gd name="connsiteY53" fmla="*/ 555040 h 558851"/>
                <a:gd name="connsiteX54" fmla="*/ 37669 w 1054582"/>
                <a:gd name="connsiteY54" fmla="*/ 480583 h 558851"/>
                <a:gd name="connsiteX55" fmla="*/ 112127 w 1054582"/>
                <a:gd name="connsiteY55" fmla="*/ 496784 h 558851"/>
                <a:gd name="connsiteX0" fmla="*/ 112127 w 1054582"/>
                <a:gd name="connsiteY0" fmla="*/ 496784 h 558851"/>
                <a:gd name="connsiteX1" fmla="*/ 21468 w 1054582"/>
                <a:gd name="connsiteY1" fmla="*/ 555041 h 558851"/>
                <a:gd name="connsiteX2" fmla="*/ 21310 w 1054582"/>
                <a:gd name="connsiteY2" fmla="*/ 548640 h 558851"/>
                <a:gd name="connsiteX3" fmla="*/ 149326 w 1054582"/>
                <a:gd name="connsiteY3" fmla="*/ 493776 h 558851"/>
                <a:gd name="connsiteX4" fmla="*/ 249910 w 1054582"/>
                <a:gd name="connsiteY4" fmla="*/ 466344 h 558851"/>
                <a:gd name="connsiteX5" fmla="*/ 350494 w 1054582"/>
                <a:gd name="connsiteY5" fmla="*/ 384048 h 558851"/>
                <a:gd name="connsiteX6" fmla="*/ 542518 w 1054582"/>
                <a:gd name="connsiteY6" fmla="*/ 301752 h 558851"/>
                <a:gd name="connsiteX7" fmla="*/ 624814 w 1054582"/>
                <a:gd name="connsiteY7" fmla="*/ 192024 h 558851"/>
                <a:gd name="connsiteX8" fmla="*/ 771118 w 1054582"/>
                <a:gd name="connsiteY8" fmla="*/ 155448 h 558851"/>
                <a:gd name="connsiteX9" fmla="*/ 816838 w 1054582"/>
                <a:gd name="connsiteY9" fmla="*/ 155448 h 558851"/>
                <a:gd name="connsiteX10" fmla="*/ 853414 w 1054582"/>
                <a:gd name="connsiteY10" fmla="*/ 137160 h 558851"/>
                <a:gd name="connsiteX11" fmla="*/ 807694 w 1054582"/>
                <a:gd name="connsiteY11" fmla="*/ 137160 h 558851"/>
                <a:gd name="connsiteX12" fmla="*/ 716254 w 1054582"/>
                <a:gd name="connsiteY12" fmla="*/ 137160 h 558851"/>
                <a:gd name="connsiteX13" fmla="*/ 661390 w 1054582"/>
                <a:gd name="connsiteY13" fmla="*/ 146304 h 558851"/>
                <a:gd name="connsiteX14" fmla="*/ 652246 w 1054582"/>
                <a:gd name="connsiteY14" fmla="*/ 155448 h 558851"/>
                <a:gd name="connsiteX15" fmla="*/ 633958 w 1054582"/>
                <a:gd name="connsiteY15" fmla="*/ 146304 h 558851"/>
                <a:gd name="connsiteX16" fmla="*/ 761974 w 1054582"/>
                <a:gd name="connsiteY16" fmla="*/ 91440 h 558851"/>
                <a:gd name="connsiteX17" fmla="*/ 816838 w 1054582"/>
                <a:gd name="connsiteY17" fmla="*/ 91440 h 558851"/>
                <a:gd name="connsiteX18" fmla="*/ 908278 w 1054582"/>
                <a:gd name="connsiteY18" fmla="*/ 82296 h 558851"/>
                <a:gd name="connsiteX19" fmla="*/ 1036294 w 1054582"/>
                <a:gd name="connsiteY19" fmla="*/ 27432 h 558851"/>
                <a:gd name="connsiteX20" fmla="*/ 1018006 w 1054582"/>
                <a:gd name="connsiteY20" fmla="*/ 0 h 558851"/>
                <a:gd name="connsiteX21" fmla="*/ 981430 w 1054582"/>
                <a:gd name="connsiteY21" fmla="*/ 27432 h 558851"/>
                <a:gd name="connsiteX22" fmla="*/ 944854 w 1054582"/>
                <a:gd name="connsiteY22" fmla="*/ 36576 h 558851"/>
                <a:gd name="connsiteX23" fmla="*/ 871702 w 1054582"/>
                <a:gd name="connsiteY23" fmla="*/ 64008 h 558851"/>
                <a:gd name="connsiteX24" fmla="*/ 816838 w 1054582"/>
                <a:gd name="connsiteY24" fmla="*/ 64008 h 558851"/>
                <a:gd name="connsiteX25" fmla="*/ 707110 w 1054582"/>
                <a:gd name="connsiteY25" fmla="*/ 64008 h 558851"/>
                <a:gd name="connsiteX26" fmla="*/ 652246 w 1054582"/>
                <a:gd name="connsiteY26" fmla="*/ 100584 h 558851"/>
                <a:gd name="connsiteX27" fmla="*/ 615670 w 1054582"/>
                <a:gd name="connsiteY27" fmla="*/ 146304 h 558851"/>
                <a:gd name="connsiteX28" fmla="*/ 569950 w 1054582"/>
                <a:gd name="connsiteY28" fmla="*/ 182880 h 558851"/>
                <a:gd name="connsiteX29" fmla="*/ 524230 w 1054582"/>
                <a:gd name="connsiteY29" fmla="*/ 256032 h 558851"/>
                <a:gd name="connsiteX30" fmla="*/ 451078 w 1054582"/>
                <a:gd name="connsiteY30" fmla="*/ 301752 h 558851"/>
                <a:gd name="connsiteX31" fmla="*/ 350494 w 1054582"/>
                <a:gd name="connsiteY31" fmla="*/ 347472 h 558851"/>
                <a:gd name="connsiteX32" fmla="*/ 313918 w 1054582"/>
                <a:gd name="connsiteY32" fmla="*/ 374904 h 558851"/>
                <a:gd name="connsiteX33" fmla="*/ 268198 w 1054582"/>
                <a:gd name="connsiteY33" fmla="*/ 402336 h 558851"/>
                <a:gd name="connsiteX34" fmla="*/ 249910 w 1054582"/>
                <a:gd name="connsiteY34" fmla="*/ 402336 h 558851"/>
                <a:gd name="connsiteX35" fmla="*/ 268198 w 1054582"/>
                <a:gd name="connsiteY35" fmla="*/ 365760 h 558851"/>
                <a:gd name="connsiteX36" fmla="*/ 323062 w 1054582"/>
                <a:gd name="connsiteY36" fmla="*/ 301752 h 558851"/>
                <a:gd name="connsiteX37" fmla="*/ 414502 w 1054582"/>
                <a:gd name="connsiteY37" fmla="*/ 219456 h 558851"/>
                <a:gd name="connsiteX38" fmla="*/ 460222 w 1054582"/>
                <a:gd name="connsiteY38" fmla="*/ 146304 h 558851"/>
                <a:gd name="connsiteX39" fmla="*/ 460222 w 1054582"/>
                <a:gd name="connsiteY39" fmla="*/ 64008 h 558851"/>
                <a:gd name="connsiteX40" fmla="*/ 451078 w 1054582"/>
                <a:gd name="connsiteY40" fmla="*/ 54864 h 558851"/>
                <a:gd name="connsiteX41" fmla="*/ 441934 w 1054582"/>
                <a:gd name="connsiteY41" fmla="*/ 128016 h 558851"/>
                <a:gd name="connsiteX42" fmla="*/ 414502 w 1054582"/>
                <a:gd name="connsiteY42" fmla="*/ 173736 h 558851"/>
                <a:gd name="connsiteX43" fmla="*/ 341350 w 1054582"/>
                <a:gd name="connsiteY43" fmla="*/ 237744 h 558851"/>
                <a:gd name="connsiteX44" fmla="*/ 313918 w 1054582"/>
                <a:gd name="connsiteY44" fmla="*/ 256032 h 558851"/>
                <a:gd name="connsiteX45" fmla="*/ 240766 w 1054582"/>
                <a:gd name="connsiteY45" fmla="*/ 347472 h 558851"/>
                <a:gd name="connsiteX46" fmla="*/ 231622 w 1054582"/>
                <a:gd name="connsiteY46" fmla="*/ 374904 h 558851"/>
                <a:gd name="connsiteX47" fmla="*/ 222478 w 1054582"/>
                <a:gd name="connsiteY47" fmla="*/ 411480 h 558851"/>
                <a:gd name="connsiteX48" fmla="*/ 240766 w 1054582"/>
                <a:gd name="connsiteY48" fmla="*/ 429768 h 558851"/>
                <a:gd name="connsiteX49" fmla="*/ 195046 w 1054582"/>
                <a:gd name="connsiteY49" fmla="*/ 457200 h 558851"/>
                <a:gd name="connsiteX50" fmla="*/ 48742 w 1054582"/>
                <a:gd name="connsiteY50" fmla="*/ 493776 h 558851"/>
                <a:gd name="connsiteX51" fmla="*/ 3022 w 1054582"/>
                <a:gd name="connsiteY51" fmla="*/ 530352 h 558851"/>
                <a:gd name="connsiteX52" fmla="*/ 37669 w 1054582"/>
                <a:gd name="connsiteY52" fmla="*/ 480583 h 558851"/>
                <a:gd name="connsiteX53" fmla="*/ 21468 w 1054582"/>
                <a:gd name="connsiteY53" fmla="*/ 555040 h 558851"/>
                <a:gd name="connsiteX54" fmla="*/ 112127 w 1054582"/>
                <a:gd name="connsiteY54" fmla="*/ 496784 h 558851"/>
                <a:gd name="connsiteX55" fmla="*/ 112127 w 1054582"/>
                <a:gd name="connsiteY55" fmla="*/ 496784 h 558851"/>
                <a:gd name="connsiteX0" fmla="*/ 112127 w 1054582"/>
                <a:gd name="connsiteY0" fmla="*/ 496784 h 558851"/>
                <a:gd name="connsiteX1" fmla="*/ 21468 w 1054582"/>
                <a:gd name="connsiteY1" fmla="*/ 555041 h 558851"/>
                <a:gd name="connsiteX2" fmla="*/ 21310 w 1054582"/>
                <a:gd name="connsiteY2" fmla="*/ 548640 h 558851"/>
                <a:gd name="connsiteX3" fmla="*/ 149326 w 1054582"/>
                <a:gd name="connsiteY3" fmla="*/ 493776 h 558851"/>
                <a:gd name="connsiteX4" fmla="*/ 249910 w 1054582"/>
                <a:gd name="connsiteY4" fmla="*/ 466344 h 558851"/>
                <a:gd name="connsiteX5" fmla="*/ 350494 w 1054582"/>
                <a:gd name="connsiteY5" fmla="*/ 384048 h 558851"/>
                <a:gd name="connsiteX6" fmla="*/ 542518 w 1054582"/>
                <a:gd name="connsiteY6" fmla="*/ 301752 h 558851"/>
                <a:gd name="connsiteX7" fmla="*/ 624814 w 1054582"/>
                <a:gd name="connsiteY7" fmla="*/ 192024 h 558851"/>
                <a:gd name="connsiteX8" fmla="*/ 771118 w 1054582"/>
                <a:gd name="connsiteY8" fmla="*/ 155448 h 558851"/>
                <a:gd name="connsiteX9" fmla="*/ 816838 w 1054582"/>
                <a:gd name="connsiteY9" fmla="*/ 155448 h 558851"/>
                <a:gd name="connsiteX10" fmla="*/ 853414 w 1054582"/>
                <a:gd name="connsiteY10" fmla="*/ 137160 h 558851"/>
                <a:gd name="connsiteX11" fmla="*/ 807694 w 1054582"/>
                <a:gd name="connsiteY11" fmla="*/ 137160 h 558851"/>
                <a:gd name="connsiteX12" fmla="*/ 716254 w 1054582"/>
                <a:gd name="connsiteY12" fmla="*/ 137160 h 558851"/>
                <a:gd name="connsiteX13" fmla="*/ 661390 w 1054582"/>
                <a:gd name="connsiteY13" fmla="*/ 146304 h 558851"/>
                <a:gd name="connsiteX14" fmla="*/ 652246 w 1054582"/>
                <a:gd name="connsiteY14" fmla="*/ 155448 h 558851"/>
                <a:gd name="connsiteX15" fmla="*/ 633958 w 1054582"/>
                <a:gd name="connsiteY15" fmla="*/ 146304 h 558851"/>
                <a:gd name="connsiteX16" fmla="*/ 761974 w 1054582"/>
                <a:gd name="connsiteY16" fmla="*/ 91440 h 558851"/>
                <a:gd name="connsiteX17" fmla="*/ 816838 w 1054582"/>
                <a:gd name="connsiteY17" fmla="*/ 91440 h 558851"/>
                <a:gd name="connsiteX18" fmla="*/ 908278 w 1054582"/>
                <a:gd name="connsiteY18" fmla="*/ 82296 h 558851"/>
                <a:gd name="connsiteX19" fmla="*/ 1036294 w 1054582"/>
                <a:gd name="connsiteY19" fmla="*/ 27432 h 558851"/>
                <a:gd name="connsiteX20" fmla="*/ 1018006 w 1054582"/>
                <a:gd name="connsiteY20" fmla="*/ 0 h 558851"/>
                <a:gd name="connsiteX21" fmla="*/ 981430 w 1054582"/>
                <a:gd name="connsiteY21" fmla="*/ 27432 h 558851"/>
                <a:gd name="connsiteX22" fmla="*/ 944854 w 1054582"/>
                <a:gd name="connsiteY22" fmla="*/ 36576 h 558851"/>
                <a:gd name="connsiteX23" fmla="*/ 871702 w 1054582"/>
                <a:gd name="connsiteY23" fmla="*/ 64008 h 558851"/>
                <a:gd name="connsiteX24" fmla="*/ 816838 w 1054582"/>
                <a:gd name="connsiteY24" fmla="*/ 64008 h 558851"/>
                <a:gd name="connsiteX25" fmla="*/ 707110 w 1054582"/>
                <a:gd name="connsiteY25" fmla="*/ 64008 h 558851"/>
                <a:gd name="connsiteX26" fmla="*/ 652246 w 1054582"/>
                <a:gd name="connsiteY26" fmla="*/ 100584 h 558851"/>
                <a:gd name="connsiteX27" fmla="*/ 615670 w 1054582"/>
                <a:gd name="connsiteY27" fmla="*/ 146304 h 558851"/>
                <a:gd name="connsiteX28" fmla="*/ 569950 w 1054582"/>
                <a:gd name="connsiteY28" fmla="*/ 182880 h 558851"/>
                <a:gd name="connsiteX29" fmla="*/ 524230 w 1054582"/>
                <a:gd name="connsiteY29" fmla="*/ 256032 h 558851"/>
                <a:gd name="connsiteX30" fmla="*/ 451078 w 1054582"/>
                <a:gd name="connsiteY30" fmla="*/ 301752 h 558851"/>
                <a:gd name="connsiteX31" fmla="*/ 350494 w 1054582"/>
                <a:gd name="connsiteY31" fmla="*/ 347472 h 558851"/>
                <a:gd name="connsiteX32" fmla="*/ 313918 w 1054582"/>
                <a:gd name="connsiteY32" fmla="*/ 374904 h 558851"/>
                <a:gd name="connsiteX33" fmla="*/ 268198 w 1054582"/>
                <a:gd name="connsiteY33" fmla="*/ 402336 h 558851"/>
                <a:gd name="connsiteX34" fmla="*/ 249910 w 1054582"/>
                <a:gd name="connsiteY34" fmla="*/ 402336 h 558851"/>
                <a:gd name="connsiteX35" fmla="*/ 268198 w 1054582"/>
                <a:gd name="connsiteY35" fmla="*/ 365760 h 558851"/>
                <a:gd name="connsiteX36" fmla="*/ 323062 w 1054582"/>
                <a:gd name="connsiteY36" fmla="*/ 301752 h 558851"/>
                <a:gd name="connsiteX37" fmla="*/ 414502 w 1054582"/>
                <a:gd name="connsiteY37" fmla="*/ 219456 h 558851"/>
                <a:gd name="connsiteX38" fmla="*/ 460222 w 1054582"/>
                <a:gd name="connsiteY38" fmla="*/ 146304 h 558851"/>
                <a:gd name="connsiteX39" fmla="*/ 460222 w 1054582"/>
                <a:gd name="connsiteY39" fmla="*/ 64008 h 558851"/>
                <a:gd name="connsiteX40" fmla="*/ 451078 w 1054582"/>
                <a:gd name="connsiteY40" fmla="*/ 54864 h 558851"/>
                <a:gd name="connsiteX41" fmla="*/ 441934 w 1054582"/>
                <a:gd name="connsiteY41" fmla="*/ 128016 h 558851"/>
                <a:gd name="connsiteX42" fmla="*/ 414502 w 1054582"/>
                <a:gd name="connsiteY42" fmla="*/ 173736 h 558851"/>
                <a:gd name="connsiteX43" fmla="*/ 341350 w 1054582"/>
                <a:gd name="connsiteY43" fmla="*/ 237744 h 558851"/>
                <a:gd name="connsiteX44" fmla="*/ 313918 w 1054582"/>
                <a:gd name="connsiteY44" fmla="*/ 256032 h 558851"/>
                <a:gd name="connsiteX45" fmla="*/ 240766 w 1054582"/>
                <a:gd name="connsiteY45" fmla="*/ 347472 h 558851"/>
                <a:gd name="connsiteX46" fmla="*/ 231622 w 1054582"/>
                <a:gd name="connsiteY46" fmla="*/ 374904 h 558851"/>
                <a:gd name="connsiteX47" fmla="*/ 222478 w 1054582"/>
                <a:gd name="connsiteY47" fmla="*/ 411480 h 558851"/>
                <a:gd name="connsiteX48" fmla="*/ 240766 w 1054582"/>
                <a:gd name="connsiteY48" fmla="*/ 429768 h 558851"/>
                <a:gd name="connsiteX49" fmla="*/ 195046 w 1054582"/>
                <a:gd name="connsiteY49" fmla="*/ 457200 h 558851"/>
                <a:gd name="connsiteX50" fmla="*/ 48742 w 1054582"/>
                <a:gd name="connsiteY50" fmla="*/ 493776 h 558851"/>
                <a:gd name="connsiteX51" fmla="*/ 3022 w 1054582"/>
                <a:gd name="connsiteY51" fmla="*/ 530352 h 558851"/>
                <a:gd name="connsiteX52" fmla="*/ 37669 w 1054582"/>
                <a:gd name="connsiteY52" fmla="*/ 480583 h 558851"/>
                <a:gd name="connsiteX53" fmla="*/ 112127 w 1054582"/>
                <a:gd name="connsiteY53" fmla="*/ 496784 h 558851"/>
                <a:gd name="connsiteX54" fmla="*/ 112127 w 1054582"/>
                <a:gd name="connsiteY54" fmla="*/ 496784 h 558851"/>
                <a:gd name="connsiteX55" fmla="*/ 112127 w 1054582"/>
                <a:gd name="connsiteY55" fmla="*/ 496784 h 558851"/>
                <a:gd name="connsiteX0" fmla="*/ 112127 w 1054582"/>
                <a:gd name="connsiteY0" fmla="*/ 496784 h 558851"/>
                <a:gd name="connsiteX1" fmla="*/ 21468 w 1054582"/>
                <a:gd name="connsiteY1" fmla="*/ 555041 h 558851"/>
                <a:gd name="connsiteX2" fmla="*/ 21310 w 1054582"/>
                <a:gd name="connsiteY2" fmla="*/ 548640 h 558851"/>
                <a:gd name="connsiteX3" fmla="*/ 149326 w 1054582"/>
                <a:gd name="connsiteY3" fmla="*/ 493776 h 558851"/>
                <a:gd name="connsiteX4" fmla="*/ 249910 w 1054582"/>
                <a:gd name="connsiteY4" fmla="*/ 466344 h 558851"/>
                <a:gd name="connsiteX5" fmla="*/ 350494 w 1054582"/>
                <a:gd name="connsiteY5" fmla="*/ 384048 h 558851"/>
                <a:gd name="connsiteX6" fmla="*/ 542518 w 1054582"/>
                <a:gd name="connsiteY6" fmla="*/ 301752 h 558851"/>
                <a:gd name="connsiteX7" fmla="*/ 624814 w 1054582"/>
                <a:gd name="connsiteY7" fmla="*/ 192024 h 558851"/>
                <a:gd name="connsiteX8" fmla="*/ 771118 w 1054582"/>
                <a:gd name="connsiteY8" fmla="*/ 155448 h 558851"/>
                <a:gd name="connsiteX9" fmla="*/ 816838 w 1054582"/>
                <a:gd name="connsiteY9" fmla="*/ 155448 h 558851"/>
                <a:gd name="connsiteX10" fmla="*/ 853414 w 1054582"/>
                <a:gd name="connsiteY10" fmla="*/ 137160 h 558851"/>
                <a:gd name="connsiteX11" fmla="*/ 807694 w 1054582"/>
                <a:gd name="connsiteY11" fmla="*/ 137160 h 558851"/>
                <a:gd name="connsiteX12" fmla="*/ 716254 w 1054582"/>
                <a:gd name="connsiteY12" fmla="*/ 137160 h 558851"/>
                <a:gd name="connsiteX13" fmla="*/ 661390 w 1054582"/>
                <a:gd name="connsiteY13" fmla="*/ 146304 h 558851"/>
                <a:gd name="connsiteX14" fmla="*/ 652246 w 1054582"/>
                <a:gd name="connsiteY14" fmla="*/ 155448 h 558851"/>
                <a:gd name="connsiteX15" fmla="*/ 633958 w 1054582"/>
                <a:gd name="connsiteY15" fmla="*/ 146304 h 558851"/>
                <a:gd name="connsiteX16" fmla="*/ 761974 w 1054582"/>
                <a:gd name="connsiteY16" fmla="*/ 91440 h 558851"/>
                <a:gd name="connsiteX17" fmla="*/ 816838 w 1054582"/>
                <a:gd name="connsiteY17" fmla="*/ 91440 h 558851"/>
                <a:gd name="connsiteX18" fmla="*/ 908278 w 1054582"/>
                <a:gd name="connsiteY18" fmla="*/ 82296 h 558851"/>
                <a:gd name="connsiteX19" fmla="*/ 1036294 w 1054582"/>
                <a:gd name="connsiteY19" fmla="*/ 27432 h 558851"/>
                <a:gd name="connsiteX20" fmla="*/ 1018006 w 1054582"/>
                <a:gd name="connsiteY20" fmla="*/ 0 h 558851"/>
                <a:gd name="connsiteX21" fmla="*/ 981430 w 1054582"/>
                <a:gd name="connsiteY21" fmla="*/ 27432 h 558851"/>
                <a:gd name="connsiteX22" fmla="*/ 944854 w 1054582"/>
                <a:gd name="connsiteY22" fmla="*/ 36576 h 558851"/>
                <a:gd name="connsiteX23" fmla="*/ 871702 w 1054582"/>
                <a:gd name="connsiteY23" fmla="*/ 64008 h 558851"/>
                <a:gd name="connsiteX24" fmla="*/ 816838 w 1054582"/>
                <a:gd name="connsiteY24" fmla="*/ 64008 h 558851"/>
                <a:gd name="connsiteX25" fmla="*/ 707110 w 1054582"/>
                <a:gd name="connsiteY25" fmla="*/ 64008 h 558851"/>
                <a:gd name="connsiteX26" fmla="*/ 652246 w 1054582"/>
                <a:gd name="connsiteY26" fmla="*/ 100584 h 558851"/>
                <a:gd name="connsiteX27" fmla="*/ 615670 w 1054582"/>
                <a:gd name="connsiteY27" fmla="*/ 146304 h 558851"/>
                <a:gd name="connsiteX28" fmla="*/ 569950 w 1054582"/>
                <a:gd name="connsiteY28" fmla="*/ 182880 h 558851"/>
                <a:gd name="connsiteX29" fmla="*/ 524230 w 1054582"/>
                <a:gd name="connsiteY29" fmla="*/ 256032 h 558851"/>
                <a:gd name="connsiteX30" fmla="*/ 451078 w 1054582"/>
                <a:gd name="connsiteY30" fmla="*/ 301752 h 558851"/>
                <a:gd name="connsiteX31" fmla="*/ 350494 w 1054582"/>
                <a:gd name="connsiteY31" fmla="*/ 347472 h 558851"/>
                <a:gd name="connsiteX32" fmla="*/ 313918 w 1054582"/>
                <a:gd name="connsiteY32" fmla="*/ 374904 h 558851"/>
                <a:gd name="connsiteX33" fmla="*/ 268198 w 1054582"/>
                <a:gd name="connsiteY33" fmla="*/ 402336 h 558851"/>
                <a:gd name="connsiteX34" fmla="*/ 249910 w 1054582"/>
                <a:gd name="connsiteY34" fmla="*/ 402336 h 558851"/>
                <a:gd name="connsiteX35" fmla="*/ 268198 w 1054582"/>
                <a:gd name="connsiteY35" fmla="*/ 365760 h 558851"/>
                <a:gd name="connsiteX36" fmla="*/ 323062 w 1054582"/>
                <a:gd name="connsiteY36" fmla="*/ 301752 h 558851"/>
                <a:gd name="connsiteX37" fmla="*/ 414502 w 1054582"/>
                <a:gd name="connsiteY37" fmla="*/ 219456 h 558851"/>
                <a:gd name="connsiteX38" fmla="*/ 460222 w 1054582"/>
                <a:gd name="connsiteY38" fmla="*/ 146304 h 558851"/>
                <a:gd name="connsiteX39" fmla="*/ 460222 w 1054582"/>
                <a:gd name="connsiteY39" fmla="*/ 64008 h 558851"/>
                <a:gd name="connsiteX40" fmla="*/ 451078 w 1054582"/>
                <a:gd name="connsiteY40" fmla="*/ 54864 h 558851"/>
                <a:gd name="connsiteX41" fmla="*/ 441934 w 1054582"/>
                <a:gd name="connsiteY41" fmla="*/ 128016 h 558851"/>
                <a:gd name="connsiteX42" fmla="*/ 414502 w 1054582"/>
                <a:gd name="connsiteY42" fmla="*/ 173736 h 558851"/>
                <a:gd name="connsiteX43" fmla="*/ 341350 w 1054582"/>
                <a:gd name="connsiteY43" fmla="*/ 237744 h 558851"/>
                <a:gd name="connsiteX44" fmla="*/ 313918 w 1054582"/>
                <a:gd name="connsiteY44" fmla="*/ 256032 h 558851"/>
                <a:gd name="connsiteX45" fmla="*/ 240766 w 1054582"/>
                <a:gd name="connsiteY45" fmla="*/ 347472 h 558851"/>
                <a:gd name="connsiteX46" fmla="*/ 231622 w 1054582"/>
                <a:gd name="connsiteY46" fmla="*/ 374904 h 558851"/>
                <a:gd name="connsiteX47" fmla="*/ 222478 w 1054582"/>
                <a:gd name="connsiteY47" fmla="*/ 411480 h 558851"/>
                <a:gd name="connsiteX48" fmla="*/ 240766 w 1054582"/>
                <a:gd name="connsiteY48" fmla="*/ 429768 h 558851"/>
                <a:gd name="connsiteX49" fmla="*/ 195046 w 1054582"/>
                <a:gd name="connsiteY49" fmla="*/ 457200 h 558851"/>
                <a:gd name="connsiteX50" fmla="*/ 48742 w 1054582"/>
                <a:gd name="connsiteY50" fmla="*/ 493776 h 558851"/>
                <a:gd name="connsiteX51" fmla="*/ 37668 w 1054582"/>
                <a:gd name="connsiteY51" fmla="*/ 480583 h 558851"/>
                <a:gd name="connsiteX52" fmla="*/ 37669 w 1054582"/>
                <a:gd name="connsiteY52" fmla="*/ 480583 h 558851"/>
                <a:gd name="connsiteX53" fmla="*/ 112127 w 1054582"/>
                <a:gd name="connsiteY53" fmla="*/ 496784 h 558851"/>
                <a:gd name="connsiteX54" fmla="*/ 112127 w 1054582"/>
                <a:gd name="connsiteY54" fmla="*/ 496784 h 558851"/>
                <a:gd name="connsiteX55" fmla="*/ 112127 w 1054582"/>
                <a:gd name="connsiteY55" fmla="*/ 496784 h 558851"/>
                <a:gd name="connsiteX0" fmla="*/ 90659 w 1033114"/>
                <a:gd name="connsiteY0" fmla="*/ 496784 h 555041"/>
                <a:gd name="connsiteX1" fmla="*/ 0 w 1033114"/>
                <a:gd name="connsiteY1" fmla="*/ 555041 h 555041"/>
                <a:gd name="connsiteX2" fmla="*/ 90659 w 1033114"/>
                <a:gd name="connsiteY2" fmla="*/ 496784 h 555041"/>
                <a:gd name="connsiteX3" fmla="*/ 127858 w 1033114"/>
                <a:gd name="connsiteY3" fmla="*/ 493776 h 555041"/>
                <a:gd name="connsiteX4" fmla="*/ 228442 w 1033114"/>
                <a:gd name="connsiteY4" fmla="*/ 466344 h 555041"/>
                <a:gd name="connsiteX5" fmla="*/ 329026 w 1033114"/>
                <a:gd name="connsiteY5" fmla="*/ 384048 h 555041"/>
                <a:gd name="connsiteX6" fmla="*/ 521050 w 1033114"/>
                <a:gd name="connsiteY6" fmla="*/ 301752 h 555041"/>
                <a:gd name="connsiteX7" fmla="*/ 603346 w 1033114"/>
                <a:gd name="connsiteY7" fmla="*/ 192024 h 555041"/>
                <a:gd name="connsiteX8" fmla="*/ 749650 w 1033114"/>
                <a:gd name="connsiteY8" fmla="*/ 155448 h 555041"/>
                <a:gd name="connsiteX9" fmla="*/ 795370 w 1033114"/>
                <a:gd name="connsiteY9" fmla="*/ 155448 h 555041"/>
                <a:gd name="connsiteX10" fmla="*/ 831946 w 1033114"/>
                <a:gd name="connsiteY10" fmla="*/ 137160 h 555041"/>
                <a:gd name="connsiteX11" fmla="*/ 786226 w 1033114"/>
                <a:gd name="connsiteY11" fmla="*/ 137160 h 555041"/>
                <a:gd name="connsiteX12" fmla="*/ 694786 w 1033114"/>
                <a:gd name="connsiteY12" fmla="*/ 137160 h 555041"/>
                <a:gd name="connsiteX13" fmla="*/ 639922 w 1033114"/>
                <a:gd name="connsiteY13" fmla="*/ 146304 h 555041"/>
                <a:gd name="connsiteX14" fmla="*/ 630778 w 1033114"/>
                <a:gd name="connsiteY14" fmla="*/ 155448 h 555041"/>
                <a:gd name="connsiteX15" fmla="*/ 612490 w 1033114"/>
                <a:gd name="connsiteY15" fmla="*/ 146304 h 555041"/>
                <a:gd name="connsiteX16" fmla="*/ 740506 w 1033114"/>
                <a:gd name="connsiteY16" fmla="*/ 91440 h 555041"/>
                <a:gd name="connsiteX17" fmla="*/ 795370 w 1033114"/>
                <a:gd name="connsiteY17" fmla="*/ 91440 h 555041"/>
                <a:gd name="connsiteX18" fmla="*/ 886810 w 1033114"/>
                <a:gd name="connsiteY18" fmla="*/ 82296 h 555041"/>
                <a:gd name="connsiteX19" fmla="*/ 1014826 w 1033114"/>
                <a:gd name="connsiteY19" fmla="*/ 27432 h 555041"/>
                <a:gd name="connsiteX20" fmla="*/ 996538 w 1033114"/>
                <a:gd name="connsiteY20" fmla="*/ 0 h 555041"/>
                <a:gd name="connsiteX21" fmla="*/ 959962 w 1033114"/>
                <a:gd name="connsiteY21" fmla="*/ 27432 h 555041"/>
                <a:gd name="connsiteX22" fmla="*/ 923386 w 1033114"/>
                <a:gd name="connsiteY22" fmla="*/ 36576 h 555041"/>
                <a:gd name="connsiteX23" fmla="*/ 850234 w 1033114"/>
                <a:gd name="connsiteY23" fmla="*/ 64008 h 555041"/>
                <a:gd name="connsiteX24" fmla="*/ 795370 w 1033114"/>
                <a:gd name="connsiteY24" fmla="*/ 64008 h 555041"/>
                <a:gd name="connsiteX25" fmla="*/ 685642 w 1033114"/>
                <a:gd name="connsiteY25" fmla="*/ 64008 h 555041"/>
                <a:gd name="connsiteX26" fmla="*/ 630778 w 1033114"/>
                <a:gd name="connsiteY26" fmla="*/ 100584 h 555041"/>
                <a:gd name="connsiteX27" fmla="*/ 594202 w 1033114"/>
                <a:gd name="connsiteY27" fmla="*/ 146304 h 555041"/>
                <a:gd name="connsiteX28" fmla="*/ 548482 w 1033114"/>
                <a:gd name="connsiteY28" fmla="*/ 182880 h 555041"/>
                <a:gd name="connsiteX29" fmla="*/ 502762 w 1033114"/>
                <a:gd name="connsiteY29" fmla="*/ 256032 h 555041"/>
                <a:gd name="connsiteX30" fmla="*/ 429610 w 1033114"/>
                <a:gd name="connsiteY30" fmla="*/ 301752 h 555041"/>
                <a:gd name="connsiteX31" fmla="*/ 329026 w 1033114"/>
                <a:gd name="connsiteY31" fmla="*/ 347472 h 555041"/>
                <a:gd name="connsiteX32" fmla="*/ 292450 w 1033114"/>
                <a:gd name="connsiteY32" fmla="*/ 374904 h 555041"/>
                <a:gd name="connsiteX33" fmla="*/ 246730 w 1033114"/>
                <a:gd name="connsiteY33" fmla="*/ 402336 h 555041"/>
                <a:gd name="connsiteX34" fmla="*/ 228442 w 1033114"/>
                <a:gd name="connsiteY34" fmla="*/ 402336 h 555041"/>
                <a:gd name="connsiteX35" fmla="*/ 246730 w 1033114"/>
                <a:gd name="connsiteY35" fmla="*/ 365760 h 555041"/>
                <a:gd name="connsiteX36" fmla="*/ 301594 w 1033114"/>
                <a:gd name="connsiteY36" fmla="*/ 301752 h 555041"/>
                <a:gd name="connsiteX37" fmla="*/ 393034 w 1033114"/>
                <a:gd name="connsiteY37" fmla="*/ 219456 h 555041"/>
                <a:gd name="connsiteX38" fmla="*/ 438754 w 1033114"/>
                <a:gd name="connsiteY38" fmla="*/ 146304 h 555041"/>
                <a:gd name="connsiteX39" fmla="*/ 438754 w 1033114"/>
                <a:gd name="connsiteY39" fmla="*/ 64008 h 555041"/>
                <a:gd name="connsiteX40" fmla="*/ 429610 w 1033114"/>
                <a:gd name="connsiteY40" fmla="*/ 54864 h 555041"/>
                <a:gd name="connsiteX41" fmla="*/ 420466 w 1033114"/>
                <a:gd name="connsiteY41" fmla="*/ 128016 h 555041"/>
                <a:gd name="connsiteX42" fmla="*/ 393034 w 1033114"/>
                <a:gd name="connsiteY42" fmla="*/ 173736 h 555041"/>
                <a:gd name="connsiteX43" fmla="*/ 319882 w 1033114"/>
                <a:gd name="connsiteY43" fmla="*/ 237744 h 555041"/>
                <a:gd name="connsiteX44" fmla="*/ 292450 w 1033114"/>
                <a:gd name="connsiteY44" fmla="*/ 256032 h 555041"/>
                <a:gd name="connsiteX45" fmla="*/ 219298 w 1033114"/>
                <a:gd name="connsiteY45" fmla="*/ 347472 h 555041"/>
                <a:gd name="connsiteX46" fmla="*/ 210154 w 1033114"/>
                <a:gd name="connsiteY46" fmla="*/ 374904 h 555041"/>
                <a:gd name="connsiteX47" fmla="*/ 201010 w 1033114"/>
                <a:gd name="connsiteY47" fmla="*/ 411480 h 555041"/>
                <a:gd name="connsiteX48" fmla="*/ 219298 w 1033114"/>
                <a:gd name="connsiteY48" fmla="*/ 429768 h 555041"/>
                <a:gd name="connsiteX49" fmla="*/ 173578 w 1033114"/>
                <a:gd name="connsiteY49" fmla="*/ 457200 h 555041"/>
                <a:gd name="connsiteX50" fmla="*/ 27274 w 1033114"/>
                <a:gd name="connsiteY50" fmla="*/ 493776 h 555041"/>
                <a:gd name="connsiteX51" fmla="*/ 16200 w 1033114"/>
                <a:gd name="connsiteY51" fmla="*/ 480583 h 555041"/>
                <a:gd name="connsiteX52" fmla="*/ 16201 w 1033114"/>
                <a:gd name="connsiteY52" fmla="*/ 480583 h 555041"/>
                <a:gd name="connsiteX53" fmla="*/ 90659 w 1033114"/>
                <a:gd name="connsiteY53" fmla="*/ 496784 h 555041"/>
                <a:gd name="connsiteX54" fmla="*/ 90659 w 1033114"/>
                <a:gd name="connsiteY54" fmla="*/ 496784 h 555041"/>
                <a:gd name="connsiteX55" fmla="*/ 90659 w 1033114"/>
                <a:gd name="connsiteY55" fmla="*/ 496784 h 555041"/>
                <a:gd name="connsiteX0" fmla="*/ 89615 w 1032070"/>
                <a:gd name="connsiteY0" fmla="*/ 496784 h 498849"/>
                <a:gd name="connsiteX1" fmla="*/ 89615 w 1032070"/>
                <a:gd name="connsiteY1" fmla="*/ 496784 h 498849"/>
                <a:gd name="connsiteX2" fmla="*/ 89615 w 1032070"/>
                <a:gd name="connsiteY2" fmla="*/ 496784 h 498849"/>
                <a:gd name="connsiteX3" fmla="*/ 126814 w 1032070"/>
                <a:gd name="connsiteY3" fmla="*/ 493776 h 498849"/>
                <a:gd name="connsiteX4" fmla="*/ 227398 w 1032070"/>
                <a:gd name="connsiteY4" fmla="*/ 466344 h 498849"/>
                <a:gd name="connsiteX5" fmla="*/ 327982 w 1032070"/>
                <a:gd name="connsiteY5" fmla="*/ 384048 h 498849"/>
                <a:gd name="connsiteX6" fmla="*/ 520006 w 1032070"/>
                <a:gd name="connsiteY6" fmla="*/ 301752 h 498849"/>
                <a:gd name="connsiteX7" fmla="*/ 602302 w 1032070"/>
                <a:gd name="connsiteY7" fmla="*/ 192024 h 498849"/>
                <a:gd name="connsiteX8" fmla="*/ 748606 w 1032070"/>
                <a:gd name="connsiteY8" fmla="*/ 155448 h 498849"/>
                <a:gd name="connsiteX9" fmla="*/ 794326 w 1032070"/>
                <a:gd name="connsiteY9" fmla="*/ 155448 h 498849"/>
                <a:gd name="connsiteX10" fmla="*/ 830902 w 1032070"/>
                <a:gd name="connsiteY10" fmla="*/ 137160 h 498849"/>
                <a:gd name="connsiteX11" fmla="*/ 785182 w 1032070"/>
                <a:gd name="connsiteY11" fmla="*/ 137160 h 498849"/>
                <a:gd name="connsiteX12" fmla="*/ 693742 w 1032070"/>
                <a:gd name="connsiteY12" fmla="*/ 137160 h 498849"/>
                <a:gd name="connsiteX13" fmla="*/ 638878 w 1032070"/>
                <a:gd name="connsiteY13" fmla="*/ 146304 h 498849"/>
                <a:gd name="connsiteX14" fmla="*/ 629734 w 1032070"/>
                <a:gd name="connsiteY14" fmla="*/ 155448 h 498849"/>
                <a:gd name="connsiteX15" fmla="*/ 611446 w 1032070"/>
                <a:gd name="connsiteY15" fmla="*/ 146304 h 498849"/>
                <a:gd name="connsiteX16" fmla="*/ 739462 w 1032070"/>
                <a:gd name="connsiteY16" fmla="*/ 91440 h 498849"/>
                <a:gd name="connsiteX17" fmla="*/ 794326 w 1032070"/>
                <a:gd name="connsiteY17" fmla="*/ 91440 h 498849"/>
                <a:gd name="connsiteX18" fmla="*/ 885766 w 1032070"/>
                <a:gd name="connsiteY18" fmla="*/ 82296 h 498849"/>
                <a:gd name="connsiteX19" fmla="*/ 1013782 w 1032070"/>
                <a:gd name="connsiteY19" fmla="*/ 27432 h 498849"/>
                <a:gd name="connsiteX20" fmla="*/ 995494 w 1032070"/>
                <a:gd name="connsiteY20" fmla="*/ 0 h 498849"/>
                <a:gd name="connsiteX21" fmla="*/ 958918 w 1032070"/>
                <a:gd name="connsiteY21" fmla="*/ 27432 h 498849"/>
                <a:gd name="connsiteX22" fmla="*/ 922342 w 1032070"/>
                <a:gd name="connsiteY22" fmla="*/ 36576 h 498849"/>
                <a:gd name="connsiteX23" fmla="*/ 849190 w 1032070"/>
                <a:gd name="connsiteY23" fmla="*/ 64008 h 498849"/>
                <a:gd name="connsiteX24" fmla="*/ 794326 w 1032070"/>
                <a:gd name="connsiteY24" fmla="*/ 64008 h 498849"/>
                <a:gd name="connsiteX25" fmla="*/ 684598 w 1032070"/>
                <a:gd name="connsiteY25" fmla="*/ 64008 h 498849"/>
                <a:gd name="connsiteX26" fmla="*/ 629734 w 1032070"/>
                <a:gd name="connsiteY26" fmla="*/ 100584 h 498849"/>
                <a:gd name="connsiteX27" fmla="*/ 593158 w 1032070"/>
                <a:gd name="connsiteY27" fmla="*/ 146304 h 498849"/>
                <a:gd name="connsiteX28" fmla="*/ 547438 w 1032070"/>
                <a:gd name="connsiteY28" fmla="*/ 182880 h 498849"/>
                <a:gd name="connsiteX29" fmla="*/ 501718 w 1032070"/>
                <a:gd name="connsiteY29" fmla="*/ 256032 h 498849"/>
                <a:gd name="connsiteX30" fmla="*/ 428566 w 1032070"/>
                <a:gd name="connsiteY30" fmla="*/ 301752 h 498849"/>
                <a:gd name="connsiteX31" fmla="*/ 327982 w 1032070"/>
                <a:gd name="connsiteY31" fmla="*/ 347472 h 498849"/>
                <a:gd name="connsiteX32" fmla="*/ 291406 w 1032070"/>
                <a:gd name="connsiteY32" fmla="*/ 374904 h 498849"/>
                <a:gd name="connsiteX33" fmla="*/ 245686 w 1032070"/>
                <a:gd name="connsiteY33" fmla="*/ 402336 h 498849"/>
                <a:gd name="connsiteX34" fmla="*/ 227398 w 1032070"/>
                <a:gd name="connsiteY34" fmla="*/ 402336 h 498849"/>
                <a:gd name="connsiteX35" fmla="*/ 245686 w 1032070"/>
                <a:gd name="connsiteY35" fmla="*/ 365760 h 498849"/>
                <a:gd name="connsiteX36" fmla="*/ 300550 w 1032070"/>
                <a:gd name="connsiteY36" fmla="*/ 301752 h 498849"/>
                <a:gd name="connsiteX37" fmla="*/ 391990 w 1032070"/>
                <a:gd name="connsiteY37" fmla="*/ 219456 h 498849"/>
                <a:gd name="connsiteX38" fmla="*/ 437710 w 1032070"/>
                <a:gd name="connsiteY38" fmla="*/ 146304 h 498849"/>
                <a:gd name="connsiteX39" fmla="*/ 437710 w 1032070"/>
                <a:gd name="connsiteY39" fmla="*/ 64008 h 498849"/>
                <a:gd name="connsiteX40" fmla="*/ 428566 w 1032070"/>
                <a:gd name="connsiteY40" fmla="*/ 54864 h 498849"/>
                <a:gd name="connsiteX41" fmla="*/ 419422 w 1032070"/>
                <a:gd name="connsiteY41" fmla="*/ 128016 h 498849"/>
                <a:gd name="connsiteX42" fmla="*/ 391990 w 1032070"/>
                <a:gd name="connsiteY42" fmla="*/ 173736 h 498849"/>
                <a:gd name="connsiteX43" fmla="*/ 318838 w 1032070"/>
                <a:gd name="connsiteY43" fmla="*/ 237744 h 498849"/>
                <a:gd name="connsiteX44" fmla="*/ 291406 w 1032070"/>
                <a:gd name="connsiteY44" fmla="*/ 256032 h 498849"/>
                <a:gd name="connsiteX45" fmla="*/ 218254 w 1032070"/>
                <a:gd name="connsiteY45" fmla="*/ 347472 h 498849"/>
                <a:gd name="connsiteX46" fmla="*/ 209110 w 1032070"/>
                <a:gd name="connsiteY46" fmla="*/ 374904 h 498849"/>
                <a:gd name="connsiteX47" fmla="*/ 199966 w 1032070"/>
                <a:gd name="connsiteY47" fmla="*/ 411480 h 498849"/>
                <a:gd name="connsiteX48" fmla="*/ 218254 w 1032070"/>
                <a:gd name="connsiteY48" fmla="*/ 429768 h 498849"/>
                <a:gd name="connsiteX49" fmla="*/ 172534 w 1032070"/>
                <a:gd name="connsiteY49" fmla="*/ 457200 h 498849"/>
                <a:gd name="connsiteX50" fmla="*/ 26230 w 1032070"/>
                <a:gd name="connsiteY50" fmla="*/ 493776 h 498849"/>
                <a:gd name="connsiteX51" fmla="*/ 15156 w 1032070"/>
                <a:gd name="connsiteY51" fmla="*/ 480583 h 498849"/>
                <a:gd name="connsiteX52" fmla="*/ 15157 w 1032070"/>
                <a:gd name="connsiteY52" fmla="*/ 480583 h 498849"/>
                <a:gd name="connsiteX53" fmla="*/ 89615 w 1032070"/>
                <a:gd name="connsiteY53" fmla="*/ 496784 h 498849"/>
                <a:gd name="connsiteX54" fmla="*/ 89615 w 1032070"/>
                <a:gd name="connsiteY54" fmla="*/ 496784 h 498849"/>
                <a:gd name="connsiteX55" fmla="*/ 89615 w 1032070"/>
                <a:gd name="connsiteY55" fmla="*/ 496784 h 498849"/>
                <a:gd name="connsiteX0" fmla="*/ 89615 w 1032070"/>
                <a:gd name="connsiteY0" fmla="*/ 496784 h 498849"/>
                <a:gd name="connsiteX1" fmla="*/ 89615 w 1032070"/>
                <a:gd name="connsiteY1" fmla="*/ 496784 h 498849"/>
                <a:gd name="connsiteX2" fmla="*/ 89615 w 1032070"/>
                <a:gd name="connsiteY2" fmla="*/ 496784 h 498849"/>
                <a:gd name="connsiteX3" fmla="*/ 126814 w 1032070"/>
                <a:gd name="connsiteY3" fmla="*/ 493776 h 498849"/>
                <a:gd name="connsiteX4" fmla="*/ 227398 w 1032070"/>
                <a:gd name="connsiteY4" fmla="*/ 466344 h 498849"/>
                <a:gd name="connsiteX5" fmla="*/ 327982 w 1032070"/>
                <a:gd name="connsiteY5" fmla="*/ 384048 h 498849"/>
                <a:gd name="connsiteX6" fmla="*/ 520006 w 1032070"/>
                <a:gd name="connsiteY6" fmla="*/ 301752 h 498849"/>
                <a:gd name="connsiteX7" fmla="*/ 602302 w 1032070"/>
                <a:gd name="connsiteY7" fmla="*/ 192024 h 498849"/>
                <a:gd name="connsiteX8" fmla="*/ 748606 w 1032070"/>
                <a:gd name="connsiteY8" fmla="*/ 155448 h 498849"/>
                <a:gd name="connsiteX9" fmla="*/ 794326 w 1032070"/>
                <a:gd name="connsiteY9" fmla="*/ 155448 h 498849"/>
                <a:gd name="connsiteX10" fmla="*/ 830902 w 1032070"/>
                <a:gd name="connsiteY10" fmla="*/ 137160 h 498849"/>
                <a:gd name="connsiteX11" fmla="*/ 785182 w 1032070"/>
                <a:gd name="connsiteY11" fmla="*/ 137160 h 498849"/>
                <a:gd name="connsiteX12" fmla="*/ 693742 w 1032070"/>
                <a:gd name="connsiteY12" fmla="*/ 137160 h 498849"/>
                <a:gd name="connsiteX13" fmla="*/ 638878 w 1032070"/>
                <a:gd name="connsiteY13" fmla="*/ 146304 h 498849"/>
                <a:gd name="connsiteX14" fmla="*/ 629734 w 1032070"/>
                <a:gd name="connsiteY14" fmla="*/ 155448 h 498849"/>
                <a:gd name="connsiteX15" fmla="*/ 611446 w 1032070"/>
                <a:gd name="connsiteY15" fmla="*/ 146304 h 498849"/>
                <a:gd name="connsiteX16" fmla="*/ 739462 w 1032070"/>
                <a:gd name="connsiteY16" fmla="*/ 91440 h 498849"/>
                <a:gd name="connsiteX17" fmla="*/ 794326 w 1032070"/>
                <a:gd name="connsiteY17" fmla="*/ 91440 h 498849"/>
                <a:gd name="connsiteX18" fmla="*/ 885766 w 1032070"/>
                <a:gd name="connsiteY18" fmla="*/ 82296 h 498849"/>
                <a:gd name="connsiteX19" fmla="*/ 1013782 w 1032070"/>
                <a:gd name="connsiteY19" fmla="*/ 27432 h 498849"/>
                <a:gd name="connsiteX20" fmla="*/ 995494 w 1032070"/>
                <a:gd name="connsiteY20" fmla="*/ 0 h 498849"/>
                <a:gd name="connsiteX21" fmla="*/ 958918 w 1032070"/>
                <a:gd name="connsiteY21" fmla="*/ 27432 h 498849"/>
                <a:gd name="connsiteX22" fmla="*/ 922342 w 1032070"/>
                <a:gd name="connsiteY22" fmla="*/ 36576 h 498849"/>
                <a:gd name="connsiteX23" fmla="*/ 849190 w 1032070"/>
                <a:gd name="connsiteY23" fmla="*/ 64008 h 498849"/>
                <a:gd name="connsiteX24" fmla="*/ 794326 w 1032070"/>
                <a:gd name="connsiteY24" fmla="*/ 64008 h 498849"/>
                <a:gd name="connsiteX25" fmla="*/ 684598 w 1032070"/>
                <a:gd name="connsiteY25" fmla="*/ 64008 h 498849"/>
                <a:gd name="connsiteX26" fmla="*/ 629734 w 1032070"/>
                <a:gd name="connsiteY26" fmla="*/ 100584 h 498849"/>
                <a:gd name="connsiteX27" fmla="*/ 593158 w 1032070"/>
                <a:gd name="connsiteY27" fmla="*/ 146304 h 498849"/>
                <a:gd name="connsiteX28" fmla="*/ 547438 w 1032070"/>
                <a:gd name="connsiteY28" fmla="*/ 182880 h 498849"/>
                <a:gd name="connsiteX29" fmla="*/ 501718 w 1032070"/>
                <a:gd name="connsiteY29" fmla="*/ 256032 h 498849"/>
                <a:gd name="connsiteX30" fmla="*/ 428566 w 1032070"/>
                <a:gd name="connsiteY30" fmla="*/ 301752 h 498849"/>
                <a:gd name="connsiteX31" fmla="*/ 327982 w 1032070"/>
                <a:gd name="connsiteY31" fmla="*/ 347472 h 498849"/>
                <a:gd name="connsiteX32" fmla="*/ 291406 w 1032070"/>
                <a:gd name="connsiteY32" fmla="*/ 374904 h 498849"/>
                <a:gd name="connsiteX33" fmla="*/ 245686 w 1032070"/>
                <a:gd name="connsiteY33" fmla="*/ 402336 h 498849"/>
                <a:gd name="connsiteX34" fmla="*/ 227398 w 1032070"/>
                <a:gd name="connsiteY34" fmla="*/ 402336 h 498849"/>
                <a:gd name="connsiteX35" fmla="*/ 245686 w 1032070"/>
                <a:gd name="connsiteY35" fmla="*/ 365760 h 498849"/>
                <a:gd name="connsiteX36" fmla="*/ 300550 w 1032070"/>
                <a:gd name="connsiteY36" fmla="*/ 301752 h 498849"/>
                <a:gd name="connsiteX37" fmla="*/ 391990 w 1032070"/>
                <a:gd name="connsiteY37" fmla="*/ 219456 h 498849"/>
                <a:gd name="connsiteX38" fmla="*/ 437710 w 1032070"/>
                <a:gd name="connsiteY38" fmla="*/ 146304 h 498849"/>
                <a:gd name="connsiteX39" fmla="*/ 437710 w 1032070"/>
                <a:gd name="connsiteY39" fmla="*/ 64008 h 498849"/>
                <a:gd name="connsiteX40" fmla="*/ 428566 w 1032070"/>
                <a:gd name="connsiteY40" fmla="*/ 54864 h 498849"/>
                <a:gd name="connsiteX41" fmla="*/ 419422 w 1032070"/>
                <a:gd name="connsiteY41" fmla="*/ 128016 h 498849"/>
                <a:gd name="connsiteX42" fmla="*/ 391990 w 1032070"/>
                <a:gd name="connsiteY42" fmla="*/ 173736 h 498849"/>
                <a:gd name="connsiteX43" fmla="*/ 318838 w 1032070"/>
                <a:gd name="connsiteY43" fmla="*/ 237744 h 498849"/>
                <a:gd name="connsiteX44" fmla="*/ 291406 w 1032070"/>
                <a:gd name="connsiteY44" fmla="*/ 256032 h 498849"/>
                <a:gd name="connsiteX45" fmla="*/ 218254 w 1032070"/>
                <a:gd name="connsiteY45" fmla="*/ 347472 h 498849"/>
                <a:gd name="connsiteX46" fmla="*/ 209110 w 1032070"/>
                <a:gd name="connsiteY46" fmla="*/ 374904 h 498849"/>
                <a:gd name="connsiteX47" fmla="*/ 199966 w 1032070"/>
                <a:gd name="connsiteY47" fmla="*/ 411480 h 498849"/>
                <a:gd name="connsiteX48" fmla="*/ 218254 w 1032070"/>
                <a:gd name="connsiteY48" fmla="*/ 429768 h 498849"/>
                <a:gd name="connsiteX49" fmla="*/ 172534 w 1032070"/>
                <a:gd name="connsiteY49" fmla="*/ 457200 h 498849"/>
                <a:gd name="connsiteX50" fmla="*/ 26230 w 1032070"/>
                <a:gd name="connsiteY50" fmla="*/ 493776 h 498849"/>
                <a:gd name="connsiteX51" fmla="*/ 15156 w 1032070"/>
                <a:gd name="connsiteY51" fmla="*/ 480583 h 498849"/>
                <a:gd name="connsiteX52" fmla="*/ 89615 w 1032070"/>
                <a:gd name="connsiteY52" fmla="*/ 496784 h 498849"/>
                <a:gd name="connsiteX53" fmla="*/ 89615 w 1032070"/>
                <a:gd name="connsiteY53" fmla="*/ 496784 h 498849"/>
                <a:gd name="connsiteX54" fmla="*/ 89615 w 1032070"/>
                <a:gd name="connsiteY54" fmla="*/ 496784 h 498849"/>
                <a:gd name="connsiteX55" fmla="*/ 89615 w 1032070"/>
                <a:gd name="connsiteY55" fmla="*/ 496784 h 498849"/>
                <a:gd name="connsiteX0" fmla="*/ 77205 w 1019660"/>
                <a:gd name="connsiteY0" fmla="*/ 496784 h 500373"/>
                <a:gd name="connsiteX1" fmla="*/ 77205 w 1019660"/>
                <a:gd name="connsiteY1" fmla="*/ 496784 h 500373"/>
                <a:gd name="connsiteX2" fmla="*/ 77205 w 1019660"/>
                <a:gd name="connsiteY2" fmla="*/ 496784 h 500373"/>
                <a:gd name="connsiteX3" fmla="*/ 114404 w 1019660"/>
                <a:gd name="connsiteY3" fmla="*/ 493776 h 500373"/>
                <a:gd name="connsiteX4" fmla="*/ 214988 w 1019660"/>
                <a:gd name="connsiteY4" fmla="*/ 466344 h 500373"/>
                <a:gd name="connsiteX5" fmla="*/ 315572 w 1019660"/>
                <a:gd name="connsiteY5" fmla="*/ 384048 h 500373"/>
                <a:gd name="connsiteX6" fmla="*/ 507596 w 1019660"/>
                <a:gd name="connsiteY6" fmla="*/ 301752 h 500373"/>
                <a:gd name="connsiteX7" fmla="*/ 589892 w 1019660"/>
                <a:gd name="connsiteY7" fmla="*/ 192024 h 500373"/>
                <a:gd name="connsiteX8" fmla="*/ 736196 w 1019660"/>
                <a:gd name="connsiteY8" fmla="*/ 155448 h 500373"/>
                <a:gd name="connsiteX9" fmla="*/ 781916 w 1019660"/>
                <a:gd name="connsiteY9" fmla="*/ 155448 h 500373"/>
                <a:gd name="connsiteX10" fmla="*/ 818492 w 1019660"/>
                <a:gd name="connsiteY10" fmla="*/ 137160 h 500373"/>
                <a:gd name="connsiteX11" fmla="*/ 772772 w 1019660"/>
                <a:gd name="connsiteY11" fmla="*/ 137160 h 500373"/>
                <a:gd name="connsiteX12" fmla="*/ 681332 w 1019660"/>
                <a:gd name="connsiteY12" fmla="*/ 137160 h 500373"/>
                <a:gd name="connsiteX13" fmla="*/ 626468 w 1019660"/>
                <a:gd name="connsiteY13" fmla="*/ 146304 h 500373"/>
                <a:gd name="connsiteX14" fmla="*/ 617324 w 1019660"/>
                <a:gd name="connsiteY14" fmla="*/ 155448 h 500373"/>
                <a:gd name="connsiteX15" fmla="*/ 599036 w 1019660"/>
                <a:gd name="connsiteY15" fmla="*/ 146304 h 500373"/>
                <a:gd name="connsiteX16" fmla="*/ 727052 w 1019660"/>
                <a:gd name="connsiteY16" fmla="*/ 91440 h 500373"/>
                <a:gd name="connsiteX17" fmla="*/ 781916 w 1019660"/>
                <a:gd name="connsiteY17" fmla="*/ 91440 h 500373"/>
                <a:gd name="connsiteX18" fmla="*/ 873356 w 1019660"/>
                <a:gd name="connsiteY18" fmla="*/ 82296 h 500373"/>
                <a:gd name="connsiteX19" fmla="*/ 1001372 w 1019660"/>
                <a:gd name="connsiteY19" fmla="*/ 27432 h 500373"/>
                <a:gd name="connsiteX20" fmla="*/ 983084 w 1019660"/>
                <a:gd name="connsiteY20" fmla="*/ 0 h 500373"/>
                <a:gd name="connsiteX21" fmla="*/ 946508 w 1019660"/>
                <a:gd name="connsiteY21" fmla="*/ 27432 h 500373"/>
                <a:gd name="connsiteX22" fmla="*/ 909932 w 1019660"/>
                <a:gd name="connsiteY22" fmla="*/ 36576 h 500373"/>
                <a:gd name="connsiteX23" fmla="*/ 836780 w 1019660"/>
                <a:gd name="connsiteY23" fmla="*/ 64008 h 500373"/>
                <a:gd name="connsiteX24" fmla="*/ 781916 w 1019660"/>
                <a:gd name="connsiteY24" fmla="*/ 64008 h 500373"/>
                <a:gd name="connsiteX25" fmla="*/ 672188 w 1019660"/>
                <a:gd name="connsiteY25" fmla="*/ 64008 h 500373"/>
                <a:gd name="connsiteX26" fmla="*/ 617324 w 1019660"/>
                <a:gd name="connsiteY26" fmla="*/ 100584 h 500373"/>
                <a:gd name="connsiteX27" fmla="*/ 580748 w 1019660"/>
                <a:gd name="connsiteY27" fmla="*/ 146304 h 500373"/>
                <a:gd name="connsiteX28" fmla="*/ 535028 w 1019660"/>
                <a:gd name="connsiteY28" fmla="*/ 182880 h 500373"/>
                <a:gd name="connsiteX29" fmla="*/ 489308 w 1019660"/>
                <a:gd name="connsiteY29" fmla="*/ 256032 h 500373"/>
                <a:gd name="connsiteX30" fmla="*/ 416156 w 1019660"/>
                <a:gd name="connsiteY30" fmla="*/ 301752 h 500373"/>
                <a:gd name="connsiteX31" fmla="*/ 315572 w 1019660"/>
                <a:gd name="connsiteY31" fmla="*/ 347472 h 500373"/>
                <a:gd name="connsiteX32" fmla="*/ 278996 w 1019660"/>
                <a:gd name="connsiteY32" fmla="*/ 374904 h 500373"/>
                <a:gd name="connsiteX33" fmla="*/ 233276 w 1019660"/>
                <a:gd name="connsiteY33" fmla="*/ 402336 h 500373"/>
                <a:gd name="connsiteX34" fmla="*/ 214988 w 1019660"/>
                <a:gd name="connsiteY34" fmla="*/ 402336 h 500373"/>
                <a:gd name="connsiteX35" fmla="*/ 233276 w 1019660"/>
                <a:gd name="connsiteY35" fmla="*/ 365760 h 500373"/>
                <a:gd name="connsiteX36" fmla="*/ 288140 w 1019660"/>
                <a:gd name="connsiteY36" fmla="*/ 301752 h 500373"/>
                <a:gd name="connsiteX37" fmla="*/ 379580 w 1019660"/>
                <a:gd name="connsiteY37" fmla="*/ 219456 h 500373"/>
                <a:gd name="connsiteX38" fmla="*/ 425300 w 1019660"/>
                <a:gd name="connsiteY38" fmla="*/ 146304 h 500373"/>
                <a:gd name="connsiteX39" fmla="*/ 425300 w 1019660"/>
                <a:gd name="connsiteY39" fmla="*/ 64008 h 500373"/>
                <a:gd name="connsiteX40" fmla="*/ 416156 w 1019660"/>
                <a:gd name="connsiteY40" fmla="*/ 54864 h 500373"/>
                <a:gd name="connsiteX41" fmla="*/ 407012 w 1019660"/>
                <a:gd name="connsiteY41" fmla="*/ 128016 h 500373"/>
                <a:gd name="connsiteX42" fmla="*/ 379580 w 1019660"/>
                <a:gd name="connsiteY42" fmla="*/ 173736 h 500373"/>
                <a:gd name="connsiteX43" fmla="*/ 306428 w 1019660"/>
                <a:gd name="connsiteY43" fmla="*/ 237744 h 500373"/>
                <a:gd name="connsiteX44" fmla="*/ 278996 w 1019660"/>
                <a:gd name="connsiteY44" fmla="*/ 256032 h 500373"/>
                <a:gd name="connsiteX45" fmla="*/ 205844 w 1019660"/>
                <a:gd name="connsiteY45" fmla="*/ 347472 h 500373"/>
                <a:gd name="connsiteX46" fmla="*/ 196700 w 1019660"/>
                <a:gd name="connsiteY46" fmla="*/ 374904 h 500373"/>
                <a:gd name="connsiteX47" fmla="*/ 187556 w 1019660"/>
                <a:gd name="connsiteY47" fmla="*/ 411480 h 500373"/>
                <a:gd name="connsiteX48" fmla="*/ 205844 w 1019660"/>
                <a:gd name="connsiteY48" fmla="*/ 429768 h 500373"/>
                <a:gd name="connsiteX49" fmla="*/ 160124 w 1019660"/>
                <a:gd name="connsiteY49" fmla="*/ 457200 h 500373"/>
                <a:gd name="connsiteX50" fmla="*/ 13820 w 1019660"/>
                <a:gd name="connsiteY50" fmla="*/ 493776 h 500373"/>
                <a:gd name="connsiteX51" fmla="*/ 77205 w 1019660"/>
                <a:gd name="connsiteY51" fmla="*/ 496784 h 500373"/>
                <a:gd name="connsiteX52" fmla="*/ 77205 w 1019660"/>
                <a:gd name="connsiteY52" fmla="*/ 496784 h 500373"/>
                <a:gd name="connsiteX53" fmla="*/ 77205 w 1019660"/>
                <a:gd name="connsiteY53" fmla="*/ 496784 h 500373"/>
                <a:gd name="connsiteX54" fmla="*/ 77205 w 1019660"/>
                <a:gd name="connsiteY54" fmla="*/ 496784 h 500373"/>
                <a:gd name="connsiteX55" fmla="*/ 77205 w 1019660"/>
                <a:gd name="connsiteY55" fmla="*/ 496784 h 500373"/>
                <a:gd name="connsiteX0" fmla="*/ 13820 w 956275"/>
                <a:gd name="connsiteY0" fmla="*/ 496784 h 503380"/>
                <a:gd name="connsiteX1" fmla="*/ 13820 w 956275"/>
                <a:gd name="connsiteY1" fmla="*/ 496784 h 503380"/>
                <a:gd name="connsiteX2" fmla="*/ 13820 w 956275"/>
                <a:gd name="connsiteY2" fmla="*/ 496784 h 503380"/>
                <a:gd name="connsiteX3" fmla="*/ 51019 w 956275"/>
                <a:gd name="connsiteY3" fmla="*/ 493776 h 503380"/>
                <a:gd name="connsiteX4" fmla="*/ 151603 w 956275"/>
                <a:gd name="connsiteY4" fmla="*/ 466344 h 503380"/>
                <a:gd name="connsiteX5" fmla="*/ 252187 w 956275"/>
                <a:gd name="connsiteY5" fmla="*/ 384048 h 503380"/>
                <a:gd name="connsiteX6" fmla="*/ 444211 w 956275"/>
                <a:gd name="connsiteY6" fmla="*/ 301752 h 503380"/>
                <a:gd name="connsiteX7" fmla="*/ 526507 w 956275"/>
                <a:gd name="connsiteY7" fmla="*/ 192024 h 503380"/>
                <a:gd name="connsiteX8" fmla="*/ 672811 w 956275"/>
                <a:gd name="connsiteY8" fmla="*/ 155448 h 503380"/>
                <a:gd name="connsiteX9" fmla="*/ 718531 w 956275"/>
                <a:gd name="connsiteY9" fmla="*/ 155448 h 503380"/>
                <a:gd name="connsiteX10" fmla="*/ 755107 w 956275"/>
                <a:gd name="connsiteY10" fmla="*/ 137160 h 503380"/>
                <a:gd name="connsiteX11" fmla="*/ 709387 w 956275"/>
                <a:gd name="connsiteY11" fmla="*/ 137160 h 503380"/>
                <a:gd name="connsiteX12" fmla="*/ 617947 w 956275"/>
                <a:gd name="connsiteY12" fmla="*/ 137160 h 503380"/>
                <a:gd name="connsiteX13" fmla="*/ 563083 w 956275"/>
                <a:gd name="connsiteY13" fmla="*/ 146304 h 503380"/>
                <a:gd name="connsiteX14" fmla="*/ 553939 w 956275"/>
                <a:gd name="connsiteY14" fmla="*/ 155448 h 503380"/>
                <a:gd name="connsiteX15" fmla="*/ 535651 w 956275"/>
                <a:gd name="connsiteY15" fmla="*/ 146304 h 503380"/>
                <a:gd name="connsiteX16" fmla="*/ 663667 w 956275"/>
                <a:gd name="connsiteY16" fmla="*/ 91440 h 503380"/>
                <a:gd name="connsiteX17" fmla="*/ 718531 w 956275"/>
                <a:gd name="connsiteY17" fmla="*/ 91440 h 503380"/>
                <a:gd name="connsiteX18" fmla="*/ 809971 w 956275"/>
                <a:gd name="connsiteY18" fmla="*/ 82296 h 503380"/>
                <a:gd name="connsiteX19" fmla="*/ 937987 w 956275"/>
                <a:gd name="connsiteY19" fmla="*/ 27432 h 503380"/>
                <a:gd name="connsiteX20" fmla="*/ 919699 w 956275"/>
                <a:gd name="connsiteY20" fmla="*/ 0 h 503380"/>
                <a:gd name="connsiteX21" fmla="*/ 883123 w 956275"/>
                <a:gd name="connsiteY21" fmla="*/ 27432 h 503380"/>
                <a:gd name="connsiteX22" fmla="*/ 846547 w 956275"/>
                <a:gd name="connsiteY22" fmla="*/ 36576 h 503380"/>
                <a:gd name="connsiteX23" fmla="*/ 773395 w 956275"/>
                <a:gd name="connsiteY23" fmla="*/ 64008 h 503380"/>
                <a:gd name="connsiteX24" fmla="*/ 718531 w 956275"/>
                <a:gd name="connsiteY24" fmla="*/ 64008 h 503380"/>
                <a:gd name="connsiteX25" fmla="*/ 608803 w 956275"/>
                <a:gd name="connsiteY25" fmla="*/ 64008 h 503380"/>
                <a:gd name="connsiteX26" fmla="*/ 553939 w 956275"/>
                <a:gd name="connsiteY26" fmla="*/ 100584 h 503380"/>
                <a:gd name="connsiteX27" fmla="*/ 517363 w 956275"/>
                <a:gd name="connsiteY27" fmla="*/ 146304 h 503380"/>
                <a:gd name="connsiteX28" fmla="*/ 471643 w 956275"/>
                <a:gd name="connsiteY28" fmla="*/ 182880 h 503380"/>
                <a:gd name="connsiteX29" fmla="*/ 425923 w 956275"/>
                <a:gd name="connsiteY29" fmla="*/ 256032 h 503380"/>
                <a:gd name="connsiteX30" fmla="*/ 352771 w 956275"/>
                <a:gd name="connsiteY30" fmla="*/ 301752 h 503380"/>
                <a:gd name="connsiteX31" fmla="*/ 252187 w 956275"/>
                <a:gd name="connsiteY31" fmla="*/ 347472 h 503380"/>
                <a:gd name="connsiteX32" fmla="*/ 215611 w 956275"/>
                <a:gd name="connsiteY32" fmla="*/ 374904 h 503380"/>
                <a:gd name="connsiteX33" fmla="*/ 169891 w 956275"/>
                <a:gd name="connsiteY33" fmla="*/ 402336 h 503380"/>
                <a:gd name="connsiteX34" fmla="*/ 151603 w 956275"/>
                <a:gd name="connsiteY34" fmla="*/ 402336 h 503380"/>
                <a:gd name="connsiteX35" fmla="*/ 169891 w 956275"/>
                <a:gd name="connsiteY35" fmla="*/ 365760 h 503380"/>
                <a:gd name="connsiteX36" fmla="*/ 224755 w 956275"/>
                <a:gd name="connsiteY36" fmla="*/ 301752 h 503380"/>
                <a:gd name="connsiteX37" fmla="*/ 316195 w 956275"/>
                <a:gd name="connsiteY37" fmla="*/ 219456 h 503380"/>
                <a:gd name="connsiteX38" fmla="*/ 361915 w 956275"/>
                <a:gd name="connsiteY38" fmla="*/ 146304 h 503380"/>
                <a:gd name="connsiteX39" fmla="*/ 361915 w 956275"/>
                <a:gd name="connsiteY39" fmla="*/ 64008 h 503380"/>
                <a:gd name="connsiteX40" fmla="*/ 352771 w 956275"/>
                <a:gd name="connsiteY40" fmla="*/ 54864 h 503380"/>
                <a:gd name="connsiteX41" fmla="*/ 343627 w 956275"/>
                <a:gd name="connsiteY41" fmla="*/ 128016 h 503380"/>
                <a:gd name="connsiteX42" fmla="*/ 316195 w 956275"/>
                <a:gd name="connsiteY42" fmla="*/ 173736 h 503380"/>
                <a:gd name="connsiteX43" fmla="*/ 243043 w 956275"/>
                <a:gd name="connsiteY43" fmla="*/ 237744 h 503380"/>
                <a:gd name="connsiteX44" fmla="*/ 215611 w 956275"/>
                <a:gd name="connsiteY44" fmla="*/ 256032 h 503380"/>
                <a:gd name="connsiteX45" fmla="*/ 142459 w 956275"/>
                <a:gd name="connsiteY45" fmla="*/ 347472 h 503380"/>
                <a:gd name="connsiteX46" fmla="*/ 133315 w 956275"/>
                <a:gd name="connsiteY46" fmla="*/ 374904 h 503380"/>
                <a:gd name="connsiteX47" fmla="*/ 124171 w 956275"/>
                <a:gd name="connsiteY47" fmla="*/ 411480 h 503380"/>
                <a:gd name="connsiteX48" fmla="*/ 142459 w 956275"/>
                <a:gd name="connsiteY48" fmla="*/ 429768 h 503380"/>
                <a:gd name="connsiteX49" fmla="*/ 96739 w 956275"/>
                <a:gd name="connsiteY49" fmla="*/ 457200 h 503380"/>
                <a:gd name="connsiteX50" fmla="*/ 13820 w 956275"/>
                <a:gd name="connsiteY50" fmla="*/ 496783 h 503380"/>
                <a:gd name="connsiteX51" fmla="*/ 13820 w 956275"/>
                <a:gd name="connsiteY51" fmla="*/ 496784 h 503380"/>
                <a:gd name="connsiteX52" fmla="*/ 13820 w 956275"/>
                <a:gd name="connsiteY52" fmla="*/ 496784 h 503380"/>
                <a:gd name="connsiteX53" fmla="*/ 13820 w 956275"/>
                <a:gd name="connsiteY53" fmla="*/ 496784 h 503380"/>
                <a:gd name="connsiteX54" fmla="*/ 13820 w 956275"/>
                <a:gd name="connsiteY54" fmla="*/ 496784 h 503380"/>
                <a:gd name="connsiteX55" fmla="*/ 13820 w 956275"/>
                <a:gd name="connsiteY55" fmla="*/ 496784 h 503380"/>
                <a:gd name="connsiteX0" fmla="*/ 40672 w 956275"/>
                <a:gd name="connsiteY0" fmla="*/ 486851 h 503380"/>
                <a:gd name="connsiteX1" fmla="*/ 13820 w 956275"/>
                <a:gd name="connsiteY1" fmla="*/ 496784 h 503380"/>
                <a:gd name="connsiteX2" fmla="*/ 13820 w 956275"/>
                <a:gd name="connsiteY2" fmla="*/ 496784 h 503380"/>
                <a:gd name="connsiteX3" fmla="*/ 51019 w 956275"/>
                <a:gd name="connsiteY3" fmla="*/ 493776 h 503380"/>
                <a:gd name="connsiteX4" fmla="*/ 151603 w 956275"/>
                <a:gd name="connsiteY4" fmla="*/ 466344 h 503380"/>
                <a:gd name="connsiteX5" fmla="*/ 252187 w 956275"/>
                <a:gd name="connsiteY5" fmla="*/ 384048 h 503380"/>
                <a:gd name="connsiteX6" fmla="*/ 444211 w 956275"/>
                <a:gd name="connsiteY6" fmla="*/ 301752 h 503380"/>
                <a:gd name="connsiteX7" fmla="*/ 526507 w 956275"/>
                <a:gd name="connsiteY7" fmla="*/ 192024 h 503380"/>
                <a:gd name="connsiteX8" fmla="*/ 672811 w 956275"/>
                <a:gd name="connsiteY8" fmla="*/ 155448 h 503380"/>
                <a:gd name="connsiteX9" fmla="*/ 718531 w 956275"/>
                <a:gd name="connsiteY9" fmla="*/ 155448 h 503380"/>
                <a:gd name="connsiteX10" fmla="*/ 755107 w 956275"/>
                <a:gd name="connsiteY10" fmla="*/ 137160 h 503380"/>
                <a:gd name="connsiteX11" fmla="*/ 709387 w 956275"/>
                <a:gd name="connsiteY11" fmla="*/ 137160 h 503380"/>
                <a:gd name="connsiteX12" fmla="*/ 617947 w 956275"/>
                <a:gd name="connsiteY12" fmla="*/ 137160 h 503380"/>
                <a:gd name="connsiteX13" fmla="*/ 563083 w 956275"/>
                <a:gd name="connsiteY13" fmla="*/ 146304 h 503380"/>
                <a:gd name="connsiteX14" fmla="*/ 553939 w 956275"/>
                <a:gd name="connsiteY14" fmla="*/ 155448 h 503380"/>
                <a:gd name="connsiteX15" fmla="*/ 535651 w 956275"/>
                <a:gd name="connsiteY15" fmla="*/ 146304 h 503380"/>
                <a:gd name="connsiteX16" fmla="*/ 663667 w 956275"/>
                <a:gd name="connsiteY16" fmla="*/ 91440 h 503380"/>
                <a:gd name="connsiteX17" fmla="*/ 718531 w 956275"/>
                <a:gd name="connsiteY17" fmla="*/ 91440 h 503380"/>
                <a:gd name="connsiteX18" fmla="*/ 809971 w 956275"/>
                <a:gd name="connsiteY18" fmla="*/ 82296 h 503380"/>
                <a:gd name="connsiteX19" fmla="*/ 937987 w 956275"/>
                <a:gd name="connsiteY19" fmla="*/ 27432 h 503380"/>
                <a:gd name="connsiteX20" fmla="*/ 919699 w 956275"/>
                <a:gd name="connsiteY20" fmla="*/ 0 h 503380"/>
                <a:gd name="connsiteX21" fmla="*/ 883123 w 956275"/>
                <a:gd name="connsiteY21" fmla="*/ 27432 h 503380"/>
                <a:gd name="connsiteX22" fmla="*/ 846547 w 956275"/>
                <a:gd name="connsiteY22" fmla="*/ 36576 h 503380"/>
                <a:gd name="connsiteX23" fmla="*/ 773395 w 956275"/>
                <a:gd name="connsiteY23" fmla="*/ 64008 h 503380"/>
                <a:gd name="connsiteX24" fmla="*/ 718531 w 956275"/>
                <a:gd name="connsiteY24" fmla="*/ 64008 h 503380"/>
                <a:gd name="connsiteX25" fmla="*/ 608803 w 956275"/>
                <a:gd name="connsiteY25" fmla="*/ 64008 h 503380"/>
                <a:gd name="connsiteX26" fmla="*/ 553939 w 956275"/>
                <a:gd name="connsiteY26" fmla="*/ 100584 h 503380"/>
                <a:gd name="connsiteX27" fmla="*/ 517363 w 956275"/>
                <a:gd name="connsiteY27" fmla="*/ 146304 h 503380"/>
                <a:gd name="connsiteX28" fmla="*/ 471643 w 956275"/>
                <a:gd name="connsiteY28" fmla="*/ 182880 h 503380"/>
                <a:gd name="connsiteX29" fmla="*/ 425923 w 956275"/>
                <a:gd name="connsiteY29" fmla="*/ 256032 h 503380"/>
                <a:gd name="connsiteX30" fmla="*/ 352771 w 956275"/>
                <a:gd name="connsiteY30" fmla="*/ 301752 h 503380"/>
                <a:gd name="connsiteX31" fmla="*/ 252187 w 956275"/>
                <a:gd name="connsiteY31" fmla="*/ 347472 h 503380"/>
                <a:gd name="connsiteX32" fmla="*/ 215611 w 956275"/>
                <a:gd name="connsiteY32" fmla="*/ 374904 h 503380"/>
                <a:gd name="connsiteX33" fmla="*/ 169891 w 956275"/>
                <a:gd name="connsiteY33" fmla="*/ 402336 h 503380"/>
                <a:gd name="connsiteX34" fmla="*/ 151603 w 956275"/>
                <a:gd name="connsiteY34" fmla="*/ 402336 h 503380"/>
                <a:gd name="connsiteX35" fmla="*/ 169891 w 956275"/>
                <a:gd name="connsiteY35" fmla="*/ 365760 h 503380"/>
                <a:gd name="connsiteX36" fmla="*/ 224755 w 956275"/>
                <a:gd name="connsiteY36" fmla="*/ 301752 h 503380"/>
                <a:gd name="connsiteX37" fmla="*/ 316195 w 956275"/>
                <a:gd name="connsiteY37" fmla="*/ 219456 h 503380"/>
                <a:gd name="connsiteX38" fmla="*/ 361915 w 956275"/>
                <a:gd name="connsiteY38" fmla="*/ 146304 h 503380"/>
                <a:gd name="connsiteX39" fmla="*/ 361915 w 956275"/>
                <a:gd name="connsiteY39" fmla="*/ 64008 h 503380"/>
                <a:gd name="connsiteX40" fmla="*/ 352771 w 956275"/>
                <a:gd name="connsiteY40" fmla="*/ 54864 h 503380"/>
                <a:gd name="connsiteX41" fmla="*/ 343627 w 956275"/>
                <a:gd name="connsiteY41" fmla="*/ 128016 h 503380"/>
                <a:gd name="connsiteX42" fmla="*/ 316195 w 956275"/>
                <a:gd name="connsiteY42" fmla="*/ 173736 h 503380"/>
                <a:gd name="connsiteX43" fmla="*/ 243043 w 956275"/>
                <a:gd name="connsiteY43" fmla="*/ 237744 h 503380"/>
                <a:gd name="connsiteX44" fmla="*/ 215611 w 956275"/>
                <a:gd name="connsiteY44" fmla="*/ 256032 h 503380"/>
                <a:gd name="connsiteX45" fmla="*/ 142459 w 956275"/>
                <a:gd name="connsiteY45" fmla="*/ 347472 h 503380"/>
                <a:gd name="connsiteX46" fmla="*/ 133315 w 956275"/>
                <a:gd name="connsiteY46" fmla="*/ 374904 h 503380"/>
                <a:gd name="connsiteX47" fmla="*/ 124171 w 956275"/>
                <a:gd name="connsiteY47" fmla="*/ 411480 h 503380"/>
                <a:gd name="connsiteX48" fmla="*/ 142459 w 956275"/>
                <a:gd name="connsiteY48" fmla="*/ 429768 h 503380"/>
                <a:gd name="connsiteX49" fmla="*/ 96739 w 956275"/>
                <a:gd name="connsiteY49" fmla="*/ 457200 h 503380"/>
                <a:gd name="connsiteX50" fmla="*/ 13820 w 956275"/>
                <a:gd name="connsiteY50" fmla="*/ 496783 h 503380"/>
                <a:gd name="connsiteX51" fmla="*/ 13820 w 956275"/>
                <a:gd name="connsiteY51" fmla="*/ 496784 h 503380"/>
                <a:gd name="connsiteX52" fmla="*/ 13820 w 956275"/>
                <a:gd name="connsiteY52" fmla="*/ 496784 h 503380"/>
                <a:gd name="connsiteX53" fmla="*/ 13820 w 956275"/>
                <a:gd name="connsiteY53" fmla="*/ 496784 h 503380"/>
                <a:gd name="connsiteX54" fmla="*/ 13820 w 956275"/>
                <a:gd name="connsiteY54" fmla="*/ 496784 h 503380"/>
                <a:gd name="connsiteX55" fmla="*/ 40672 w 956275"/>
                <a:gd name="connsiteY55" fmla="*/ 486851 h 503380"/>
                <a:gd name="connsiteX0" fmla="*/ 40672 w 956275"/>
                <a:gd name="connsiteY0" fmla="*/ 486851 h 503380"/>
                <a:gd name="connsiteX1" fmla="*/ 13820 w 956275"/>
                <a:gd name="connsiteY1" fmla="*/ 496784 h 503380"/>
                <a:gd name="connsiteX2" fmla="*/ 13820 w 956275"/>
                <a:gd name="connsiteY2" fmla="*/ 496784 h 503380"/>
                <a:gd name="connsiteX3" fmla="*/ 51019 w 956275"/>
                <a:gd name="connsiteY3" fmla="*/ 493776 h 503380"/>
                <a:gd name="connsiteX4" fmla="*/ 151603 w 956275"/>
                <a:gd name="connsiteY4" fmla="*/ 466344 h 503380"/>
                <a:gd name="connsiteX5" fmla="*/ 252187 w 956275"/>
                <a:gd name="connsiteY5" fmla="*/ 384048 h 503380"/>
                <a:gd name="connsiteX6" fmla="*/ 444211 w 956275"/>
                <a:gd name="connsiteY6" fmla="*/ 301752 h 503380"/>
                <a:gd name="connsiteX7" fmla="*/ 526507 w 956275"/>
                <a:gd name="connsiteY7" fmla="*/ 192024 h 503380"/>
                <a:gd name="connsiteX8" fmla="*/ 672811 w 956275"/>
                <a:gd name="connsiteY8" fmla="*/ 155448 h 503380"/>
                <a:gd name="connsiteX9" fmla="*/ 718531 w 956275"/>
                <a:gd name="connsiteY9" fmla="*/ 155448 h 503380"/>
                <a:gd name="connsiteX10" fmla="*/ 755107 w 956275"/>
                <a:gd name="connsiteY10" fmla="*/ 137160 h 503380"/>
                <a:gd name="connsiteX11" fmla="*/ 709387 w 956275"/>
                <a:gd name="connsiteY11" fmla="*/ 137160 h 503380"/>
                <a:gd name="connsiteX12" fmla="*/ 617947 w 956275"/>
                <a:gd name="connsiteY12" fmla="*/ 137160 h 503380"/>
                <a:gd name="connsiteX13" fmla="*/ 563083 w 956275"/>
                <a:gd name="connsiteY13" fmla="*/ 146304 h 503380"/>
                <a:gd name="connsiteX14" fmla="*/ 553939 w 956275"/>
                <a:gd name="connsiteY14" fmla="*/ 155448 h 503380"/>
                <a:gd name="connsiteX15" fmla="*/ 535651 w 956275"/>
                <a:gd name="connsiteY15" fmla="*/ 146304 h 503380"/>
                <a:gd name="connsiteX16" fmla="*/ 663667 w 956275"/>
                <a:gd name="connsiteY16" fmla="*/ 91440 h 503380"/>
                <a:gd name="connsiteX17" fmla="*/ 718531 w 956275"/>
                <a:gd name="connsiteY17" fmla="*/ 91440 h 503380"/>
                <a:gd name="connsiteX18" fmla="*/ 809971 w 956275"/>
                <a:gd name="connsiteY18" fmla="*/ 82296 h 503380"/>
                <a:gd name="connsiteX19" fmla="*/ 937987 w 956275"/>
                <a:gd name="connsiteY19" fmla="*/ 27432 h 503380"/>
                <a:gd name="connsiteX20" fmla="*/ 919699 w 956275"/>
                <a:gd name="connsiteY20" fmla="*/ 0 h 503380"/>
                <a:gd name="connsiteX21" fmla="*/ 883123 w 956275"/>
                <a:gd name="connsiteY21" fmla="*/ 27432 h 503380"/>
                <a:gd name="connsiteX22" fmla="*/ 846547 w 956275"/>
                <a:gd name="connsiteY22" fmla="*/ 36576 h 503380"/>
                <a:gd name="connsiteX23" fmla="*/ 773395 w 956275"/>
                <a:gd name="connsiteY23" fmla="*/ 64008 h 503380"/>
                <a:gd name="connsiteX24" fmla="*/ 718531 w 956275"/>
                <a:gd name="connsiteY24" fmla="*/ 64008 h 503380"/>
                <a:gd name="connsiteX25" fmla="*/ 608803 w 956275"/>
                <a:gd name="connsiteY25" fmla="*/ 64008 h 503380"/>
                <a:gd name="connsiteX26" fmla="*/ 553939 w 956275"/>
                <a:gd name="connsiteY26" fmla="*/ 100584 h 503380"/>
                <a:gd name="connsiteX27" fmla="*/ 517363 w 956275"/>
                <a:gd name="connsiteY27" fmla="*/ 146304 h 503380"/>
                <a:gd name="connsiteX28" fmla="*/ 471643 w 956275"/>
                <a:gd name="connsiteY28" fmla="*/ 182880 h 503380"/>
                <a:gd name="connsiteX29" fmla="*/ 425923 w 956275"/>
                <a:gd name="connsiteY29" fmla="*/ 256032 h 503380"/>
                <a:gd name="connsiteX30" fmla="*/ 352771 w 956275"/>
                <a:gd name="connsiteY30" fmla="*/ 301752 h 503380"/>
                <a:gd name="connsiteX31" fmla="*/ 252187 w 956275"/>
                <a:gd name="connsiteY31" fmla="*/ 347472 h 503380"/>
                <a:gd name="connsiteX32" fmla="*/ 215611 w 956275"/>
                <a:gd name="connsiteY32" fmla="*/ 374904 h 503380"/>
                <a:gd name="connsiteX33" fmla="*/ 169891 w 956275"/>
                <a:gd name="connsiteY33" fmla="*/ 402336 h 503380"/>
                <a:gd name="connsiteX34" fmla="*/ 151603 w 956275"/>
                <a:gd name="connsiteY34" fmla="*/ 402336 h 503380"/>
                <a:gd name="connsiteX35" fmla="*/ 169891 w 956275"/>
                <a:gd name="connsiteY35" fmla="*/ 365760 h 503380"/>
                <a:gd name="connsiteX36" fmla="*/ 224755 w 956275"/>
                <a:gd name="connsiteY36" fmla="*/ 301752 h 503380"/>
                <a:gd name="connsiteX37" fmla="*/ 316195 w 956275"/>
                <a:gd name="connsiteY37" fmla="*/ 219456 h 503380"/>
                <a:gd name="connsiteX38" fmla="*/ 361915 w 956275"/>
                <a:gd name="connsiteY38" fmla="*/ 146304 h 503380"/>
                <a:gd name="connsiteX39" fmla="*/ 361915 w 956275"/>
                <a:gd name="connsiteY39" fmla="*/ 64008 h 503380"/>
                <a:gd name="connsiteX40" fmla="*/ 352771 w 956275"/>
                <a:gd name="connsiteY40" fmla="*/ 54864 h 503380"/>
                <a:gd name="connsiteX41" fmla="*/ 343627 w 956275"/>
                <a:gd name="connsiteY41" fmla="*/ 128016 h 503380"/>
                <a:gd name="connsiteX42" fmla="*/ 316195 w 956275"/>
                <a:gd name="connsiteY42" fmla="*/ 173736 h 503380"/>
                <a:gd name="connsiteX43" fmla="*/ 243043 w 956275"/>
                <a:gd name="connsiteY43" fmla="*/ 237744 h 503380"/>
                <a:gd name="connsiteX44" fmla="*/ 215611 w 956275"/>
                <a:gd name="connsiteY44" fmla="*/ 256032 h 503380"/>
                <a:gd name="connsiteX45" fmla="*/ 142459 w 956275"/>
                <a:gd name="connsiteY45" fmla="*/ 347472 h 503380"/>
                <a:gd name="connsiteX46" fmla="*/ 133315 w 956275"/>
                <a:gd name="connsiteY46" fmla="*/ 374904 h 503380"/>
                <a:gd name="connsiteX47" fmla="*/ 124171 w 956275"/>
                <a:gd name="connsiteY47" fmla="*/ 411480 h 503380"/>
                <a:gd name="connsiteX48" fmla="*/ 142459 w 956275"/>
                <a:gd name="connsiteY48" fmla="*/ 429768 h 503380"/>
                <a:gd name="connsiteX49" fmla="*/ 96739 w 956275"/>
                <a:gd name="connsiteY49" fmla="*/ 457200 h 503380"/>
                <a:gd name="connsiteX50" fmla="*/ 13820 w 956275"/>
                <a:gd name="connsiteY50" fmla="*/ 496783 h 503380"/>
                <a:gd name="connsiteX51" fmla="*/ 13820 w 956275"/>
                <a:gd name="connsiteY51" fmla="*/ 496784 h 503380"/>
                <a:gd name="connsiteX52" fmla="*/ 13820 w 956275"/>
                <a:gd name="connsiteY52" fmla="*/ 496784 h 503380"/>
                <a:gd name="connsiteX53" fmla="*/ 13820 w 956275"/>
                <a:gd name="connsiteY53" fmla="*/ 496784 h 503380"/>
                <a:gd name="connsiteX54" fmla="*/ 13820 w 956275"/>
                <a:gd name="connsiteY54" fmla="*/ 496784 h 503380"/>
                <a:gd name="connsiteX55" fmla="*/ 40672 w 956275"/>
                <a:gd name="connsiteY55" fmla="*/ 486851 h 503380"/>
                <a:gd name="connsiteX0" fmla="*/ 114797 w 956275"/>
                <a:gd name="connsiteY0" fmla="*/ 504512 h 504512"/>
                <a:gd name="connsiteX1" fmla="*/ 13820 w 956275"/>
                <a:gd name="connsiteY1" fmla="*/ 496784 h 504512"/>
                <a:gd name="connsiteX2" fmla="*/ 13820 w 956275"/>
                <a:gd name="connsiteY2" fmla="*/ 496784 h 504512"/>
                <a:gd name="connsiteX3" fmla="*/ 51019 w 956275"/>
                <a:gd name="connsiteY3" fmla="*/ 493776 h 504512"/>
                <a:gd name="connsiteX4" fmla="*/ 151603 w 956275"/>
                <a:gd name="connsiteY4" fmla="*/ 466344 h 504512"/>
                <a:gd name="connsiteX5" fmla="*/ 252187 w 956275"/>
                <a:gd name="connsiteY5" fmla="*/ 384048 h 504512"/>
                <a:gd name="connsiteX6" fmla="*/ 444211 w 956275"/>
                <a:gd name="connsiteY6" fmla="*/ 301752 h 504512"/>
                <a:gd name="connsiteX7" fmla="*/ 526507 w 956275"/>
                <a:gd name="connsiteY7" fmla="*/ 192024 h 504512"/>
                <a:gd name="connsiteX8" fmla="*/ 672811 w 956275"/>
                <a:gd name="connsiteY8" fmla="*/ 155448 h 504512"/>
                <a:gd name="connsiteX9" fmla="*/ 718531 w 956275"/>
                <a:gd name="connsiteY9" fmla="*/ 155448 h 504512"/>
                <a:gd name="connsiteX10" fmla="*/ 755107 w 956275"/>
                <a:gd name="connsiteY10" fmla="*/ 137160 h 504512"/>
                <a:gd name="connsiteX11" fmla="*/ 709387 w 956275"/>
                <a:gd name="connsiteY11" fmla="*/ 137160 h 504512"/>
                <a:gd name="connsiteX12" fmla="*/ 617947 w 956275"/>
                <a:gd name="connsiteY12" fmla="*/ 137160 h 504512"/>
                <a:gd name="connsiteX13" fmla="*/ 563083 w 956275"/>
                <a:gd name="connsiteY13" fmla="*/ 146304 h 504512"/>
                <a:gd name="connsiteX14" fmla="*/ 553939 w 956275"/>
                <a:gd name="connsiteY14" fmla="*/ 155448 h 504512"/>
                <a:gd name="connsiteX15" fmla="*/ 535651 w 956275"/>
                <a:gd name="connsiteY15" fmla="*/ 146304 h 504512"/>
                <a:gd name="connsiteX16" fmla="*/ 663667 w 956275"/>
                <a:gd name="connsiteY16" fmla="*/ 91440 h 504512"/>
                <a:gd name="connsiteX17" fmla="*/ 718531 w 956275"/>
                <a:gd name="connsiteY17" fmla="*/ 91440 h 504512"/>
                <a:gd name="connsiteX18" fmla="*/ 809971 w 956275"/>
                <a:gd name="connsiteY18" fmla="*/ 82296 h 504512"/>
                <a:gd name="connsiteX19" fmla="*/ 937987 w 956275"/>
                <a:gd name="connsiteY19" fmla="*/ 27432 h 504512"/>
                <a:gd name="connsiteX20" fmla="*/ 919699 w 956275"/>
                <a:gd name="connsiteY20" fmla="*/ 0 h 504512"/>
                <a:gd name="connsiteX21" fmla="*/ 883123 w 956275"/>
                <a:gd name="connsiteY21" fmla="*/ 27432 h 504512"/>
                <a:gd name="connsiteX22" fmla="*/ 846547 w 956275"/>
                <a:gd name="connsiteY22" fmla="*/ 36576 h 504512"/>
                <a:gd name="connsiteX23" fmla="*/ 773395 w 956275"/>
                <a:gd name="connsiteY23" fmla="*/ 64008 h 504512"/>
                <a:gd name="connsiteX24" fmla="*/ 718531 w 956275"/>
                <a:gd name="connsiteY24" fmla="*/ 64008 h 504512"/>
                <a:gd name="connsiteX25" fmla="*/ 608803 w 956275"/>
                <a:gd name="connsiteY25" fmla="*/ 64008 h 504512"/>
                <a:gd name="connsiteX26" fmla="*/ 553939 w 956275"/>
                <a:gd name="connsiteY26" fmla="*/ 100584 h 504512"/>
                <a:gd name="connsiteX27" fmla="*/ 517363 w 956275"/>
                <a:gd name="connsiteY27" fmla="*/ 146304 h 504512"/>
                <a:gd name="connsiteX28" fmla="*/ 471643 w 956275"/>
                <a:gd name="connsiteY28" fmla="*/ 182880 h 504512"/>
                <a:gd name="connsiteX29" fmla="*/ 425923 w 956275"/>
                <a:gd name="connsiteY29" fmla="*/ 256032 h 504512"/>
                <a:gd name="connsiteX30" fmla="*/ 352771 w 956275"/>
                <a:gd name="connsiteY30" fmla="*/ 301752 h 504512"/>
                <a:gd name="connsiteX31" fmla="*/ 252187 w 956275"/>
                <a:gd name="connsiteY31" fmla="*/ 347472 h 504512"/>
                <a:gd name="connsiteX32" fmla="*/ 215611 w 956275"/>
                <a:gd name="connsiteY32" fmla="*/ 374904 h 504512"/>
                <a:gd name="connsiteX33" fmla="*/ 169891 w 956275"/>
                <a:gd name="connsiteY33" fmla="*/ 402336 h 504512"/>
                <a:gd name="connsiteX34" fmla="*/ 151603 w 956275"/>
                <a:gd name="connsiteY34" fmla="*/ 402336 h 504512"/>
                <a:gd name="connsiteX35" fmla="*/ 169891 w 956275"/>
                <a:gd name="connsiteY35" fmla="*/ 365760 h 504512"/>
                <a:gd name="connsiteX36" fmla="*/ 224755 w 956275"/>
                <a:gd name="connsiteY36" fmla="*/ 301752 h 504512"/>
                <a:gd name="connsiteX37" fmla="*/ 316195 w 956275"/>
                <a:gd name="connsiteY37" fmla="*/ 219456 h 504512"/>
                <a:gd name="connsiteX38" fmla="*/ 361915 w 956275"/>
                <a:gd name="connsiteY38" fmla="*/ 146304 h 504512"/>
                <a:gd name="connsiteX39" fmla="*/ 361915 w 956275"/>
                <a:gd name="connsiteY39" fmla="*/ 64008 h 504512"/>
                <a:gd name="connsiteX40" fmla="*/ 352771 w 956275"/>
                <a:gd name="connsiteY40" fmla="*/ 54864 h 504512"/>
                <a:gd name="connsiteX41" fmla="*/ 343627 w 956275"/>
                <a:gd name="connsiteY41" fmla="*/ 128016 h 504512"/>
                <a:gd name="connsiteX42" fmla="*/ 316195 w 956275"/>
                <a:gd name="connsiteY42" fmla="*/ 173736 h 504512"/>
                <a:gd name="connsiteX43" fmla="*/ 243043 w 956275"/>
                <a:gd name="connsiteY43" fmla="*/ 237744 h 504512"/>
                <a:gd name="connsiteX44" fmla="*/ 215611 w 956275"/>
                <a:gd name="connsiteY44" fmla="*/ 256032 h 504512"/>
                <a:gd name="connsiteX45" fmla="*/ 142459 w 956275"/>
                <a:gd name="connsiteY45" fmla="*/ 347472 h 504512"/>
                <a:gd name="connsiteX46" fmla="*/ 133315 w 956275"/>
                <a:gd name="connsiteY46" fmla="*/ 374904 h 504512"/>
                <a:gd name="connsiteX47" fmla="*/ 124171 w 956275"/>
                <a:gd name="connsiteY47" fmla="*/ 411480 h 504512"/>
                <a:gd name="connsiteX48" fmla="*/ 142459 w 956275"/>
                <a:gd name="connsiteY48" fmla="*/ 429768 h 504512"/>
                <a:gd name="connsiteX49" fmla="*/ 96739 w 956275"/>
                <a:gd name="connsiteY49" fmla="*/ 457200 h 504512"/>
                <a:gd name="connsiteX50" fmla="*/ 13820 w 956275"/>
                <a:gd name="connsiteY50" fmla="*/ 496783 h 504512"/>
                <a:gd name="connsiteX51" fmla="*/ 13820 w 956275"/>
                <a:gd name="connsiteY51" fmla="*/ 496784 h 504512"/>
                <a:gd name="connsiteX52" fmla="*/ 13820 w 956275"/>
                <a:gd name="connsiteY52" fmla="*/ 496784 h 504512"/>
                <a:gd name="connsiteX53" fmla="*/ 13820 w 956275"/>
                <a:gd name="connsiteY53" fmla="*/ 496784 h 504512"/>
                <a:gd name="connsiteX54" fmla="*/ 13820 w 956275"/>
                <a:gd name="connsiteY54" fmla="*/ 496784 h 504512"/>
                <a:gd name="connsiteX55" fmla="*/ 114797 w 956275"/>
                <a:gd name="connsiteY55" fmla="*/ 504512 h 504512"/>
                <a:gd name="connsiteX0" fmla="*/ 114797 w 956275"/>
                <a:gd name="connsiteY0" fmla="*/ 504512 h 505800"/>
                <a:gd name="connsiteX1" fmla="*/ 13820 w 956275"/>
                <a:gd name="connsiteY1" fmla="*/ 496784 h 505800"/>
                <a:gd name="connsiteX2" fmla="*/ 13820 w 956275"/>
                <a:gd name="connsiteY2" fmla="*/ 496784 h 505800"/>
                <a:gd name="connsiteX3" fmla="*/ 51019 w 956275"/>
                <a:gd name="connsiteY3" fmla="*/ 493776 h 505800"/>
                <a:gd name="connsiteX4" fmla="*/ 151603 w 956275"/>
                <a:gd name="connsiteY4" fmla="*/ 466344 h 505800"/>
                <a:gd name="connsiteX5" fmla="*/ 252187 w 956275"/>
                <a:gd name="connsiteY5" fmla="*/ 384048 h 505800"/>
                <a:gd name="connsiteX6" fmla="*/ 444211 w 956275"/>
                <a:gd name="connsiteY6" fmla="*/ 301752 h 505800"/>
                <a:gd name="connsiteX7" fmla="*/ 526507 w 956275"/>
                <a:gd name="connsiteY7" fmla="*/ 192024 h 505800"/>
                <a:gd name="connsiteX8" fmla="*/ 672811 w 956275"/>
                <a:gd name="connsiteY8" fmla="*/ 155448 h 505800"/>
                <a:gd name="connsiteX9" fmla="*/ 718531 w 956275"/>
                <a:gd name="connsiteY9" fmla="*/ 155448 h 505800"/>
                <a:gd name="connsiteX10" fmla="*/ 755107 w 956275"/>
                <a:gd name="connsiteY10" fmla="*/ 137160 h 505800"/>
                <a:gd name="connsiteX11" fmla="*/ 709387 w 956275"/>
                <a:gd name="connsiteY11" fmla="*/ 137160 h 505800"/>
                <a:gd name="connsiteX12" fmla="*/ 617947 w 956275"/>
                <a:gd name="connsiteY12" fmla="*/ 137160 h 505800"/>
                <a:gd name="connsiteX13" fmla="*/ 563083 w 956275"/>
                <a:gd name="connsiteY13" fmla="*/ 146304 h 505800"/>
                <a:gd name="connsiteX14" fmla="*/ 553939 w 956275"/>
                <a:gd name="connsiteY14" fmla="*/ 155448 h 505800"/>
                <a:gd name="connsiteX15" fmla="*/ 535651 w 956275"/>
                <a:gd name="connsiteY15" fmla="*/ 146304 h 505800"/>
                <a:gd name="connsiteX16" fmla="*/ 663667 w 956275"/>
                <a:gd name="connsiteY16" fmla="*/ 91440 h 505800"/>
                <a:gd name="connsiteX17" fmla="*/ 718531 w 956275"/>
                <a:gd name="connsiteY17" fmla="*/ 91440 h 505800"/>
                <a:gd name="connsiteX18" fmla="*/ 809971 w 956275"/>
                <a:gd name="connsiteY18" fmla="*/ 82296 h 505800"/>
                <a:gd name="connsiteX19" fmla="*/ 937987 w 956275"/>
                <a:gd name="connsiteY19" fmla="*/ 27432 h 505800"/>
                <a:gd name="connsiteX20" fmla="*/ 919699 w 956275"/>
                <a:gd name="connsiteY20" fmla="*/ 0 h 505800"/>
                <a:gd name="connsiteX21" fmla="*/ 883123 w 956275"/>
                <a:gd name="connsiteY21" fmla="*/ 27432 h 505800"/>
                <a:gd name="connsiteX22" fmla="*/ 846547 w 956275"/>
                <a:gd name="connsiteY22" fmla="*/ 36576 h 505800"/>
                <a:gd name="connsiteX23" fmla="*/ 773395 w 956275"/>
                <a:gd name="connsiteY23" fmla="*/ 64008 h 505800"/>
                <a:gd name="connsiteX24" fmla="*/ 718531 w 956275"/>
                <a:gd name="connsiteY24" fmla="*/ 64008 h 505800"/>
                <a:gd name="connsiteX25" fmla="*/ 608803 w 956275"/>
                <a:gd name="connsiteY25" fmla="*/ 64008 h 505800"/>
                <a:gd name="connsiteX26" fmla="*/ 553939 w 956275"/>
                <a:gd name="connsiteY26" fmla="*/ 100584 h 505800"/>
                <a:gd name="connsiteX27" fmla="*/ 517363 w 956275"/>
                <a:gd name="connsiteY27" fmla="*/ 146304 h 505800"/>
                <a:gd name="connsiteX28" fmla="*/ 471643 w 956275"/>
                <a:gd name="connsiteY28" fmla="*/ 182880 h 505800"/>
                <a:gd name="connsiteX29" fmla="*/ 425923 w 956275"/>
                <a:gd name="connsiteY29" fmla="*/ 256032 h 505800"/>
                <a:gd name="connsiteX30" fmla="*/ 352771 w 956275"/>
                <a:gd name="connsiteY30" fmla="*/ 301752 h 505800"/>
                <a:gd name="connsiteX31" fmla="*/ 252187 w 956275"/>
                <a:gd name="connsiteY31" fmla="*/ 347472 h 505800"/>
                <a:gd name="connsiteX32" fmla="*/ 215611 w 956275"/>
                <a:gd name="connsiteY32" fmla="*/ 374904 h 505800"/>
                <a:gd name="connsiteX33" fmla="*/ 169891 w 956275"/>
                <a:gd name="connsiteY33" fmla="*/ 402336 h 505800"/>
                <a:gd name="connsiteX34" fmla="*/ 151603 w 956275"/>
                <a:gd name="connsiteY34" fmla="*/ 402336 h 505800"/>
                <a:gd name="connsiteX35" fmla="*/ 169891 w 956275"/>
                <a:gd name="connsiteY35" fmla="*/ 365760 h 505800"/>
                <a:gd name="connsiteX36" fmla="*/ 224755 w 956275"/>
                <a:gd name="connsiteY36" fmla="*/ 301752 h 505800"/>
                <a:gd name="connsiteX37" fmla="*/ 316195 w 956275"/>
                <a:gd name="connsiteY37" fmla="*/ 219456 h 505800"/>
                <a:gd name="connsiteX38" fmla="*/ 361915 w 956275"/>
                <a:gd name="connsiteY38" fmla="*/ 146304 h 505800"/>
                <a:gd name="connsiteX39" fmla="*/ 361915 w 956275"/>
                <a:gd name="connsiteY39" fmla="*/ 64008 h 505800"/>
                <a:gd name="connsiteX40" fmla="*/ 352771 w 956275"/>
                <a:gd name="connsiteY40" fmla="*/ 54864 h 505800"/>
                <a:gd name="connsiteX41" fmla="*/ 343627 w 956275"/>
                <a:gd name="connsiteY41" fmla="*/ 128016 h 505800"/>
                <a:gd name="connsiteX42" fmla="*/ 316195 w 956275"/>
                <a:gd name="connsiteY42" fmla="*/ 173736 h 505800"/>
                <a:gd name="connsiteX43" fmla="*/ 243043 w 956275"/>
                <a:gd name="connsiteY43" fmla="*/ 237744 h 505800"/>
                <a:gd name="connsiteX44" fmla="*/ 215611 w 956275"/>
                <a:gd name="connsiteY44" fmla="*/ 256032 h 505800"/>
                <a:gd name="connsiteX45" fmla="*/ 142459 w 956275"/>
                <a:gd name="connsiteY45" fmla="*/ 347472 h 505800"/>
                <a:gd name="connsiteX46" fmla="*/ 133315 w 956275"/>
                <a:gd name="connsiteY46" fmla="*/ 374904 h 505800"/>
                <a:gd name="connsiteX47" fmla="*/ 124171 w 956275"/>
                <a:gd name="connsiteY47" fmla="*/ 411480 h 505800"/>
                <a:gd name="connsiteX48" fmla="*/ 142459 w 956275"/>
                <a:gd name="connsiteY48" fmla="*/ 429768 h 505800"/>
                <a:gd name="connsiteX49" fmla="*/ 96739 w 956275"/>
                <a:gd name="connsiteY49" fmla="*/ 457200 h 505800"/>
                <a:gd name="connsiteX50" fmla="*/ 13820 w 956275"/>
                <a:gd name="connsiteY50" fmla="*/ 496783 h 505800"/>
                <a:gd name="connsiteX51" fmla="*/ 13820 w 956275"/>
                <a:gd name="connsiteY51" fmla="*/ 496784 h 505800"/>
                <a:gd name="connsiteX52" fmla="*/ 13820 w 956275"/>
                <a:gd name="connsiteY52" fmla="*/ 496784 h 505800"/>
                <a:gd name="connsiteX53" fmla="*/ 13820 w 956275"/>
                <a:gd name="connsiteY53" fmla="*/ 496784 h 505800"/>
                <a:gd name="connsiteX54" fmla="*/ 114796 w 956275"/>
                <a:gd name="connsiteY54" fmla="*/ 504511 h 505800"/>
                <a:gd name="connsiteX55" fmla="*/ 114797 w 956275"/>
                <a:gd name="connsiteY55" fmla="*/ 504512 h 505800"/>
                <a:gd name="connsiteX0" fmla="*/ 114797 w 956275"/>
                <a:gd name="connsiteY0" fmla="*/ 504512 h 505800"/>
                <a:gd name="connsiteX1" fmla="*/ 13820 w 956275"/>
                <a:gd name="connsiteY1" fmla="*/ 496784 h 505800"/>
                <a:gd name="connsiteX2" fmla="*/ 13820 w 956275"/>
                <a:gd name="connsiteY2" fmla="*/ 496784 h 505800"/>
                <a:gd name="connsiteX3" fmla="*/ 51019 w 956275"/>
                <a:gd name="connsiteY3" fmla="*/ 493776 h 505800"/>
                <a:gd name="connsiteX4" fmla="*/ 151603 w 956275"/>
                <a:gd name="connsiteY4" fmla="*/ 466344 h 505800"/>
                <a:gd name="connsiteX5" fmla="*/ 252187 w 956275"/>
                <a:gd name="connsiteY5" fmla="*/ 384048 h 505800"/>
                <a:gd name="connsiteX6" fmla="*/ 444211 w 956275"/>
                <a:gd name="connsiteY6" fmla="*/ 301752 h 505800"/>
                <a:gd name="connsiteX7" fmla="*/ 526507 w 956275"/>
                <a:gd name="connsiteY7" fmla="*/ 192024 h 505800"/>
                <a:gd name="connsiteX8" fmla="*/ 672811 w 956275"/>
                <a:gd name="connsiteY8" fmla="*/ 155448 h 505800"/>
                <a:gd name="connsiteX9" fmla="*/ 718531 w 956275"/>
                <a:gd name="connsiteY9" fmla="*/ 155448 h 505800"/>
                <a:gd name="connsiteX10" fmla="*/ 755107 w 956275"/>
                <a:gd name="connsiteY10" fmla="*/ 137160 h 505800"/>
                <a:gd name="connsiteX11" fmla="*/ 709387 w 956275"/>
                <a:gd name="connsiteY11" fmla="*/ 137160 h 505800"/>
                <a:gd name="connsiteX12" fmla="*/ 617947 w 956275"/>
                <a:gd name="connsiteY12" fmla="*/ 137160 h 505800"/>
                <a:gd name="connsiteX13" fmla="*/ 563083 w 956275"/>
                <a:gd name="connsiteY13" fmla="*/ 146304 h 505800"/>
                <a:gd name="connsiteX14" fmla="*/ 553939 w 956275"/>
                <a:gd name="connsiteY14" fmla="*/ 155448 h 505800"/>
                <a:gd name="connsiteX15" fmla="*/ 535651 w 956275"/>
                <a:gd name="connsiteY15" fmla="*/ 146304 h 505800"/>
                <a:gd name="connsiteX16" fmla="*/ 663667 w 956275"/>
                <a:gd name="connsiteY16" fmla="*/ 91440 h 505800"/>
                <a:gd name="connsiteX17" fmla="*/ 718531 w 956275"/>
                <a:gd name="connsiteY17" fmla="*/ 91440 h 505800"/>
                <a:gd name="connsiteX18" fmla="*/ 809971 w 956275"/>
                <a:gd name="connsiteY18" fmla="*/ 82296 h 505800"/>
                <a:gd name="connsiteX19" fmla="*/ 937987 w 956275"/>
                <a:gd name="connsiteY19" fmla="*/ 27432 h 505800"/>
                <a:gd name="connsiteX20" fmla="*/ 919699 w 956275"/>
                <a:gd name="connsiteY20" fmla="*/ 0 h 505800"/>
                <a:gd name="connsiteX21" fmla="*/ 883123 w 956275"/>
                <a:gd name="connsiteY21" fmla="*/ 27432 h 505800"/>
                <a:gd name="connsiteX22" fmla="*/ 846547 w 956275"/>
                <a:gd name="connsiteY22" fmla="*/ 36576 h 505800"/>
                <a:gd name="connsiteX23" fmla="*/ 773395 w 956275"/>
                <a:gd name="connsiteY23" fmla="*/ 64008 h 505800"/>
                <a:gd name="connsiteX24" fmla="*/ 718531 w 956275"/>
                <a:gd name="connsiteY24" fmla="*/ 64008 h 505800"/>
                <a:gd name="connsiteX25" fmla="*/ 608803 w 956275"/>
                <a:gd name="connsiteY25" fmla="*/ 64008 h 505800"/>
                <a:gd name="connsiteX26" fmla="*/ 553939 w 956275"/>
                <a:gd name="connsiteY26" fmla="*/ 100584 h 505800"/>
                <a:gd name="connsiteX27" fmla="*/ 517363 w 956275"/>
                <a:gd name="connsiteY27" fmla="*/ 146304 h 505800"/>
                <a:gd name="connsiteX28" fmla="*/ 471643 w 956275"/>
                <a:gd name="connsiteY28" fmla="*/ 182880 h 505800"/>
                <a:gd name="connsiteX29" fmla="*/ 425923 w 956275"/>
                <a:gd name="connsiteY29" fmla="*/ 256032 h 505800"/>
                <a:gd name="connsiteX30" fmla="*/ 352771 w 956275"/>
                <a:gd name="connsiteY30" fmla="*/ 301752 h 505800"/>
                <a:gd name="connsiteX31" fmla="*/ 252187 w 956275"/>
                <a:gd name="connsiteY31" fmla="*/ 347472 h 505800"/>
                <a:gd name="connsiteX32" fmla="*/ 215611 w 956275"/>
                <a:gd name="connsiteY32" fmla="*/ 374904 h 505800"/>
                <a:gd name="connsiteX33" fmla="*/ 169891 w 956275"/>
                <a:gd name="connsiteY33" fmla="*/ 402336 h 505800"/>
                <a:gd name="connsiteX34" fmla="*/ 151603 w 956275"/>
                <a:gd name="connsiteY34" fmla="*/ 402336 h 505800"/>
                <a:gd name="connsiteX35" fmla="*/ 169891 w 956275"/>
                <a:gd name="connsiteY35" fmla="*/ 365760 h 505800"/>
                <a:gd name="connsiteX36" fmla="*/ 224755 w 956275"/>
                <a:gd name="connsiteY36" fmla="*/ 301752 h 505800"/>
                <a:gd name="connsiteX37" fmla="*/ 316195 w 956275"/>
                <a:gd name="connsiteY37" fmla="*/ 219456 h 505800"/>
                <a:gd name="connsiteX38" fmla="*/ 361915 w 956275"/>
                <a:gd name="connsiteY38" fmla="*/ 146304 h 505800"/>
                <a:gd name="connsiteX39" fmla="*/ 361915 w 956275"/>
                <a:gd name="connsiteY39" fmla="*/ 64008 h 505800"/>
                <a:gd name="connsiteX40" fmla="*/ 352771 w 956275"/>
                <a:gd name="connsiteY40" fmla="*/ 54864 h 505800"/>
                <a:gd name="connsiteX41" fmla="*/ 343627 w 956275"/>
                <a:gd name="connsiteY41" fmla="*/ 128016 h 505800"/>
                <a:gd name="connsiteX42" fmla="*/ 316195 w 956275"/>
                <a:gd name="connsiteY42" fmla="*/ 173736 h 505800"/>
                <a:gd name="connsiteX43" fmla="*/ 243043 w 956275"/>
                <a:gd name="connsiteY43" fmla="*/ 237744 h 505800"/>
                <a:gd name="connsiteX44" fmla="*/ 215611 w 956275"/>
                <a:gd name="connsiteY44" fmla="*/ 256032 h 505800"/>
                <a:gd name="connsiteX45" fmla="*/ 142459 w 956275"/>
                <a:gd name="connsiteY45" fmla="*/ 347472 h 505800"/>
                <a:gd name="connsiteX46" fmla="*/ 133315 w 956275"/>
                <a:gd name="connsiteY46" fmla="*/ 374904 h 505800"/>
                <a:gd name="connsiteX47" fmla="*/ 124171 w 956275"/>
                <a:gd name="connsiteY47" fmla="*/ 411480 h 505800"/>
                <a:gd name="connsiteX48" fmla="*/ 142459 w 956275"/>
                <a:gd name="connsiteY48" fmla="*/ 429768 h 505800"/>
                <a:gd name="connsiteX49" fmla="*/ 96739 w 956275"/>
                <a:gd name="connsiteY49" fmla="*/ 457200 h 505800"/>
                <a:gd name="connsiteX50" fmla="*/ 13820 w 956275"/>
                <a:gd name="connsiteY50" fmla="*/ 496783 h 505800"/>
                <a:gd name="connsiteX51" fmla="*/ 13820 w 956275"/>
                <a:gd name="connsiteY51" fmla="*/ 496784 h 505800"/>
                <a:gd name="connsiteX52" fmla="*/ 13820 w 956275"/>
                <a:gd name="connsiteY52" fmla="*/ 496784 h 505800"/>
                <a:gd name="connsiteX53" fmla="*/ 132458 w 956275"/>
                <a:gd name="connsiteY53" fmla="*/ 430387 h 505800"/>
                <a:gd name="connsiteX54" fmla="*/ 114796 w 956275"/>
                <a:gd name="connsiteY54" fmla="*/ 504511 h 505800"/>
                <a:gd name="connsiteX55" fmla="*/ 114797 w 956275"/>
                <a:gd name="connsiteY55" fmla="*/ 504512 h 505800"/>
                <a:gd name="connsiteX0" fmla="*/ 114798 w 956275"/>
                <a:gd name="connsiteY0" fmla="*/ 504512 h 505800"/>
                <a:gd name="connsiteX1" fmla="*/ 13820 w 956275"/>
                <a:gd name="connsiteY1" fmla="*/ 496784 h 505800"/>
                <a:gd name="connsiteX2" fmla="*/ 13820 w 956275"/>
                <a:gd name="connsiteY2" fmla="*/ 496784 h 505800"/>
                <a:gd name="connsiteX3" fmla="*/ 51019 w 956275"/>
                <a:gd name="connsiteY3" fmla="*/ 493776 h 505800"/>
                <a:gd name="connsiteX4" fmla="*/ 151603 w 956275"/>
                <a:gd name="connsiteY4" fmla="*/ 466344 h 505800"/>
                <a:gd name="connsiteX5" fmla="*/ 252187 w 956275"/>
                <a:gd name="connsiteY5" fmla="*/ 384048 h 505800"/>
                <a:gd name="connsiteX6" fmla="*/ 444211 w 956275"/>
                <a:gd name="connsiteY6" fmla="*/ 301752 h 505800"/>
                <a:gd name="connsiteX7" fmla="*/ 526507 w 956275"/>
                <a:gd name="connsiteY7" fmla="*/ 192024 h 505800"/>
                <a:gd name="connsiteX8" fmla="*/ 672811 w 956275"/>
                <a:gd name="connsiteY8" fmla="*/ 155448 h 505800"/>
                <a:gd name="connsiteX9" fmla="*/ 718531 w 956275"/>
                <a:gd name="connsiteY9" fmla="*/ 155448 h 505800"/>
                <a:gd name="connsiteX10" fmla="*/ 755107 w 956275"/>
                <a:gd name="connsiteY10" fmla="*/ 137160 h 505800"/>
                <a:gd name="connsiteX11" fmla="*/ 709387 w 956275"/>
                <a:gd name="connsiteY11" fmla="*/ 137160 h 505800"/>
                <a:gd name="connsiteX12" fmla="*/ 617947 w 956275"/>
                <a:gd name="connsiteY12" fmla="*/ 137160 h 505800"/>
                <a:gd name="connsiteX13" fmla="*/ 563083 w 956275"/>
                <a:gd name="connsiteY13" fmla="*/ 146304 h 505800"/>
                <a:gd name="connsiteX14" fmla="*/ 553939 w 956275"/>
                <a:gd name="connsiteY14" fmla="*/ 155448 h 505800"/>
                <a:gd name="connsiteX15" fmla="*/ 535651 w 956275"/>
                <a:gd name="connsiteY15" fmla="*/ 146304 h 505800"/>
                <a:gd name="connsiteX16" fmla="*/ 663667 w 956275"/>
                <a:gd name="connsiteY16" fmla="*/ 91440 h 505800"/>
                <a:gd name="connsiteX17" fmla="*/ 718531 w 956275"/>
                <a:gd name="connsiteY17" fmla="*/ 91440 h 505800"/>
                <a:gd name="connsiteX18" fmla="*/ 809971 w 956275"/>
                <a:gd name="connsiteY18" fmla="*/ 82296 h 505800"/>
                <a:gd name="connsiteX19" fmla="*/ 937987 w 956275"/>
                <a:gd name="connsiteY19" fmla="*/ 27432 h 505800"/>
                <a:gd name="connsiteX20" fmla="*/ 919699 w 956275"/>
                <a:gd name="connsiteY20" fmla="*/ 0 h 505800"/>
                <a:gd name="connsiteX21" fmla="*/ 883123 w 956275"/>
                <a:gd name="connsiteY21" fmla="*/ 27432 h 505800"/>
                <a:gd name="connsiteX22" fmla="*/ 846547 w 956275"/>
                <a:gd name="connsiteY22" fmla="*/ 36576 h 505800"/>
                <a:gd name="connsiteX23" fmla="*/ 773395 w 956275"/>
                <a:gd name="connsiteY23" fmla="*/ 64008 h 505800"/>
                <a:gd name="connsiteX24" fmla="*/ 718531 w 956275"/>
                <a:gd name="connsiteY24" fmla="*/ 64008 h 505800"/>
                <a:gd name="connsiteX25" fmla="*/ 608803 w 956275"/>
                <a:gd name="connsiteY25" fmla="*/ 64008 h 505800"/>
                <a:gd name="connsiteX26" fmla="*/ 553939 w 956275"/>
                <a:gd name="connsiteY26" fmla="*/ 100584 h 505800"/>
                <a:gd name="connsiteX27" fmla="*/ 517363 w 956275"/>
                <a:gd name="connsiteY27" fmla="*/ 146304 h 505800"/>
                <a:gd name="connsiteX28" fmla="*/ 471643 w 956275"/>
                <a:gd name="connsiteY28" fmla="*/ 182880 h 505800"/>
                <a:gd name="connsiteX29" fmla="*/ 425923 w 956275"/>
                <a:gd name="connsiteY29" fmla="*/ 256032 h 505800"/>
                <a:gd name="connsiteX30" fmla="*/ 352771 w 956275"/>
                <a:gd name="connsiteY30" fmla="*/ 301752 h 505800"/>
                <a:gd name="connsiteX31" fmla="*/ 252187 w 956275"/>
                <a:gd name="connsiteY31" fmla="*/ 347472 h 505800"/>
                <a:gd name="connsiteX32" fmla="*/ 215611 w 956275"/>
                <a:gd name="connsiteY32" fmla="*/ 374904 h 505800"/>
                <a:gd name="connsiteX33" fmla="*/ 169891 w 956275"/>
                <a:gd name="connsiteY33" fmla="*/ 402336 h 505800"/>
                <a:gd name="connsiteX34" fmla="*/ 151603 w 956275"/>
                <a:gd name="connsiteY34" fmla="*/ 402336 h 505800"/>
                <a:gd name="connsiteX35" fmla="*/ 169891 w 956275"/>
                <a:gd name="connsiteY35" fmla="*/ 365760 h 505800"/>
                <a:gd name="connsiteX36" fmla="*/ 224755 w 956275"/>
                <a:gd name="connsiteY36" fmla="*/ 301752 h 505800"/>
                <a:gd name="connsiteX37" fmla="*/ 316195 w 956275"/>
                <a:gd name="connsiteY37" fmla="*/ 219456 h 505800"/>
                <a:gd name="connsiteX38" fmla="*/ 361915 w 956275"/>
                <a:gd name="connsiteY38" fmla="*/ 146304 h 505800"/>
                <a:gd name="connsiteX39" fmla="*/ 361915 w 956275"/>
                <a:gd name="connsiteY39" fmla="*/ 64008 h 505800"/>
                <a:gd name="connsiteX40" fmla="*/ 352771 w 956275"/>
                <a:gd name="connsiteY40" fmla="*/ 54864 h 505800"/>
                <a:gd name="connsiteX41" fmla="*/ 343627 w 956275"/>
                <a:gd name="connsiteY41" fmla="*/ 128016 h 505800"/>
                <a:gd name="connsiteX42" fmla="*/ 316195 w 956275"/>
                <a:gd name="connsiteY42" fmla="*/ 173736 h 505800"/>
                <a:gd name="connsiteX43" fmla="*/ 243043 w 956275"/>
                <a:gd name="connsiteY43" fmla="*/ 237744 h 505800"/>
                <a:gd name="connsiteX44" fmla="*/ 215611 w 956275"/>
                <a:gd name="connsiteY44" fmla="*/ 256032 h 505800"/>
                <a:gd name="connsiteX45" fmla="*/ 142459 w 956275"/>
                <a:gd name="connsiteY45" fmla="*/ 347472 h 505800"/>
                <a:gd name="connsiteX46" fmla="*/ 133315 w 956275"/>
                <a:gd name="connsiteY46" fmla="*/ 374904 h 505800"/>
                <a:gd name="connsiteX47" fmla="*/ 124171 w 956275"/>
                <a:gd name="connsiteY47" fmla="*/ 411480 h 505800"/>
                <a:gd name="connsiteX48" fmla="*/ 142459 w 956275"/>
                <a:gd name="connsiteY48" fmla="*/ 429768 h 505800"/>
                <a:gd name="connsiteX49" fmla="*/ 96739 w 956275"/>
                <a:gd name="connsiteY49" fmla="*/ 457200 h 505800"/>
                <a:gd name="connsiteX50" fmla="*/ 13820 w 956275"/>
                <a:gd name="connsiteY50" fmla="*/ 496783 h 505800"/>
                <a:gd name="connsiteX51" fmla="*/ 13820 w 956275"/>
                <a:gd name="connsiteY51" fmla="*/ 496784 h 505800"/>
                <a:gd name="connsiteX52" fmla="*/ 13820 w 956275"/>
                <a:gd name="connsiteY52" fmla="*/ 496784 h 505800"/>
                <a:gd name="connsiteX53" fmla="*/ 132458 w 956275"/>
                <a:gd name="connsiteY53" fmla="*/ 430387 h 505800"/>
                <a:gd name="connsiteX54" fmla="*/ 114796 w 956275"/>
                <a:gd name="connsiteY54" fmla="*/ 504511 h 505800"/>
                <a:gd name="connsiteX55" fmla="*/ 114798 w 956275"/>
                <a:gd name="connsiteY55" fmla="*/ 504512 h 505800"/>
                <a:gd name="connsiteX0" fmla="*/ 40672 w 956275"/>
                <a:gd name="connsiteY0" fmla="*/ 486852 h 504511"/>
                <a:gd name="connsiteX1" fmla="*/ 13820 w 956275"/>
                <a:gd name="connsiteY1" fmla="*/ 496784 h 504511"/>
                <a:gd name="connsiteX2" fmla="*/ 13820 w 956275"/>
                <a:gd name="connsiteY2" fmla="*/ 496784 h 504511"/>
                <a:gd name="connsiteX3" fmla="*/ 51019 w 956275"/>
                <a:gd name="connsiteY3" fmla="*/ 493776 h 504511"/>
                <a:gd name="connsiteX4" fmla="*/ 151603 w 956275"/>
                <a:gd name="connsiteY4" fmla="*/ 466344 h 504511"/>
                <a:gd name="connsiteX5" fmla="*/ 252187 w 956275"/>
                <a:gd name="connsiteY5" fmla="*/ 384048 h 504511"/>
                <a:gd name="connsiteX6" fmla="*/ 444211 w 956275"/>
                <a:gd name="connsiteY6" fmla="*/ 301752 h 504511"/>
                <a:gd name="connsiteX7" fmla="*/ 526507 w 956275"/>
                <a:gd name="connsiteY7" fmla="*/ 192024 h 504511"/>
                <a:gd name="connsiteX8" fmla="*/ 672811 w 956275"/>
                <a:gd name="connsiteY8" fmla="*/ 155448 h 504511"/>
                <a:gd name="connsiteX9" fmla="*/ 718531 w 956275"/>
                <a:gd name="connsiteY9" fmla="*/ 155448 h 504511"/>
                <a:gd name="connsiteX10" fmla="*/ 755107 w 956275"/>
                <a:gd name="connsiteY10" fmla="*/ 137160 h 504511"/>
                <a:gd name="connsiteX11" fmla="*/ 709387 w 956275"/>
                <a:gd name="connsiteY11" fmla="*/ 137160 h 504511"/>
                <a:gd name="connsiteX12" fmla="*/ 617947 w 956275"/>
                <a:gd name="connsiteY12" fmla="*/ 137160 h 504511"/>
                <a:gd name="connsiteX13" fmla="*/ 563083 w 956275"/>
                <a:gd name="connsiteY13" fmla="*/ 146304 h 504511"/>
                <a:gd name="connsiteX14" fmla="*/ 553939 w 956275"/>
                <a:gd name="connsiteY14" fmla="*/ 155448 h 504511"/>
                <a:gd name="connsiteX15" fmla="*/ 535651 w 956275"/>
                <a:gd name="connsiteY15" fmla="*/ 146304 h 504511"/>
                <a:gd name="connsiteX16" fmla="*/ 663667 w 956275"/>
                <a:gd name="connsiteY16" fmla="*/ 91440 h 504511"/>
                <a:gd name="connsiteX17" fmla="*/ 718531 w 956275"/>
                <a:gd name="connsiteY17" fmla="*/ 91440 h 504511"/>
                <a:gd name="connsiteX18" fmla="*/ 809971 w 956275"/>
                <a:gd name="connsiteY18" fmla="*/ 82296 h 504511"/>
                <a:gd name="connsiteX19" fmla="*/ 937987 w 956275"/>
                <a:gd name="connsiteY19" fmla="*/ 27432 h 504511"/>
                <a:gd name="connsiteX20" fmla="*/ 919699 w 956275"/>
                <a:gd name="connsiteY20" fmla="*/ 0 h 504511"/>
                <a:gd name="connsiteX21" fmla="*/ 883123 w 956275"/>
                <a:gd name="connsiteY21" fmla="*/ 27432 h 504511"/>
                <a:gd name="connsiteX22" fmla="*/ 846547 w 956275"/>
                <a:gd name="connsiteY22" fmla="*/ 36576 h 504511"/>
                <a:gd name="connsiteX23" fmla="*/ 773395 w 956275"/>
                <a:gd name="connsiteY23" fmla="*/ 64008 h 504511"/>
                <a:gd name="connsiteX24" fmla="*/ 718531 w 956275"/>
                <a:gd name="connsiteY24" fmla="*/ 64008 h 504511"/>
                <a:gd name="connsiteX25" fmla="*/ 608803 w 956275"/>
                <a:gd name="connsiteY25" fmla="*/ 64008 h 504511"/>
                <a:gd name="connsiteX26" fmla="*/ 553939 w 956275"/>
                <a:gd name="connsiteY26" fmla="*/ 100584 h 504511"/>
                <a:gd name="connsiteX27" fmla="*/ 517363 w 956275"/>
                <a:gd name="connsiteY27" fmla="*/ 146304 h 504511"/>
                <a:gd name="connsiteX28" fmla="*/ 471643 w 956275"/>
                <a:gd name="connsiteY28" fmla="*/ 182880 h 504511"/>
                <a:gd name="connsiteX29" fmla="*/ 425923 w 956275"/>
                <a:gd name="connsiteY29" fmla="*/ 256032 h 504511"/>
                <a:gd name="connsiteX30" fmla="*/ 352771 w 956275"/>
                <a:gd name="connsiteY30" fmla="*/ 301752 h 504511"/>
                <a:gd name="connsiteX31" fmla="*/ 252187 w 956275"/>
                <a:gd name="connsiteY31" fmla="*/ 347472 h 504511"/>
                <a:gd name="connsiteX32" fmla="*/ 215611 w 956275"/>
                <a:gd name="connsiteY32" fmla="*/ 374904 h 504511"/>
                <a:gd name="connsiteX33" fmla="*/ 169891 w 956275"/>
                <a:gd name="connsiteY33" fmla="*/ 402336 h 504511"/>
                <a:gd name="connsiteX34" fmla="*/ 151603 w 956275"/>
                <a:gd name="connsiteY34" fmla="*/ 402336 h 504511"/>
                <a:gd name="connsiteX35" fmla="*/ 169891 w 956275"/>
                <a:gd name="connsiteY35" fmla="*/ 365760 h 504511"/>
                <a:gd name="connsiteX36" fmla="*/ 224755 w 956275"/>
                <a:gd name="connsiteY36" fmla="*/ 301752 h 504511"/>
                <a:gd name="connsiteX37" fmla="*/ 316195 w 956275"/>
                <a:gd name="connsiteY37" fmla="*/ 219456 h 504511"/>
                <a:gd name="connsiteX38" fmla="*/ 361915 w 956275"/>
                <a:gd name="connsiteY38" fmla="*/ 146304 h 504511"/>
                <a:gd name="connsiteX39" fmla="*/ 361915 w 956275"/>
                <a:gd name="connsiteY39" fmla="*/ 64008 h 504511"/>
                <a:gd name="connsiteX40" fmla="*/ 352771 w 956275"/>
                <a:gd name="connsiteY40" fmla="*/ 54864 h 504511"/>
                <a:gd name="connsiteX41" fmla="*/ 343627 w 956275"/>
                <a:gd name="connsiteY41" fmla="*/ 128016 h 504511"/>
                <a:gd name="connsiteX42" fmla="*/ 316195 w 956275"/>
                <a:gd name="connsiteY42" fmla="*/ 173736 h 504511"/>
                <a:gd name="connsiteX43" fmla="*/ 243043 w 956275"/>
                <a:gd name="connsiteY43" fmla="*/ 237744 h 504511"/>
                <a:gd name="connsiteX44" fmla="*/ 215611 w 956275"/>
                <a:gd name="connsiteY44" fmla="*/ 256032 h 504511"/>
                <a:gd name="connsiteX45" fmla="*/ 142459 w 956275"/>
                <a:gd name="connsiteY45" fmla="*/ 347472 h 504511"/>
                <a:gd name="connsiteX46" fmla="*/ 133315 w 956275"/>
                <a:gd name="connsiteY46" fmla="*/ 374904 h 504511"/>
                <a:gd name="connsiteX47" fmla="*/ 124171 w 956275"/>
                <a:gd name="connsiteY47" fmla="*/ 411480 h 504511"/>
                <a:gd name="connsiteX48" fmla="*/ 142459 w 956275"/>
                <a:gd name="connsiteY48" fmla="*/ 429768 h 504511"/>
                <a:gd name="connsiteX49" fmla="*/ 96739 w 956275"/>
                <a:gd name="connsiteY49" fmla="*/ 457200 h 504511"/>
                <a:gd name="connsiteX50" fmla="*/ 13820 w 956275"/>
                <a:gd name="connsiteY50" fmla="*/ 496783 h 504511"/>
                <a:gd name="connsiteX51" fmla="*/ 13820 w 956275"/>
                <a:gd name="connsiteY51" fmla="*/ 496784 h 504511"/>
                <a:gd name="connsiteX52" fmla="*/ 13820 w 956275"/>
                <a:gd name="connsiteY52" fmla="*/ 496784 h 504511"/>
                <a:gd name="connsiteX53" fmla="*/ 132458 w 956275"/>
                <a:gd name="connsiteY53" fmla="*/ 430387 h 504511"/>
                <a:gd name="connsiteX54" fmla="*/ 114796 w 956275"/>
                <a:gd name="connsiteY54" fmla="*/ 504511 h 504511"/>
                <a:gd name="connsiteX55" fmla="*/ 40672 w 956275"/>
                <a:gd name="connsiteY55" fmla="*/ 486852 h 504511"/>
                <a:gd name="connsiteX0" fmla="*/ 40672 w 956275"/>
                <a:gd name="connsiteY0" fmla="*/ 486852 h 504512"/>
                <a:gd name="connsiteX1" fmla="*/ 13820 w 956275"/>
                <a:gd name="connsiteY1" fmla="*/ 496784 h 504512"/>
                <a:gd name="connsiteX2" fmla="*/ 13820 w 956275"/>
                <a:gd name="connsiteY2" fmla="*/ 496784 h 504512"/>
                <a:gd name="connsiteX3" fmla="*/ 51019 w 956275"/>
                <a:gd name="connsiteY3" fmla="*/ 493776 h 504512"/>
                <a:gd name="connsiteX4" fmla="*/ 151603 w 956275"/>
                <a:gd name="connsiteY4" fmla="*/ 466344 h 504512"/>
                <a:gd name="connsiteX5" fmla="*/ 252187 w 956275"/>
                <a:gd name="connsiteY5" fmla="*/ 384048 h 504512"/>
                <a:gd name="connsiteX6" fmla="*/ 444211 w 956275"/>
                <a:gd name="connsiteY6" fmla="*/ 301752 h 504512"/>
                <a:gd name="connsiteX7" fmla="*/ 526507 w 956275"/>
                <a:gd name="connsiteY7" fmla="*/ 192024 h 504512"/>
                <a:gd name="connsiteX8" fmla="*/ 672811 w 956275"/>
                <a:gd name="connsiteY8" fmla="*/ 155448 h 504512"/>
                <a:gd name="connsiteX9" fmla="*/ 718531 w 956275"/>
                <a:gd name="connsiteY9" fmla="*/ 155448 h 504512"/>
                <a:gd name="connsiteX10" fmla="*/ 755107 w 956275"/>
                <a:gd name="connsiteY10" fmla="*/ 137160 h 504512"/>
                <a:gd name="connsiteX11" fmla="*/ 709387 w 956275"/>
                <a:gd name="connsiteY11" fmla="*/ 137160 h 504512"/>
                <a:gd name="connsiteX12" fmla="*/ 617947 w 956275"/>
                <a:gd name="connsiteY12" fmla="*/ 137160 h 504512"/>
                <a:gd name="connsiteX13" fmla="*/ 563083 w 956275"/>
                <a:gd name="connsiteY13" fmla="*/ 146304 h 504512"/>
                <a:gd name="connsiteX14" fmla="*/ 553939 w 956275"/>
                <a:gd name="connsiteY14" fmla="*/ 155448 h 504512"/>
                <a:gd name="connsiteX15" fmla="*/ 535651 w 956275"/>
                <a:gd name="connsiteY15" fmla="*/ 146304 h 504512"/>
                <a:gd name="connsiteX16" fmla="*/ 663667 w 956275"/>
                <a:gd name="connsiteY16" fmla="*/ 91440 h 504512"/>
                <a:gd name="connsiteX17" fmla="*/ 718531 w 956275"/>
                <a:gd name="connsiteY17" fmla="*/ 91440 h 504512"/>
                <a:gd name="connsiteX18" fmla="*/ 809971 w 956275"/>
                <a:gd name="connsiteY18" fmla="*/ 82296 h 504512"/>
                <a:gd name="connsiteX19" fmla="*/ 937987 w 956275"/>
                <a:gd name="connsiteY19" fmla="*/ 27432 h 504512"/>
                <a:gd name="connsiteX20" fmla="*/ 919699 w 956275"/>
                <a:gd name="connsiteY20" fmla="*/ 0 h 504512"/>
                <a:gd name="connsiteX21" fmla="*/ 883123 w 956275"/>
                <a:gd name="connsiteY21" fmla="*/ 27432 h 504512"/>
                <a:gd name="connsiteX22" fmla="*/ 846547 w 956275"/>
                <a:gd name="connsiteY22" fmla="*/ 36576 h 504512"/>
                <a:gd name="connsiteX23" fmla="*/ 773395 w 956275"/>
                <a:gd name="connsiteY23" fmla="*/ 64008 h 504512"/>
                <a:gd name="connsiteX24" fmla="*/ 718531 w 956275"/>
                <a:gd name="connsiteY24" fmla="*/ 64008 h 504512"/>
                <a:gd name="connsiteX25" fmla="*/ 608803 w 956275"/>
                <a:gd name="connsiteY25" fmla="*/ 64008 h 504512"/>
                <a:gd name="connsiteX26" fmla="*/ 553939 w 956275"/>
                <a:gd name="connsiteY26" fmla="*/ 100584 h 504512"/>
                <a:gd name="connsiteX27" fmla="*/ 517363 w 956275"/>
                <a:gd name="connsiteY27" fmla="*/ 146304 h 504512"/>
                <a:gd name="connsiteX28" fmla="*/ 471643 w 956275"/>
                <a:gd name="connsiteY28" fmla="*/ 182880 h 504512"/>
                <a:gd name="connsiteX29" fmla="*/ 425923 w 956275"/>
                <a:gd name="connsiteY29" fmla="*/ 256032 h 504512"/>
                <a:gd name="connsiteX30" fmla="*/ 352771 w 956275"/>
                <a:gd name="connsiteY30" fmla="*/ 301752 h 504512"/>
                <a:gd name="connsiteX31" fmla="*/ 252187 w 956275"/>
                <a:gd name="connsiteY31" fmla="*/ 347472 h 504512"/>
                <a:gd name="connsiteX32" fmla="*/ 215611 w 956275"/>
                <a:gd name="connsiteY32" fmla="*/ 374904 h 504512"/>
                <a:gd name="connsiteX33" fmla="*/ 169891 w 956275"/>
                <a:gd name="connsiteY33" fmla="*/ 402336 h 504512"/>
                <a:gd name="connsiteX34" fmla="*/ 151603 w 956275"/>
                <a:gd name="connsiteY34" fmla="*/ 402336 h 504512"/>
                <a:gd name="connsiteX35" fmla="*/ 169891 w 956275"/>
                <a:gd name="connsiteY35" fmla="*/ 365760 h 504512"/>
                <a:gd name="connsiteX36" fmla="*/ 224755 w 956275"/>
                <a:gd name="connsiteY36" fmla="*/ 301752 h 504512"/>
                <a:gd name="connsiteX37" fmla="*/ 316195 w 956275"/>
                <a:gd name="connsiteY37" fmla="*/ 219456 h 504512"/>
                <a:gd name="connsiteX38" fmla="*/ 361915 w 956275"/>
                <a:gd name="connsiteY38" fmla="*/ 146304 h 504512"/>
                <a:gd name="connsiteX39" fmla="*/ 361915 w 956275"/>
                <a:gd name="connsiteY39" fmla="*/ 64008 h 504512"/>
                <a:gd name="connsiteX40" fmla="*/ 352771 w 956275"/>
                <a:gd name="connsiteY40" fmla="*/ 54864 h 504512"/>
                <a:gd name="connsiteX41" fmla="*/ 343627 w 956275"/>
                <a:gd name="connsiteY41" fmla="*/ 128016 h 504512"/>
                <a:gd name="connsiteX42" fmla="*/ 316195 w 956275"/>
                <a:gd name="connsiteY42" fmla="*/ 173736 h 504512"/>
                <a:gd name="connsiteX43" fmla="*/ 243043 w 956275"/>
                <a:gd name="connsiteY43" fmla="*/ 237744 h 504512"/>
                <a:gd name="connsiteX44" fmla="*/ 215611 w 956275"/>
                <a:gd name="connsiteY44" fmla="*/ 256032 h 504512"/>
                <a:gd name="connsiteX45" fmla="*/ 142459 w 956275"/>
                <a:gd name="connsiteY45" fmla="*/ 347472 h 504512"/>
                <a:gd name="connsiteX46" fmla="*/ 133315 w 956275"/>
                <a:gd name="connsiteY46" fmla="*/ 374904 h 504512"/>
                <a:gd name="connsiteX47" fmla="*/ 124171 w 956275"/>
                <a:gd name="connsiteY47" fmla="*/ 411480 h 504512"/>
                <a:gd name="connsiteX48" fmla="*/ 142459 w 956275"/>
                <a:gd name="connsiteY48" fmla="*/ 429768 h 504512"/>
                <a:gd name="connsiteX49" fmla="*/ 96739 w 956275"/>
                <a:gd name="connsiteY49" fmla="*/ 457200 h 504512"/>
                <a:gd name="connsiteX50" fmla="*/ 13820 w 956275"/>
                <a:gd name="connsiteY50" fmla="*/ 496783 h 504512"/>
                <a:gd name="connsiteX51" fmla="*/ 13820 w 956275"/>
                <a:gd name="connsiteY51" fmla="*/ 496784 h 504512"/>
                <a:gd name="connsiteX52" fmla="*/ 13820 w 956275"/>
                <a:gd name="connsiteY52" fmla="*/ 496784 h 504512"/>
                <a:gd name="connsiteX53" fmla="*/ 132458 w 956275"/>
                <a:gd name="connsiteY53" fmla="*/ 430387 h 504512"/>
                <a:gd name="connsiteX54" fmla="*/ 114798 w 956275"/>
                <a:gd name="connsiteY54" fmla="*/ 504512 h 504512"/>
                <a:gd name="connsiteX55" fmla="*/ 40672 w 956275"/>
                <a:gd name="connsiteY55" fmla="*/ 486852 h 504512"/>
                <a:gd name="connsiteX0" fmla="*/ 40672 w 956275"/>
                <a:gd name="connsiteY0" fmla="*/ 486852 h 504512"/>
                <a:gd name="connsiteX1" fmla="*/ 13820 w 956275"/>
                <a:gd name="connsiteY1" fmla="*/ 496784 h 504512"/>
                <a:gd name="connsiteX2" fmla="*/ 13820 w 956275"/>
                <a:gd name="connsiteY2" fmla="*/ 496784 h 504512"/>
                <a:gd name="connsiteX3" fmla="*/ 51019 w 956275"/>
                <a:gd name="connsiteY3" fmla="*/ 493776 h 504512"/>
                <a:gd name="connsiteX4" fmla="*/ 151603 w 956275"/>
                <a:gd name="connsiteY4" fmla="*/ 466344 h 504512"/>
                <a:gd name="connsiteX5" fmla="*/ 252187 w 956275"/>
                <a:gd name="connsiteY5" fmla="*/ 384048 h 504512"/>
                <a:gd name="connsiteX6" fmla="*/ 444211 w 956275"/>
                <a:gd name="connsiteY6" fmla="*/ 301752 h 504512"/>
                <a:gd name="connsiteX7" fmla="*/ 526507 w 956275"/>
                <a:gd name="connsiteY7" fmla="*/ 192024 h 504512"/>
                <a:gd name="connsiteX8" fmla="*/ 672811 w 956275"/>
                <a:gd name="connsiteY8" fmla="*/ 155448 h 504512"/>
                <a:gd name="connsiteX9" fmla="*/ 718531 w 956275"/>
                <a:gd name="connsiteY9" fmla="*/ 155448 h 504512"/>
                <a:gd name="connsiteX10" fmla="*/ 755107 w 956275"/>
                <a:gd name="connsiteY10" fmla="*/ 137160 h 504512"/>
                <a:gd name="connsiteX11" fmla="*/ 709387 w 956275"/>
                <a:gd name="connsiteY11" fmla="*/ 137160 h 504512"/>
                <a:gd name="connsiteX12" fmla="*/ 617947 w 956275"/>
                <a:gd name="connsiteY12" fmla="*/ 137160 h 504512"/>
                <a:gd name="connsiteX13" fmla="*/ 563083 w 956275"/>
                <a:gd name="connsiteY13" fmla="*/ 146304 h 504512"/>
                <a:gd name="connsiteX14" fmla="*/ 553939 w 956275"/>
                <a:gd name="connsiteY14" fmla="*/ 155448 h 504512"/>
                <a:gd name="connsiteX15" fmla="*/ 535651 w 956275"/>
                <a:gd name="connsiteY15" fmla="*/ 146304 h 504512"/>
                <a:gd name="connsiteX16" fmla="*/ 663667 w 956275"/>
                <a:gd name="connsiteY16" fmla="*/ 91440 h 504512"/>
                <a:gd name="connsiteX17" fmla="*/ 718531 w 956275"/>
                <a:gd name="connsiteY17" fmla="*/ 91440 h 504512"/>
                <a:gd name="connsiteX18" fmla="*/ 809971 w 956275"/>
                <a:gd name="connsiteY18" fmla="*/ 82296 h 504512"/>
                <a:gd name="connsiteX19" fmla="*/ 937987 w 956275"/>
                <a:gd name="connsiteY19" fmla="*/ 27432 h 504512"/>
                <a:gd name="connsiteX20" fmla="*/ 919699 w 956275"/>
                <a:gd name="connsiteY20" fmla="*/ 0 h 504512"/>
                <a:gd name="connsiteX21" fmla="*/ 883123 w 956275"/>
                <a:gd name="connsiteY21" fmla="*/ 27432 h 504512"/>
                <a:gd name="connsiteX22" fmla="*/ 846547 w 956275"/>
                <a:gd name="connsiteY22" fmla="*/ 36576 h 504512"/>
                <a:gd name="connsiteX23" fmla="*/ 773395 w 956275"/>
                <a:gd name="connsiteY23" fmla="*/ 64008 h 504512"/>
                <a:gd name="connsiteX24" fmla="*/ 718531 w 956275"/>
                <a:gd name="connsiteY24" fmla="*/ 64008 h 504512"/>
                <a:gd name="connsiteX25" fmla="*/ 608803 w 956275"/>
                <a:gd name="connsiteY25" fmla="*/ 64008 h 504512"/>
                <a:gd name="connsiteX26" fmla="*/ 553939 w 956275"/>
                <a:gd name="connsiteY26" fmla="*/ 100584 h 504512"/>
                <a:gd name="connsiteX27" fmla="*/ 517363 w 956275"/>
                <a:gd name="connsiteY27" fmla="*/ 146304 h 504512"/>
                <a:gd name="connsiteX28" fmla="*/ 471643 w 956275"/>
                <a:gd name="connsiteY28" fmla="*/ 182880 h 504512"/>
                <a:gd name="connsiteX29" fmla="*/ 425923 w 956275"/>
                <a:gd name="connsiteY29" fmla="*/ 256032 h 504512"/>
                <a:gd name="connsiteX30" fmla="*/ 352771 w 956275"/>
                <a:gd name="connsiteY30" fmla="*/ 301752 h 504512"/>
                <a:gd name="connsiteX31" fmla="*/ 252187 w 956275"/>
                <a:gd name="connsiteY31" fmla="*/ 347472 h 504512"/>
                <a:gd name="connsiteX32" fmla="*/ 215611 w 956275"/>
                <a:gd name="connsiteY32" fmla="*/ 374904 h 504512"/>
                <a:gd name="connsiteX33" fmla="*/ 169891 w 956275"/>
                <a:gd name="connsiteY33" fmla="*/ 402336 h 504512"/>
                <a:gd name="connsiteX34" fmla="*/ 151603 w 956275"/>
                <a:gd name="connsiteY34" fmla="*/ 402336 h 504512"/>
                <a:gd name="connsiteX35" fmla="*/ 169891 w 956275"/>
                <a:gd name="connsiteY35" fmla="*/ 365760 h 504512"/>
                <a:gd name="connsiteX36" fmla="*/ 224755 w 956275"/>
                <a:gd name="connsiteY36" fmla="*/ 301752 h 504512"/>
                <a:gd name="connsiteX37" fmla="*/ 316195 w 956275"/>
                <a:gd name="connsiteY37" fmla="*/ 219456 h 504512"/>
                <a:gd name="connsiteX38" fmla="*/ 361915 w 956275"/>
                <a:gd name="connsiteY38" fmla="*/ 146304 h 504512"/>
                <a:gd name="connsiteX39" fmla="*/ 361915 w 956275"/>
                <a:gd name="connsiteY39" fmla="*/ 64008 h 504512"/>
                <a:gd name="connsiteX40" fmla="*/ 352771 w 956275"/>
                <a:gd name="connsiteY40" fmla="*/ 54864 h 504512"/>
                <a:gd name="connsiteX41" fmla="*/ 343627 w 956275"/>
                <a:gd name="connsiteY41" fmla="*/ 128016 h 504512"/>
                <a:gd name="connsiteX42" fmla="*/ 316195 w 956275"/>
                <a:gd name="connsiteY42" fmla="*/ 173736 h 504512"/>
                <a:gd name="connsiteX43" fmla="*/ 243043 w 956275"/>
                <a:gd name="connsiteY43" fmla="*/ 237744 h 504512"/>
                <a:gd name="connsiteX44" fmla="*/ 215611 w 956275"/>
                <a:gd name="connsiteY44" fmla="*/ 256032 h 504512"/>
                <a:gd name="connsiteX45" fmla="*/ 142459 w 956275"/>
                <a:gd name="connsiteY45" fmla="*/ 347472 h 504512"/>
                <a:gd name="connsiteX46" fmla="*/ 133315 w 956275"/>
                <a:gd name="connsiteY46" fmla="*/ 374904 h 504512"/>
                <a:gd name="connsiteX47" fmla="*/ 124171 w 956275"/>
                <a:gd name="connsiteY47" fmla="*/ 411480 h 504512"/>
                <a:gd name="connsiteX48" fmla="*/ 142459 w 956275"/>
                <a:gd name="connsiteY48" fmla="*/ 429768 h 504512"/>
                <a:gd name="connsiteX49" fmla="*/ 96739 w 956275"/>
                <a:gd name="connsiteY49" fmla="*/ 457200 h 504512"/>
                <a:gd name="connsiteX50" fmla="*/ 13820 w 956275"/>
                <a:gd name="connsiteY50" fmla="*/ 496783 h 504512"/>
                <a:gd name="connsiteX51" fmla="*/ 13820 w 956275"/>
                <a:gd name="connsiteY51" fmla="*/ 496784 h 504512"/>
                <a:gd name="connsiteX52" fmla="*/ 13820 w 956275"/>
                <a:gd name="connsiteY52" fmla="*/ 496784 h 504512"/>
                <a:gd name="connsiteX53" fmla="*/ 132458 w 956275"/>
                <a:gd name="connsiteY53" fmla="*/ 430387 h 504512"/>
                <a:gd name="connsiteX54" fmla="*/ 114797 w 956275"/>
                <a:gd name="connsiteY54" fmla="*/ 504512 h 504512"/>
                <a:gd name="connsiteX55" fmla="*/ 40672 w 956275"/>
                <a:gd name="connsiteY55" fmla="*/ 486852 h 504512"/>
                <a:gd name="connsiteX0" fmla="*/ 40672 w 956275"/>
                <a:gd name="connsiteY0" fmla="*/ 486852 h 578638"/>
                <a:gd name="connsiteX1" fmla="*/ 13820 w 956275"/>
                <a:gd name="connsiteY1" fmla="*/ 496784 h 578638"/>
                <a:gd name="connsiteX2" fmla="*/ 13820 w 956275"/>
                <a:gd name="connsiteY2" fmla="*/ 496784 h 578638"/>
                <a:gd name="connsiteX3" fmla="*/ 51019 w 956275"/>
                <a:gd name="connsiteY3" fmla="*/ 493776 h 578638"/>
                <a:gd name="connsiteX4" fmla="*/ 151603 w 956275"/>
                <a:gd name="connsiteY4" fmla="*/ 466344 h 578638"/>
                <a:gd name="connsiteX5" fmla="*/ 252187 w 956275"/>
                <a:gd name="connsiteY5" fmla="*/ 384048 h 578638"/>
                <a:gd name="connsiteX6" fmla="*/ 444211 w 956275"/>
                <a:gd name="connsiteY6" fmla="*/ 301752 h 578638"/>
                <a:gd name="connsiteX7" fmla="*/ 526507 w 956275"/>
                <a:gd name="connsiteY7" fmla="*/ 192024 h 578638"/>
                <a:gd name="connsiteX8" fmla="*/ 672811 w 956275"/>
                <a:gd name="connsiteY8" fmla="*/ 155448 h 578638"/>
                <a:gd name="connsiteX9" fmla="*/ 718531 w 956275"/>
                <a:gd name="connsiteY9" fmla="*/ 155448 h 578638"/>
                <a:gd name="connsiteX10" fmla="*/ 755107 w 956275"/>
                <a:gd name="connsiteY10" fmla="*/ 137160 h 578638"/>
                <a:gd name="connsiteX11" fmla="*/ 709387 w 956275"/>
                <a:gd name="connsiteY11" fmla="*/ 137160 h 578638"/>
                <a:gd name="connsiteX12" fmla="*/ 617947 w 956275"/>
                <a:gd name="connsiteY12" fmla="*/ 137160 h 578638"/>
                <a:gd name="connsiteX13" fmla="*/ 563083 w 956275"/>
                <a:gd name="connsiteY13" fmla="*/ 146304 h 578638"/>
                <a:gd name="connsiteX14" fmla="*/ 553939 w 956275"/>
                <a:gd name="connsiteY14" fmla="*/ 155448 h 578638"/>
                <a:gd name="connsiteX15" fmla="*/ 535651 w 956275"/>
                <a:gd name="connsiteY15" fmla="*/ 146304 h 578638"/>
                <a:gd name="connsiteX16" fmla="*/ 663667 w 956275"/>
                <a:gd name="connsiteY16" fmla="*/ 91440 h 578638"/>
                <a:gd name="connsiteX17" fmla="*/ 718531 w 956275"/>
                <a:gd name="connsiteY17" fmla="*/ 91440 h 578638"/>
                <a:gd name="connsiteX18" fmla="*/ 809971 w 956275"/>
                <a:gd name="connsiteY18" fmla="*/ 82296 h 578638"/>
                <a:gd name="connsiteX19" fmla="*/ 937987 w 956275"/>
                <a:gd name="connsiteY19" fmla="*/ 27432 h 578638"/>
                <a:gd name="connsiteX20" fmla="*/ 919699 w 956275"/>
                <a:gd name="connsiteY20" fmla="*/ 0 h 578638"/>
                <a:gd name="connsiteX21" fmla="*/ 883123 w 956275"/>
                <a:gd name="connsiteY21" fmla="*/ 27432 h 578638"/>
                <a:gd name="connsiteX22" fmla="*/ 846547 w 956275"/>
                <a:gd name="connsiteY22" fmla="*/ 36576 h 578638"/>
                <a:gd name="connsiteX23" fmla="*/ 773395 w 956275"/>
                <a:gd name="connsiteY23" fmla="*/ 64008 h 578638"/>
                <a:gd name="connsiteX24" fmla="*/ 718531 w 956275"/>
                <a:gd name="connsiteY24" fmla="*/ 64008 h 578638"/>
                <a:gd name="connsiteX25" fmla="*/ 608803 w 956275"/>
                <a:gd name="connsiteY25" fmla="*/ 64008 h 578638"/>
                <a:gd name="connsiteX26" fmla="*/ 553939 w 956275"/>
                <a:gd name="connsiteY26" fmla="*/ 100584 h 578638"/>
                <a:gd name="connsiteX27" fmla="*/ 517363 w 956275"/>
                <a:gd name="connsiteY27" fmla="*/ 146304 h 578638"/>
                <a:gd name="connsiteX28" fmla="*/ 471643 w 956275"/>
                <a:gd name="connsiteY28" fmla="*/ 182880 h 578638"/>
                <a:gd name="connsiteX29" fmla="*/ 425923 w 956275"/>
                <a:gd name="connsiteY29" fmla="*/ 256032 h 578638"/>
                <a:gd name="connsiteX30" fmla="*/ 352771 w 956275"/>
                <a:gd name="connsiteY30" fmla="*/ 301752 h 578638"/>
                <a:gd name="connsiteX31" fmla="*/ 252187 w 956275"/>
                <a:gd name="connsiteY31" fmla="*/ 347472 h 578638"/>
                <a:gd name="connsiteX32" fmla="*/ 215611 w 956275"/>
                <a:gd name="connsiteY32" fmla="*/ 374904 h 578638"/>
                <a:gd name="connsiteX33" fmla="*/ 169891 w 956275"/>
                <a:gd name="connsiteY33" fmla="*/ 402336 h 578638"/>
                <a:gd name="connsiteX34" fmla="*/ 151603 w 956275"/>
                <a:gd name="connsiteY34" fmla="*/ 402336 h 578638"/>
                <a:gd name="connsiteX35" fmla="*/ 169891 w 956275"/>
                <a:gd name="connsiteY35" fmla="*/ 365760 h 578638"/>
                <a:gd name="connsiteX36" fmla="*/ 224755 w 956275"/>
                <a:gd name="connsiteY36" fmla="*/ 301752 h 578638"/>
                <a:gd name="connsiteX37" fmla="*/ 316195 w 956275"/>
                <a:gd name="connsiteY37" fmla="*/ 219456 h 578638"/>
                <a:gd name="connsiteX38" fmla="*/ 361915 w 956275"/>
                <a:gd name="connsiteY38" fmla="*/ 146304 h 578638"/>
                <a:gd name="connsiteX39" fmla="*/ 361915 w 956275"/>
                <a:gd name="connsiteY39" fmla="*/ 64008 h 578638"/>
                <a:gd name="connsiteX40" fmla="*/ 352771 w 956275"/>
                <a:gd name="connsiteY40" fmla="*/ 54864 h 578638"/>
                <a:gd name="connsiteX41" fmla="*/ 343627 w 956275"/>
                <a:gd name="connsiteY41" fmla="*/ 128016 h 578638"/>
                <a:gd name="connsiteX42" fmla="*/ 316195 w 956275"/>
                <a:gd name="connsiteY42" fmla="*/ 173736 h 578638"/>
                <a:gd name="connsiteX43" fmla="*/ 243043 w 956275"/>
                <a:gd name="connsiteY43" fmla="*/ 237744 h 578638"/>
                <a:gd name="connsiteX44" fmla="*/ 215611 w 956275"/>
                <a:gd name="connsiteY44" fmla="*/ 256032 h 578638"/>
                <a:gd name="connsiteX45" fmla="*/ 142459 w 956275"/>
                <a:gd name="connsiteY45" fmla="*/ 347472 h 578638"/>
                <a:gd name="connsiteX46" fmla="*/ 133315 w 956275"/>
                <a:gd name="connsiteY46" fmla="*/ 374904 h 578638"/>
                <a:gd name="connsiteX47" fmla="*/ 124171 w 956275"/>
                <a:gd name="connsiteY47" fmla="*/ 411480 h 578638"/>
                <a:gd name="connsiteX48" fmla="*/ 142459 w 956275"/>
                <a:gd name="connsiteY48" fmla="*/ 429768 h 578638"/>
                <a:gd name="connsiteX49" fmla="*/ 96739 w 956275"/>
                <a:gd name="connsiteY49" fmla="*/ 457200 h 578638"/>
                <a:gd name="connsiteX50" fmla="*/ 13820 w 956275"/>
                <a:gd name="connsiteY50" fmla="*/ 496783 h 578638"/>
                <a:gd name="connsiteX51" fmla="*/ 13820 w 956275"/>
                <a:gd name="connsiteY51" fmla="*/ 496784 h 578638"/>
                <a:gd name="connsiteX52" fmla="*/ 13820 w 956275"/>
                <a:gd name="connsiteY52" fmla="*/ 496784 h 578638"/>
                <a:gd name="connsiteX53" fmla="*/ 132458 w 956275"/>
                <a:gd name="connsiteY53" fmla="*/ 430387 h 578638"/>
                <a:gd name="connsiteX54" fmla="*/ 97137 w 956275"/>
                <a:gd name="connsiteY54" fmla="*/ 578638 h 578638"/>
                <a:gd name="connsiteX55" fmla="*/ 40672 w 956275"/>
                <a:gd name="connsiteY55" fmla="*/ 486852 h 578638"/>
                <a:gd name="connsiteX0" fmla="*/ 40672 w 956275"/>
                <a:gd name="connsiteY0" fmla="*/ 486852 h 503380"/>
                <a:gd name="connsiteX1" fmla="*/ 13820 w 956275"/>
                <a:gd name="connsiteY1" fmla="*/ 496784 h 503380"/>
                <a:gd name="connsiteX2" fmla="*/ 13820 w 956275"/>
                <a:gd name="connsiteY2" fmla="*/ 496784 h 503380"/>
                <a:gd name="connsiteX3" fmla="*/ 51019 w 956275"/>
                <a:gd name="connsiteY3" fmla="*/ 493776 h 503380"/>
                <a:gd name="connsiteX4" fmla="*/ 151603 w 956275"/>
                <a:gd name="connsiteY4" fmla="*/ 466344 h 503380"/>
                <a:gd name="connsiteX5" fmla="*/ 252187 w 956275"/>
                <a:gd name="connsiteY5" fmla="*/ 384048 h 503380"/>
                <a:gd name="connsiteX6" fmla="*/ 444211 w 956275"/>
                <a:gd name="connsiteY6" fmla="*/ 301752 h 503380"/>
                <a:gd name="connsiteX7" fmla="*/ 526507 w 956275"/>
                <a:gd name="connsiteY7" fmla="*/ 192024 h 503380"/>
                <a:gd name="connsiteX8" fmla="*/ 672811 w 956275"/>
                <a:gd name="connsiteY8" fmla="*/ 155448 h 503380"/>
                <a:gd name="connsiteX9" fmla="*/ 718531 w 956275"/>
                <a:gd name="connsiteY9" fmla="*/ 155448 h 503380"/>
                <a:gd name="connsiteX10" fmla="*/ 755107 w 956275"/>
                <a:gd name="connsiteY10" fmla="*/ 137160 h 503380"/>
                <a:gd name="connsiteX11" fmla="*/ 709387 w 956275"/>
                <a:gd name="connsiteY11" fmla="*/ 137160 h 503380"/>
                <a:gd name="connsiteX12" fmla="*/ 617947 w 956275"/>
                <a:gd name="connsiteY12" fmla="*/ 137160 h 503380"/>
                <a:gd name="connsiteX13" fmla="*/ 563083 w 956275"/>
                <a:gd name="connsiteY13" fmla="*/ 146304 h 503380"/>
                <a:gd name="connsiteX14" fmla="*/ 553939 w 956275"/>
                <a:gd name="connsiteY14" fmla="*/ 155448 h 503380"/>
                <a:gd name="connsiteX15" fmla="*/ 535651 w 956275"/>
                <a:gd name="connsiteY15" fmla="*/ 146304 h 503380"/>
                <a:gd name="connsiteX16" fmla="*/ 663667 w 956275"/>
                <a:gd name="connsiteY16" fmla="*/ 91440 h 503380"/>
                <a:gd name="connsiteX17" fmla="*/ 718531 w 956275"/>
                <a:gd name="connsiteY17" fmla="*/ 91440 h 503380"/>
                <a:gd name="connsiteX18" fmla="*/ 809971 w 956275"/>
                <a:gd name="connsiteY18" fmla="*/ 82296 h 503380"/>
                <a:gd name="connsiteX19" fmla="*/ 937987 w 956275"/>
                <a:gd name="connsiteY19" fmla="*/ 27432 h 503380"/>
                <a:gd name="connsiteX20" fmla="*/ 919699 w 956275"/>
                <a:gd name="connsiteY20" fmla="*/ 0 h 503380"/>
                <a:gd name="connsiteX21" fmla="*/ 883123 w 956275"/>
                <a:gd name="connsiteY21" fmla="*/ 27432 h 503380"/>
                <a:gd name="connsiteX22" fmla="*/ 846547 w 956275"/>
                <a:gd name="connsiteY22" fmla="*/ 36576 h 503380"/>
                <a:gd name="connsiteX23" fmla="*/ 773395 w 956275"/>
                <a:gd name="connsiteY23" fmla="*/ 64008 h 503380"/>
                <a:gd name="connsiteX24" fmla="*/ 718531 w 956275"/>
                <a:gd name="connsiteY24" fmla="*/ 64008 h 503380"/>
                <a:gd name="connsiteX25" fmla="*/ 608803 w 956275"/>
                <a:gd name="connsiteY25" fmla="*/ 64008 h 503380"/>
                <a:gd name="connsiteX26" fmla="*/ 553939 w 956275"/>
                <a:gd name="connsiteY26" fmla="*/ 100584 h 503380"/>
                <a:gd name="connsiteX27" fmla="*/ 517363 w 956275"/>
                <a:gd name="connsiteY27" fmla="*/ 146304 h 503380"/>
                <a:gd name="connsiteX28" fmla="*/ 471643 w 956275"/>
                <a:gd name="connsiteY28" fmla="*/ 182880 h 503380"/>
                <a:gd name="connsiteX29" fmla="*/ 425923 w 956275"/>
                <a:gd name="connsiteY29" fmla="*/ 256032 h 503380"/>
                <a:gd name="connsiteX30" fmla="*/ 352771 w 956275"/>
                <a:gd name="connsiteY30" fmla="*/ 301752 h 503380"/>
                <a:gd name="connsiteX31" fmla="*/ 252187 w 956275"/>
                <a:gd name="connsiteY31" fmla="*/ 347472 h 503380"/>
                <a:gd name="connsiteX32" fmla="*/ 215611 w 956275"/>
                <a:gd name="connsiteY32" fmla="*/ 374904 h 503380"/>
                <a:gd name="connsiteX33" fmla="*/ 169891 w 956275"/>
                <a:gd name="connsiteY33" fmla="*/ 402336 h 503380"/>
                <a:gd name="connsiteX34" fmla="*/ 151603 w 956275"/>
                <a:gd name="connsiteY34" fmla="*/ 402336 h 503380"/>
                <a:gd name="connsiteX35" fmla="*/ 169891 w 956275"/>
                <a:gd name="connsiteY35" fmla="*/ 365760 h 503380"/>
                <a:gd name="connsiteX36" fmla="*/ 224755 w 956275"/>
                <a:gd name="connsiteY36" fmla="*/ 301752 h 503380"/>
                <a:gd name="connsiteX37" fmla="*/ 316195 w 956275"/>
                <a:gd name="connsiteY37" fmla="*/ 219456 h 503380"/>
                <a:gd name="connsiteX38" fmla="*/ 361915 w 956275"/>
                <a:gd name="connsiteY38" fmla="*/ 146304 h 503380"/>
                <a:gd name="connsiteX39" fmla="*/ 361915 w 956275"/>
                <a:gd name="connsiteY39" fmla="*/ 64008 h 503380"/>
                <a:gd name="connsiteX40" fmla="*/ 352771 w 956275"/>
                <a:gd name="connsiteY40" fmla="*/ 54864 h 503380"/>
                <a:gd name="connsiteX41" fmla="*/ 343627 w 956275"/>
                <a:gd name="connsiteY41" fmla="*/ 128016 h 503380"/>
                <a:gd name="connsiteX42" fmla="*/ 316195 w 956275"/>
                <a:gd name="connsiteY42" fmla="*/ 173736 h 503380"/>
                <a:gd name="connsiteX43" fmla="*/ 243043 w 956275"/>
                <a:gd name="connsiteY43" fmla="*/ 237744 h 503380"/>
                <a:gd name="connsiteX44" fmla="*/ 215611 w 956275"/>
                <a:gd name="connsiteY44" fmla="*/ 256032 h 503380"/>
                <a:gd name="connsiteX45" fmla="*/ 142459 w 956275"/>
                <a:gd name="connsiteY45" fmla="*/ 347472 h 503380"/>
                <a:gd name="connsiteX46" fmla="*/ 133315 w 956275"/>
                <a:gd name="connsiteY46" fmla="*/ 374904 h 503380"/>
                <a:gd name="connsiteX47" fmla="*/ 124171 w 956275"/>
                <a:gd name="connsiteY47" fmla="*/ 411480 h 503380"/>
                <a:gd name="connsiteX48" fmla="*/ 142459 w 956275"/>
                <a:gd name="connsiteY48" fmla="*/ 429768 h 503380"/>
                <a:gd name="connsiteX49" fmla="*/ 96739 w 956275"/>
                <a:gd name="connsiteY49" fmla="*/ 457200 h 503380"/>
                <a:gd name="connsiteX50" fmla="*/ 13820 w 956275"/>
                <a:gd name="connsiteY50" fmla="*/ 496783 h 503380"/>
                <a:gd name="connsiteX51" fmla="*/ 13820 w 956275"/>
                <a:gd name="connsiteY51" fmla="*/ 496784 h 503380"/>
                <a:gd name="connsiteX52" fmla="*/ 13820 w 956275"/>
                <a:gd name="connsiteY52" fmla="*/ 496784 h 503380"/>
                <a:gd name="connsiteX53" fmla="*/ 132458 w 956275"/>
                <a:gd name="connsiteY53" fmla="*/ 430387 h 503380"/>
                <a:gd name="connsiteX54" fmla="*/ 40672 w 956275"/>
                <a:gd name="connsiteY54" fmla="*/ 486852 h 503380"/>
                <a:gd name="connsiteX55" fmla="*/ 40672 w 956275"/>
                <a:gd name="connsiteY55" fmla="*/ 486852 h 503380"/>
                <a:gd name="connsiteX0" fmla="*/ 40672 w 956275"/>
                <a:gd name="connsiteY0" fmla="*/ 486852 h 503380"/>
                <a:gd name="connsiteX1" fmla="*/ 13820 w 956275"/>
                <a:gd name="connsiteY1" fmla="*/ 496784 h 503380"/>
                <a:gd name="connsiteX2" fmla="*/ 13820 w 956275"/>
                <a:gd name="connsiteY2" fmla="*/ 496784 h 503380"/>
                <a:gd name="connsiteX3" fmla="*/ 51019 w 956275"/>
                <a:gd name="connsiteY3" fmla="*/ 493776 h 503380"/>
                <a:gd name="connsiteX4" fmla="*/ 151603 w 956275"/>
                <a:gd name="connsiteY4" fmla="*/ 466344 h 503380"/>
                <a:gd name="connsiteX5" fmla="*/ 252187 w 956275"/>
                <a:gd name="connsiteY5" fmla="*/ 384048 h 503380"/>
                <a:gd name="connsiteX6" fmla="*/ 444211 w 956275"/>
                <a:gd name="connsiteY6" fmla="*/ 301752 h 503380"/>
                <a:gd name="connsiteX7" fmla="*/ 526507 w 956275"/>
                <a:gd name="connsiteY7" fmla="*/ 192024 h 503380"/>
                <a:gd name="connsiteX8" fmla="*/ 672811 w 956275"/>
                <a:gd name="connsiteY8" fmla="*/ 155448 h 503380"/>
                <a:gd name="connsiteX9" fmla="*/ 718531 w 956275"/>
                <a:gd name="connsiteY9" fmla="*/ 155448 h 503380"/>
                <a:gd name="connsiteX10" fmla="*/ 755107 w 956275"/>
                <a:gd name="connsiteY10" fmla="*/ 137160 h 503380"/>
                <a:gd name="connsiteX11" fmla="*/ 709387 w 956275"/>
                <a:gd name="connsiteY11" fmla="*/ 137160 h 503380"/>
                <a:gd name="connsiteX12" fmla="*/ 617947 w 956275"/>
                <a:gd name="connsiteY12" fmla="*/ 137160 h 503380"/>
                <a:gd name="connsiteX13" fmla="*/ 563083 w 956275"/>
                <a:gd name="connsiteY13" fmla="*/ 146304 h 503380"/>
                <a:gd name="connsiteX14" fmla="*/ 553939 w 956275"/>
                <a:gd name="connsiteY14" fmla="*/ 155448 h 503380"/>
                <a:gd name="connsiteX15" fmla="*/ 535651 w 956275"/>
                <a:gd name="connsiteY15" fmla="*/ 146304 h 503380"/>
                <a:gd name="connsiteX16" fmla="*/ 663667 w 956275"/>
                <a:gd name="connsiteY16" fmla="*/ 91440 h 503380"/>
                <a:gd name="connsiteX17" fmla="*/ 718531 w 956275"/>
                <a:gd name="connsiteY17" fmla="*/ 91440 h 503380"/>
                <a:gd name="connsiteX18" fmla="*/ 809971 w 956275"/>
                <a:gd name="connsiteY18" fmla="*/ 82296 h 503380"/>
                <a:gd name="connsiteX19" fmla="*/ 937987 w 956275"/>
                <a:gd name="connsiteY19" fmla="*/ 27432 h 503380"/>
                <a:gd name="connsiteX20" fmla="*/ 919699 w 956275"/>
                <a:gd name="connsiteY20" fmla="*/ 0 h 503380"/>
                <a:gd name="connsiteX21" fmla="*/ 883123 w 956275"/>
                <a:gd name="connsiteY21" fmla="*/ 27432 h 503380"/>
                <a:gd name="connsiteX22" fmla="*/ 846547 w 956275"/>
                <a:gd name="connsiteY22" fmla="*/ 36576 h 503380"/>
                <a:gd name="connsiteX23" fmla="*/ 773395 w 956275"/>
                <a:gd name="connsiteY23" fmla="*/ 64008 h 503380"/>
                <a:gd name="connsiteX24" fmla="*/ 718531 w 956275"/>
                <a:gd name="connsiteY24" fmla="*/ 64008 h 503380"/>
                <a:gd name="connsiteX25" fmla="*/ 608803 w 956275"/>
                <a:gd name="connsiteY25" fmla="*/ 64008 h 503380"/>
                <a:gd name="connsiteX26" fmla="*/ 553939 w 956275"/>
                <a:gd name="connsiteY26" fmla="*/ 100584 h 503380"/>
                <a:gd name="connsiteX27" fmla="*/ 517363 w 956275"/>
                <a:gd name="connsiteY27" fmla="*/ 146304 h 503380"/>
                <a:gd name="connsiteX28" fmla="*/ 471643 w 956275"/>
                <a:gd name="connsiteY28" fmla="*/ 182880 h 503380"/>
                <a:gd name="connsiteX29" fmla="*/ 425923 w 956275"/>
                <a:gd name="connsiteY29" fmla="*/ 256032 h 503380"/>
                <a:gd name="connsiteX30" fmla="*/ 352771 w 956275"/>
                <a:gd name="connsiteY30" fmla="*/ 301752 h 503380"/>
                <a:gd name="connsiteX31" fmla="*/ 252187 w 956275"/>
                <a:gd name="connsiteY31" fmla="*/ 347472 h 503380"/>
                <a:gd name="connsiteX32" fmla="*/ 215611 w 956275"/>
                <a:gd name="connsiteY32" fmla="*/ 374904 h 503380"/>
                <a:gd name="connsiteX33" fmla="*/ 169891 w 956275"/>
                <a:gd name="connsiteY33" fmla="*/ 402336 h 503380"/>
                <a:gd name="connsiteX34" fmla="*/ 151603 w 956275"/>
                <a:gd name="connsiteY34" fmla="*/ 402336 h 503380"/>
                <a:gd name="connsiteX35" fmla="*/ 169891 w 956275"/>
                <a:gd name="connsiteY35" fmla="*/ 365760 h 503380"/>
                <a:gd name="connsiteX36" fmla="*/ 224755 w 956275"/>
                <a:gd name="connsiteY36" fmla="*/ 301752 h 503380"/>
                <a:gd name="connsiteX37" fmla="*/ 316195 w 956275"/>
                <a:gd name="connsiteY37" fmla="*/ 219456 h 503380"/>
                <a:gd name="connsiteX38" fmla="*/ 361915 w 956275"/>
                <a:gd name="connsiteY38" fmla="*/ 146304 h 503380"/>
                <a:gd name="connsiteX39" fmla="*/ 361915 w 956275"/>
                <a:gd name="connsiteY39" fmla="*/ 64008 h 503380"/>
                <a:gd name="connsiteX40" fmla="*/ 352771 w 956275"/>
                <a:gd name="connsiteY40" fmla="*/ 54864 h 503380"/>
                <a:gd name="connsiteX41" fmla="*/ 343627 w 956275"/>
                <a:gd name="connsiteY41" fmla="*/ 128016 h 503380"/>
                <a:gd name="connsiteX42" fmla="*/ 316195 w 956275"/>
                <a:gd name="connsiteY42" fmla="*/ 173736 h 503380"/>
                <a:gd name="connsiteX43" fmla="*/ 243043 w 956275"/>
                <a:gd name="connsiteY43" fmla="*/ 237744 h 503380"/>
                <a:gd name="connsiteX44" fmla="*/ 215611 w 956275"/>
                <a:gd name="connsiteY44" fmla="*/ 256032 h 503380"/>
                <a:gd name="connsiteX45" fmla="*/ 142459 w 956275"/>
                <a:gd name="connsiteY45" fmla="*/ 347472 h 503380"/>
                <a:gd name="connsiteX46" fmla="*/ 133315 w 956275"/>
                <a:gd name="connsiteY46" fmla="*/ 374904 h 503380"/>
                <a:gd name="connsiteX47" fmla="*/ 124171 w 956275"/>
                <a:gd name="connsiteY47" fmla="*/ 411480 h 503380"/>
                <a:gd name="connsiteX48" fmla="*/ 142459 w 956275"/>
                <a:gd name="connsiteY48" fmla="*/ 429768 h 503380"/>
                <a:gd name="connsiteX49" fmla="*/ 96739 w 956275"/>
                <a:gd name="connsiteY49" fmla="*/ 457200 h 503380"/>
                <a:gd name="connsiteX50" fmla="*/ 13820 w 956275"/>
                <a:gd name="connsiteY50" fmla="*/ 496783 h 503380"/>
                <a:gd name="connsiteX51" fmla="*/ 13820 w 956275"/>
                <a:gd name="connsiteY51" fmla="*/ 496784 h 503380"/>
                <a:gd name="connsiteX52" fmla="*/ 40672 w 956275"/>
                <a:gd name="connsiteY52" fmla="*/ 486851 h 503380"/>
                <a:gd name="connsiteX53" fmla="*/ 132458 w 956275"/>
                <a:gd name="connsiteY53" fmla="*/ 430387 h 503380"/>
                <a:gd name="connsiteX54" fmla="*/ 40672 w 956275"/>
                <a:gd name="connsiteY54" fmla="*/ 486852 h 503380"/>
                <a:gd name="connsiteX55" fmla="*/ 40672 w 956275"/>
                <a:gd name="connsiteY55" fmla="*/ 486852 h 503380"/>
                <a:gd name="connsiteX0" fmla="*/ 97137 w 956275"/>
                <a:gd name="connsiteY0" fmla="*/ 578637 h 578637"/>
                <a:gd name="connsiteX1" fmla="*/ 13820 w 956275"/>
                <a:gd name="connsiteY1" fmla="*/ 496784 h 578637"/>
                <a:gd name="connsiteX2" fmla="*/ 13820 w 956275"/>
                <a:gd name="connsiteY2" fmla="*/ 496784 h 578637"/>
                <a:gd name="connsiteX3" fmla="*/ 51019 w 956275"/>
                <a:gd name="connsiteY3" fmla="*/ 493776 h 578637"/>
                <a:gd name="connsiteX4" fmla="*/ 151603 w 956275"/>
                <a:gd name="connsiteY4" fmla="*/ 466344 h 578637"/>
                <a:gd name="connsiteX5" fmla="*/ 252187 w 956275"/>
                <a:gd name="connsiteY5" fmla="*/ 384048 h 578637"/>
                <a:gd name="connsiteX6" fmla="*/ 444211 w 956275"/>
                <a:gd name="connsiteY6" fmla="*/ 301752 h 578637"/>
                <a:gd name="connsiteX7" fmla="*/ 526507 w 956275"/>
                <a:gd name="connsiteY7" fmla="*/ 192024 h 578637"/>
                <a:gd name="connsiteX8" fmla="*/ 672811 w 956275"/>
                <a:gd name="connsiteY8" fmla="*/ 155448 h 578637"/>
                <a:gd name="connsiteX9" fmla="*/ 718531 w 956275"/>
                <a:gd name="connsiteY9" fmla="*/ 155448 h 578637"/>
                <a:gd name="connsiteX10" fmla="*/ 755107 w 956275"/>
                <a:gd name="connsiteY10" fmla="*/ 137160 h 578637"/>
                <a:gd name="connsiteX11" fmla="*/ 709387 w 956275"/>
                <a:gd name="connsiteY11" fmla="*/ 137160 h 578637"/>
                <a:gd name="connsiteX12" fmla="*/ 617947 w 956275"/>
                <a:gd name="connsiteY12" fmla="*/ 137160 h 578637"/>
                <a:gd name="connsiteX13" fmla="*/ 563083 w 956275"/>
                <a:gd name="connsiteY13" fmla="*/ 146304 h 578637"/>
                <a:gd name="connsiteX14" fmla="*/ 553939 w 956275"/>
                <a:gd name="connsiteY14" fmla="*/ 155448 h 578637"/>
                <a:gd name="connsiteX15" fmla="*/ 535651 w 956275"/>
                <a:gd name="connsiteY15" fmla="*/ 146304 h 578637"/>
                <a:gd name="connsiteX16" fmla="*/ 663667 w 956275"/>
                <a:gd name="connsiteY16" fmla="*/ 91440 h 578637"/>
                <a:gd name="connsiteX17" fmla="*/ 718531 w 956275"/>
                <a:gd name="connsiteY17" fmla="*/ 91440 h 578637"/>
                <a:gd name="connsiteX18" fmla="*/ 809971 w 956275"/>
                <a:gd name="connsiteY18" fmla="*/ 82296 h 578637"/>
                <a:gd name="connsiteX19" fmla="*/ 937987 w 956275"/>
                <a:gd name="connsiteY19" fmla="*/ 27432 h 578637"/>
                <a:gd name="connsiteX20" fmla="*/ 919699 w 956275"/>
                <a:gd name="connsiteY20" fmla="*/ 0 h 578637"/>
                <a:gd name="connsiteX21" fmla="*/ 883123 w 956275"/>
                <a:gd name="connsiteY21" fmla="*/ 27432 h 578637"/>
                <a:gd name="connsiteX22" fmla="*/ 846547 w 956275"/>
                <a:gd name="connsiteY22" fmla="*/ 36576 h 578637"/>
                <a:gd name="connsiteX23" fmla="*/ 773395 w 956275"/>
                <a:gd name="connsiteY23" fmla="*/ 64008 h 578637"/>
                <a:gd name="connsiteX24" fmla="*/ 718531 w 956275"/>
                <a:gd name="connsiteY24" fmla="*/ 64008 h 578637"/>
                <a:gd name="connsiteX25" fmla="*/ 608803 w 956275"/>
                <a:gd name="connsiteY25" fmla="*/ 64008 h 578637"/>
                <a:gd name="connsiteX26" fmla="*/ 553939 w 956275"/>
                <a:gd name="connsiteY26" fmla="*/ 100584 h 578637"/>
                <a:gd name="connsiteX27" fmla="*/ 517363 w 956275"/>
                <a:gd name="connsiteY27" fmla="*/ 146304 h 578637"/>
                <a:gd name="connsiteX28" fmla="*/ 471643 w 956275"/>
                <a:gd name="connsiteY28" fmla="*/ 182880 h 578637"/>
                <a:gd name="connsiteX29" fmla="*/ 425923 w 956275"/>
                <a:gd name="connsiteY29" fmla="*/ 256032 h 578637"/>
                <a:gd name="connsiteX30" fmla="*/ 352771 w 956275"/>
                <a:gd name="connsiteY30" fmla="*/ 301752 h 578637"/>
                <a:gd name="connsiteX31" fmla="*/ 252187 w 956275"/>
                <a:gd name="connsiteY31" fmla="*/ 347472 h 578637"/>
                <a:gd name="connsiteX32" fmla="*/ 215611 w 956275"/>
                <a:gd name="connsiteY32" fmla="*/ 374904 h 578637"/>
                <a:gd name="connsiteX33" fmla="*/ 169891 w 956275"/>
                <a:gd name="connsiteY33" fmla="*/ 402336 h 578637"/>
                <a:gd name="connsiteX34" fmla="*/ 151603 w 956275"/>
                <a:gd name="connsiteY34" fmla="*/ 402336 h 578637"/>
                <a:gd name="connsiteX35" fmla="*/ 169891 w 956275"/>
                <a:gd name="connsiteY35" fmla="*/ 365760 h 578637"/>
                <a:gd name="connsiteX36" fmla="*/ 224755 w 956275"/>
                <a:gd name="connsiteY36" fmla="*/ 301752 h 578637"/>
                <a:gd name="connsiteX37" fmla="*/ 316195 w 956275"/>
                <a:gd name="connsiteY37" fmla="*/ 219456 h 578637"/>
                <a:gd name="connsiteX38" fmla="*/ 361915 w 956275"/>
                <a:gd name="connsiteY38" fmla="*/ 146304 h 578637"/>
                <a:gd name="connsiteX39" fmla="*/ 361915 w 956275"/>
                <a:gd name="connsiteY39" fmla="*/ 64008 h 578637"/>
                <a:gd name="connsiteX40" fmla="*/ 352771 w 956275"/>
                <a:gd name="connsiteY40" fmla="*/ 54864 h 578637"/>
                <a:gd name="connsiteX41" fmla="*/ 343627 w 956275"/>
                <a:gd name="connsiteY41" fmla="*/ 128016 h 578637"/>
                <a:gd name="connsiteX42" fmla="*/ 316195 w 956275"/>
                <a:gd name="connsiteY42" fmla="*/ 173736 h 578637"/>
                <a:gd name="connsiteX43" fmla="*/ 243043 w 956275"/>
                <a:gd name="connsiteY43" fmla="*/ 237744 h 578637"/>
                <a:gd name="connsiteX44" fmla="*/ 215611 w 956275"/>
                <a:gd name="connsiteY44" fmla="*/ 256032 h 578637"/>
                <a:gd name="connsiteX45" fmla="*/ 142459 w 956275"/>
                <a:gd name="connsiteY45" fmla="*/ 347472 h 578637"/>
                <a:gd name="connsiteX46" fmla="*/ 133315 w 956275"/>
                <a:gd name="connsiteY46" fmla="*/ 374904 h 578637"/>
                <a:gd name="connsiteX47" fmla="*/ 124171 w 956275"/>
                <a:gd name="connsiteY47" fmla="*/ 411480 h 578637"/>
                <a:gd name="connsiteX48" fmla="*/ 142459 w 956275"/>
                <a:gd name="connsiteY48" fmla="*/ 429768 h 578637"/>
                <a:gd name="connsiteX49" fmla="*/ 96739 w 956275"/>
                <a:gd name="connsiteY49" fmla="*/ 457200 h 578637"/>
                <a:gd name="connsiteX50" fmla="*/ 13820 w 956275"/>
                <a:gd name="connsiteY50" fmla="*/ 496783 h 578637"/>
                <a:gd name="connsiteX51" fmla="*/ 13820 w 956275"/>
                <a:gd name="connsiteY51" fmla="*/ 496784 h 578637"/>
                <a:gd name="connsiteX52" fmla="*/ 40672 w 956275"/>
                <a:gd name="connsiteY52" fmla="*/ 486851 h 578637"/>
                <a:gd name="connsiteX53" fmla="*/ 132458 w 956275"/>
                <a:gd name="connsiteY53" fmla="*/ 430387 h 578637"/>
                <a:gd name="connsiteX54" fmla="*/ 40672 w 956275"/>
                <a:gd name="connsiteY54" fmla="*/ 486852 h 578637"/>
                <a:gd name="connsiteX55" fmla="*/ 97137 w 956275"/>
                <a:gd name="connsiteY55" fmla="*/ 578637 h 578637"/>
                <a:gd name="connsiteX0" fmla="*/ 97137 w 956275"/>
                <a:gd name="connsiteY0" fmla="*/ 578637 h 578637"/>
                <a:gd name="connsiteX1" fmla="*/ 13820 w 956275"/>
                <a:gd name="connsiteY1" fmla="*/ 496784 h 578637"/>
                <a:gd name="connsiteX2" fmla="*/ 13820 w 956275"/>
                <a:gd name="connsiteY2" fmla="*/ 496784 h 578637"/>
                <a:gd name="connsiteX3" fmla="*/ 51019 w 956275"/>
                <a:gd name="connsiteY3" fmla="*/ 493776 h 578637"/>
                <a:gd name="connsiteX4" fmla="*/ 151603 w 956275"/>
                <a:gd name="connsiteY4" fmla="*/ 466344 h 578637"/>
                <a:gd name="connsiteX5" fmla="*/ 252187 w 956275"/>
                <a:gd name="connsiteY5" fmla="*/ 384048 h 578637"/>
                <a:gd name="connsiteX6" fmla="*/ 444211 w 956275"/>
                <a:gd name="connsiteY6" fmla="*/ 301752 h 578637"/>
                <a:gd name="connsiteX7" fmla="*/ 526507 w 956275"/>
                <a:gd name="connsiteY7" fmla="*/ 192024 h 578637"/>
                <a:gd name="connsiteX8" fmla="*/ 672811 w 956275"/>
                <a:gd name="connsiteY8" fmla="*/ 155448 h 578637"/>
                <a:gd name="connsiteX9" fmla="*/ 718531 w 956275"/>
                <a:gd name="connsiteY9" fmla="*/ 155448 h 578637"/>
                <a:gd name="connsiteX10" fmla="*/ 755107 w 956275"/>
                <a:gd name="connsiteY10" fmla="*/ 137160 h 578637"/>
                <a:gd name="connsiteX11" fmla="*/ 709387 w 956275"/>
                <a:gd name="connsiteY11" fmla="*/ 137160 h 578637"/>
                <a:gd name="connsiteX12" fmla="*/ 617947 w 956275"/>
                <a:gd name="connsiteY12" fmla="*/ 137160 h 578637"/>
                <a:gd name="connsiteX13" fmla="*/ 563083 w 956275"/>
                <a:gd name="connsiteY13" fmla="*/ 146304 h 578637"/>
                <a:gd name="connsiteX14" fmla="*/ 553939 w 956275"/>
                <a:gd name="connsiteY14" fmla="*/ 155448 h 578637"/>
                <a:gd name="connsiteX15" fmla="*/ 535651 w 956275"/>
                <a:gd name="connsiteY15" fmla="*/ 146304 h 578637"/>
                <a:gd name="connsiteX16" fmla="*/ 663667 w 956275"/>
                <a:gd name="connsiteY16" fmla="*/ 91440 h 578637"/>
                <a:gd name="connsiteX17" fmla="*/ 718531 w 956275"/>
                <a:gd name="connsiteY17" fmla="*/ 91440 h 578637"/>
                <a:gd name="connsiteX18" fmla="*/ 809971 w 956275"/>
                <a:gd name="connsiteY18" fmla="*/ 82296 h 578637"/>
                <a:gd name="connsiteX19" fmla="*/ 937987 w 956275"/>
                <a:gd name="connsiteY19" fmla="*/ 27432 h 578637"/>
                <a:gd name="connsiteX20" fmla="*/ 919699 w 956275"/>
                <a:gd name="connsiteY20" fmla="*/ 0 h 578637"/>
                <a:gd name="connsiteX21" fmla="*/ 883123 w 956275"/>
                <a:gd name="connsiteY21" fmla="*/ 27432 h 578637"/>
                <a:gd name="connsiteX22" fmla="*/ 846547 w 956275"/>
                <a:gd name="connsiteY22" fmla="*/ 36576 h 578637"/>
                <a:gd name="connsiteX23" fmla="*/ 773395 w 956275"/>
                <a:gd name="connsiteY23" fmla="*/ 64008 h 578637"/>
                <a:gd name="connsiteX24" fmla="*/ 718531 w 956275"/>
                <a:gd name="connsiteY24" fmla="*/ 64008 h 578637"/>
                <a:gd name="connsiteX25" fmla="*/ 608803 w 956275"/>
                <a:gd name="connsiteY25" fmla="*/ 64008 h 578637"/>
                <a:gd name="connsiteX26" fmla="*/ 553939 w 956275"/>
                <a:gd name="connsiteY26" fmla="*/ 100584 h 578637"/>
                <a:gd name="connsiteX27" fmla="*/ 517363 w 956275"/>
                <a:gd name="connsiteY27" fmla="*/ 146304 h 578637"/>
                <a:gd name="connsiteX28" fmla="*/ 471643 w 956275"/>
                <a:gd name="connsiteY28" fmla="*/ 182880 h 578637"/>
                <a:gd name="connsiteX29" fmla="*/ 425923 w 956275"/>
                <a:gd name="connsiteY29" fmla="*/ 256032 h 578637"/>
                <a:gd name="connsiteX30" fmla="*/ 352771 w 956275"/>
                <a:gd name="connsiteY30" fmla="*/ 301752 h 578637"/>
                <a:gd name="connsiteX31" fmla="*/ 252187 w 956275"/>
                <a:gd name="connsiteY31" fmla="*/ 347472 h 578637"/>
                <a:gd name="connsiteX32" fmla="*/ 215611 w 956275"/>
                <a:gd name="connsiteY32" fmla="*/ 374904 h 578637"/>
                <a:gd name="connsiteX33" fmla="*/ 169891 w 956275"/>
                <a:gd name="connsiteY33" fmla="*/ 402336 h 578637"/>
                <a:gd name="connsiteX34" fmla="*/ 151603 w 956275"/>
                <a:gd name="connsiteY34" fmla="*/ 402336 h 578637"/>
                <a:gd name="connsiteX35" fmla="*/ 169891 w 956275"/>
                <a:gd name="connsiteY35" fmla="*/ 365760 h 578637"/>
                <a:gd name="connsiteX36" fmla="*/ 224755 w 956275"/>
                <a:gd name="connsiteY36" fmla="*/ 301752 h 578637"/>
                <a:gd name="connsiteX37" fmla="*/ 316195 w 956275"/>
                <a:gd name="connsiteY37" fmla="*/ 219456 h 578637"/>
                <a:gd name="connsiteX38" fmla="*/ 361915 w 956275"/>
                <a:gd name="connsiteY38" fmla="*/ 146304 h 578637"/>
                <a:gd name="connsiteX39" fmla="*/ 361915 w 956275"/>
                <a:gd name="connsiteY39" fmla="*/ 64008 h 578637"/>
                <a:gd name="connsiteX40" fmla="*/ 352771 w 956275"/>
                <a:gd name="connsiteY40" fmla="*/ 54864 h 578637"/>
                <a:gd name="connsiteX41" fmla="*/ 343627 w 956275"/>
                <a:gd name="connsiteY41" fmla="*/ 128016 h 578637"/>
                <a:gd name="connsiteX42" fmla="*/ 316195 w 956275"/>
                <a:gd name="connsiteY42" fmla="*/ 173736 h 578637"/>
                <a:gd name="connsiteX43" fmla="*/ 243043 w 956275"/>
                <a:gd name="connsiteY43" fmla="*/ 237744 h 578637"/>
                <a:gd name="connsiteX44" fmla="*/ 215611 w 956275"/>
                <a:gd name="connsiteY44" fmla="*/ 256032 h 578637"/>
                <a:gd name="connsiteX45" fmla="*/ 142459 w 956275"/>
                <a:gd name="connsiteY45" fmla="*/ 347472 h 578637"/>
                <a:gd name="connsiteX46" fmla="*/ 133315 w 956275"/>
                <a:gd name="connsiteY46" fmla="*/ 374904 h 578637"/>
                <a:gd name="connsiteX47" fmla="*/ 124171 w 956275"/>
                <a:gd name="connsiteY47" fmla="*/ 411480 h 578637"/>
                <a:gd name="connsiteX48" fmla="*/ 142459 w 956275"/>
                <a:gd name="connsiteY48" fmla="*/ 429768 h 578637"/>
                <a:gd name="connsiteX49" fmla="*/ 96739 w 956275"/>
                <a:gd name="connsiteY49" fmla="*/ 457200 h 578637"/>
                <a:gd name="connsiteX50" fmla="*/ 13820 w 956275"/>
                <a:gd name="connsiteY50" fmla="*/ 496783 h 578637"/>
                <a:gd name="connsiteX51" fmla="*/ 13820 w 956275"/>
                <a:gd name="connsiteY51" fmla="*/ 496784 h 578637"/>
                <a:gd name="connsiteX52" fmla="*/ 40672 w 956275"/>
                <a:gd name="connsiteY52" fmla="*/ 486851 h 578637"/>
                <a:gd name="connsiteX53" fmla="*/ 132458 w 956275"/>
                <a:gd name="connsiteY53" fmla="*/ 430387 h 578637"/>
                <a:gd name="connsiteX54" fmla="*/ 97137 w 956275"/>
                <a:gd name="connsiteY54" fmla="*/ 578637 h 578637"/>
                <a:gd name="connsiteX55" fmla="*/ 97137 w 956275"/>
                <a:gd name="connsiteY55" fmla="*/ 578637 h 578637"/>
                <a:gd name="connsiteX0" fmla="*/ 97137 w 956275"/>
                <a:gd name="connsiteY0" fmla="*/ 578637 h 578637"/>
                <a:gd name="connsiteX1" fmla="*/ 13820 w 956275"/>
                <a:gd name="connsiteY1" fmla="*/ 496784 h 578637"/>
                <a:gd name="connsiteX2" fmla="*/ 13820 w 956275"/>
                <a:gd name="connsiteY2" fmla="*/ 496784 h 578637"/>
                <a:gd name="connsiteX3" fmla="*/ 51019 w 956275"/>
                <a:gd name="connsiteY3" fmla="*/ 493776 h 578637"/>
                <a:gd name="connsiteX4" fmla="*/ 151603 w 956275"/>
                <a:gd name="connsiteY4" fmla="*/ 466344 h 578637"/>
                <a:gd name="connsiteX5" fmla="*/ 252187 w 956275"/>
                <a:gd name="connsiteY5" fmla="*/ 384048 h 578637"/>
                <a:gd name="connsiteX6" fmla="*/ 444211 w 956275"/>
                <a:gd name="connsiteY6" fmla="*/ 301752 h 578637"/>
                <a:gd name="connsiteX7" fmla="*/ 526507 w 956275"/>
                <a:gd name="connsiteY7" fmla="*/ 192024 h 578637"/>
                <a:gd name="connsiteX8" fmla="*/ 672811 w 956275"/>
                <a:gd name="connsiteY8" fmla="*/ 155448 h 578637"/>
                <a:gd name="connsiteX9" fmla="*/ 718531 w 956275"/>
                <a:gd name="connsiteY9" fmla="*/ 155448 h 578637"/>
                <a:gd name="connsiteX10" fmla="*/ 755107 w 956275"/>
                <a:gd name="connsiteY10" fmla="*/ 137160 h 578637"/>
                <a:gd name="connsiteX11" fmla="*/ 709387 w 956275"/>
                <a:gd name="connsiteY11" fmla="*/ 137160 h 578637"/>
                <a:gd name="connsiteX12" fmla="*/ 617947 w 956275"/>
                <a:gd name="connsiteY12" fmla="*/ 137160 h 578637"/>
                <a:gd name="connsiteX13" fmla="*/ 563083 w 956275"/>
                <a:gd name="connsiteY13" fmla="*/ 146304 h 578637"/>
                <a:gd name="connsiteX14" fmla="*/ 553939 w 956275"/>
                <a:gd name="connsiteY14" fmla="*/ 155448 h 578637"/>
                <a:gd name="connsiteX15" fmla="*/ 535651 w 956275"/>
                <a:gd name="connsiteY15" fmla="*/ 146304 h 578637"/>
                <a:gd name="connsiteX16" fmla="*/ 663667 w 956275"/>
                <a:gd name="connsiteY16" fmla="*/ 91440 h 578637"/>
                <a:gd name="connsiteX17" fmla="*/ 718531 w 956275"/>
                <a:gd name="connsiteY17" fmla="*/ 91440 h 578637"/>
                <a:gd name="connsiteX18" fmla="*/ 809971 w 956275"/>
                <a:gd name="connsiteY18" fmla="*/ 82296 h 578637"/>
                <a:gd name="connsiteX19" fmla="*/ 937987 w 956275"/>
                <a:gd name="connsiteY19" fmla="*/ 27432 h 578637"/>
                <a:gd name="connsiteX20" fmla="*/ 919699 w 956275"/>
                <a:gd name="connsiteY20" fmla="*/ 0 h 578637"/>
                <a:gd name="connsiteX21" fmla="*/ 883123 w 956275"/>
                <a:gd name="connsiteY21" fmla="*/ 27432 h 578637"/>
                <a:gd name="connsiteX22" fmla="*/ 846547 w 956275"/>
                <a:gd name="connsiteY22" fmla="*/ 36576 h 578637"/>
                <a:gd name="connsiteX23" fmla="*/ 773395 w 956275"/>
                <a:gd name="connsiteY23" fmla="*/ 64008 h 578637"/>
                <a:gd name="connsiteX24" fmla="*/ 718531 w 956275"/>
                <a:gd name="connsiteY24" fmla="*/ 64008 h 578637"/>
                <a:gd name="connsiteX25" fmla="*/ 608803 w 956275"/>
                <a:gd name="connsiteY25" fmla="*/ 64008 h 578637"/>
                <a:gd name="connsiteX26" fmla="*/ 553939 w 956275"/>
                <a:gd name="connsiteY26" fmla="*/ 100584 h 578637"/>
                <a:gd name="connsiteX27" fmla="*/ 517363 w 956275"/>
                <a:gd name="connsiteY27" fmla="*/ 146304 h 578637"/>
                <a:gd name="connsiteX28" fmla="*/ 471643 w 956275"/>
                <a:gd name="connsiteY28" fmla="*/ 182880 h 578637"/>
                <a:gd name="connsiteX29" fmla="*/ 425923 w 956275"/>
                <a:gd name="connsiteY29" fmla="*/ 256032 h 578637"/>
                <a:gd name="connsiteX30" fmla="*/ 352771 w 956275"/>
                <a:gd name="connsiteY30" fmla="*/ 301752 h 578637"/>
                <a:gd name="connsiteX31" fmla="*/ 252187 w 956275"/>
                <a:gd name="connsiteY31" fmla="*/ 347472 h 578637"/>
                <a:gd name="connsiteX32" fmla="*/ 215611 w 956275"/>
                <a:gd name="connsiteY32" fmla="*/ 374904 h 578637"/>
                <a:gd name="connsiteX33" fmla="*/ 169891 w 956275"/>
                <a:gd name="connsiteY33" fmla="*/ 402336 h 578637"/>
                <a:gd name="connsiteX34" fmla="*/ 151603 w 956275"/>
                <a:gd name="connsiteY34" fmla="*/ 402336 h 578637"/>
                <a:gd name="connsiteX35" fmla="*/ 169891 w 956275"/>
                <a:gd name="connsiteY35" fmla="*/ 365760 h 578637"/>
                <a:gd name="connsiteX36" fmla="*/ 224755 w 956275"/>
                <a:gd name="connsiteY36" fmla="*/ 301752 h 578637"/>
                <a:gd name="connsiteX37" fmla="*/ 316195 w 956275"/>
                <a:gd name="connsiteY37" fmla="*/ 219456 h 578637"/>
                <a:gd name="connsiteX38" fmla="*/ 361915 w 956275"/>
                <a:gd name="connsiteY38" fmla="*/ 146304 h 578637"/>
                <a:gd name="connsiteX39" fmla="*/ 361915 w 956275"/>
                <a:gd name="connsiteY39" fmla="*/ 64008 h 578637"/>
                <a:gd name="connsiteX40" fmla="*/ 352771 w 956275"/>
                <a:gd name="connsiteY40" fmla="*/ 54864 h 578637"/>
                <a:gd name="connsiteX41" fmla="*/ 343627 w 956275"/>
                <a:gd name="connsiteY41" fmla="*/ 128016 h 578637"/>
                <a:gd name="connsiteX42" fmla="*/ 316195 w 956275"/>
                <a:gd name="connsiteY42" fmla="*/ 173736 h 578637"/>
                <a:gd name="connsiteX43" fmla="*/ 243043 w 956275"/>
                <a:gd name="connsiteY43" fmla="*/ 237744 h 578637"/>
                <a:gd name="connsiteX44" fmla="*/ 215611 w 956275"/>
                <a:gd name="connsiteY44" fmla="*/ 256032 h 578637"/>
                <a:gd name="connsiteX45" fmla="*/ 142459 w 956275"/>
                <a:gd name="connsiteY45" fmla="*/ 347472 h 578637"/>
                <a:gd name="connsiteX46" fmla="*/ 133315 w 956275"/>
                <a:gd name="connsiteY46" fmla="*/ 374904 h 578637"/>
                <a:gd name="connsiteX47" fmla="*/ 124171 w 956275"/>
                <a:gd name="connsiteY47" fmla="*/ 411480 h 578637"/>
                <a:gd name="connsiteX48" fmla="*/ 142459 w 956275"/>
                <a:gd name="connsiteY48" fmla="*/ 429768 h 578637"/>
                <a:gd name="connsiteX49" fmla="*/ 96739 w 956275"/>
                <a:gd name="connsiteY49" fmla="*/ 457200 h 578637"/>
                <a:gd name="connsiteX50" fmla="*/ 13820 w 956275"/>
                <a:gd name="connsiteY50" fmla="*/ 496783 h 578637"/>
                <a:gd name="connsiteX51" fmla="*/ 13820 w 956275"/>
                <a:gd name="connsiteY51" fmla="*/ 496784 h 578637"/>
                <a:gd name="connsiteX52" fmla="*/ 23012 w 956275"/>
                <a:gd name="connsiteY52" fmla="*/ 560977 h 578637"/>
                <a:gd name="connsiteX53" fmla="*/ 132458 w 956275"/>
                <a:gd name="connsiteY53" fmla="*/ 430387 h 578637"/>
                <a:gd name="connsiteX54" fmla="*/ 97137 w 956275"/>
                <a:gd name="connsiteY54" fmla="*/ 578637 h 578637"/>
                <a:gd name="connsiteX55" fmla="*/ 97137 w 956275"/>
                <a:gd name="connsiteY55" fmla="*/ 578637 h 578637"/>
                <a:gd name="connsiteX0" fmla="*/ 97137 w 956275"/>
                <a:gd name="connsiteY0" fmla="*/ 578637 h 578637"/>
                <a:gd name="connsiteX1" fmla="*/ 13820 w 956275"/>
                <a:gd name="connsiteY1" fmla="*/ 496784 h 578637"/>
                <a:gd name="connsiteX2" fmla="*/ 13820 w 956275"/>
                <a:gd name="connsiteY2" fmla="*/ 496784 h 578637"/>
                <a:gd name="connsiteX3" fmla="*/ 51019 w 956275"/>
                <a:gd name="connsiteY3" fmla="*/ 493776 h 578637"/>
                <a:gd name="connsiteX4" fmla="*/ 151603 w 956275"/>
                <a:gd name="connsiteY4" fmla="*/ 466344 h 578637"/>
                <a:gd name="connsiteX5" fmla="*/ 252187 w 956275"/>
                <a:gd name="connsiteY5" fmla="*/ 384048 h 578637"/>
                <a:gd name="connsiteX6" fmla="*/ 444211 w 956275"/>
                <a:gd name="connsiteY6" fmla="*/ 301752 h 578637"/>
                <a:gd name="connsiteX7" fmla="*/ 526507 w 956275"/>
                <a:gd name="connsiteY7" fmla="*/ 192024 h 578637"/>
                <a:gd name="connsiteX8" fmla="*/ 672811 w 956275"/>
                <a:gd name="connsiteY8" fmla="*/ 155448 h 578637"/>
                <a:gd name="connsiteX9" fmla="*/ 718531 w 956275"/>
                <a:gd name="connsiteY9" fmla="*/ 155448 h 578637"/>
                <a:gd name="connsiteX10" fmla="*/ 755107 w 956275"/>
                <a:gd name="connsiteY10" fmla="*/ 137160 h 578637"/>
                <a:gd name="connsiteX11" fmla="*/ 709387 w 956275"/>
                <a:gd name="connsiteY11" fmla="*/ 137160 h 578637"/>
                <a:gd name="connsiteX12" fmla="*/ 617947 w 956275"/>
                <a:gd name="connsiteY12" fmla="*/ 137160 h 578637"/>
                <a:gd name="connsiteX13" fmla="*/ 563083 w 956275"/>
                <a:gd name="connsiteY13" fmla="*/ 146304 h 578637"/>
                <a:gd name="connsiteX14" fmla="*/ 553939 w 956275"/>
                <a:gd name="connsiteY14" fmla="*/ 155448 h 578637"/>
                <a:gd name="connsiteX15" fmla="*/ 535651 w 956275"/>
                <a:gd name="connsiteY15" fmla="*/ 146304 h 578637"/>
                <a:gd name="connsiteX16" fmla="*/ 663667 w 956275"/>
                <a:gd name="connsiteY16" fmla="*/ 91440 h 578637"/>
                <a:gd name="connsiteX17" fmla="*/ 718531 w 956275"/>
                <a:gd name="connsiteY17" fmla="*/ 91440 h 578637"/>
                <a:gd name="connsiteX18" fmla="*/ 809971 w 956275"/>
                <a:gd name="connsiteY18" fmla="*/ 82296 h 578637"/>
                <a:gd name="connsiteX19" fmla="*/ 937987 w 956275"/>
                <a:gd name="connsiteY19" fmla="*/ 27432 h 578637"/>
                <a:gd name="connsiteX20" fmla="*/ 919699 w 956275"/>
                <a:gd name="connsiteY20" fmla="*/ 0 h 578637"/>
                <a:gd name="connsiteX21" fmla="*/ 883123 w 956275"/>
                <a:gd name="connsiteY21" fmla="*/ 27432 h 578637"/>
                <a:gd name="connsiteX22" fmla="*/ 846547 w 956275"/>
                <a:gd name="connsiteY22" fmla="*/ 36576 h 578637"/>
                <a:gd name="connsiteX23" fmla="*/ 773395 w 956275"/>
                <a:gd name="connsiteY23" fmla="*/ 64008 h 578637"/>
                <a:gd name="connsiteX24" fmla="*/ 718531 w 956275"/>
                <a:gd name="connsiteY24" fmla="*/ 64008 h 578637"/>
                <a:gd name="connsiteX25" fmla="*/ 608803 w 956275"/>
                <a:gd name="connsiteY25" fmla="*/ 64008 h 578637"/>
                <a:gd name="connsiteX26" fmla="*/ 553939 w 956275"/>
                <a:gd name="connsiteY26" fmla="*/ 100584 h 578637"/>
                <a:gd name="connsiteX27" fmla="*/ 517363 w 956275"/>
                <a:gd name="connsiteY27" fmla="*/ 146304 h 578637"/>
                <a:gd name="connsiteX28" fmla="*/ 471643 w 956275"/>
                <a:gd name="connsiteY28" fmla="*/ 182880 h 578637"/>
                <a:gd name="connsiteX29" fmla="*/ 425923 w 956275"/>
                <a:gd name="connsiteY29" fmla="*/ 256032 h 578637"/>
                <a:gd name="connsiteX30" fmla="*/ 352771 w 956275"/>
                <a:gd name="connsiteY30" fmla="*/ 301752 h 578637"/>
                <a:gd name="connsiteX31" fmla="*/ 252187 w 956275"/>
                <a:gd name="connsiteY31" fmla="*/ 347472 h 578637"/>
                <a:gd name="connsiteX32" fmla="*/ 215611 w 956275"/>
                <a:gd name="connsiteY32" fmla="*/ 374904 h 578637"/>
                <a:gd name="connsiteX33" fmla="*/ 169891 w 956275"/>
                <a:gd name="connsiteY33" fmla="*/ 402336 h 578637"/>
                <a:gd name="connsiteX34" fmla="*/ 151603 w 956275"/>
                <a:gd name="connsiteY34" fmla="*/ 402336 h 578637"/>
                <a:gd name="connsiteX35" fmla="*/ 169891 w 956275"/>
                <a:gd name="connsiteY35" fmla="*/ 365760 h 578637"/>
                <a:gd name="connsiteX36" fmla="*/ 224755 w 956275"/>
                <a:gd name="connsiteY36" fmla="*/ 301752 h 578637"/>
                <a:gd name="connsiteX37" fmla="*/ 316195 w 956275"/>
                <a:gd name="connsiteY37" fmla="*/ 219456 h 578637"/>
                <a:gd name="connsiteX38" fmla="*/ 361915 w 956275"/>
                <a:gd name="connsiteY38" fmla="*/ 146304 h 578637"/>
                <a:gd name="connsiteX39" fmla="*/ 361915 w 956275"/>
                <a:gd name="connsiteY39" fmla="*/ 64008 h 578637"/>
                <a:gd name="connsiteX40" fmla="*/ 352771 w 956275"/>
                <a:gd name="connsiteY40" fmla="*/ 54864 h 578637"/>
                <a:gd name="connsiteX41" fmla="*/ 343627 w 956275"/>
                <a:gd name="connsiteY41" fmla="*/ 128016 h 578637"/>
                <a:gd name="connsiteX42" fmla="*/ 316195 w 956275"/>
                <a:gd name="connsiteY42" fmla="*/ 173736 h 578637"/>
                <a:gd name="connsiteX43" fmla="*/ 243043 w 956275"/>
                <a:gd name="connsiteY43" fmla="*/ 237744 h 578637"/>
                <a:gd name="connsiteX44" fmla="*/ 215611 w 956275"/>
                <a:gd name="connsiteY44" fmla="*/ 256032 h 578637"/>
                <a:gd name="connsiteX45" fmla="*/ 142459 w 956275"/>
                <a:gd name="connsiteY45" fmla="*/ 347472 h 578637"/>
                <a:gd name="connsiteX46" fmla="*/ 133315 w 956275"/>
                <a:gd name="connsiteY46" fmla="*/ 374904 h 578637"/>
                <a:gd name="connsiteX47" fmla="*/ 124171 w 956275"/>
                <a:gd name="connsiteY47" fmla="*/ 411480 h 578637"/>
                <a:gd name="connsiteX48" fmla="*/ 142459 w 956275"/>
                <a:gd name="connsiteY48" fmla="*/ 429768 h 578637"/>
                <a:gd name="connsiteX49" fmla="*/ 96739 w 956275"/>
                <a:gd name="connsiteY49" fmla="*/ 457200 h 578637"/>
                <a:gd name="connsiteX50" fmla="*/ 13820 w 956275"/>
                <a:gd name="connsiteY50" fmla="*/ 496783 h 578637"/>
                <a:gd name="connsiteX51" fmla="*/ 13820 w 956275"/>
                <a:gd name="connsiteY51" fmla="*/ 496784 h 578637"/>
                <a:gd name="connsiteX52" fmla="*/ 132458 w 956275"/>
                <a:gd name="connsiteY52" fmla="*/ 430387 h 578637"/>
                <a:gd name="connsiteX53" fmla="*/ 132458 w 956275"/>
                <a:gd name="connsiteY53" fmla="*/ 430387 h 578637"/>
                <a:gd name="connsiteX54" fmla="*/ 97137 w 956275"/>
                <a:gd name="connsiteY54" fmla="*/ 578637 h 578637"/>
                <a:gd name="connsiteX55" fmla="*/ 97137 w 956275"/>
                <a:gd name="connsiteY55" fmla="*/ 578637 h 578637"/>
                <a:gd name="connsiteX0" fmla="*/ 89270 w 948408"/>
                <a:gd name="connsiteY0" fmla="*/ 578637 h 578637"/>
                <a:gd name="connsiteX1" fmla="*/ 5953 w 948408"/>
                <a:gd name="connsiteY1" fmla="*/ 496784 h 578637"/>
                <a:gd name="connsiteX2" fmla="*/ 5953 w 948408"/>
                <a:gd name="connsiteY2" fmla="*/ 496784 h 578637"/>
                <a:gd name="connsiteX3" fmla="*/ 43152 w 948408"/>
                <a:gd name="connsiteY3" fmla="*/ 493776 h 578637"/>
                <a:gd name="connsiteX4" fmla="*/ 143736 w 948408"/>
                <a:gd name="connsiteY4" fmla="*/ 466344 h 578637"/>
                <a:gd name="connsiteX5" fmla="*/ 244320 w 948408"/>
                <a:gd name="connsiteY5" fmla="*/ 384048 h 578637"/>
                <a:gd name="connsiteX6" fmla="*/ 436344 w 948408"/>
                <a:gd name="connsiteY6" fmla="*/ 301752 h 578637"/>
                <a:gd name="connsiteX7" fmla="*/ 518640 w 948408"/>
                <a:gd name="connsiteY7" fmla="*/ 192024 h 578637"/>
                <a:gd name="connsiteX8" fmla="*/ 664944 w 948408"/>
                <a:gd name="connsiteY8" fmla="*/ 155448 h 578637"/>
                <a:gd name="connsiteX9" fmla="*/ 710664 w 948408"/>
                <a:gd name="connsiteY9" fmla="*/ 155448 h 578637"/>
                <a:gd name="connsiteX10" fmla="*/ 747240 w 948408"/>
                <a:gd name="connsiteY10" fmla="*/ 137160 h 578637"/>
                <a:gd name="connsiteX11" fmla="*/ 701520 w 948408"/>
                <a:gd name="connsiteY11" fmla="*/ 137160 h 578637"/>
                <a:gd name="connsiteX12" fmla="*/ 610080 w 948408"/>
                <a:gd name="connsiteY12" fmla="*/ 137160 h 578637"/>
                <a:gd name="connsiteX13" fmla="*/ 555216 w 948408"/>
                <a:gd name="connsiteY13" fmla="*/ 146304 h 578637"/>
                <a:gd name="connsiteX14" fmla="*/ 546072 w 948408"/>
                <a:gd name="connsiteY14" fmla="*/ 155448 h 578637"/>
                <a:gd name="connsiteX15" fmla="*/ 527784 w 948408"/>
                <a:gd name="connsiteY15" fmla="*/ 146304 h 578637"/>
                <a:gd name="connsiteX16" fmla="*/ 655800 w 948408"/>
                <a:gd name="connsiteY16" fmla="*/ 91440 h 578637"/>
                <a:gd name="connsiteX17" fmla="*/ 710664 w 948408"/>
                <a:gd name="connsiteY17" fmla="*/ 91440 h 578637"/>
                <a:gd name="connsiteX18" fmla="*/ 802104 w 948408"/>
                <a:gd name="connsiteY18" fmla="*/ 82296 h 578637"/>
                <a:gd name="connsiteX19" fmla="*/ 930120 w 948408"/>
                <a:gd name="connsiteY19" fmla="*/ 27432 h 578637"/>
                <a:gd name="connsiteX20" fmla="*/ 911832 w 948408"/>
                <a:gd name="connsiteY20" fmla="*/ 0 h 578637"/>
                <a:gd name="connsiteX21" fmla="*/ 875256 w 948408"/>
                <a:gd name="connsiteY21" fmla="*/ 27432 h 578637"/>
                <a:gd name="connsiteX22" fmla="*/ 838680 w 948408"/>
                <a:gd name="connsiteY22" fmla="*/ 36576 h 578637"/>
                <a:gd name="connsiteX23" fmla="*/ 765528 w 948408"/>
                <a:gd name="connsiteY23" fmla="*/ 64008 h 578637"/>
                <a:gd name="connsiteX24" fmla="*/ 710664 w 948408"/>
                <a:gd name="connsiteY24" fmla="*/ 64008 h 578637"/>
                <a:gd name="connsiteX25" fmla="*/ 600936 w 948408"/>
                <a:gd name="connsiteY25" fmla="*/ 64008 h 578637"/>
                <a:gd name="connsiteX26" fmla="*/ 546072 w 948408"/>
                <a:gd name="connsiteY26" fmla="*/ 100584 h 578637"/>
                <a:gd name="connsiteX27" fmla="*/ 509496 w 948408"/>
                <a:gd name="connsiteY27" fmla="*/ 146304 h 578637"/>
                <a:gd name="connsiteX28" fmla="*/ 463776 w 948408"/>
                <a:gd name="connsiteY28" fmla="*/ 182880 h 578637"/>
                <a:gd name="connsiteX29" fmla="*/ 418056 w 948408"/>
                <a:gd name="connsiteY29" fmla="*/ 256032 h 578637"/>
                <a:gd name="connsiteX30" fmla="*/ 344904 w 948408"/>
                <a:gd name="connsiteY30" fmla="*/ 301752 h 578637"/>
                <a:gd name="connsiteX31" fmla="*/ 244320 w 948408"/>
                <a:gd name="connsiteY31" fmla="*/ 347472 h 578637"/>
                <a:gd name="connsiteX32" fmla="*/ 207744 w 948408"/>
                <a:gd name="connsiteY32" fmla="*/ 374904 h 578637"/>
                <a:gd name="connsiteX33" fmla="*/ 162024 w 948408"/>
                <a:gd name="connsiteY33" fmla="*/ 402336 h 578637"/>
                <a:gd name="connsiteX34" fmla="*/ 143736 w 948408"/>
                <a:gd name="connsiteY34" fmla="*/ 402336 h 578637"/>
                <a:gd name="connsiteX35" fmla="*/ 162024 w 948408"/>
                <a:gd name="connsiteY35" fmla="*/ 365760 h 578637"/>
                <a:gd name="connsiteX36" fmla="*/ 216888 w 948408"/>
                <a:gd name="connsiteY36" fmla="*/ 301752 h 578637"/>
                <a:gd name="connsiteX37" fmla="*/ 308328 w 948408"/>
                <a:gd name="connsiteY37" fmla="*/ 219456 h 578637"/>
                <a:gd name="connsiteX38" fmla="*/ 354048 w 948408"/>
                <a:gd name="connsiteY38" fmla="*/ 146304 h 578637"/>
                <a:gd name="connsiteX39" fmla="*/ 354048 w 948408"/>
                <a:gd name="connsiteY39" fmla="*/ 64008 h 578637"/>
                <a:gd name="connsiteX40" fmla="*/ 344904 w 948408"/>
                <a:gd name="connsiteY40" fmla="*/ 54864 h 578637"/>
                <a:gd name="connsiteX41" fmla="*/ 335760 w 948408"/>
                <a:gd name="connsiteY41" fmla="*/ 128016 h 578637"/>
                <a:gd name="connsiteX42" fmla="*/ 308328 w 948408"/>
                <a:gd name="connsiteY42" fmla="*/ 173736 h 578637"/>
                <a:gd name="connsiteX43" fmla="*/ 235176 w 948408"/>
                <a:gd name="connsiteY43" fmla="*/ 237744 h 578637"/>
                <a:gd name="connsiteX44" fmla="*/ 207744 w 948408"/>
                <a:gd name="connsiteY44" fmla="*/ 256032 h 578637"/>
                <a:gd name="connsiteX45" fmla="*/ 134592 w 948408"/>
                <a:gd name="connsiteY45" fmla="*/ 347472 h 578637"/>
                <a:gd name="connsiteX46" fmla="*/ 125448 w 948408"/>
                <a:gd name="connsiteY46" fmla="*/ 374904 h 578637"/>
                <a:gd name="connsiteX47" fmla="*/ 116304 w 948408"/>
                <a:gd name="connsiteY47" fmla="*/ 411480 h 578637"/>
                <a:gd name="connsiteX48" fmla="*/ 134592 w 948408"/>
                <a:gd name="connsiteY48" fmla="*/ 429768 h 578637"/>
                <a:gd name="connsiteX49" fmla="*/ 88872 w 948408"/>
                <a:gd name="connsiteY49" fmla="*/ 457200 h 578637"/>
                <a:gd name="connsiteX50" fmla="*/ 5953 w 948408"/>
                <a:gd name="connsiteY50" fmla="*/ 496783 h 578637"/>
                <a:gd name="connsiteX51" fmla="*/ 124591 w 948408"/>
                <a:gd name="connsiteY51" fmla="*/ 430387 h 578637"/>
                <a:gd name="connsiteX52" fmla="*/ 124591 w 948408"/>
                <a:gd name="connsiteY52" fmla="*/ 430387 h 578637"/>
                <a:gd name="connsiteX53" fmla="*/ 124591 w 948408"/>
                <a:gd name="connsiteY53" fmla="*/ 430387 h 578637"/>
                <a:gd name="connsiteX54" fmla="*/ 89270 w 948408"/>
                <a:gd name="connsiteY54" fmla="*/ 578637 h 578637"/>
                <a:gd name="connsiteX55" fmla="*/ 89270 w 948408"/>
                <a:gd name="connsiteY55" fmla="*/ 578637 h 578637"/>
                <a:gd name="connsiteX0" fmla="*/ 83317 w 942455"/>
                <a:gd name="connsiteY0" fmla="*/ 578637 h 578637"/>
                <a:gd name="connsiteX1" fmla="*/ 0 w 942455"/>
                <a:gd name="connsiteY1" fmla="*/ 496784 h 578637"/>
                <a:gd name="connsiteX2" fmla="*/ 0 w 942455"/>
                <a:gd name="connsiteY2" fmla="*/ 496784 h 578637"/>
                <a:gd name="connsiteX3" fmla="*/ 37199 w 942455"/>
                <a:gd name="connsiteY3" fmla="*/ 493776 h 578637"/>
                <a:gd name="connsiteX4" fmla="*/ 137783 w 942455"/>
                <a:gd name="connsiteY4" fmla="*/ 466344 h 578637"/>
                <a:gd name="connsiteX5" fmla="*/ 238367 w 942455"/>
                <a:gd name="connsiteY5" fmla="*/ 384048 h 578637"/>
                <a:gd name="connsiteX6" fmla="*/ 430391 w 942455"/>
                <a:gd name="connsiteY6" fmla="*/ 301752 h 578637"/>
                <a:gd name="connsiteX7" fmla="*/ 512687 w 942455"/>
                <a:gd name="connsiteY7" fmla="*/ 192024 h 578637"/>
                <a:gd name="connsiteX8" fmla="*/ 658991 w 942455"/>
                <a:gd name="connsiteY8" fmla="*/ 155448 h 578637"/>
                <a:gd name="connsiteX9" fmla="*/ 704711 w 942455"/>
                <a:gd name="connsiteY9" fmla="*/ 155448 h 578637"/>
                <a:gd name="connsiteX10" fmla="*/ 741287 w 942455"/>
                <a:gd name="connsiteY10" fmla="*/ 137160 h 578637"/>
                <a:gd name="connsiteX11" fmla="*/ 695567 w 942455"/>
                <a:gd name="connsiteY11" fmla="*/ 137160 h 578637"/>
                <a:gd name="connsiteX12" fmla="*/ 604127 w 942455"/>
                <a:gd name="connsiteY12" fmla="*/ 137160 h 578637"/>
                <a:gd name="connsiteX13" fmla="*/ 549263 w 942455"/>
                <a:gd name="connsiteY13" fmla="*/ 146304 h 578637"/>
                <a:gd name="connsiteX14" fmla="*/ 540119 w 942455"/>
                <a:gd name="connsiteY14" fmla="*/ 155448 h 578637"/>
                <a:gd name="connsiteX15" fmla="*/ 521831 w 942455"/>
                <a:gd name="connsiteY15" fmla="*/ 146304 h 578637"/>
                <a:gd name="connsiteX16" fmla="*/ 649847 w 942455"/>
                <a:gd name="connsiteY16" fmla="*/ 91440 h 578637"/>
                <a:gd name="connsiteX17" fmla="*/ 704711 w 942455"/>
                <a:gd name="connsiteY17" fmla="*/ 91440 h 578637"/>
                <a:gd name="connsiteX18" fmla="*/ 796151 w 942455"/>
                <a:gd name="connsiteY18" fmla="*/ 82296 h 578637"/>
                <a:gd name="connsiteX19" fmla="*/ 924167 w 942455"/>
                <a:gd name="connsiteY19" fmla="*/ 27432 h 578637"/>
                <a:gd name="connsiteX20" fmla="*/ 905879 w 942455"/>
                <a:gd name="connsiteY20" fmla="*/ 0 h 578637"/>
                <a:gd name="connsiteX21" fmla="*/ 869303 w 942455"/>
                <a:gd name="connsiteY21" fmla="*/ 27432 h 578637"/>
                <a:gd name="connsiteX22" fmla="*/ 832727 w 942455"/>
                <a:gd name="connsiteY22" fmla="*/ 36576 h 578637"/>
                <a:gd name="connsiteX23" fmla="*/ 759575 w 942455"/>
                <a:gd name="connsiteY23" fmla="*/ 64008 h 578637"/>
                <a:gd name="connsiteX24" fmla="*/ 704711 w 942455"/>
                <a:gd name="connsiteY24" fmla="*/ 64008 h 578637"/>
                <a:gd name="connsiteX25" fmla="*/ 594983 w 942455"/>
                <a:gd name="connsiteY25" fmla="*/ 64008 h 578637"/>
                <a:gd name="connsiteX26" fmla="*/ 540119 w 942455"/>
                <a:gd name="connsiteY26" fmla="*/ 100584 h 578637"/>
                <a:gd name="connsiteX27" fmla="*/ 503543 w 942455"/>
                <a:gd name="connsiteY27" fmla="*/ 146304 h 578637"/>
                <a:gd name="connsiteX28" fmla="*/ 457823 w 942455"/>
                <a:gd name="connsiteY28" fmla="*/ 182880 h 578637"/>
                <a:gd name="connsiteX29" fmla="*/ 412103 w 942455"/>
                <a:gd name="connsiteY29" fmla="*/ 256032 h 578637"/>
                <a:gd name="connsiteX30" fmla="*/ 338951 w 942455"/>
                <a:gd name="connsiteY30" fmla="*/ 301752 h 578637"/>
                <a:gd name="connsiteX31" fmla="*/ 238367 w 942455"/>
                <a:gd name="connsiteY31" fmla="*/ 347472 h 578637"/>
                <a:gd name="connsiteX32" fmla="*/ 201791 w 942455"/>
                <a:gd name="connsiteY32" fmla="*/ 374904 h 578637"/>
                <a:gd name="connsiteX33" fmla="*/ 156071 w 942455"/>
                <a:gd name="connsiteY33" fmla="*/ 402336 h 578637"/>
                <a:gd name="connsiteX34" fmla="*/ 137783 w 942455"/>
                <a:gd name="connsiteY34" fmla="*/ 402336 h 578637"/>
                <a:gd name="connsiteX35" fmla="*/ 156071 w 942455"/>
                <a:gd name="connsiteY35" fmla="*/ 365760 h 578637"/>
                <a:gd name="connsiteX36" fmla="*/ 210935 w 942455"/>
                <a:gd name="connsiteY36" fmla="*/ 301752 h 578637"/>
                <a:gd name="connsiteX37" fmla="*/ 302375 w 942455"/>
                <a:gd name="connsiteY37" fmla="*/ 219456 h 578637"/>
                <a:gd name="connsiteX38" fmla="*/ 348095 w 942455"/>
                <a:gd name="connsiteY38" fmla="*/ 146304 h 578637"/>
                <a:gd name="connsiteX39" fmla="*/ 348095 w 942455"/>
                <a:gd name="connsiteY39" fmla="*/ 64008 h 578637"/>
                <a:gd name="connsiteX40" fmla="*/ 338951 w 942455"/>
                <a:gd name="connsiteY40" fmla="*/ 54864 h 578637"/>
                <a:gd name="connsiteX41" fmla="*/ 329807 w 942455"/>
                <a:gd name="connsiteY41" fmla="*/ 128016 h 578637"/>
                <a:gd name="connsiteX42" fmla="*/ 302375 w 942455"/>
                <a:gd name="connsiteY42" fmla="*/ 173736 h 578637"/>
                <a:gd name="connsiteX43" fmla="*/ 229223 w 942455"/>
                <a:gd name="connsiteY43" fmla="*/ 237744 h 578637"/>
                <a:gd name="connsiteX44" fmla="*/ 201791 w 942455"/>
                <a:gd name="connsiteY44" fmla="*/ 256032 h 578637"/>
                <a:gd name="connsiteX45" fmla="*/ 128639 w 942455"/>
                <a:gd name="connsiteY45" fmla="*/ 347472 h 578637"/>
                <a:gd name="connsiteX46" fmla="*/ 119495 w 942455"/>
                <a:gd name="connsiteY46" fmla="*/ 374904 h 578637"/>
                <a:gd name="connsiteX47" fmla="*/ 110351 w 942455"/>
                <a:gd name="connsiteY47" fmla="*/ 411480 h 578637"/>
                <a:gd name="connsiteX48" fmla="*/ 128639 w 942455"/>
                <a:gd name="connsiteY48" fmla="*/ 429768 h 578637"/>
                <a:gd name="connsiteX49" fmla="*/ 82919 w 942455"/>
                <a:gd name="connsiteY49" fmla="*/ 457200 h 578637"/>
                <a:gd name="connsiteX50" fmla="*/ 118640 w 942455"/>
                <a:gd name="connsiteY50" fmla="*/ 430387 h 578637"/>
                <a:gd name="connsiteX51" fmla="*/ 118638 w 942455"/>
                <a:gd name="connsiteY51" fmla="*/ 430387 h 578637"/>
                <a:gd name="connsiteX52" fmla="*/ 118638 w 942455"/>
                <a:gd name="connsiteY52" fmla="*/ 430387 h 578637"/>
                <a:gd name="connsiteX53" fmla="*/ 118638 w 942455"/>
                <a:gd name="connsiteY53" fmla="*/ 430387 h 578637"/>
                <a:gd name="connsiteX54" fmla="*/ 83317 w 942455"/>
                <a:gd name="connsiteY54" fmla="*/ 578637 h 578637"/>
                <a:gd name="connsiteX55" fmla="*/ 83317 w 942455"/>
                <a:gd name="connsiteY55" fmla="*/ 578637 h 578637"/>
                <a:gd name="connsiteX0" fmla="*/ 118639 w 942455"/>
                <a:gd name="connsiteY0" fmla="*/ 430387 h 578637"/>
                <a:gd name="connsiteX1" fmla="*/ 0 w 942455"/>
                <a:gd name="connsiteY1" fmla="*/ 496784 h 578637"/>
                <a:gd name="connsiteX2" fmla="*/ 0 w 942455"/>
                <a:gd name="connsiteY2" fmla="*/ 496784 h 578637"/>
                <a:gd name="connsiteX3" fmla="*/ 37199 w 942455"/>
                <a:gd name="connsiteY3" fmla="*/ 493776 h 578637"/>
                <a:gd name="connsiteX4" fmla="*/ 137783 w 942455"/>
                <a:gd name="connsiteY4" fmla="*/ 466344 h 578637"/>
                <a:gd name="connsiteX5" fmla="*/ 238367 w 942455"/>
                <a:gd name="connsiteY5" fmla="*/ 384048 h 578637"/>
                <a:gd name="connsiteX6" fmla="*/ 430391 w 942455"/>
                <a:gd name="connsiteY6" fmla="*/ 301752 h 578637"/>
                <a:gd name="connsiteX7" fmla="*/ 512687 w 942455"/>
                <a:gd name="connsiteY7" fmla="*/ 192024 h 578637"/>
                <a:gd name="connsiteX8" fmla="*/ 658991 w 942455"/>
                <a:gd name="connsiteY8" fmla="*/ 155448 h 578637"/>
                <a:gd name="connsiteX9" fmla="*/ 704711 w 942455"/>
                <a:gd name="connsiteY9" fmla="*/ 155448 h 578637"/>
                <a:gd name="connsiteX10" fmla="*/ 741287 w 942455"/>
                <a:gd name="connsiteY10" fmla="*/ 137160 h 578637"/>
                <a:gd name="connsiteX11" fmla="*/ 695567 w 942455"/>
                <a:gd name="connsiteY11" fmla="*/ 137160 h 578637"/>
                <a:gd name="connsiteX12" fmla="*/ 604127 w 942455"/>
                <a:gd name="connsiteY12" fmla="*/ 137160 h 578637"/>
                <a:gd name="connsiteX13" fmla="*/ 549263 w 942455"/>
                <a:gd name="connsiteY13" fmla="*/ 146304 h 578637"/>
                <a:gd name="connsiteX14" fmla="*/ 540119 w 942455"/>
                <a:gd name="connsiteY14" fmla="*/ 155448 h 578637"/>
                <a:gd name="connsiteX15" fmla="*/ 521831 w 942455"/>
                <a:gd name="connsiteY15" fmla="*/ 146304 h 578637"/>
                <a:gd name="connsiteX16" fmla="*/ 649847 w 942455"/>
                <a:gd name="connsiteY16" fmla="*/ 91440 h 578637"/>
                <a:gd name="connsiteX17" fmla="*/ 704711 w 942455"/>
                <a:gd name="connsiteY17" fmla="*/ 91440 h 578637"/>
                <a:gd name="connsiteX18" fmla="*/ 796151 w 942455"/>
                <a:gd name="connsiteY18" fmla="*/ 82296 h 578637"/>
                <a:gd name="connsiteX19" fmla="*/ 924167 w 942455"/>
                <a:gd name="connsiteY19" fmla="*/ 27432 h 578637"/>
                <a:gd name="connsiteX20" fmla="*/ 905879 w 942455"/>
                <a:gd name="connsiteY20" fmla="*/ 0 h 578637"/>
                <a:gd name="connsiteX21" fmla="*/ 869303 w 942455"/>
                <a:gd name="connsiteY21" fmla="*/ 27432 h 578637"/>
                <a:gd name="connsiteX22" fmla="*/ 832727 w 942455"/>
                <a:gd name="connsiteY22" fmla="*/ 36576 h 578637"/>
                <a:gd name="connsiteX23" fmla="*/ 759575 w 942455"/>
                <a:gd name="connsiteY23" fmla="*/ 64008 h 578637"/>
                <a:gd name="connsiteX24" fmla="*/ 704711 w 942455"/>
                <a:gd name="connsiteY24" fmla="*/ 64008 h 578637"/>
                <a:gd name="connsiteX25" fmla="*/ 594983 w 942455"/>
                <a:gd name="connsiteY25" fmla="*/ 64008 h 578637"/>
                <a:gd name="connsiteX26" fmla="*/ 540119 w 942455"/>
                <a:gd name="connsiteY26" fmla="*/ 100584 h 578637"/>
                <a:gd name="connsiteX27" fmla="*/ 503543 w 942455"/>
                <a:gd name="connsiteY27" fmla="*/ 146304 h 578637"/>
                <a:gd name="connsiteX28" fmla="*/ 457823 w 942455"/>
                <a:gd name="connsiteY28" fmla="*/ 182880 h 578637"/>
                <a:gd name="connsiteX29" fmla="*/ 412103 w 942455"/>
                <a:gd name="connsiteY29" fmla="*/ 256032 h 578637"/>
                <a:gd name="connsiteX30" fmla="*/ 338951 w 942455"/>
                <a:gd name="connsiteY30" fmla="*/ 301752 h 578637"/>
                <a:gd name="connsiteX31" fmla="*/ 238367 w 942455"/>
                <a:gd name="connsiteY31" fmla="*/ 347472 h 578637"/>
                <a:gd name="connsiteX32" fmla="*/ 201791 w 942455"/>
                <a:gd name="connsiteY32" fmla="*/ 374904 h 578637"/>
                <a:gd name="connsiteX33" fmla="*/ 156071 w 942455"/>
                <a:gd name="connsiteY33" fmla="*/ 402336 h 578637"/>
                <a:gd name="connsiteX34" fmla="*/ 137783 w 942455"/>
                <a:gd name="connsiteY34" fmla="*/ 402336 h 578637"/>
                <a:gd name="connsiteX35" fmla="*/ 156071 w 942455"/>
                <a:gd name="connsiteY35" fmla="*/ 365760 h 578637"/>
                <a:gd name="connsiteX36" fmla="*/ 210935 w 942455"/>
                <a:gd name="connsiteY36" fmla="*/ 301752 h 578637"/>
                <a:gd name="connsiteX37" fmla="*/ 302375 w 942455"/>
                <a:gd name="connsiteY37" fmla="*/ 219456 h 578637"/>
                <a:gd name="connsiteX38" fmla="*/ 348095 w 942455"/>
                <a:gd name="connsiteY38" fmla="*/ 146304 h 578637"/>
                <a:gd name="connsiteX39" fmla="*/ 348095 w 942455"/>
                <a:gd name="connsiteY39" fmla="*/ 64008 h 578637"/>
                <a:gd name="connsiteX40" fmla="*/ 338951 w 942455"/>
                <a:gd name="connsiteY40" fmla="*/ 54864 h 578637"/>
                <a:gd name="connsiteX41" fmla="*/ 329807 w 942455"/>
                <a:gd name="connsiteY41" fmla="*/ 128016 h 578637"/>
                <a:gd name="connsiteX42" fmla="*/ 302375 w 942455"/>
                <a:gd name="connsiteY42" fmla="*/ 173736 h 578637"/>
                <a:gd name="connsiteX43" fmla="*/ 229223 w 942455"/>
                <a:gd name="connsiteY43" fmla="*/ 237744 h 578637"/>
                <a:gd name="connsiteX44" fmla="*/ 201791 w 942455"/>
                <a:gd name="connsiteY44" fmla="*/ 256032 h 578637"/>
                <a:gd name="connsiteX45" fmla="*/ 128639 w 942455"/>
                <a:gd name="connsiteY45" fmla="*/ 347472 h 578637"/>
                <a:gd name="connsiteX46" fmla="*/ 119495 w 942455"/>
                <a:gd name="connsiteY46" fmla="*/ 374904 h 578637"/>
                <a:gd name="connsiteX47" fmla="*/ 110351 w 942455"/>
                <a:gd name="connsiteY47" fmla="*/ 411480 h 578637"/>
                <a:gd name="connsiteX48" fmla="*/ 128639 w 942455"/>
                <a:gd name="connsiteY48" fmla="*/ 429768 h 578637"/>
                <a:gd name="connsiteX49" fmla="*/ 82919 w 942455"/>
                <a:gd name="connsiteY49" fmla="*/ 457200 h 578637"/>
                <a:gd name="connsiteX50" fmla="*/ 118640 w 942455"/>
                <a:gd name="connsiteY50" fmla="*/ 430387 h 578637"/>
                <a:gd name="connsiteX51" fmla="*/ 118638 w 942455"/>
                <a:gd name="connsiteY51" fmla="*/ 430387 h 578637"/>
                <a:gd name="connsiteX52" fmla="*/ 118638 w 942455"/>
                <a:gd name="connsiteY52" fmla="*/ 430387 h 578637"/>
                <a:gd name="connsiteX53" fmla="*/ 118638 w 942455"/>
                <a:gd name="connsiteY53" fmla="*/ 430387 h 578637"/>
                <a:gd name="connsiteX54" fmla="*/ 83317 w 942455"/>
                <a:gd name="connsiteY54" fmla="*/ 578637 h 578637"/>
                <a:gd name="connsiteX55" fmla="*/ 118639 w 942455"/>
                <a:gd name="connsiteY55" fmla="*/ 430387 h 578637"/>
                <a:gd name="connsiteX0" fmla="*/ 118639 w 942455"/>
                <a:gd name="connsiteY0" fmla="*/ 430387 h 578637"/>
                <a:gd name="connsiteX1" fmla="*/ 0 w 942455"/>
                <a:gd name="connsiteY1" fmla="*/ 496784 h 578637"/>
                <a:gd name="connsiteX2" fmla="*/ 0 w 942455"/>
                <a:gd name="connsiteY2" fmla="*/ 496784 h 578637"/>
                <a:gd name="connsiteX3" fmla="*/ 118639 w 942455"/>
                <a:gd name="connsiteY3" fmla="*/ 430387 h 578637"/>
                <a:gd name="connsiteX4" fmla="*/ 137783 w 942455"/>
                <a:gd name="connsiteY4" fmla="*/ 466344 h 578637"/>
                <a:gd name="connsiteX5" fmla="*/ 238367 w 942455"/>
                <a:gd name="connsiteY5" fmla="*/ 384048 h 578637"/>
                <a:gd name="connsiteX6" fmla="*/ 430391 w 942455"/>
                <a:gd name="connsiteY6" fmla="*/ 301752 h 578637"/>
                <a:gd name="connsiteX7" fmla="*/ 512687 w 942455"/>
                <a:gd name="connsiteY7" fmla="*/ 192024 h 578637"/>
                <a:gd name="connsiteX8" fmla="*/ 658991 w 942455"/>
                <a:gd name="connsiteY8" fmla="*/ 155448 h 578637"/>
                <a:gd name="connsiteX9" fmla="*/ 704711 w 942455"/>
                <a:gd name="connsiteY9" fmla="*/ 155448 h 578637"/>
                <a:gd name="connsiteX10" fmla="*/ 741287 w 942455"/>
                <a:gd name="connsiteY10" fmla="*/ 137160 h 578637"/>
                <a:gd name="connsiteX11" fmla="*/ 695567 w 942455"/>
                <a:gd name="connsiteY11" fmla="*/ 137160 h 578637"/>
                <a:gd name="connsiteX12" fmla="*/ 604127 w 942455"/>
                <a:gd name="connsiteY12" fmla="*/ 137160 h 578637"/>
                <a:gd name="connsiteX13" fmla="*/ 549263 w 942455"/>
                <a:gd name="connsiteY13" fmla="*/ 146304 h 578637"/>
                <a:gd name="connsiteX14" fmla="*/ 540119 w 942455"/>
                <a:gd name="connsiteY14" fmla="*/ 155448 h 578637"/>
                <a:gd name="connsiteX15" fmla="*/ 521831 w 942455"/>
                <a:gd name="connsiteY15" fmla="*/ 146304 h 578637"/>
                <a:gd name="connsiteX16" fmla="*/ 649847 w 942455"/>
                <a:gd name="connsiteY16" fmla="*/ 91440 h 578637"/>
                <a:gd name="connsiteX17" fmla="*/ 704711 w 942455"/>
                <a:gd name="connsiteY17" fmla="*/ 91440 h 578637"/>
                <a:gd name="connsiteX18" fmla="*/ 796151 w 942455"/>
                <a:gd name="connsiteY18" fmla="*/ 82296 h 578637"/>
                <a:gd name="connsiteX19" fmla="*/ 924167 w 942455"/>
                <a:gd name="connsiteY19" fmla="*/ 27432 h 578637"/>
                <a:gd name="connsiteX20" fmla="*/ 905879 w 942455"/>
                <a:gd name="connsiteY20" fmla="*/ 0 h 578637"/>
                <a:gd name="connsiteX21" fmla="*/ 869303 w 942455"/>
                <a:gd name="connsiteY21" fmla="*/ 27432 h 578637"/>
                <a:gd name="connsiteX22" fmla="*/ 832727 w 942455"/>
                <a:gd name="connsiteY22" fmla="*/ 36576 h 578637"/>
                <a:gd name="connsiteX23" fmla="*/ 759575 w 942455"/>
                <a:gd name="connsiteY23" fmla="*/ 64008 h 578637"/>
                <a:gd name="connsiteX24" fmla="*/ 704711 w 942455"/>
                <a:gd name="connsiteY24" fmla="*/ 64008 h 578637"/>
                <a:gd name="connsiteX25" fmla="*/ 594983 w 942455"/>
                <a:gd name="connsiteY25" fmla="*/ 64008 h 578637"/>
                <a:gd name="connsiteX26" fmla="*/ 540119 w 942455"/>
                <a:gd name="connsiteY26" fmla="*/ 100584 h 578637"/>
                <a:gd name="connsiteX27" fmla="*/ 503543 w 942455"/>
                <a:gd name="connsiteY27" fmla="*/ 146304 h 578637"/>
                <a:gd name="connsiteX28" fmla="*/ 457823 w 942455"/>
                <a:gd name="connsiteY28" fmla="*/ 182880 h 578637"/>
                <a:gd name="connsiteX29" fmla="*/ 412103 w 942455"/>
                <a:gd name="connsiteY29" fmla="*/ 256032 h 578637"/>
                <a:gd name="connsiteX30" fmla="*/ 338951 w 942455"/>
                <a:gd name="connsiteY30" fmla="*/ 301752 h 578637"/>
                <a:gd name="connsiteX31" fmla="*/ 238367 w 942455"/>
                <a:gd name="connsiteY31" fmla="*/ 347472 h 578637"/>
                <a:gd name="connsiteX32" fmla="*/ 201791 w 942455"/>
                <a:gd name="connsiteY32" fmla="*/ 374904 h 578637"/>
                <a:gd name="connsiteX33" fmla="*/ 156071 w 942455"/>
                <a:gd name="connsiteY33" fmla="*/ 402336 h 578637"/>
                <a:gd name="connsiteX34" fmla="*/ 137783 w 942455"/>
                <a:gd name="connsiteY34" fmla="*/ 402336 h 578637"/>
                <a:gd name="connsiteX35" fmla="*/ 156071 w 942455"/>
                <a:gd name="connsiteY35" fmla="*/ 365760 h 578637"/>
                <a:gd name="connsiteX36" fmla="*/ 210935 w 942455"/>
                <a:gd name="connsiteY36" fmla="*/ 301752 h 578637"/>
                <a:gd name="connsiteX37" fmla="*/ 302375 w 942455"/>
                <a:gd name="connsiteY37" fmla="*/ 219456 h 578637"/>
                <a:gd name="connsiteX38" fmla="*/ 348095 w 942455"/>
                <a:gd name="connsiteY38" fmla="*/ 146304 h 578637"/>
                <a:gd name="connsiteX39" fmla="*/ 348095 w 942455"/>
                <a:gd name="connsiteY39" fmla="*/ 64008 h 578637"/>
                <a:gd name="connsiteX40" fmla="*/ 338951 w 942455"/>
                <a:gd name="connsiteY40" fmla="*/ 54864 h 578637"/>
                <a:gd name="connsiteX41" fmla="*/ 329807 w 942455"/>
                <a:gd name="connsiteY41" fmla="*/ 128016 h 578637"/>
                <a:gd name="connsiteX42" fmla="*/ 302375 w 942455"/>
                <a:gd name="connsiteY42" fmla="*/ 173736 h 578637"/>
                <a:gd name="connsiteX43" fmla="*/ 229223 w 942455"/>
                <a:gd name="connsiteY43" fmla="*/ 237744 h 578637"/>
                <a:gd name="connsiteX44" fmla="*/ 201791 w 942455"/>
                <a:gd name="connsiteY44" fmla="*/ 256032 h 578637"/>
                <a:gd name="connsiteX45" fmla="*/ 128639 w 942455"/>
                <a:gd name="connsiteY45" fmla="*/ 347472 h 578637"/>
                <a:gd name="connsiteX46" fmla="*/ 119495 w 942455"/>
                <a:gd name="connsiteY46" fmla="*/ 374904 h 578637"/>
                <a:gd name="connsiteX47" fmla="*/ 110351 w 942455"/>
                <a:gd name="connsiteY47" fmla="*/ 411480 h 578637"/>
                <a:gd name="connsiteX48" fmla="*/ 128639 w 942455"/>
                <a:gd name="connsiteY48" fmla="*/ 429768 h 578637"/>
                <a:gd name="connsiteX49" fmla="*/ 82919 w 942455"/>
                <a:gd name="connsiteY49" fmla="*/ 457200 h 578637"/>
                <a:gd name="connsiteX50" fmla="*/ 118640 w 942455"/>
                <a:gd name="connsiteY50" fmla="*/ 430387 h 578637"/>
                <a:gd name="connsiteX51" fmla="*/ 118638 w 942455"/>
                <a:gd name="connsiteY51" fmla="*/ 430387 h 578637"/>
                <a:gd name="connsiteX52" fmla="*/ 118638 w 942455"/>
                <a:gd name="connsiteY52" fmla="*/ 430387 h 578637"/>
                <a:gd name="connsiteX53" fmla="*/ 118638 w 942455"/>
                <a:gd name="connsiteY53" fmla="*/ 430387 h 578637"/>
                <a:gd name="connsiteX54" fmla="*/ 83317 w 942455"/>
                <a:gd name="connsiteY54" fmla="*/ 578637 h 578637"/>
                <a:gd name="connsiteX55" fmla="*/ 118639 w 942455"/>
                <a:gd name="connsiteY55" fmla="*/ 430387 h 578637"/>
                <a:gd name="connsiteX0" fmla="*/ 118639 w 942455"/>
                <a:gd name="connsiteY0" fmla="*/ 430387 h 578637"/>
                <a:gd name="connsiteX1" fmla="*/ 0 w 942455"/>
                <a:gd name="connsiteY1" fmla="*/ 496784 h 578637"/>
                <a:gd name="connsiteX2" fmla="*/ 118639 w 942455"/>
                <a:gd name="connsiteY2" fmla="*/ 430387 h 578637"/>
                <a:gd name="connsiteX3" fmla="*/ 118639 w 942455"/>
                <a:gd name="connsiteY3" fmla="*/ 430387 h 578637"/>
                <a:gd name="connsiteX4" fmla="*/ 137783 w 942455"/>
                <a:gd name="connsiteY4" fmla="*/ 466344 h 578637"/>
                <a:gd name="connsiteX5" fmla="*/ 238367 w 942455"/>
                <a:gd name="connsiteY5" fmla="*/ 384048 h 578637"/>
                <a:gd name="connsiteX6" fmla="*/ 430391 w 942455"/>
                <a:gd name="connsiteY6" fmla="*/ 301752 h 578637"/>
                <a:gd name="connsiteX7" fmla="*/ 512687 w 942455"/>
                <a:gd name="connsiteY7" fmla="*/ 192024 h 578637"/>
                <a:gd name="connsiteX8" fmla="*/ 658991 w 942455"/>
                <a:gd name="connsiteY8" fmla="*/ 155448 h 578637"/>
                <a:gd name="connsiteX9" fmla="*/ 704711 w 942455"/>
                <a:gd name="connsiteY9" fmla="*/ 155448 h 578637"/>
                <a:gd name="connsiteX10" fmla="*/ 741287 w 942455"/>
                <a:gd name="connsiteY10" fmla="*/ 137160 h 578637"/>
                <a:gd name="connsiteX11" fmla="*/ 695567 w 942455"/>
                <a:gd name="connsiteY11" fmla="*/ 137160 h 578637"/>
                <a:gd name="connsiteX12" fmla="*/ 604127 w 942455"/>
                <a:gd name="connsiteY12" fmla="*/ 137160 h 578637"/>
                <a:gd name="connsiteX13" fmla="*/ 549263 w 942455"/>
                <a:gd name="connsiteY13" fmla="*/ 146304 h 578637"/>
                <a:gd name="connsiteX14" fmla="*/ 540119 w 942455"/>
                <a:gd name="connsiteY14" fmla="*/ 155448 h 578637"/>
                <a:gd name="connsiteX15" fmla="*/ 521831 w 942455"/>
                <a:gd name="connsiteY15" fmla="*/ 146304 h 578637"/>
                <a:gd name="connsiteX16" fmla="*/ 649847 w 942455"/>
                <a:gd name="connsiteY16" fmla="*/ 91440 h 578637"/>
                <a:gd name="connsiteX17" fmla="*/ 704711 w 942455"/>
                <a:gd name="connsiteY17" fmla="*/ 91440 h 578637"/>
                <a:gd name="connsiteX18" fmla="*/ 796151 w 942455"/>
                <a:gd name="connsiteY18" fmla="*/ 82296 h 578637"/>
                <a:gd name="connsiteX19" fmla="*/ 924167 w 942455"/>
                <a:gd name="connsiteY19" fmla="*/ 27432 h 578637"/>
                <a:gd name="connsiteX20" fmla="*/ 905879 w 942455"/>
                <a:gd name="connsiteY20" fmla="*/ 0 h 578637"/>
                <a:gd name="connsiteX21" fmla="*/ 869303 w 942455"/>
                <a:gd name="connsiteY21" fmla="*/ 27432 h 578637"/>
                <a:gd name="connsiteX22" fmla="*/ 832727 w 942455"/>
                <a:gd name="connsiteY22" fmla="*/ 36576 h 578637"/>
                <a:gd name="connsiteX23" fmla="*/ 759575 w 942455"/>
                <a:gd name="connsiteY23" fmla="*/ 64008 h 578637"/>
                <a:gd name="connsiteX24" fmla="*/ 704711 w 942455"/>
                <a:gd name="connsiteY24" fmla="*/ 64008 h 578637"/>
                <a:gd name="connsiteX25" fmla="*/ 594983 w 942455"/>
                <a:gd name="connsiteY25" fmla="*/ 64008 h 578637"/>
                <a:gd name="connsiteX26" fmla="*/ 540119 w 942455"/>
                <a:gd name="connsiteY26" fmla="*/ 100584 h 578637"/>
                <a:gd name="connsiteX27" fmla="*/ 503543 w 942455"/>
                <a:gd name="connsiteY27" fmla="*/ 146304 h 578637"/>
                <a:gd name="connsiteX28" fmla="*/ 457823 w 942455"/>
                <a:gd name="connsiteY28" fmla="*/ 182880 h 578637"/>
                <a:gd name="connsiteX29" fmla="*/ 412103 w 942455"/>
                <a:gd name="connsiteY29" fmla="*/ 256032 h 578637"/>
                <a:gd name="connsiteX30" fmla="*/ 338951 w 942455"/>
                <a:gd name="connsiteY30" fmla="*/ 301752 h 578637"/>
                <a:gd name="connsiteX31" fmla="*/ 238367 w 942455"/>
                <a:gd name="connsiteY31" fmla="*/ 347472 h 578637"/>
                <a:gd name="connsiteX32" fmla="*/ 201791 w 942455"/>
                <a:gd name="connsiteY32" fmla="*/ 374904 h 578637"/>
                <a:gd name="connsiteX33" fmla="*/ 156071 w 942455"/>
                <a:gd name="connsiteY33" fmla="*/ 402336 h 578637"/>
                <a:gd name="connsiteX34" fmla="*/ 137783 w 942455"/>
                <a:gd name="connsiteY34" fmla="*/ 402336 h 578637"/>
                <a:gd name="connsiteX35" fmla="*/ 156071 w 942455"/>
                <a:gd name="connsiteY35" fmla="*/ 365760 h 578637"/>
                <a:gd name="connsiteX36" fmla="*/ 210935 w 942455"/>
                <a:gd name="connsiteY36" fmla="*/ 301752 h 578637"/>
                <a:gd name="connsiteX37" fmla="*/ 302375 w 942455"/>
                <a:gd name="connsiteY37" fmla="*/ 219456 h 578637"/>
                <a:gd name="connsiteX38" fmla="*/ 348095 w 942455"/>
                <a:gd name="connsiteY38" fmla="*/ 146304 h 578637"/>
                <a:gd name="connsiteX39" fmla="*/ 348095 w 942455"/>
                <a:gd name="connsiteY39" fmla="*/ 64008 h 578637"/>
                <a:gd name="connsiteX40" fmla="*/ 338951 w 942455"/>
                <a:gd name="connsiteY40" fmla="*/ 54864 h 578637"/>
                <a:gd name="connsiteX41" fmla="*/ 329807 w 942455"/>
                <a:gd name="connsiteY41" fmla="*/ 128016 h 578637"/>
                <a:gd name="connsiteX42" fmla="*/ 302375 w 942455"/>
                <a:gd name="connsiteY42" fmla="*/ 173736 h 578637"/>
                <a:gd name="connsiteX43" fmla="*/ 229223 w 942455"/>
                <a:gd name="connsiteY43" fmla="*/ 237744 h 578637"/>
                <a:gd name="connsiteX44" fmla="*/ 201791 w 942455"/>
                <a:gd name="connsiteY44" fmla="*/ 256032 h 578637"/>
                <a:gd name="connsiteX45" fmla="*/ 128639 w 942455"/>
                <a:gd name="connsiteY45" fmla="*/ 347472 h 578637"/>
                <a:gd name="connsiteX46" fmla="*/ 119495 w 942455"/>
                <a:gd name="connsiteY46" fmla="*/ 374904 h 578637"/>
                <a:gd name="connsiteX47" fmla="*/ 110351 w 942455"/>
                <a:gd name="connsiteY47" fmla="*/ 411480 h 578637"/>
                <a:gd name="connsiteX48" fmla="*/ 128639 w 942455"/>
                <a:gd name="connsiteY48" fmla="*/ 429768 h 578637"/>
                <a:gd name="connsiteX49" fmla="*/ 82919 w 942455"/>
                <a:gd name="connsiteY49" fmla="*/ 457200 h 578637"/>
                <a:gd name="connsiteX50" fmla="*/ 118640 w 942455"/>
                <a:gd name="connsiteY50" fmla="*/ 430387 h 578637"/>
                <a:gd name="connsiteX51" fmla="*/ 118638 w 942455"/>
                <a:gd name="connsiteY51" fmla="*/ 430387 h 578637"/>
                <a:gd name="connsiteX52" fmla="*/ 118638 w 942455"/>
                <a:gd name="connsiteY52" fmla="*/ 430387 h 578637"/>
                <a:gd name="connsiteX53" fmla="*/ 118638 w 942455"/>
                <a:gd name="connsiteY53" fmla="*/ 430387 h 578637"/>
                <a:gd name="connsiteX54" fmla="*/ 83317 w 942455"/>
                <a:gd name="connsiteY54" fmla="*/ 578637 h 578637"/>
                <a:gd name="connsiteX55" fmla="*/ 118639 w 942455"/>
                <a:gd name="connsiteY55" fmla="*/ 430387 h 578637"/>
                <a:gd name="connsiteX0" fmla="*/ 118639 w 942455"/>
                <a:gd name="connsiteY0" fmla="*/ 430387 h 496784"/>
                <a:gd name="connsiteX1" fmla="*/ 0 w 942455"/>
                <a:gd name="connsiteY1" fmla="*/ 496784 h 496784"/>
                <a:gd name="connsiteX2" fmla="*/ 118639 w 942455"/>
                <a:gd name="connsiteY2" fmla="*/ 430387 h 496784"/>
                <a:gd name="connsiteX3" fmla="*/ 118639 w 942455"/>
                <a:gd name="connsiteY3" fmla="*/ 430387 h 496784"/>
                <a:gd name="connsiteX4" fmla="*/ 137783 w 942455"/>
                <a:gd name="connsiteY4" fmla="*/ 466344 h 496784"/>
                <a:gd name="connsiteX5" fmla="*/ 238367 w 942455"/>
                <a:gd name="connsiteY5" fmla="*/ 384048 h 496784"/>
                <a:gd name="connsiteX6" fmla="*/ 430391 w 942455"/>
                <a:gd name="connsiteY6" fmla="*/ 301752 h 496784"/>
                <a:gd name="connsiteX7" fmla="*/ 512687 w 942455"/>
                <a:gd name="connsiteY7" fmla="*/ 192024 h 496784"/>
                <a:gd name="connsiteX8" fmla="*/ 658991 w 942455"/>
                <a:gd name="connsiteY8" fmla="*/ 155448 h 496784"/>
                <a:gd name="connsiteX9" fmla="*/ 704711 w 942455"/>
                <a:gd name="connsiteY9" fmla="*/ 155448 h 496784"/>
                <a:gd name="connsiteX10" fmla="*/ 741287 w 942455"/>
                <a:gd name="connsiteY10" fmla="*/ 137160 h 496784"/>
                <a:gd name="connsiteX11" fmla="*/ 695567 w 942455"/>
                <a:gd name="connsiteY11" fmla="*/ 137160 h 496784"/>
                <a:gd name="connsiteX12" fmla="*/ 604127 w 942455"/>
                <a:gd name="connsiteY12" fmla="*/ 137160 h 496784"/>
                <a:gd name="connsiteX13" fmla="*/ 549263 w 942455"/>
                <a:gd name="connsiteY13" fmla="*/ 146304 h 496784"/>
                <a:gd name="connsiteX14" fmla="*/ 540119 w 942455"/>
                <a:gd name="connsiteY14" fmla="*/ 155448 h 496784"/>
                <a:gd name="connsiteX15" fmla="*/ 521831 w 942455"/>
                <a:gd name="connsiteY15" fmla="*/ 146304 h 496784"/>
                <a:gd name="connsiteX16" fmla="*/ 649847 w 942455"/>
                <a:gd name="connsiteY16" fmla="*/ 91440 h 496784"/>
                <a:gd name="connsiteX17" fmla="*/ 704711 w 942455"/>
                <a:gd name="connsiteY17" fmla="*/ 91440 h 496784"/>
                <a:gd name="connsiteX18" fmla="*/ 796151 w 942455"/>
                <a:gd name="connsiteY18" fmla="*/ 82296 h 496784"/>
                <a:gd name="connsiteX19" fmla="*/ 924167 w 942455"/>
                <a:gd name="connsiteY19" fmla="*/ 27432 h 496784"/>
                <a:gd name="connsiteX20" fmla="*/ 905879 w 942455"/>
                <a:gd name="connsiteY20" fmla="*/ 0 h 496784"/>
                <a:gd name="connsiteX21" fmla="*/ 869303 w 942455"/>
                <a:gd name="connsiteY21" fmla="*/ 27432 h 496784"/>
                <a:gd name="connsiteX22" fmla="*/ 832727 w 942455"/>
                <a:gd name="connsiteY22" fmla="*/ 36576 h 496784"/>
                <a:gd name="connsiteX23" fmla="*/ 759575 w 942455"/>
                <a:gd name="connsiteY23" fmla="*/ 64008 h 496784"/>
                <a:gd name="connsiteX24" fmla="*/ 704711 w 942455"/>
                <a:gd name="connsiteY24" fmla="*/ 64008 h 496784"/>
                <a:gd name="connsiteX25" fmla="*/ 594983 w 942455"/>
                <a:gd name="connsiteY25" fmla="*/ 64008 h 496784"/>
                <a:gd name="connsiteX26" fmla="*/ 540119 w 942455"/>
                <a:gd name="connsiteY26" fmla="*/ 100584 h 496784"/>
                <a:gd name="connsiteX27" fmla="*/ 503543 w 942455"/>
                <a:gd name="connsiteY27" fmla="*/ 146304 h 496784"/>
                <a:gd name="connsiteX28" fmla="*/ 457823 w 942455"/>
                <a:gd name="connsiteY28" fmla="*/ 182880 h 496784"/>
                <a:gd name="connsiteX29" fmla="*/ 412103 w 942455"/>
                <a:gd name="connsiteY29" fmla="*/ 256032 h 496784"/>
                <a:gd name="connsiteX30" fmla="*/ 338951 w 942455"/>
                <a:gd name="connsiteY30" fmla="*/ 301752 h 496784"/>
                <a:gd name="connsiteX31" fmla="*/ 238367 w 942455"/>
                <a:gd name="connsiteY31" fmla="*/ 347472 h 496784"/>
                <a:gd name="connsiteX32" fmla="*/ 201791 w 942455"/>
                <a:gd name="connsiteY32" fmla="*/ 374904 h 496784"/>
                <a:gd name="connsiteX33" fmla="*/ 156071 w 942455"/>
                <a:gd name="connsiteY33" fmla="*/ 402336 h 496784"/>
                <a:gd name="connsiteX34" fmla="*/ 137783 w 942455"/>
                <a:gd name="connsiteY34" fmla="*/ 402336 h 496784"/>
                <a:gd name="connsiteX35" fmla="*/ 156071 w 942455"/>
                <a:gd name="connsiteY35" fmla="*/ 365760 h 496784"/>
                <a:gd name="connsiteX36" fmla="*/ 210935 w 942455"/>
                <a:gd name="connsiteY36" fmla="*/ 301752 h 496784"/>
                <a:gd name="connsiteX37" fmla="*/ 302375 w 942455"/>
                <a:gd name="connsiteY37" fmla="*/ 219456 h 496784"/>
                <a:gd name="connsiteX38" fmla="*/ 348095 w 942455"/>
                <a:gd name="connsiteY38" fmla="*/ 146304 h 496784"/>
                <a:gd name="connsiteX39" fmla="*/ 348095 w 942455"/>
                <a:gd name="connsiteY39" fmla="*/ 64008 h 496784"/>
                <a:gd name="connsiteX40" fmla="*/ 338951 w 942455"/>
                <a:gd name="connsiteY40" fmla="*/ 54864 h 496784"/>
                <a:gd name="connsiteX41" fmla="*/ 329807 w 942455"/>
                <a:gd name="connsiteY41" fmla="*/ 128016 h 496784"/>
                <a:gd name="connsiteX42" fmla="*/ 302375 w 942455"/>
                <a:gd name="connsiteY42" fmla="*/ 173736 h 496784"/>
                <a:gd name="connsiteX43" fmla="*/ 229223 w 942455"/>
                <a:gd name="connsiteY43" fmla="*/ 237744 h 496784"/>
                <a:gd name="connsiteX44" fmla="*/ 201791 w 942455"/>
                <a:gd name="connsiteY44" fmla="*/ 256032 h 496784"/>
                <a:gd name="connsiteX45" fmla="*/ 128639 w 942455"/>
                <a:gd name="connsiteY45" fmla="*/ 347472 h 496784"/>
                <a:gd name="connsiteX46" fmla="*/ 119495 w 942455"/>
                <a:gd name="connsiteY46" fmla="*/ 374904 h 496784"/>
                <a:gd name="connsiteX47" fmla="*/ 110351 w 942455"/>
                <a:gd name="connsiteY47" fmla="*/ 411480 h 496784"/>
                <a:gd name="connsiteX48" fmla="*/ 128639 w 942455"/>
                <a:gd name="connsiteY48" fmla="*/ 429768 h 496784"/>
                <a:gd name="connsiteX49" fmla="*/ 82919 w 942455"/>
                <a:gd name="connsiteY49" fmla="*/ 457200 h 496784"/>
                <a:gd name="connsiteX50" fmla="*/ 118640 w 942455"/>
                <a:gd name="connsiteY50" fmla="*/ 430387 h 496784"/>
                <a:gd name="connsiteX51" fmla="*/ 118638 w 942455"/>
                <a:gd name="connsiteY51" fmla="*/ 430387 h 496784"/>
                <a:gd name="connsiteX52" fmla="*/ 118638 w 942455"/>
                <a:gd name="connsiteY52" fmla="*/ 430387 h 496784"/>
                <a:gd name="connsiteX53" fmla="*/ 118638 w 942455"/>
                <a:gd name="connsiteY53" fmla="*/ 430387 h 496784"/>
                <a:gd name="connsiteX54" fmla="*/ 118639 w 942455"/>
                <a:gd name="connsiteY54" fmla="*/ 430387 h 496784"/>
                <a:gd name="connsiteX55" fmla="*/ 118639 w 942455"/>
                <a:gd name="connsiteY55" fmla="*/ 430387 h 496784"/>
                <a:gd name="connsiteX0" fmla="*/ 37386 w 861202"/>
                <a:gd name="connsiteY0" fmla="*/ 430387 h 474067"/>
                <a:gd name="connsiteX1" fmla="*/ 37385 w 861202"/>
                <a:gd name="connsiteY1" fmla="*/ 430387 h 474067"/>
                <a:gd name="connsiteX2" fmla="*/ 37386 w 861202"/>
                <a:gd name="connsiteY2" fmla="*/ 430387 h 474067"/>
                <a:gd name="connsiteX3" fmla="*/ 37386 w 861202"/>
                <a:gd name="connsiteY3" fmla="*/ 430387 h 474067"/>
                <a:gd name="connsiteX4" fmla="*/ 56530 w 861202"/>
                <a:gd name="connsiteY4" fmla="*/ 466344 h 474067"/>
                <a:gd name="connsiteX5" fmla="*/ 157114 w 861202"/>
                <a:gd name="connsiteY5" fmla="*/ 384048 h 474067"/>
                <a:gd name="connsiteX6" fmla="*/ 349138 w 861202"/>
                <a:gd name="connsiteY6" fmla="*/ 301752 h 474067"/>
                <a:gd name="connsiteX7" fmla="*/ 431434 w 861202"/>
                <a:gd name="connsiteY7" fmla="*/ 192024 h 474067"/>
                <a:gd name="connsiteX8" fmla="*/ 577738 w 861202"/>
                <a:gd name="connsiteY8" fmla="*/ 155448 h 474067"/>
                <a:gd name="connsiteX9" fmla="*/ 623458 w 861202"/>
                <a:gd name="connsiteY9" fmla="*/ 155448 h 474067"/>
                <a:gd name="connsiteX10" fmla="*/ 660034 w 861202"/>
                <a:gd name="connsiteY10" fmla="*/ 137160 h 474067"/>
                <a:gd name="connsiteX11" fmla="*/ 614314 w 861202"/>
                <a:gd name="connsiteY11" fmla="*/ 137160 h 474067"/>
                <a:gd name="connsiteX12" fmla="*/ 522874 w 861202"/>
                <a:gd name="connsiteY12" fmla="*/ 137160 h 474067"/>
                <a:gd name="connsiteX13" fmla="*/ 468010 w 861202"/>
                <a:gd name="connsiteY13" fmla="*/ 146304 h 474067"/>
                <a:gd name="connsiteX14" fmla="*/ 458866 w 861202"/>
                <a:gd name="connsiteY14" fmla="*/ 155448 h 474067"/>
                <a:gd name="connsiteX15" fmla="*/ 440578 w 861202"/>
                <a:gd name="connsiteY15" fmla="*/ 146304 h 474067"/>
                <a:gd name="connsiteX16" fmla="*/ 568594 w 861202"/>
                <a:gd name="connsiteY16" fmla="*/ 91440 h 474067"/>
                <a:gd name="connsiteX17" fmla="*/ 623458 w 861202"/>
                <a:gd name="connsiteY17" fmla="*/ 91440 h 474067"/>
                <a:gd name="connsiteX18" fmla="*/ 714898 w 861202"/>
                <a:gd name="connsiteY18" fmla="*/ 82296 h 474067"/>
                <a:gd name="connsiteX19" fmla="*/ 842914 w 861202"/>
                <a:gd name="connsiteY19" fmla="*/ 27432 h 474067"/>
                <a:gd name="connsiteX20" fmla="*/ 824626 w 861202"/>
                <a:gd name="connsiteY20" fmla="*/ 0 h 474067"/>
                <a:gd name="connsiteX21" fmla="*/ 788050 w 861202"/>
                <a:gd name="connsiteY21" fmla="*/ 27432 h 474067"/>
                <a:gd name="connsiteX22" fmla="*/ 751474 w 861202"/>
                <a:gd name="connsiteY22" fmla="*/ 36576 h 474067"/>
                <a:gd name="connsiteX23" fmla="*/ 678322 w 861202"/>
                <a:gd name="connsiteY23" fmla="*/ 64008 h 474067"/>
                <a:gd name="connsiteX24" fmla="*/ 623458 w 861202"/>
                <a:gd name="connsiteY24" fmla="*/ 64008 h 474067"/>
                <a:gd name="connsiteX25" fmla="*/ 513730 w 861202"/>
                <a:gd name="connsiteY25" fmla="*/ 64008 h 474067"/>
                <a:gd name="connsiteX26" fmla="*/ 458866 w 861202"/>
                <a:gd name="connsiteY26" fmla="*/ 100584 h 474067"/>
                <a:gd name="connsiteX27" fmla="*/ 422290 w 861202"/>
                <a:gd name="connsiteY27" fmla="*/ 146304 h 474067"/>
                <a:gd name="connsiteX28" fmla="*/ 376570 w 861202"/>
                <a:gd name="connsiteY28" fmla="*/ 182880 h 474067"/>
                <a:gd name="connsiteX29" fmla="*/ 330850 w 861202"/>
                <a:gd name="connsiteY29" fmla="*/ 256032 h 474067"/>
                <a:gd name="connsiteX30" fmla="*/ 257698 w 861202"/>
                <a:gd name="connsiteY30" fmla="*/ 301752 h 474067"/>
                <a:gd name="connsiteX31" fmla="*/ 157114 w 861202"/>
                <a:gd name="connsiteY31" fmla="*/ 347472 h 474067"/>
                <a:gd name="connsiteX32" fmla="*/ 120538 w 861202"/>
                <a:gd name="connsiteY32" fmla="*/ 374904 h 474067"/>
                <a:gd name="connsiteX33" fmla="*/ 74818 w 861202"/>
                <a:gd name="connsiteY33" fmla="*/ 402336 h 474067"/>
                <a:gd name="connsiteX34" fmla="*/ 56530 w 861202"/>
                <a:gd name="connsiteY34" fmla="*/ 402336 h 474067"/>
                <a:gd name="connsiteX35" fmla="*/ 74818 w 861202"/>
                <a:gd name="connsiteY35" fmla="*/ 365760 h 474067"/>
                <a:gd name="connsiteX36" fmla="*/ 129682 w 861202"/>
                <a:gd name="connsiteY36" fmla="*/ 301752 h 474067"/>
                <a:gd name="connsiteX37" fmla="*/ 221122 w 861202"/>
                <a:gd name="connsiteY37" fmla="*/ 219456 h 474067"/>
                <a:gd name="connsiteX38" fmla="*/ 266842 w 861202"/>
                <a:gd name="connsiteY38" fmla="*/ 146304 h 474067"/>
                <a:gd name="connsiteX39" fmla="*/ 266842 w 861202"/>
                <a:gd name="connsiteY39" fmla="*/ 64008 h 474067"/>
                <a:gd name="connsiteX40" fmla="*/ 257698 w 861202"/>
                <a:gd name="connsiteY40" fmla="*/ 54864 h 474067"/>
                <a:gd name="connsiteX41" fmla="*/ 248554 w 861202"/>
                <a:gd name="connsiteY41" fmla="*/ 128016 h 474067"/>
                <a:gd name="connsiteX42" fmla="*/ 221122 w 861202"/>
                <a:gd name="connsiteY42" fmla="*/ 173736 h 474067"/>
                <a:gd name="connsiteX43" fmla="*/ 147970 w 861202"/>
                <a:gd name="connsiteY43" fmla="*/ 237744 h 474067"/>
                <a:gd name="connsiteX44" fmla="*/ 120538 w 861202"/>
                <a:gd name="connsiteY44" fmla="*/ 256032 h 474067"/>
                <a:gd name="connsiteX45" fmla="*/ 47386 w 861202"/>
                <a:gd name="connsiteY45" fmla="*/ 347472 h 474067"/>
                <a:gd name="connsiteX46" fmla="*/ 38242 w 861202"/>
                <a:gd name="connsiteY46" fmla="*/ 374904 h 474067"/>
                <a:gd name="connsiteX47" fmla="*/ 29098 w 861202"/>
                <a:gd name="connsiteY47" fmla="*/ 411480 h 474067"/>
                <a:gd name="connsiteX48" fmla="*/ 47386 w 861202"/>
                <a:gd name="connsiteY48" fmla="*/ 429768 h 474067"/>
                <a:gd name="connsiteX49" fmla="*/ 1666 w 861202"/>
                <a:gd name="connsiteY49" fmla="*/ 457200 h 474067"/>
                <a:gd name="connsiteX50" fmla="*/ 37387 w 861202"/>
                <a:gd name="connsiteY50" fmla="*/ 430387 h 474067"/>
                <a:gd name="connsiteX51" fmla="*/ 37385 w 861202"/>
                <a:gd name="connsiteY51" fmla="*/ 430387 h 474067"/>
                <a:gd name="connsiteX52" fmla="*/ 37385 w 861202"/>
                <a:gd name="connsiteY52" fmla="*/ 430387 h 474067"/>
                <a:gd name="connsiteX53" fmla="*/ 37385 w 861202"/>
                <a:gd name="connsiteY53" fmla="*/ 430387 h 474067"/>
                <a:gd name="connsiteX54" fmla="*/ 37386 w 861202"/>
                <a:gd name="connsiteY54" fmla="*/ 430387 h 474067"/>
                <a:gd name="connsiteX55" fmla="*/ 37386 w 861202"/>
                <a:gd name="connsiteY55" fmla="*/ 430387 h 474067"/>
                <a:gd name="connsiteX0" fmla="*/ 437982 w 1261798"/>
                <a:gd name="connsiteY0" fmla="*/ 519557 h 563237"/>
                <a:gd name="connsiteX1" fmla="*/ 437981 w 1261798"/>
                <a:gd name="connsiteY1" fmla="*/ 519557 h 563237"/>
                <a:gd name="connsiteX2" fmla="*/ 437982 w 1261798"/>
                <a:gd name="connsiteY2" fmla="*/ 519557 h 563237"/>
                <a:gd name="connsiteX3" fmla="*/ 437982 w 1261798"/>
                <a:gd name="connsiteY3" fmla="*/ 519557 h 563237"/>
                <a:gd name="connsiteX4" fmla="*/ 457126 w 1261798"/>
                <a:gd name="connsiteY4" fmla="*/ 555514 h 563237"/>
                <a:gd name="connsiteX5" fmla="*/ 557710 w 1261798"/>
                <a:gd name="connsiteY5" fmla="*/ 473218 h 563237"/>
                <a:gd name="connsiteX6" fmla="*/ 749734 w 1261798"/>
                <a:gd name="connsiteY6" fmla="*/ 390922 h 563237"/>
                <a:gd name="connsiteX7" fmla="*/ 832030 w 1261798"/>
                <a:gd name="connsiteY7" fmla="*/ 281194 h 563237"/>
                <a:gd name="connsiteX8" fmla="*/ 978334 w 1261798"/>
                <a:gd name="connsiteY8" fmla="*/ 244618 h 563237"/>
                <a:gd name="connsiteX9" fmla="*/ 1024054 w 1261798"/>
                <a:gd name="connsiteY9" fmla="*/ 244618 h 563237"/>
                <a:gd name="connsiteX10" fmla="*/ 1060630 w 1261798"/>
                <a:gd name="connsiteY10" fmla="*/ 226330 h 563237"/>
                <a:gd name="connsiteX11" fmla="*/ 1014910 w 1261798"/>
                <a:gd name="connsiteY11" fmla="*/ 226330 h 563237"/>
                <a:gd name="connsiteX12" fmla="*/ 923470 w 1261798"/>
                <a:gd name="connsiteY12" fmla="*/ 226330 h 563237"/>
                <a:gd name="connsiteX13" fmla="*/ 868606 w 1261798"/>
                <a:gd name="connsiteY13" fmla="*/ 235474 h 563237"/>
                <a:gd name="connsiteX14" fmla="*/ 859462 w 1261798"/>
                <a:gd name="connsiteY14" fmla="*/ 244618 h 563237"/>
                <a:gd name="connsiteX15" fmla="*/ 841174 w 1261798"/>
                <a:gd name="connsiteY15" fmla="*/ 235474 h 563237"/>
                <a:gd name="connsiteX16" fmla="*/ 969190 w 1261798"/>
                <a:gd name="connsiteY16" fmla="*/ 180610 h 563237"/>
                <a:gd name="connsiteX17" fmla="*/ 1024054 w 1261798"/>
                <a:gd name="connsiteY17" fmla="*/ 180610 h 563237"/>
                <a:gd name="connsiteX18" fmla="*/ 1115494 w 1261798"/>
                <a:gd name="connsiteY18" fmla="*/ 171466 h 563237"/>
                <a:gd name="connsiteX19" fmla="*/ 1243510 w 1261798"/>
                <a:gd name="connsiteY19" fmla="*/ 116602 h 563237"/>
                <a:gd name="connsiteX20" fmla="*/ 1225222 w 1261798"/>
                <a:gd name="connsiteY20" fmla="*/ 89170 h 563237"/>
                <a:gd name="connsiteX21" fmla="*/ 1188646 w 1261798"/>
                <a:gd name="connsiteY21" fmla="*/ 116602 h 563237"/>
                <a:gd name="connsiteX22" fmla="*/ 1152070 w 1261798"/>
                <a:gd name="connsiteY22" fmla="*/ 125746 h 563237"/>
                <a:gd name="connsiteX23" fmla="*/ 1078918 w 1261798"/>
                <a:gd name="connsiteY23" fmla="*/ 153178 h 563237"/>
                <a:gd name="connsiteX24" fmla="*/ 1024054 w 1261798"/>
                <a:gd name="connsiteY24" fmla="*/ 153178 h 563237"/>
                <a:gd name="connsiteX25" fmla="*/ 914326 w 1261798"/>
                <a:gd name="connsiteY25" fmla="*/ 153178 h 563237"/>
                <a:gd name="connsiteX26" fmla="*/ 859462 w 1261798"/>
                <a:gd name="connsiteY26" fmla="*/ 189754 h 563237"/>
                <a:gd name="connsiteX27" fmla="*/ 822886 w 1261798"/>
                <a:gd name="connsiteY27" fmla="*/ 235474 h 563237"/>
                <a:gd name="connsiteX28" fmla="*/ 777166 w 1261798"/>
                <a:gd name="connsiteY28" fmla="*/ 272050 h 563237"/>
                <a:gd name="connsiteX29" fmla="*/ 731446 w 1261798"/>
                <a:gd name="connsiteY29" fmla="*/ 345202 h 563237"/>
                <a:gd name="connsiteX30" fmla="*/ 658294 w 1261798"/>
                <a:gd name="connsiteY30" fmla="*/ 390922 h 563237"/>
                <a:gd name="connsiteX31" fmla="*/ 557710 w 1261798"/>
                <a:gd name="connsiteY31" fmla="*/ 436642 h 563237"/>
                <a:gd name="connsiteX32" fmla="*/ 521134 w 1261798"/>
                <a:gd name="connsiteY32" fmla="*/ 464074 h 563237"/>
                <a:gd name="connsiteX33" fmla="*/ 475414 w 1261798"/>
                <a:gd name="connsiteY33" fmla="*/ 491506 h 563237"/>
                <a:gd name="connsiteX34" fmla="*/ 457126 w 1261798"/>
                <a:gd name="connsiteY34" fmla="*/ 491506 h 563237"/>
                <a:gd name="connsiteX35" fmla="*/ 475414 w 1261798"/>
                <a:gd name="connsiteY35" fmla="*/ 454930 h 563237"/>
                <a:gd name="connsiteX36" fmla="*/ 530278 w 1261798"/>
                <a:gd name="connsiteY36" fmla="*/ 390922 h 563237"/>
                <a:gd name="connsiteX37" fmla="*/ 621718 w 1261798"/>
                <a:gd name="connsiteY37" fmla="*/ 308626 h 563237"/>
                <a:gd name="connsiteX38" fmla="*/ 667438 w 1261798"/>
                <a:gd name="connsiteY38" fmla="*/ 235474 h 563237"/>
                <a:gd name="connsiteX39" fmla="*/ 667438 w 1261798"/>
                <a:gd name="connsiteY39" fmla="*/ 153178 h 563237"/>
                <a:gd name="connsiteX40" fmla="*/ 3047 w 1261798"/>
                <a:gd name="connsiteY40" fmla="*/ 10668 h 563237"/>
                <a:gd name="connsiteX41" fmla="*/ 649150 w 1261798"/>
                <a:gd name="connsiteY41" fmla="*/ 217186 h 563237"/>
                <a:gd name="connsiteX42" fmla="*/ 621718 w 1261798"/>
                <a:gd name="connsiteY42" fmla="*/ 262906 h 563237"/>
                <a:gd name="connsiteX43" fmla="*/ 548566 w 1261798"/>
                <a:gd name="connsiteY43" fmla="*/ 326914 h 563237"/>
                <a:gd name="connsiteX44" fmla="*/ 521134 w 1261798"/>
                <a:gd name="connsiteY44" fmla="*/ 345202 h 563237"/>
                <a:gd name="connsiteX45" fmla="*/ 447982 w 1261798"/>
                <a:gd name="connsiteY45" fmla="*/ 436642 h 563237"/>
                <a:gd name="connsiteX46" fmla="*/ 438838 w 1261798"/>
                <a:gd name="connsiteY46" fmla="*/ 464074 h 563237"/>
                <a:gd name="connsiteX47" fmla="*/ 429694 w 1261798"/>
                <a:gd name="connsiteY47" fmla="*/ 500650 h 563237"/>
                <a:gd name="connsiteX48" fmla="*/ 447982 w 1261798"/>
                <a:gd name="connsiteY48" fmla="*/ 518938 h 563237"/>
                <a:gd name="connsiteX49" fmla="*/ 402262 w 1261798"/>
                <a:gd name="connsiteY49" fmla="*/ 546370 h 563237"/>
                <a:gd name="connsiteX50" fmla="*/ 437983 w 1261798"/>
                <a:gd name="connsiteY50" fmla="*/ 519557 h 563237"/>
                <a:gd name="connsiteX51" fmla="*/ 437981 w 1261798"/>
                <a:gd name="connsiteY51" fmla="*/ 519557 h 563237"/>
                <a:gd name="connsiteX52" fmla="*/ 437981 w 1261798"/>
                <a:gd name="connsiteY52" fmla="*/ 519557 h 563237"/>
                <a:gd name="connsiteX53" fmla="*/ 437981 w 1261798"/>
                <a:gd name="connsiteY53" fmla="*/ 519557 h 563237"/>
                <a:gd name="connsiteX54" fmla="*/ 437982 w 1261798"/>
                <a:gd name="connsiteY54" fmla="*/ 519557 h 563237"/>
                <a:gd name="connsiteX55" fmla="*/ 437982 w 1261798"/>
                <a:gd name="connsiteY55" fmla="*/ 519557 h 563237"/>
                <a:gd name="connsiteX0" fmla="*/ 494115 w 1317931"/>
                <a:gd name="connsiteY0" fmla="*/ 514845 h 558525"/>
                <a:gd name="connsiteX1" fmla="*/ 494114 w 1317931"/>
                <a:gd name="connsiteY1" fmla="*/ 514845 h 558525"/>
                <a:gd name="connsiteX2" fmla="*/ 494115 w 1317931"/>
                <a:gd name="connsiteY2" fmla="*/ 514845 h 558525"/>
                <a:gd name="connsiteX3" fmla="*/ 494115 w 1317931"/>
                <a:gd name="connsiteY3" fmla="*/ 514845 h 558525"/>
                <a:gd name="connsiteX4" fmla="*/ 513259 w 1317931"/>
                <a:gd name="connsiteY4" fmla="*/ 550802 h 558525"/>
                <a:gd name="connsiteX5" fmla="*/ 613843 w 1317931"/>
                <a:gd name="connsiteY5" fmla="*/ 468506 h 558525"/>
                <a:gd name="connsiteX6" fmla="*/ 805867 w 1317931"/>
                <a:gd name="connsiteY6" fmla="*/ 386210 h 558525"/>
                <a:gd name="connsiteX7" fmla="*/ 888163 w 1317931"/>
                <a:gd name="connsiteY7" fmla="*/ 276482 h 558525"/>
                <a:gd name="connsiteX8" fmla="*/ 1034467 w 1317931"/>
                <a:gd name="connsiteY8" fmla="*/ 239906 h 558525"/>
                <a:gd name="connsiteX9" fmla="*/ 1080187 w 1317931"/>
                <a:gd name="connsiteY9" fmla="*/ 239906 h 558525"/>
                <a:gd name="connsiteX10" fmla="*/ 1116763 w 1317931"/>
                <a:gd name="connsiteY10" fmla="*/ 221618 h 558525"/>
                <a:gd name="connsiteX11" fmla="*/ 1071043 w 1317931"/>
                <a:gd name="connsiteY11" fmla="*/ 221618 h 558525"/>
                <a:gd name="connsiteX12" fmla="*/ 979603 w 1317931"/>
                <a:gd name="connsiteY12" fmla="*/ 221618 h 558525"/>
                <a:gd name="connsiteX13" fmla="*/ 924739 w 1317931"/>
                <a:gd name="connsiteY13" fmla="*/ 230762 h 558525"/>
                <a:gd name="connsiteX14" fmla="*/ 915595 w 1317931"/>
                <a:gd name="connsiteY14" fmla="*/ 239906 h 558525"/>
                <a:gd name="connsiteX15" fmla="*/ 897307 w 1317931"/>
                <a:gd name="connsiteY15" fmla="*/ 230762 h 558525"/>
                <a:gd name="connsiteX16" fmla="*/ 1025323 w 1317931"/>
                <a:gd name="connsiteY16" fmla="*/ 175898 h 558525"/>
                <a:gd name="connsiteX17" fmla="*/ 1080187 w 1317931"/>
                <a:gd name="connsiteY17" fmla="*/ 175898 h 558525"/>
                <a:gd name="connsiteX18" fmla="*/ 1171627 w 1317931"/>
                <a:gd name="connsiteY18" fmla="*/ 166754 h 558525"/>
                <a:gd name="connsiteX19" fmla="*/ 1299643 w 1317931"/>
                <a:gd name="connsiteY19" fmla="*/ 111890 h 558525"/>
                <a:gd name="connsiteX20" fmla="*/ 1281355 w 1317931"/>
                <a:gd name="connsiteY20" fmla="*/ 84458 h 558525"/>
                <a:gd name="connsiteX21" fmla="*/ 1244779 w 1317931"/>
                <a:gd name="connsiteY21" fmla="*/ 111890 h 558525"/>
                <a:gd name="connsiteX22" fmla="*/ 1208203 w 1317931"/>
                <a:gd name="connsiteY22" fmla="*/ 121034 h 558525"/>
                <a:gd name="connsiteX23" fmla="*/ 1135051 w 1317931"/>
                <a:gd name="connsiteY23" fmla="*/ 148466 h 558525"/>
                <a:gd name="connsiteX24" fmla="*/ 1080187 w 1317931"/>
                <a:gd name="connsiteY24" fmla="*/ 148466 h 558525"/>
                <a:gd name="connsiteX25" fmla="*/ 970459 w 1317931"/>
                <a:gd name="connsiteY25" fmla="*/ 148466 h 558525"/>
                <a:gd name="connsiteX26" fmla="*/ 915595 w 1317931"/>
                <a:gd name="connsiteY26" fmla="*/ 185042 h 558525"/>
                <a:gd name="connsiteX27" fmla="*/ 879019 w 1317931"/>
                <a:gd name="connsiteY27" fmla="*/ 230762 h 558525"/>
                <a:gd name="connsiteX28" fmla="*/ 833299 w 1317931"/>
                <a:gd name="connsiteY28" fmla="*/ 267338 h 558525"/>
                <a:gd name="connsiteX29" fmla="*/ 787579 w 1317931"/>
                <a:gd name="connsiteY29" fmla="*/ 340490 h 558525"/>
                <a:gd name="connsiteX30" fmla="*/ 714427 w 1317931"/>
                <a:gd name="connsiteY30" fmla="*/ 386210 h 558525"/>
                <a:gd name="connsiteX31" fmla="*/ 613843 w 1317931"/>
                <a:gd name="connsiteY31" fmla="*/ 431930 h 558525"/>
                <a:gd name="connsiteX32" fmla="*/ 577267 w 1317931"/>
                <a:gd name="connsiteY32" fmla="*/ 459362 h 558525"/>
                <a:gd name="connsiteX33" fmla="*/ 531547 w 1317931"/>
                <a:gd name="connsiteY33" fmla="*/ 486794 h 558525"/>
                <a:gd name="connsiteX34" fmla="*/ 513259 w 1317931"/>
                <a:gd name="connsiteY34" fmla="*/ 486794 h 558525"/>
                <a:gd name="connsiteX35" fmla="*/ 531547 w 1317931"/>
                <a:gd name="connsiteY35" fmla="*/ 450218 h 558525"/>
                <a:gd name="connsiteX36" fmla="*/ 586411 w 1317931"/>
                <a:gd name="connsiteY36" fmla="*/ 386210 h 558525"/>
                <a:gd name="connsiteX37" fmla="*/ 677851 w 1317931"/>
                <a:gd name="connsiteY37" fmla="*/ 303914 h 558525"/>
                <a:gd name="connsiteX38" fmla="*/ 723571 w 1317931"/>
                <a:gd name="connsiteY38" fmla="*/ 230762 h 558525"/>
                <a:gd name="connsiteX39" fmla="*/ 723571 w 1317931"/>
                <a:gd name="connsiteY39" fmla="*/ 148466 h 558525"/>
                <a:gd name="connsiteX40" fmla="*/ 59180 w 1317931"/>
                <a:gd name="connsiteY40" fmla="*/ 5956 h 558525"/>
                <a:gd name="connsiteX41" fmla="*/ 368485 w 1317931"/>
                <a:gd name="connsiteY41" fmla="*/ 112728 h 558525"/>
                <a:gd name="connsiteX42" fmla="*/ 677851 w 1317931"/>
                <a:gd name="connsiteY42" fmla="*/ 258194 h 558525"/>
                <a:gd name="connsiteX43" fmla="*/ 604699 w 1317931"/>
                <a:gd name="connsiteY43" fmla="*/ 322202 h 558525"/>
                <a:gd name="connsiteX44" fmla="*/ 577267 w 1317931"/>
                <a:gd name="connsiteY44" fmla="*/ 340490 h 558525"/>
                <a:gd name="connsiteX45" fmla="*/ 504115 w 1317931"/>
                <a:gd name="connsiteY45" fmla="*/ 431930 h 558525"/>
                <a:gd name="connsiteX46" fmla="*/ 494971 w 1317931"/>
                <a:gd name="connsiteY46" fmla="*/ 459362 h 558525"/>
                <a:gd name="connsiteX47" fmla="*/ 485827 w 1317931"/>
                <a:gd name="connsiteY47" fmla="*/ 495938 h 558525"/>
                <a:gd name="connsiteX48" fmla="*/ 504115 w 1317931"/>
                <a:gd name="connsiteY48" fmla="*/ 514226 h 558525"/>
                <a:gd name="connsiteX49" fmla="*/ 458395 w 1317931"/>
                <a:gd name="connsiteY49" fmla="*/ 541658 h 558525"/>
                <a:gd name="connsiteX50" fmla="*/ 494116 w 1317931"/>
                <a:gd name="connsiteY50" fmla="*/ 514845 h 558525"/>
                <a:gd name="connsiteX51" fmla="*/ 494114 w 1317931"/>
                <a:gd name="connsiteY51" fmla="*/ 514845 h 558525"/>
                <a:gd name="connsiteX52" fmla="*/ 494114 w 1317931"/>
                <a:gd name="connsiteY52" fmla="*/ 514845 h 558525"/>
                <a:gd name="connsiteX53" fmla="*/ 494114 w 1317931"/>
                <a:gd name="connsiteY53" fmla="*/ 514845 h 558525"/>
                <a:gd name="connsiteX54" fmla="*/ 494115 w 1317931"/>
                <a:gd name="connsiteY54" fmla="*/ 514845 h 558525"/>
                <a:gd name="connsiteX55" fmla="*/ 494115 w 1317931"/>
                <a:gd name="connsiteY55" fmla="*/ 514845 h 558525"/>
                <a:gd name="connsiteX0" fmla="*/ 465063 w 1288879"/>
                <a:gd name="connsiteY0" fmla="*/ 512148 h 555828"/>
                <a:gd name="connsiteX1" fmla="*/ 465062 w 1288879"/>
                <a:gd name="connsiteY1" fmla="*/ 512148 h 555828"/>
                <a:gd name="connsiteX2" fmla="*/ 465063 w 1288879"/>
                <a:gd name="connsiteY2" fmla="*/ 512148 h 555828"/>
                <a:gd name="connsiteX3" fmla="*/ 465063 w 1288879"/>
                <a:gd name="connsiteY3" fmla="*/ 512148 h 555828"/>
                <a:gd name="connsiteX4" fmla="*/ 484207 w 1288879"/>
                <a:gd name="connsiteY4" fmla="*/ 548105 h 555828"/>
                <a:gd name="connsiteX5" fmla="*/ 584791 w 1288879"/>
                <a:gd name="connsiteY5" fmla="*/ 465809 h 555828"/>
                <a:gd name="connsiteX6" fmla="*/ 776815 w 1288879"/>
                <a:gd name="connsiteY6" fmla="*/ 383513 h 555828"/>
                <a:gd name="connsiteX7" fmla="*/ 859111 w 1288879"/>
                <a:gd name="connsiteY7" fmla="*/ 273785 h 555828"/>
                <a:gd name="connsiteX8" fmla="*/ 1005415 w 1288879"/>
                <a:gd name="connsiteY8" fmla="*/ 237209 h 555828"/>
                <a:gd name="connsiteX9" fmla="*/ 1051135 w 1288879"/>
                <a:gd name="connsiteY9" fmla="*/ 237209 h 555828"/>
                <a:gd name="connsiteX10" fmla="*/ 1087711 w 1288879"/>
                <a:gd name="connsiteY10" fmla="*/ 218921 h 555828"/>
                <a:gd name="connsiteX11" fmla="*/ 1041991 w 1288879"/>
                <a:gd name="connsiteY11" fmla="*/ 218921 h 555828"/>
                <a:gd name="connsiteX12" fmla="*/ 950551 w 1288879"/>
                <a:gd name="connsiteY12" fmla="*/ 218921 h 555828"/>
                <a:gd name="connsiteX13" fmla="*/ 895687 w 1288879"/>
                <a:gd name="connsiteY13" fmla="*/ 228065 h 555828"/>
                <a:gd name="connsiteX14" fmla="*/ 886543 w 1288879"/>
                <a:gd name="connsiteY14" fmla="*/ 237209 h 555828"/>
                <a:gd name="connsiteX15" fmla="*/ 868255 w 1288879"/>
                <a:gd name="connsiteY15" fmla="*/ 228065 h 555828"/>
                <a:gd name="connsiteX16" fmla="*/ 996271 w 1288879"/>
                <a:gd name="connsiteY16" fmla="*/ 173201 h 555828"/>
                <a:gd name="connsiteX17" fmla="*/ 1051135 w 1288879"/>
                <a:gd name="connsiteY17" fmla="*/ 173201 h 555828"/>
                <a:gd name="connsiteX18" fmla="*/ 1142575 w 1288879"/>
                <a:gd name="connsiteY18" fmla="*/ 164057 h 555828"/>
                <a:gd name="connsiteX19" fmla="*/ 1270591 w 1288879"/>
                <a:gd name="connsiteY19" fmla="*/ 109193 h 555828"/>
                <a:gd name="connsiteX20" fmla="*/ 1252303 w 1288879"/>
                <a:gd name="connsiteY20" fmla="*/ 81761 h 555828"/>
                <a:gd name="connsiteX21" fmla="*/ 1215727 w 1288879"/>
                <a:gd name="connsiteY21" fmla="*/ 109193 h 555828"/>
                <a:gd name="connsiteX22" fmla="*/ 1179151 w 1288879"/>
                <a:gd name="connsiteY22" fmla="*/ 118337 h 555828"/>
                <a:gd name="connsiteX23" fmla="*/ 1105999 w 1288879"/>
                <a:gd name="connsiteY23" fmla="*/ 145769 h 555828"/>
                <a:gd name="connsiteX24" fmla="*/ 1051135 w 1288879"/>
                <a:gd name="connsiteY24" fmla="*/ 145769 h 555828"/>
                <a:gd name="connsiteX25" fmla="*/ 941407 w 1288879"/>
                <a:gd name="connsiteY25" fmla="*/ 145769 h 555828"/>
                <a:gd name="connsiteX26" fmla="*/ 886543 w 1288879"/>
                <a:gd name="connsiteY26" fmla="*/ 182345 h 555828"/>
                <a:gd name="connsiteX27" fmla="*/ 849967 w 1288879"/>
                <a:gd name="connsiteY27" fmla="*/ 228065 h 555828"/>
                <a:gd name="connsiteX28" fmla="*/ 804247 w 1288879"/>
                <a:gd name="connsiteY28" fmla="*/ 264641 h 555828"/>
                <a:gd name="connsiteX29" fmla="*/ 758527 w 1288879"/>
                <a:gd name="connsiteY29" fmla="*/ 337793 h 555828"/>
                <a:gd name="connsiteX30" fmla="*/ 685375 w 1288879"/>
                <a:gd name="connsiteY30" fmla="*/ 383513 h 555828"/>
                <a:gd name="connsiteX31" fmla="*/ 584791 w 1288879"/>
                <a:gd name="connsiteY31" fmla="*/ 429233 h 555828"/>
                <a:gd name="connsiteX32" fmla="*/ 548215 w 1288879"/>
                <a:gd name="connsiteY32" fmla="*/ 456665 h 555828"/>
                <a:gd name="connsiteX33" fmla="*/ 502495 w 1288879"/>
                <a:gd name="connsiteY33" fmla="*/ 484097 h 555828"/>
                <a:gd name="connsiteX34" fmla="*/ 484207 w 1288879"/>
                <a:gd name="connsiteY34" fmla="*/ 484097 h 555828"/>
                <a:gd name="connsiteX35" fmla="*/ 502495 w 1288879"/>
                <a:gd name="connsiteY35" fmla="*/ 447521 h 555828"/>
                <a:gd name="connsiteX36" fmla="*/ 557359 w 1288879"/>
                <a:gd name="connsiteY36" fmla="*/ 383513 h 555828"/>
                <a:gd name="connsiteX37" fmla="*/ 648799 w 1288879"/>
                <a:gd name="connsiteY37" fmla="*/ 301217 h 555828"/>
                <a:gd name="connsiteX38" fmla="*/ 694519 w 1288879"/>
                <a:gd name="connsiteY38" fmla="*/ 228065 h 555828"/>
                <a:gd name="connsiteX39" fmla="*/ 520197 w 1288879"/>
                <a:gd name="connsiteY39" fmla="*/ 129583 h 555828"/>
                <a:gd name="connsiteX40" fmla="*/ 30128 w 1288879"/>
                <a:gd name="connsiteY40" fmla="*/ 3259 h 555828"/>
                <a:gd name="connsiteX41" fmla="*/ 339433 w 1288879"/>
                <a:gd name="connsiteY41" fmla="*/ 110031 h 555828"/>
                <a:gd name="connsiteX42" fmla="*/ 648799 w 1288879"/>
                <a:gd name="connsiteY42" fmla="*/ 255497 h 555828"/>
                <a:gd name="connsiteX43" fmla="*/ 575647 w 1288879"/>
                <a:gd name="connsiteY43" fmla="*/ 319505 h 555828"/>
                <a:gd name="connsiteX44" fmla="*/ 548215 w 1288879"/>
                <a:gd name="connsiteY44" fmla="*/ 337793 h 555828"/>
                <a:gd name="connsiteX45" fmla="*/ 475063 w 1288879"/>
                <a:gd name="connsiteY45" fmla="*/ 429233 h 555828"/>
                <a:gd name="connsiteX46" fmla="*/ 465919 w 1288879"/>
                <a:gd name="connsiteY46" fmla="*/ 456665 h 555828"/>
                <a:gd name="connsiteX47" fmla="*/ 456775 w 1288879"/>
                <a:gd name="connsiteY47" fmla="*/ 493241 h 555828"/>
                <a:gd name="connsiteX48" fmla="*/ 475063 w 1288879"/>
                <a:gd name="connsiteY48" fmla="*/ 511529 h 555828"/>
                <a:gd name="connsiteX49" fmla="*/ 429343 w 1288879"/>
                <a:gd name="connsiteY49" fmla="*/ 538961 h 555828"/>
                <a:gd name="connsiteX50" fmla="*/ 465064 w 1288879"/>
                <a:gd name="connsiteY50" fmla="*/ 512148 h 555828"/>
                <a:gd name="connsiteX51" fmla="*/ 465062 w 1288879"/>
                <a:gd name="connsiteY51" fmla="*/ 512148 h 555828"/>
                <a:gd name="connsiteX52" fmla="*/ 465062 w 1288879"/>
                <a:gd name="connsiteY52" fmla="*/ 512148 h 555828"/>
                <a:gd name="connsiteX53" fmla="*/ 465062 w 1288879"/>
                <a:gd name="connsiteY53" fmla="*/ 512148 h 555828"/>
                <a:gd name="connsiteX54" fmla="*/ 465063 w 1288879"/>
                <a:gd name="connsiteY54" fmla="*/ 512148 h 555828"/>
                <a:gd name="connsiteX55" fmla="*/ 465063 w 1288879"/>
                <a:gd name="connsiteY55" fmla="*/ 512148 h 555828"/>
                <a:gd name="connsiteX0" fmla="*/ 465061 w 1288877"/>
                <a:gd name="connsiteY0" fmla="*/ 512148 h 555828"/>
                <a:gd name="connsiteX1" fmla="*/ 465060 w 1288877"/>
                <a:gd name="connsiteY1" fmla="*/ 512148 h 555828"/>
                <a:gd name="connsiteX2" fmla="*/ 465061 w 1288877"/>
                <a:gd name="connsiteY2" fmla="*/ 512148 h 555828"/>
                <a:gd name="connsiteX3" fmla="*/ 465061 w 1288877"/>
                <a:gd name="connsiteY3" fmla="*/ 512148 h 555828"/>
                <a:gd name="connsiteX4" fmla="*/ 484205 w 1288877"/>
                <a:gd name="connsiteY4" fmla="*/ 548105 h 555828"/>
                <a:gd name="connsiteX5" fmla="*/ 584789 w 1288877"/>
                <a:gd name="connsiteY5" fmla="*/ 465809 h 555828"/>
                <a:gd name="connsiteX6" fmla="*/ 776813 w 1288877"/>
                <a:gd name="connsiteY6" fmla="*/ 383513 h 555828"/>
                <a:gd name="connsiteX7" fmla="*/ 859109 w 1288877"/>
                <a:gd name="connsiteY7" fmla="*/ 273785 h 555828"/>
                <a:gd name="connsiteX8" fmla="*/ 1005413 w 1288877"/>
                <a:gd name="connsiteY8" fmla="*/ 237209 h 555828"/>
                <a:gd name="connsiteX9" fmla="*/ 1051133 w 1288877"/>
                <a:gd name="connsiteY9" fmla="*/ 237209 h 555828"/>
                <a:gd name="connsiteX10" fmla="*/ 1087709 w 1288877"/>
                <a:gd name="connsiteY10" fmla="*/ 218921 h 555828"/>
                <a:gd name="connsiteX11" fmla="*/ 1041989 w 1288877"/>
                <a:gd name="connsiteY11" fmla="*/ 218921 h 555828"/>
                <a:gd name="connsiteX12" fmla="*/ 950549 w 1288877"/>
                <a:gd name="connsiteY12" fmla="*/ 218921 h 555828"/>
                <a:gd name="connsiteX13" fmla="*/ 895685 w 1288877"/>
                <a:gd name="connsiteY13" fmla="*/ 228065 h 555828"/>
                <a:gd name="connsiteX14" fmla="*/ 886541 w 1288877"/>
                <a:gd name="connsiteY14" fmla="*/ 237209 h 555828"/>
                <a:gd name="connsiteX15" fmla="*/ 868253 w 1288877"/>
                <a:gd name="connsiteY15" fmla="*/ 228065 h 555828"/>
                <a:gd name="connsiteX16" fmla="*/ 996269 w 1288877"/>
                <a:gd name="connsiteY16" fmla="*/ 173201 h 555828"/>
                <a:gd name="connsiteX17" fmla="*/ 1051133 w 1288877"/>
                <a:gd name="connsiteY17" fmla="*/ 173201 h 555828"/>
                <a:gd name="connsiteX18" fmla="*/ 1142573 w 1288877"/>
                <a:gd name="connsiteY18" fmla="*/ 164057 h 555828"/>
                <a:gd name="connsiteX19" fmla="*/ 1270589 w 1288877"/>
                <a:gd name="connsiteY19" fmla="*/ 109193 h 555828"/>
                <a:gd name="connsiteX20" fmla="*/ 1252301 w 1288877"/>
                <a:gd name="connsiteY20" fmla="*/ 81761 h 555828"/>
                <a:gd name="connsiteX21" fmla="*/ 1215725 w 1288877"/>
                <a:gd name="connsiteY21" fmla="*/ 109193 h 555828"/>
                <a:gd name="connsiteX22" fmla="*/ 1179149 w 1288877"/>
                <a:gd name="connsiteY22" fmla="*/ 118337 h 555828"/>
                <a:gd name="connsiteX23" fmla="*/ 1105997 w 1288877"/>
                <a:gd name="connsiteY23" fmla="*/ 145769 h 555828"/>
                <a:gd name="connsiteX24" fmla="*/ 1051133 w 1288877"/>
                <a:gd name="connsiteY24" fmla="*/ 145769 h 555828"/>
                <a:gd name="connsiteX25" fmla="*/ 941405 w 1288877"/>
                <a:gd name="connsiteY25" fmla="*/ 145769 h 555828"/>
                <a:gd name="connsiteX26" fmla="*/ 886541 w 1288877"/>
                <a:gd name="connsiteY26" fmla="*/ 182345 h 555828"/>
                <a:gd name="connsiteX27" fmla="*/ 849965 w 1288877"/>
                <a:gd name="connsiteY27" fmla="*/ 228065 h 555828"/>
                <a:gd name="connsiteX28" fmla="*/ 804245 w 1288877"/>
                <a:gd name="connsiteY28" fmla="*/ 264641 h 555828"/>
                <a:gd name="connsiteX29" fmla="*/ 758525 w 1288877"/>
                <a:gd name="connsiteY29" fmla="*/ 337793 h 555828"/>
                <a:gd name="connsiteX30" fmla="*/ 685373 w 1288877"/>
                <a:gd name="connsiteY30" fmla="*/ 383513 h 555828"/>
                <a:gd name="connsiteX31" fmla="*/ 584789 w 1288877"/>
                <a:gd name="connsiteY31" fmla="*/ 429233 h 555828"/>
                <a:gd name="connsiteX32" fmla="*/ 548213 w 1288877"/>
                <a:gd name="connsiteY32" fmla="*/ 456665 h 555828"/>
                <a:gd name="connsiteX33" fmla="*/ 502493 w 1288877"/>
                <a:gd name="connsiteY33" fmla="*/ 484097 h 555828"/>
                <a:gd name="connsiteX34" fmla="*/ 484205 w 1288877"/>
                <a:gd name="connsiteY34" fmla="*/ 484097 h 555828"/>
                <a:gd name="connsiteX35" fmla="*/ 502493 w 1288877"/>
                <a:gd name="connsiteY35" fmla="*/ 447521 h 555828"/>
                <a:gd name="connsiteX36" fmla="*/ 557357 w 1288877"/>
                <a:gd name="connsiteY36" fmla="*/ 383513 h 555828"/>
                <a:gd name="connsiteX37" fmla="*/ 648797 w 1288877"/>
                <a:gd name="connsiteY37" fmla="*/ 301217 h 555828"/>
                <a:gd name="connsiteX38" fmla="*/ 694517 w 1288877"/>
                <a:gd name="connsiteY38" fmla="*/ 228065 h 555828"/>
                <a:gd name="connsiteX39" fmla="*/ 520195 w 1288877"/>
                <a:gd name="connsiteY39" fmla="*/ 129583 h 555828"/>
                <a:gd name="connsiteX40" fmla="*/ 30126 w 1288877"/>
                <a:gd name="connsiteY40" fmla="*/ 3259 h 555828"/>
                <a:gd name="connsiteX41" fmla="*/ 339431 w 1288877"/>
                <a:gd name="connsiteY41" fmla="*/ 110031 h 555828"/>
                <a:gd name="connsiteX42" fmla="*/ 467967 w 1288877"/>
                <a:gd name="connsiteY42" fmla="*/ 197252 h 555828"/>
                <a:gd name="connsiteX43" fmla="*/ 575645 w 1288877"/>
                <a:gd name="connsiteY43" fmla="*/ 319505 h 555828"/>
                <a:gd name="connsiteX44" fmla="*/ 548213 w 1288877"/>
                <a:gd name="connsiteY44" fmla="*/ 337793 h 555828"/>
                <a:gd name="connsiteX45" fmla="*/ 475061 w 1288877"/>
                <a:gd name="connsiteY45" fmla="*/ 429233 h 555828"/>
                <a:gd name="connsiteX46" fmla="*/ 465917 w 1288877"/>
                <a:gd name="connsiteY46" fmla="*/ 456665 h 555828"/>
                <a:gd name="connsiteX47" fmla="*/ 456773 w 1288877"/>
                <a:gd name="connsiteY47" fmla="*/ 493241 h 555828"/>
                <a:gd name="connsiteX48" fmla="*/ 475061 w 1288877"/>
                <a:gd name="connsiteY48" fmla="*/ 511529 h 555828"/>
                <a:gd name="connsiteX49" fmla="*/ 429341 w 1288877"/>
                <a:gd name="connsiteY49" fmla="*/ 538961 h 555828"/>
                <a:gd name="connsiteX50" fmla="*/ 465062 w 1288877"/>
                <a:gd name="connsiteY50" fmla="*/ 512148 h 555828"/>
                <a:gd name="connsiteX51" fmla="*/ 465060 w 1288877"/>
                <a:gd name="connsiteY51" fmla="*/ 512148 h 555828"/>
                <a:gd name="connsiteX52" fmla="*/ 465060 w 1288877"/>
                <a:gd name="connsiteY52" fmla="*/ 512148 h 555828"/>
                <a:gd name="connsiteX53" fmla="*/ 465060 w 1288877"/>
                <a:gd name="connsiteY53" fmla="*/ 512148 h 555828"/>
                <a:gd name="connsiteX54" fmla="*/ 465061 w 1288877"/>
                <a:gd name="connsiteY54" fmla="*/ 512148 h 555828"/>
                <a:gd name="connsiteX55" fmla="*/ 465061 w 1288877"/>
                <a:gd name="connsiteY55" fmla="*/ 512148 h 555828"/>
                <a:gd name="connsiteX0" fmla="*/ 465063 w 1288879"/>
                <a:gd name="connsiteY0" fmla="*/ 512148 h 555828"/>
                <a:gd name="connsiteX1" fmla="*/ 465062 w 1288879"/>
                <a:gd name="connsiteY1" fmla="*/ 512148 h 555828"/>
                <a:gd name="connsiteX2" fmla="*/ 465063 w 1288879"/>
                <a:gd name="connsiteY2" fmla="*/ 512148 h 555828"/>
                <a:gd name="connsiteX3" fmla="*/ 465063 w 1288879"/>
                <a:gd name="connsiteY3" fmla="*/ 512148 h 555828"/>
                <a:gd name="connsiteX4" fmla="*/ 484207 w 1288879"/>
                <a:gd name="connsiteY4" fmla="*/ 548105 h 555828"/>
                <a:gd name="connsiteX5" fmla="*/ 584791 w 1288879"/>
                <a:gd name="connsiteY5" fmla="*/ 465809 h 555828"/>
                <a:gd name="connsiteX6" fmla="*/ 776815 w 1288879"/>
                <a:gd name="connsiteY6" fmla="*/ 383513 h 555828"/>
                <a:gd name="connsiteX7" fmla="*/ 859111 w 1288879"/>
                <a:gd name="connsiteY7" fmla="*/ 273785 h 555828"/>
                <a:gd name="connsiteX8" fmla="*/ 1005415 w 1288879"/>
                <a:gd name="connsiteY8" fmla="*/ 237209 h 555828"/>
                <a:gd name="connsiteX9" fmla="*/ 1051135 w 1288879"/>
                <a:gd name="connsiteY9" fmla="*/ 237209 h 555828"/>
                <a:gd name="connsiteX10" fmla="*/ 1087711 w 1288879"/>
                <a:gd name="connsiteY10" fmla="*/ 218921 h 555828"/>
                <a:gd name="connsiteX11" fmla="*/ 1041991 w 1288879"/>
                <a:gd name="connsiteY11" fmla="*/ 218921 h 555828"/>
                <a:gd name="connsiteX12" fmla="*/ 950551 w 1288879"/>
                <a:gd name="connsiteY12" fmla="*/ 218921 h 555828"/>
                <a:gd name="connsiteX13" fmla="*/ 895687 w 1288879"/>
                <a:gd name="connsiteY13" fmla="*/ 228065 h 555828"/>
                <a:gd name="connsiteX14" fmla="*/ 886543 w 1288879"/>
                <a:gd name="connsiteY14" fmla="*/ 237209 h 555828"/>
                <a:gd name="connsiteX15" fmla="*/ 868255 w 1288879"/>
                <a:gd name="connsiteY15" fmla="*/ 228065 h 555828"/>
                <a:gd name="connsiteX16" fmla="*/ 996271 w 1288879"/>
                <a:gd name="connsiteY16" fmla="*/ 173201 h 555828"/>
                <a:gd name="connsiteX17" fmla="*/ 1051135 w 1288879"/>
                <a:gd name="connsiteY17" fmla="*/ 173201 h 555828"/>
                <a:gd name="connsiteX18" fmla="*/ 1142575 w 1288879"/>
                <a:gd name="connsiteY18" fmla="*/ 164057 h 555828"/>
                <a:gd name="connsiteX19" fmla="*/ 1270591 w 1288879"/>
                <a:gd name="connsiteY19" fmla="*/ 109193 h 555828"/>
                <a:gd name="connsiteX20" fmla="*/ 1252303 w 1288879"/>
                <a:gd name="connsiteY20" fmla="*/ 81761 h 555828"/>
                <a:gd name="connsiteX21" fmla="*/ 1215727 w 1288879"/>
                <a:gd name="connsiteY21" fmla="*/ 109193 h 555828"/>
                <a:gd name="connsiteX22" fmla="*/ 1179151 w 1288879"/>
                <a:gd name="connsiteY22" fmla="*/ 118337 h 555828"/>
                <a:gd name="connsiteX23" fmla="*/ 1105999 w 1288879"/>
                <a:gd name="connsiteY23" fmla="*/ 145769 h 555828"/>
                <a:gd name="connsiteX24" fmla="*/ 1051135 w 1288879"/>
                <a:gd name="connsiteY24" fmla="*/ 145769 h 555828"/>
                <a:gd name="connsiteX25" fmla="*/ 941407 w 1288879"/>
                <a:gd name="connsiteY25" fmla="*/ 145769 h 555828"/>
                <a:gd name="connsiteX26" fmla="*/ 886543 w 1288879"/>
                <a:gd name="connsiteY26" fmla="*/ 182345 h 555828"/>
                <a:gd name="connsiteX27" fmla="*/ 849967 w 1288879"/>
                <a:gd name="connsiteY27" fmla="*/ 228065 h 555828"/>
                <a:gd name="connsiteX28" fmla="*/ 804247 w 1288879"/>
                <a:gd name="connsiteY28" fmla="*/ 264641 h 555828"/>
                <a:gd name="connsiteX29" fmla="*/ 758527 w 1288879"/>
                <a:gd name="connsiteY29" fmla="*/ 337793 h 555828"/>
                <a:gd name="connsiteX30" fmla="*/ 685375 w 1288879"/>
                <a:gd name="connsiteY30" fmla="*/ 383513 h 555828"/>
                <a:gd name="connsiteX31" fmla="*/ 584791 w 1288879"/>
                <a:gd name="connsiteY31" fmla="*/ 429233 h 555828"/>
                <a:gd name="connsiteX32" fmla="*/ 548215 w 1288879"/>
                <a:gd name="connsiteY32" fmla="*/ 456665 h 555828"/>
                <a:gd name="connsiteX33" fmla="*/ 502495 w 1288879"/>
                <a:gd name="connsiteY33" fmla="*/ 484097 h 555828"/>
                <a:gd name="connsiteX34" fmla="*/ 484207 w 1288879"/>
                <a:gd name="connsiteY34" fmla="*/ 484097 h 555828"/>
                <a:gd name="connsiteX35" fmla="*/ 502495 w 1288879"/>
                <a:gd name="connsiteY35" fmla="*/ 447521 h 555828"/>
                <a:gd name="connsiteX36" fmla="*/ 557359 w 1288879"/>
                <a:gd name="connsiteY36" fmla="*/ 383513 h 555828"/>
                <a:gd name="connsiteX37" fmla="*/ 648799 w 1288879"/>
                <a:gd name="connsiteY37" fmla="*/ 301217 h 555828"/>
                <a:gd name="connsiteX38" fmla="*/ 532238 w 1288879"/>
                <a:gd name="connsiteY38" fmla="*/ 240863 h 555828"/>
                <a:gd name="connsiteX39" fmla="*/ 520197 w 1288879"/>
                <a:gd name="connsiteY39" fmla="*/ 129583 h 555828"/>
                <a:gd name="connsiteX40" fmla="*/ 30128 w 1288879"/>
                <a:gd name="connsiteY40" fmla="*/ 3259 h 555828"/>
                <a:gd name="connsiteX41" fmla="*/ 339433 w 1288879"/>
                <a:gd name="connsiteY41" fmla="*/ 110031 h 555828"/>
                <a:gd name="connsiteX42" fmla="*/ 467969 w 1288879"/>
                <a:gd name="connsiteY42" fmla="*/ 197252 h 555828"/>
                <a:gd name="connsiteX43" fmla="*/ 575647 w 1288879"/>
                <a:gd name="connsiteY43" fmla="*/ 319505 h 555828"/>
                <a:gd name="connsiteX44" fmla="*/ 548215 w 1288879"/>
                <a:gd name="connsiteY44" fmla="*/ 337793 h 555828"/>
                <a:gd name="connsiteX45" fmla="*/ 475063 w 1288879"/>
                <a:gd name="connsiteY45" fmla="*/ 429233 h 555828"/>
                <a:gd name="connsiteX46" fmla="*/ 465919 w 1288879"/>
                <a:gd name="connsiteY46" fmla="*/ 456665 h 555828"/>
                <a:gd name="connsiteX47" fmla="*/ 456775 w 1288879"/>
                <a:gd name="connsiteY47" fmla="*/ 493241 h 555828"/>
                <a:gd name="connsiteX48" fmla="*/ 475063 w 1288879"/>
                <a:gd name="connsiteY48" fmla="*/ 511529 h 555828"/>
                <a:gd name="connsiteX49" fmla="*/ 429343 w 1288879"/>
                <a:gd name="connsiteY49" fmla="*/ 538961 h 555828"/>
                <a:gd name="connsiteX50" fmla="*/ 465064 w 1288879"/>
                <a:gd name="connsiteY50" fmla="*/ 512148 h 555828"/>
                <a:gd name="connsiteX51" fmla="*/ 465062 w 1288879"/>
                <a:gd name="connsiteY51" fmla="*/ 512148 h 555828"/>
                <a:gd name="connsiteX52" fmla="*/ 465062 w 1288879"/>
                <a:gd name="connsiteY52" fmla="*/ 512148 h 555828"/>
                <a:gd name="connsiteX53" fmla="*/ 465062 w 1288879"/>
                <a:gd name="connsiteY53" fmla="*/ 512148 h 555828"/>
                <a:gd name="connsiteX54" fmla="*/ 465063 w 1288879"/>
                <a:gd name="connsiteY54" fmla="*/ 512148 h 555828"/>
                <a:gd name="connsiteX55" fmla="*/ 465063 w 1288879"/>
                <a:gd name="connsiteY55" fmla="*/ 512148 h 555828"/>
                <a:gd name="connsiteX0" fmla="*/ 445645 w 1269461"/>
                <a:gd name="connsiteY0" fmla="*/ 516158 h 559838"/>
                <a:gd name="connsiteX1" fmla="*/ 445644 w 1269461"/>
                <a:gd name="connsiteY1" fmla="*/ 516158 h 559838"/>
                <a:gd name="connsiteX2" fmla="*/ 445645 w 1269461"/>
                <a:gd name="connsiteY2" fmla="*/ 516158 h 559838"/>
                <a:gd name="connsiteX3" fmla="*/ 445645 w 1269461"/>
                <a:gd name="connsiteY3" fmla="*/ 516158 h 559838"/>
                <a:gd name="connsiteX4" fmla="*/ 464789 w 1269461"/>
                <a:gd name="connsiteY4" fmla="*/ 552115 h 559838"/>
                <a:gd name="connsiteX5" fmla="*/ 565373 w 1269461"/>
                <a:gd name="connsiteY5" fmla="*/ 469819 h 559838"/>
                <a:gd name="connsiteX6" fmla="*/ 757397 w 1269461"/>
                <a:gd name="connsiteY6" fmla="*/ 387523 h 559838"/>
                <a:gd name="connsiteX7" fmla="*/ 839693 w 1269461"/>
                <a:gd name="connsiteY7" fmla="*/ 277795 h 559838"/>
                <a:gd name="connsiteX8" fmla="*/ 985997 w 1269461"/>
                <a:gd name="connsiteY8" fmla="*/ 241219 h 559838"/>
                <a:gd name="connsiteX9" fmla="*/ 1031717 w 1269461"/>
                <a:gd name="connsiteY9" fmla="*/ 241219 h 559838"/>
                <a:gd name="connsiteX10" fmla="*/ 1068293 w 1269461"/>
                <a:gd name="connsiteY10" fmla="*/ 222931 h 559838"/>
                <a:gd name="connsiteX11" fmla="*/ 1022573 w 1269461"/>
                <a:gd name="connsiteY11" fmla="*/ 222931 h 559838"/>
                <a:gd name="connsiteX12" fmla="*/ 931133 w 1269461"/>
                <a:gd name="connsiteY12" fmla="*/ 222931 h 559838"/>
                <a:gd name="connsiteX13" fmla="*/ 876269 w 1269461"/>
                <a:gd name="connsiteY13" fmla="*/ 232075 h 559838"/>
                <a:gd name="connsiteX14" fmla="*/ 867125 w 1269461"/>
                <a:gd name="connsiteY14" fmla="*/ 241219 h 559838"/>
                <a:gd name="connsiteX15" fmla="*/ 848837 w 1269461"/>
                <a:gd name="connsiteY15" fmla="*/ 232075 h 559838"/>
                <a:gd name="connsiteX16" fmla="*/ 976853 w 1269461"/>
                <a:gd name="connsiteY16" fmla="*/ 177211 h 559838"/>
                <a:gd name="connsiteX17" fmla="*/ 1031717 w 1269461"/>
                <a:gd name="connsiteY17" fmla="*/ 177211 h 559838"/>
                <a:gd name="connsiteX18" fmla="*/ 1123157 w 1269461"/>
                <a:gd name="connsiteY18" fmla="*/ 168067 h 559838"/>
                <a:gd name="connsiteX19" fmla="*/ 1251173 w 1269461"/>
                <a:gd name="connsiteY19" fmla="*/ 113203 h 559838"/>
                <a:gd name="connsiteX20" fmla="*/ 1232885 w 1269461"/>
                <a:gd name="connsiteY20" fmla="*/ 85771 h 559838"/>
                <a:gd name="connsiteX21" fmla="*/ 1196309 w 1269461"/>
                <a:gd name="connsiteY21" fmla="*/ 113203 h 559838"/>
                <a:gd name="connsiteX22" fmla="*/ 1159733 w 1269461"/>
                <a:gd name="connsiteY22" fmla="*/ 122347 h 559838"/>
                <a:gd name="connsiteX23" fmla="*/ 1086581 w 1269461"/>
                <a:gd name="connsiteY23" fmla="*/ 149779 h 559838"/>
                <a:gd name="connsiteX24" fmla="*/ 1031717 w 1269461"/>
                <a:gd name="connsiteY24" fmla="*/ 149779 h 559838"/>
                <a:gd name="connsiteX25" fmla="*/ 921989 w 1269461"/>
                <a:gd name="connsiteY25" fmla="*/ 149779 h 559838"/>
                <a:gd name="connsiteX26" fmla="*/ 867125 w 1269461"/>
                <a:gd name="connsiteY26" fmla="*/ 186355 h 559838"/>
                <a:gd name="connsiteX27" fmla="*/ 830549 w 1269461"/>
                <a:gd name="connsiteY27" fmla="*/ 232075 h 559838"/>
                <a:gd name="connsiteX28" fmla="*/ 784829 w 1269461"/>
                <a:gd name="connsiteY28" fmla="*/ 268651 h 559838"/>
                <a:gd name="connsiteX29" fmla="*/ 739109 w 1269461"/>
                <a:gd name="connsiteY29" fmla="*/ 341803 h 559838"/>
                <a:gd name="connsiteX30" fmla="*/ 665957 w 1269461"/>
                <a:gd name="connsiteY30" fmla="*/ 387523 h 559838"/>
                <a:gd name="connsiteX31" fmla="*/ 565373 w 1269461"/>
                <a:gd name="connsiteY31" fmla="*/ 433243 h 559838"/>
                <a:gd name="connsiteX32" fmla="*/ 528797 w 1269461"/>
                <a:gd name="connsiteY32" fmla="*/ 460675 h 559838"/>
                <a:gd name="connsiteX33" fmla="*/ 483077 w 1269461"/>
                <a:gd name="connsiteY33" fmla="*/ 488107 h 559838"/>
                <a:gd name="connsiteX34" fmla="*/ 464789 w 1269461"/>
                <a:gd name="connsiteY34" fmla="*/ 488107 h 559838"/>
                <a:gd name="connsiteX35" fmla="*/ 483077 w 1269461"/>
                <a:gd name="connsiteY35" fmla="*/ 451531 h 559838"/>
                <a:gd name="connsiteX36" fmla="*/ 537941 w 1269461"/>
                <a:gd name="connsiteY36" fmla="*/ 387523 h 559838"/>
                <a:gd name="connsiteX37" fmla="*/ 629381 w 1269461"/>
                <a:gd name="connsiteY37" fmla="*/ 305227 h 559838"/>
                <a:gd name="connsiteX38" fmla="*/ 512820 w 1269461"/>
                <a:gd name="connsiteY38" fmla="*/ 244873 h 559838"/>
                <a:gd name="connsiteX39" fmla="*/ 384282 w 1269461"/>
                <a:gd name="connsiteY39" fmla="*/ 157652 h 559838"/>
                <a:gd name="connsiteX40" fmla="*/ 10710 w 1269461"/>
                <a:gd name="connsiteY40" fmla="*/ 7269 h 559838"/>
                <a:gd name="connsiteX41" fmla="*/ 320015 w 1269461"/>
                <a:gd name="connsiteY41" fmla="*/ 114041 h 559838"/>
                <a:gd name="connsiteX42" fmla="*/ 448551 w 1269461"/>
                <a:gd name="connsiteY42" fmla="*/ 201262 h 559838"/>
                <a:gd name="connsiteX43" fmla="*/ 556229 w 1269461"/>
                <a:gd name="connsiteY43" fmla="*/ 323515 h 559838"/>
                <a:gd name="connsiteX44" fmla="*/ 528797 w 1269461"/>
                <a:gd name="connsiteY44" fmla="*/ 341803 h 559838"/>
                <a:gd name="connsiteX45" fmla="*/ 455645 w 1269461"/>
                <a:gd name="connsiteY45" fmla="*/ 433243 h 559838"/>
                <a:gd name="connsiteX46" fmla="*/ 446501 w 1269461"/>
                <a:gd name="connsiteY46" fmla="*/ 460675 h 559838"/>
                <a:gd name="connsiteX47" fmla="*/ 437357 w 1269461"/>
                <a:gd name="connsiteY47" fmla="*/ 497251 h 559838"/>
                <a:gd name="connsiteX48" fmla="*/ 455645 w 1269461"/>
                <a:gd name="connsiteY48" fmla="*/ 515539 h 559838"/>
                <a:gd name="connsiteX49" fmla="*/ 409925 w 1269461"/>
                <a:gd name="connsiteY49" fmla="*/ 542971 h 559838"/>
                <a:gd name="connsiteX50" fmla="*/ 445646 w 1269461"/>
                <a:gd name="connsiteY50" fmla="*/ 516158 h 559838"/>
                <a:gd name="connsiteX51" fmla="*/ 445644 w 1269461"/>
                <a:gd name="connsiteY51" fmla="*/ 516158 h 559838"/>
                <a:gd name="connsiteX52" fmla="*/ 445644 w 1269461"/>
                <a:gd name="connsiteY52" fmla="*/ 516158 h 559838"/>
                <a:gd name="connsiteX53" fmla="*/ 445644 w 1269461"/>
                <a:gd name="connsiteY53" fmla="*/ 516158 h 559838"/>
                <a:gd name="connsiteX54" fmla="*/ 445645 w 1269461"/>
                <a:gd name="connsiteY54" fmla="*/ 516158 h 559838"/>
                <a:gd name="connsiteX55" fmla="*/ 445645 w 1269461"/>
                <a:gd name="connsiteY55" fmla="*/ 516158 h 559838"/>
                <a:gd name="connsiteX0" fmla="*/ 445647 w 1252730"/>
                <a:gd name="connsiteY0" fmla="*/ 518656 h 562336"/>
                <a:gd name="connsiteX1" fmla="*/ 445646 w 1252730"/>
                <a:gd name="connsiteY1" fmla="*/ 518656 h 562336"/>
                <a:gd name="connsiteX2" fmla="*/ 445647 w 1252730"/>
                <a:gd name="connsiteY2" fmla="*/ 518656 h 562336"/>
                <a:gd name="connsiteX3" fmla="*/ 445647 w 1252730"/>
                <a:gd name="connsiteY3" fmla="*/ 518656 h 562336"/>
                <a:gd name="connsiteX4" fmla="*/ 464791 w 1252730"/>
                <a:gd name="connsiteY4" fmla="*/ 554613 h 562336"/>
                <a:gd name="connsiteX5" fmla="*/ 565375 w 1252730"/>
                <a:gd name="connsiteY5" fmla="*/ 472317 h 562336"/>
                <a:gd name="connsiteX6" fmla="*/ 757399 w 1252730"/>
                <a:gd name="connsiteY6" fmla="*/ 390021 h 562336"/>
                <a:gd name="connsiteX7" fmla="*/ 839695 w 1252730"/>
                <a:gd name="connsiteY7" fmla="*/ 280293 h 562336"/>
                <a:gd name="connsiteX8" fmla="*/ 985999 w 1252730"/>
                <a:gd name="connsiteY8" fmla="*/ 243717 h 562336"/>
                <a:gd name="connsiteX9" fmla="*/ 1031719 w 1252730"/>
                <a:gd name="connsiteY9" fmla="*/ 243717 h 562336"/>
                <a:gd name="connsiteX10" fmla="*/ 1068295 w 1252730"/>
                <a:gd name="connsiteY10" fmla="*/ 225429 h 562336"/>
                <a:gd name="connsiteX11" fmla="*/ 1022575 w 1252730"/>
                <a:gd name="connsiteY11" fmla="*/ 225429 h 562336"/>
                <a:gd name="connsiteX12" fmla="*/ 931135 w 1252730"/>
                <a:gd name="connsiteY12" fmla="*/ 225429 h 562336"/>
                <a:gd name="connsiteX13" fmla="*/ 876271 w 1252730"/>
                <a:gd name="connsiteY13" fmla="*/ 234573 h 562336"/>
                <a:gd name="connsiteX14" fmla="*/ 867127 w 1252730"/>
                <a:gd name="connsiteY14" fmla="*/ 243717 h 562336"/>
                <a:gd name="connsiteX15" fmla="*/ 848839 w 1252730"/>
                <a:gd name="connsiteY15" fmla="*/ 234573 h 562336"/>
                <a:gd name="connsiteX16" fmla="*/ 976855 w 1252730"/>
                <a:gd name="connsiteY16" fmla="*/ 179709 h 562336"/>
                <a:gd name="connsiteX17" fmla="*/ 1031719 w 1252730"/>
                <a:gd name="connsiteY17" fmla="*/ 179709 h 562336"/>
                <a:gd name="connsiteX18" fmla="*/ 1123159 w 1252730"/>
                <a:gd name="connsiteY18" fmla="*/ 170565 h 562336"/>
                <a:gd name="connsiteX19" fmla="*/ 1251175 w 1252730"/>
                <a:gd name="connsiteY19" fmla="*/ 115701 h 562336"/>
                <a:gd name="connsiteX20" fmla="*/ 1113830 w 1252730"/>
                <a:gd name="connsiteY20" fmla="*/ 0 h 562336"/>
                <a:gd name="connsiteX21" fmla="*/ 1196311 w 1252730"/>
                <a:gd name="connsiteY21" fmla="*/ 115701 h 562336"/>
                <a:gd name="connsiteX22" fmla="*/ 1159735 w 1252730"/>
                <a:gd name="connsiteY22" fmla="*/ 124845 h 562336"/>
                <a:gd name="connsiteX23" fmla="*/ 1086583 w 1252730"/>
                <a:gd name="connsiteY23" fmla="*/ 152277 h 562336"/>
                <a:gd name="connsiteX24" fmla="*/ 1031719 w 1252730"/>
                <a:gd name="connsiteY24" fmla="*/ 152277 h 562336"/>
                <a:gd name="connsiteX25" fmla="*/ 921991 w 1252730"/>
                <a:gd name="connsiteY25" fmla="*/ 152277 h 562336"/>
                <a:gd name="connsiteX26" fmla="*/ 867127 w 1252730"/>
                <a:gd name="connsiteY26" fmla="*/ 188853 h 562336"/>
                <a:gd name="connsiteX27" fmla="*/ 830551 w 1252730"/>
                <a:gd name="connsiteY27" fmla="*/ 234573 h 562336"/>
                <a:gd name="connsiteX28" fmla="*/ 784831 w 1252730"/>
                <a:gd name="connsiteY28" fmla="*/ 271149 h 562336"/>
                <a:gd name="connsiteX29" fmla="*/ 739111 w 1252730"/>
                <a:gd name="connsiteY29" fmla="*/ 344301 h 562336"/>
                <a:gd name="connsiteX30" fmla="*/ 665959 w 1252730"/>
                <a:gd name="connsiteY30" fmla="*/ 390021 h 562336"/>
                <a:gd name="connsiteX31" fmla="*/ 565375 w 1252730"/>
                <a:gd name="connsiteY31" fmla="*/ 435741 h 562336"/>
                <a:gd name="connsiteX32" fmla="*/ 528799 w 1252730"/>
                <a:gd name="connsiteY32" fmla="*/ 463173 h 562336"/>
                <a:gd name="connsiteX33" fmla="*/ 483079 w 1252730"/>
                <a:gd name="connsiteY33" fmla="*/ 490605 h 562336"/>
                <a:gd name="connsiteX34" fmla="*/ 464791 w 1252730"/>
                <a:gd name="connsiteY34" fmla="*/ 490605 h 562336"/>
                <a:gd name="connsiteX35" fmla="*/ 483079 w 1252730"/>
                <a:gd name="connsiteY35" fmla="*/ 454029 h 562336"/>
                <a:gd name="connsiteX36" fmla="*/ 537943 w 1252730"/>
                <a:gd name="connsiteY36" fmla="*/ 390021 h 562336"/>
                <a:gd name="connsiteX37" fmla="*/ 629383 w 1252730"/>
                <a:gd name="connsiteY37" fmla="*/ 307725 h 562336"/>
                <a:gd name="connsiteX38" fmla="*/ 512822 w 1252730"/>
                <a:gd name="connsiteY38" fmla="*/ 247371 h 562336"/>
                <a:gd name="connsiteX39" fmla="*/ 384284 w 1252730"/>
                <a:gd name="connsiteY39" fmla="*/ 160150 h 562336"/>
                <a:gd name="connsiteX40" fmla="*/ 10712 w 1252730"/>
                <a:gd name="connsiteY40" fmla="*/ 9767 h 562336"/>
                <a:gd name="connsiteX41" fmla="*/ 320017 w 1252730"/>
                <a:gd name="connsiteY41" fmla="*/ 116539 h 562336"/>
                <a:gd name="connsiteX42" fmla="*/ 448553 w 1252730"/>
                <a:gd name="connsiteY42" fmla="*/ 203760 h 562336"/>
                <a:gd name="connsiteX43" fmla="*/ 556231 w 1252730"/>
                <a:gd name="connsiteY43" fmla="*/ 326013 h 562336"/>
                <a:gd name="connsiteX44" fmla="*/ 528799 w 1252730"/>
                <a:gd name="connsiteY44" fmla="*/ 344301 h 562336"/>
                <a:gd name="connsiteX45" fmla="*/ 455647 w 1252730"/>
                <a:gd name="connsiteY45" fmla="*/ 435741 h 562336"/>
                <a:gd name="connsiteX46" fmla="*/ 446503 w 1252730"/>
                <a:gd name="connsiteY46" fmla="*/ 463173 h 562336"/>
                <a:gd name="connsiteX47" fmla="*/ 437359 w 1252730"/>
                <a:gd name="connsiteY47" fmla="*/ 499749 h 562336"/>
                <a:gd name="connsiteX48" fmla="*/ 455647 w 1252730"/>
                <a:gd name="connsiteY48" fmla="*/ 518037 h 562336"/>
                <a:gd name="connsiteX49" fmla="*/ 409927 w 1252730"/>
                <a:gd name="connsiteY49" fmla="*/ 545469 h 562336"/>
                <a:gd name="connsiteX50" fmla="*/ 445648 w 1252730"/>
                <a:gd name="connsiteY50" fmla="*/ 518656 h 562336"/>
                <a:gd name="connsiteX51" fmla="*/ 445646 w 1252730"/>
                <a:gd name="connsiteY51" fmla="*/ 518656 h 562336"/>
                <a:gd name="connsiteX52" fmla="*/ 445646 w 1252730"/>
                <a:gd name="connsiteY52" fmla="*/ 518656 h 562336"/>
                <a:gd name="connsiteX53" fmla="*/ 445646 w 1252730"/>
                <a:gd name="connsiteY53" fmla="*/ 518656 h 562336"/>
                <a:gd name="connsiteX54" fmla="*/ 445647 w 1252730"/>
                <a:gd name="connsiteY54" fmla="*/ 518656 h 562336"/>
                <a:gd name="connsiteX55" fmla="*/ 445647 w 1252730"/>
                <a:gd name="connsiteY55" fmla="*/ 518656 h 562336"/>
                <a:gd name="connsiteX0" fmla="*/ 445645 w 1252728"/>
                <a:gd name="connsiteY0" fmla="*/ 518656 h 562336"/>
                <a:gd name="connsiteX1" fmla="*/ 445644 w 1252728"/>
                <a:gd name="connsiteY1" fmla="*/ 518656 h 562336"/>
                <a:gd name="connsiteX2" fmla="*/ 445645 w 1252728"/>
                <a:gd name="connsiteY2" fmla="*/ 518656 h 562336"/>
                <a:gd name="connsiteX3" fmla="*/ 445645 w 1252728"/>
                <a:gd name="connsiteY3" fmla="*/ 518656 h 562336"/>
                <a:gd name="connsiteX4" fmla="*/ 464789 w 1252728"/>
                <a:gd name="connsiteY4" fmla="*/ 554613 h 562336"/>
                <a:gd name="connsiteX5" fmla="*/ 565373 w 1252728"/>
                <a:gd name="connsiteY5" fmla="*/ 472317 h 562336"/>
                <a:gd name="connsiteX6" fmla="*/ 757397 w 1252728"/>
                <a:gd name="connsiteY6" fmla="*/ 390021 h 562336"/>
                <a:gd name="connsiteX7" fmla="*/ 839693 w 1252728"/>
                <a:gd name="connsiteY7" fmla="*/ 280293 h 562336"/>
                <a:gd name="connsiteX8" fmla="*/ 985997 w 1252728"/>
                <a:gd name="connsiteY8" fmla="*/ 243717 h 562336"/>
                <a:gd name="connsiteX9" fmla="*/ 1031717 w 1252728"/>
                <a:gd name="connsiteY9" fmla="*/ 243717 h 562336"/>
                <a:gd name="connsiteX10" fmla="*/ 1085683 w 1252728"/>
                <a:gd name="connsiteY10" fmla="*/ 290229 h 562336"/>
                <a:gd name="connsiteX11" fmla="*/ 1022573 w 1252728"/>
                <a:gd name="connsiteY11" fmla="*/ 225429 h 562336"/>
                <a:gd name="connsiteX12" fmla="*/ 931133 w 1252728"/>
                <a:gd name="connsiteY12" fmla="*/ 225429 h 562336"/>
                <a:gd name="connsiteX13" fmla="*/ 876269 w 1252728"/>
                <a:gd name="connsiteY13" fmla="*/ 234573 h 562336"/>
                <a:gd name="connsiteX14" fmla="*/ 867125 w 1252728"/>
                <a:gd name="connsiteY14" fmla="*/ 243717 h 562336"/>
                <a:gd name="connsiteX15" fmla="*/ 848837 w 1252728"/>
                <a:gd name="connsiteY15" fmla="*/ 234573 h 562336"/>
                <a:gd name="connsiteX16" fmla="*/ 976853 w 1252728"/>
                <a:gd name="connsiteY16" fmla="*/ 179709 h 562336"/>
                <a:gd name="connsiteX17" fmla="*/ 1031717 w 1252728"/>
                <a:gd name="connsiteY17" fmla="*/ 179709 h 562336"/>
                <a:gd name="connsiteX18" fmla="*/ 1123157 w 1252728"/>
                <a:gd name="connsiteY18" fmla="*/ 170565 h 562336"/>
                <a:gd name="connsiteX19" fmla="*/ 1251173 w 1252728"/>
                <a:gd name="connsiteY19" fmla="*/ 115701 h 562336"/>
                <a:gd name="connsiteX20" fmla="*/ 1113828 w 1252728"/>
                <a:gd name="connsiteY20" fmla="*/ 0 h 562336"/>
                <a:gd name="connsiteX21" fmla="*/ 1196309 w 1252728"/>
                <a:gd name="connsiteY21" fmla="*/ 115701 h 562336"/>
                <a:gd name="connsiteX22" fmla="*/ 1159733 w 1252728"/>
                <a:gd name="connsiteY22" fmla="*/ 124845 h 562336"/>
                <a:gd name="connsiteX23" fmla="*/ 1086581 w 1252728"/>
                <a:gd name="connsiteY23" fmla="*/ 152277 h 562336"/>
                <a:gd name="connsiteX24" fmla="*/ 1031717 w 1252728"/>
                <a:gd name="connsiteY24" fmla="*/ 152277 h 562336"/>
                <a:gd name="connsiteX25" fmla="*/ 921989 w 1252728"/>
                <a:gd name="connsiteY25" fmla="*/ 152277 h 562336"/>
                <a:gd name="connsiteX26" fmla="*/ 867125 w 1252728"/>
                <a:gd name="connsiteY26" fmla="*/ 188853 h 562336"/>
                <a:gd name="connsiteX27" fmla="*/ 830549 w 1252728"/>
                <a:gd name="connsiteY27" fmla="*/ 234573 h 562336"/>
                <a:gd name="connsiteX28" fmla="*/ 784829 w 1252728"/>
                <a:gd name="connsiteY28" fmla="*/ 271149 h 562336"/>
                <a:gd name="connsiteX29" fmla="*/ 739109 w 1252728"/>
                <a:gd name="connsiteY29" fmla="*/ 344301 h 562336"/>
                <a:gd name="connsiteX30" fmla="*/ 665957 w 1252728"/>
                <a:gd name="connsiteY30" fmla="*/ 390021 h 562336"/>
                <a:gd name="connsiteX31" fmla="*/ 565373 w 1252728"/>
                <a:gd name="connsiteY31" fmla="*/ 435741 h 562336"/>
                <a:gd name="connsiteX32" fmla="*/ 528797 w 1252728"/>
                <a:gd name="connsiteY32" fmla="*/ 463173 h 562336"/>
                <a:gd name="connsiteX33" fmla="*/ 483077 w 1252728"/>
                <a:gd name="connsiteY33" fmla="*/ 490605 h 562336"/>
                <a:gd name="connsiteX34" fmla="*/ 464789 w 1252728"/>
                <a:gd name="connsiteY34" fmla="*/ 490605 h 562336"/>
                <a:gd name="connsiteX35" fmla="*/ 483077 w 1252728"/>
                <a:gd name="connsiteY35" fmla="*/ 454029 h 562336"/>
                <a:gd name="connsiteX36" fmla="*/ 537941 w 1252728"/>
                <a:gd name="connsiteY36" fmla="*/ 390021 h 562336"/>
                <a:gd name="connsiteX37" fmla="*/ 629381 w 1252728"/>
                <a:gd name="connsiteY37" fmla="*/ 307725 h 562336"/>
                <a:gd name="connsiteX38" fmla="*/ 512820 w 1252728"/>
                <a:gd name="connsiteY38" fmla="*/ 247371 h 562336"/>
                <a:gd name="connsiteX39" fmla="*/ 384282 w 1252728"/>
                <a:gd name="connsiteY39" fmla="*/ 160150 h 562336"/>
                <a:gd name="connsiteX40" fmla="*/ 10710 w 1252728"/>
                <a:gd name="connsiteY40" fmla="*/ 9767 h 562336"/>
                <a:gd name="connsiteX41" fmla="*/ 320015 w 1252728"/>
                <a:gd name="connsiteY41" fmla="*/ 116539 h 562336"/>
                <a:gd name="connsiteX42" fmla="*/ 448551 w 1252728"/>
                <a:gd name="connsiteY42" fmla="*/ 203760 h 562336"/>
                <a:gd name="connsiteX43" fmla="*/ 556229 w 1252728"/>
                <a:gd name="connsiteY43" fmla="*/ 326013 h 562336"/>
                <a:gd name="connsiteX44" fmla="*/ 528797 w 1252728"/>
                <a:gd name="connsiteY44" fmla="*/ 344301 h 562336"/>
                <a:gd name="connsiteX45" fmla="*/ 455645 w 1252728"/>
                <a:gd name="connsiteY45" fmla="*/ 435741 h 562336"/>
                <a:gd name="connsiteX46" fmla="*/ 446501 w 1252728"/>
                <a:gd name="connsiteY46" fmla="*/ 463173 h 562336"/>
                <a:gd name="connsiteX47" fmla="*/ 437357 w 1252728"/>
                <a:gd name="connsiteY47" fmla="*/ 499749 h 562336"/>
                <a:gd name="connsiteX48" fmla="*/ 455645 w 1252728"/>
                <a:gd name="connsiteY48" fmla="*/ 518037 h 562336"/>
                <a:gd name="connsiteX49" fmla="*/ 409925 w 1252728"/>
                <a:gd name="connsiteY49" fmla="*/ 545469 h 562336"/>
                <a:gd name="connsiteX50" fmla="*/ 445646 w 1252728"/>
                <a:gd name="connsiteY50" fmla="*/ 518656 h 562336"/>
                <a:gd name="connsiteX51" fmla="*/ 445644 w 1252728"/>
                <a:gd name="connsiteY51" fmla="*/ 518656 h 562336"/>
                <a:gd name="connsiteX52" fmla="*/ 445644 w 1252728"/>
                <a:gd name="connsiteY52" fmla="*/ 518656 h 562336"/>
                <a:gd name="connsiteX53" fmla="*/ 445644 w 1252728"/>
                <a:gd name="connsiteY53" fmla="*/ 518656 h 562336"/>
                <a:gd name="connsiteX54" fmla="*/ 445645 w 1252728"/>
                <a:gd name="connsiteY54" fmla="*/ 518656 h 562336"/>
                <a:gd name="connsiteX55" fmla="*/ 445645 w 1252728"/>
                <a:gd name="connsiteY55" fmla="*/ 518656 h 562336"/>
                <a:gd name="connsiteX0" fmla="*/ 445647 w 1252730"/>
                <a:gd name="connsiteY0" fmla="*/ 518656 h 562336"/>
                <a:gd name="connsiteX1" fmla="*/ 445646 w 1252730"/>
                <a:gd name="connsiteY1" fmla="*/ 518656 h 562336"/>
                <a:gd name="connsiteX2" fmla="*/ 445647 w 1252730"/>
                <a:gd name="connsiteY2" fmla="*/ 518656 h 562336"/>
                <a:gd name="connsiteX3" fmla="*/ 445647 w 1252730"/>
                <a:gd name="connsiteY3" fmla="*/ 518656 h 562336"/>
                <a:gd name="connsiteX4" fmla="*/ 464791 w 1252730"/>
                <a:gd name="connsiteY4" fmla="*/ 554613 h 562336"/>
                <a:gd name="connsiteX5" fmla="*/ 565375 w 1252730"/>
                <a:gd name="connsiteY5" fmla="*/ 472317 h 562336"/>
                <a:gd name="connsiteX6" fmla="*/ 757399 w 1252730"/>
                <a:gd name="connsiteY6" fmla="*/ 390021 h 562336"/>
                <a:gd name="connsiteX7" fmla="*/ 839695 w 1252730"/>
                <a:gd name="connsiteY7" fmla="*/ 280293 h 562336"/>
                <a:gd name="connsiteX8" fmla="*/ 985999 w 1252730"/>
                <a:gd name="connsiteY8" fmla="*/ 243717 h 562336"/>
                <a:gd name="connsiteX9" fmla="*/ 1031719 w 1252730"/>
                <a:gd name="connsiteY9" fmla="*/ 243717 h 562336"/>
                <a:gd name="connsiteX10" fmla="*/ 1202181 w 1252730"/>
                <a:gd name="connsiteY10" fmla="*/ 266170 h 562336"/>
                <a:gd name="connsiteX11" fmla="*/ 1022575 w 1252730"/>
                <a:gd name="connsiteY11" fmla="*/ 225429 h 562336"/>
                <a:gd name="connsiteX12" fmla="*/ 931135 w 1252730"/>
                <a:gd name="connsiteY12" fmla="*/ 225429 h 562336"/>
                <a:gd name="connsiteX13" fmla="*/ 876271 w 1252730"/>
                <a:gd name="connsiteY13" fmla="*/ 234573 h 562336"/>
                <a:gd name="connsiteX14" fmla="*/ 867127 w 1252730"/>
                <a:gd name="connsiteY14" fmla="*/ 243717 h 562336"/>
                <a:gd name="connsiteX15" fmla="*/ 848839 w 1252730"/>
                <a:gd name="connsiteY15" fmla="*/ 234573 h 562336"/>
                <a:gd name="connsiteX16" fmla="*/ 976855 w 1252730"/>
                <a:gd name="connsiteY16" fmla="*/ 179709 h 562336"/>
                <a:gd name="connsiteX17" fmla="*/ 1031719 w 1252730"/>
                <a:gd name="connsiteY17" fmla="*/ 179709 h 562336"/>
                <a:gd name="connsiteX18" fmla="*/ 1123159 w 1252730"/>
                <a:gd name="connsiteY18" fmla="*/ 170565 h 562336"/>
                <a:gd name="connsiteX19" fmla="*/ 1251175 w 1252730"/>
                <a:gd name="connsiteY19" fmla="*/ 115701 h 562336"/>
                <a:gd name="connsiteX20" fmla="*/ 1113830 w 1252730"/>
                <a:gd name="connsiteY20" fmla="*/ 0 h 562336"/>
                <a:gd name="connsiteX21" fmla="*/ 1196311 w 1252730"/>
                <a:gd name="connsiteY21" fmla="*/ 115701 h 562336"/>
                <a:gd name="connsiteX22" fmla="*/ 1159735 w 1252730"/>
                <a:gd name="connsiteY22" fmla="*/ 124845 h 562336"/>
                <a:gd name="connsiteX23" fmla="*/ 1086583 w 1252730"/>
                <a:gd name="connsiteY23" fmla="*/ 152277 h 562336"/>
                <a:gd name="connsiteX24" fmla="*/ 1031719 w 1252730"/>
                <a:gd name="connsiteY24" fmla="*/ 152277 h 562336"/>
                <a:gd name="connsiteX25" fmla="*/ 921991 w 1252730"/>
                <a:gd name="connsiteY25" fmla="*/ 152277 h 562336"/>
                <a:gd name="connsiteX26" fmla="*/ 867127 w 1252730"/>
                <a:gd name="connsiteY26" fmla="*/ 188853 h 562336"/>
                <a:gd name="connsiteX27" fmla="*/ 830551 w 1252730"/>
                <a:gd name="connsiteY27" fmla="*/ 234573 h 562336"/>
                <a:gd name="connsiteX28" fmla="*/ 784831 w 1252730"/>
                <a:gd name="connsiteY28" fmla="*/ 271149 h 562336"/>
                <a:gd name="connsiteX29" fmla="*/ 739111 w 1252730"/>
                <a:gd name="connsiteY29" fmla="*/ 344301 h 562336"/>
                <a:gd name="connsiteX30" fmla="*/ 665959 w 1252730"/>
                <a:gd name="connsiteY30" fmla="*/ 390021 h 562336"/>
                <a:gd name="connsiteX31" fmla="*/ 565375 w 1252730"/>
                <a:gd name="connsiteY31" fmla="*/ 435741 h 562336"/>
                <a:gd name="connsiteX32" fmla="*/ 528799 w 1252730"/>
                <a:gd name="connsiteY32" fmla="*/ 463173 h 562336"/>
                <a:gd name="connsiteX33" fmla="*/ 483079 w 1252730"/>
                <a:gd name="connsiteY33" fmla="*/ 490605 h 562336"/>
                <a:gd name="connsiteX34" fmla="*/ 464791 w 1252730"/>
                <a:gd name="connsiteY34" fmla="*/ 490605 h 562336"/>
                <a:gd name="connsiteX35" fmla="*/ 483079 w 1252730"/>
                <a:gd name="connsiteY35" fmla="*/ 454029 h 562336"/>
                <a:gd name="connsiteX36" fmla="*/ 537943 w 1252730"/>
                <a:gd name="connsiteY36" fmla="*/ 390021 h 562336"/>
                <a:gd name="connsiteX37" fmla="*/ 629383 w 1252730"/>
                <a:gd name="connsiteY37" fmla="*/ 307725 h 562336"/>
                <a:gd name="connsiteX38" fmla="*/ 512822 w 1252730"/>
                <a:gd name="connsiteY38" fmla="*/ 247371 h 562336"/>
                <a:gd name="connsiteX39" fmla="*/ 384284 w 1252730"/>
                <a:gd name="connsiteY39" fmla="*/ 160150 h 562336"/>
                <a:gd name="connsiteX40" fmla="*/ 10712 w 1252730"/>
                <a:gd name="connsiteY40" fmla="*/ 9767 h 562336"/>
                <a:gd name="connsiteX41" fmla="*/ 320017 w 1252730"/>
                <a:gd name="connsiteY41" fmla="*/ 116539 h 562336"/>
                <a:gd name="connsiteX42" fmla="*/ 448553 w 1252730"/>
                <a:gd name="connsiteY42" fmla="*/ 203760 h 562336"/>
                <a:gd name="connsiteX43" fmla="*/ 556231 w 1252730"/>
                <a:gd name="connsiteY43" fmla="*/ 326013 h 562336"/>
                <a:gd name="connsiteX44" fmla="*/ 528799 w 1252730"/>
                <a:gd name="connsiteY44" fmla="*/ 344301 h 562336"/>
                <a:gd name="connsiteX45" fmla="*/ 455647 w 1252730"/>
                <a:gd name="connsiteY45" fmla="*/ 435741 h 562336"/>
                <a:gd name="connsiteX46" fmla="*/ 446503 w 1252730"/>
                <a:gd name="connsiteY46" fmla="*/ 463173 h 562336"/>
                <a:gd name="connsiteX47" fmla="*/ 437359 w 1252730"/>
                <a:gd name="connsiteY47" fmla="*/ 499749 h 562336"/>
                <a:gd name="connsiteX48" fmla="*/ 455647 w 1252730"/>
                <a:gd name="connsiteY48" fmla="*/ 518037 h 562336"/>
                <a:gd name="connsiteX49" fmla="*/ 409927 w 1252730"/>
                <a:gd name="connsiteY49" fmla="*/ 545469 h 562336"/>
                <a:gd name="connsiteX50" fmla="*/ 445648 w 1252730"/>
                <a:gd name="connsiteY50" fmla="*/ 518656 h 562336"/>
                <a:gd name="connsiteX51" fmla="*/ 445646 w 1252730"/>
                <a:gd name="connsiteY51" fmla="*/ 518656 h 562336"/>
                <a:gd name="connsiteX52" fmla="*/ 445646 w 1252730"/>
                <a:gd name="connsiteY52" fmla="*/ 518656 h 562336"/>
                <a:gd name="connsiteX53" fmla="*/ 445646 w 1252730"/>
                <a:gd name="connsiteY53" fmla="*/ 518656 h 562336"/>
                <a:gd name="connsiteX54" fmla="*/ 445647 w 1252730"/>
                <a:gd name="connsiteY54" fmla="*/ 518656 h 562336"/>
                <a:gd name="connsiteX55" fmla="*/ 445647 w 1252730"/>
                <a:gd name="connsiteY55" fmla="*/ 518656 h 562336"/>
                <a:gd name="connsiteX0" fmla="*/ 445645 w 1252728"/>
                <a:gd name="connsiteY0" fmla="*/ 518656 h 562336"/>
                <a:gd name="connsiteX1" fmla="*/ 445644 w 1252728"/>
                <a:gd name="connsiteY1" fmla="*/ 518656 h 562336"/>
                <a:gd name="connsiteX2" fmla="*/ 445645 w 1252728"/>
                <a:gd name="connsiteY2" fmla="*/ 518656 h 562336"/>
                <a:gd name="connsiteX3" fmla="*/ 445645 w 1252728"/>
                <a:gd name="connsiteY3" fmla="*/ 518656 h 562336"/>
                <a:gd name="connsiteX4" fmla="*/ 464789 w 1252728"/>
                <a:gd name="connsiteY4" fmla="*/ 554613 h 562336"/>
                <a:gd name="connsiteX5" fmla="*/ 565373 w 1252728"/>
                <a:gd name="connsiteY5" fmla="*/ 472317 h 562336"/>
                <a:gd name="connsiteX6" fmla="*/ 757397 w 1252728"/>
                <a:gd name="connsiteY6" fmla="*/ 390021 h 562336"/>
                <a:gd name="connsiteX7" fmla="*/ 839693 w 1252728"/>
                <a:gd name="connsiteY7" fmla="*/ 280293 h 562336"/>
                <a:gd name="connsiteX8" fmla="*/ 985997 w 1252728"/>
                <a:gd name="connsiteY8" fmla="*/ 243717 h 562336"/>
                <a:gd name="connsiteX9" fmla="*/ 1031717 w 1252728"/>
                <a:gd name="connsiteY9" fmla="*/ 243717 h 562336"/>
                <a:gd name="connsiteX10" fmla="*/ 1202179 w 1252728"/>
                <a:gd name="connsiteY10" fmla="*/ 266170 h 562336"/>
                <a:gd name="connsiteX11" fmla="*/ 1022573 w 1252728"/>
                <a:gd name="connsiteY11" fmla="*/ 225429 h 562336"/>
                <a:gd name="connsiteX12" fmla="*/ 931133 w 1252728"/>
                <a:gd name="connsiteY12" fmla="*/ 225429 h 562336"/>
                <a:gd name="connsiteX13" fmla="*/ 876269 w 1252728"/>
                <a:gd name="connsiteY13" fmla="*/ 234573 h 562336"/>
                <a:gd name="connsiteX14" fmla="*/ 867125 w 1252728"/>
                <a:gd name="connsiteY14" fmla="*/ 243717 h 562336"/>
                <a:gd name="connsiteX15" fmla="*/ 848837 w 1252728"/>
                <a:gd name="connsiteY15" fmla="*/ 234573 h 562336"/>
                <a:gd name="connsiteX16" fmla="*/ 976853 w 1252728"/>
                <a:gd name="connsiteY16" fmla="*/ 179709 h 562336"/>
                <a:gd name="connsiteX17" fmla="*/ 1031717 w 1252728"/>
                <a:gd name="connsiteY17" fmla="*/ 179709 h 562336"/>
                <a:gd name="connsiteX18" fmla="*/ 1123157 w 1252728"/>
                <a:gd name="connsiteY18" fmla="*/ 170565 h 562336"/>
                <a:gd name="connsiteX19" fmla="*/ 1251173 w 1252728"/>
                <a:gd name="connsiteY19" fmla="*/ 115701 h 562336"/>
                <a:gd name="connsiteX20" fmla="*/ 1113828 w 1252728"/>
                <a:gd name="connsiteY20" fmla="*/ 0 h 562336"/>
                <a:gd name="connsiteX21" fmla="*/ 1196309 w 1252728"/>
                <a:gd name="connsiteY21" fmla="*/ 115701 h 562336"/>
                <a:gd name="connsiteX22" fmla="*/ 1159733 w 1252728"/>
                <a:gd name="connsiteY22" fmla="*/ 124845 h 562336"/>
                <a:gd name="connsiteX23" fmla="*/ 1086581 w 1252728"/>
                <a:gd name="connsiteY23" fmla="*/ 152277 h 562336"/>
                <a:gd name="connsiteX24" fmla="*/ 1031717 w 1252728"/>
                <a:gd name="connsiteY24" fmla="*/ 152277 h 562336"/>
                <a:gd name="connsiteX25" fmla="*/ 921989 w 1252728"/>
                <a:gd name="connsiteY25" fmla="*/ 152277 h 562336"/>
                <a:gd name="connsiteX26" fmla="*/ 867125 w 1252728"/>
                <a:gd name="connsiteY26" fmla="*/ 188853 h 562336"/>
                <a:gd name="connsiteX27" fmla="*/ 840649 w 1252728"/>
                <a:gd name="connsiteY27" fmla="*/ 227068 h 562336"/>
                <a:gd name="connsiteX28" fmla="*/ 784829 w 1252728"/>
                <a:gd name="connsiteY28" fmla="*/ 271149 h 562336"/>
                <a:gd name="connsiteX29" fmla="*/ 739109 w 1252728"/>
                <a:gd name="connsiteY29" fmla="*/ 344301 h 562336"/>
                <a:gd name="connsiteX30" fmla="*/ 665957 w 1252728"/>
                <a:gd name="connsiteY30" fmla="*/ 390021 h 562336"/>
                <a:gd name="connsiteX31" fmla="*/ 565373 w 1252728"/>
                <a:gd name="connsiteY31" fmla="*/ 435741 h 562336"/>
                <a:gd name="connsiteX32" fmla="*/ 528797 w 1252728"/>
                <a:gd name="connsiteY32" fmla="*/ 463173 h 562336"/>
                <a:gd name="connsiteX33" fmla="*/ 483077 w 1252728"/>
                <a:gd name="connsiteY33" fmla="*/ 490605 h 562336"/>
                <a:gd name="connsiteX34" fmla="*/ 464789 w 1252728"/>
                <a:gd name="connsiteY34" fmla="*/ 490605 h 562336"/>
                <a:gd name="connsiteX35" fmla="*/ 483077 w 1252728"/>
                <a:gd name="connsiteY35" fmla="*/ 454029 h 562336"/>
                <a:gd name="connsiteX36" fmla="*/ 537941 w 1252728"/>
                <a:gd name="connsiteY36" fmla="*/ 390021 h 562336"/>
                <a:gd name="connsiteX37" fmla="*/ 629381 w 1252728"/>
                <a:gd name="connsiteY37" fmla="*/ 307725 h 562336"/>
                <a:gd name="connsiteX38" fmla="*/ 512820 w 1252728"/>
                <a:gd name="connsiteY38" fmla="*/ 247371 h 562336"/>
                <a:gd name="connsiteX39" fmla="*/ 384282 w 1252728"/>
                <a:gd name="connsiteY39" fmla="*/ 160150 h 562336"/>
                <a:gd name="connsiteX40" fmla="*/ 10710 w 1252728"/>
                <a:gd name="connsiteY40" fmla="*/ 9767 h 562336"/>
                <a:gd name="connsiteX41" fmla="*/ 320015 w 1252728"/>
                <a:gd name="connsiteY41" fmla="*/ 116539 h 562336"/>
                <a:gd name="connsiteX42" fmla="*/ 448551 w 1252728"/>
                <a:gd name="connsiteY42" fmla="*/ 203760 h 562336"/>
                <a:gd name="connsiteX43" fmla="*/ 556229 w 1252728"/>
                <a:gd name="connsiteY43" fmla="*/ 326013 h 562336"/>
                <a:gd name="connsiteX44" fmla="*/ 528797 w 1252728"/>
                <a:gd name="connsiteY44" fmla="*/ 344301 h 562336"/>
                <a:gd name="connsiteX45" fmla="*/ 455645 w 1252728"/>
                <a:gd name="connsiteY45" fmla="*/ 435741 h 562336"/>
                <a:gd name="connsiteX46" fmla="*/ 446501 w 1252728"/>
                <a:gd name="connsiteY46" fmla="*/ 463173 h 562336"/>
                <a:gd name="connsiteX47" fmla="*/ 437357 w 1252728"/>
                <a:gd name="connsiteY47" fmla="*/ 499749 h 562336"/>
                <a:gd name="connsiteX48" fmla="*/ 455645 w 1252728"/>
                <a:gd name="connsiteY48" fmla="*/ 518037 h 562336"/>
                <a:gd name="connsiteX49" fmla="*/ 409925 w 1252728"/>
                <a:gd name="connsiteY49" fmla="*/ 545469 h 562336"/>
                <a:gd name="connsiteX50" fmla="*/ 445646 w 1252728"/>
                <a:gd name="connsiteY50" fmla="*/ 518656 h 562336"/>
                <a:gd name="connsiteX51" fmla="*/ 445644 w 1252728"/>
                <a:gd name="connsiteY51" fmla="*/ 518656 h 562336"/>
                <a:gd name="connsiteX52" fmla="*/ 445644 w 1252728"/>
                <a:gd name="connsiteY52" fmla="*/ 518656 h 562336"/>
                <a:gd name="connsiteX53" fmla="*/ 445644 w 1252728"/>
                <a:gd name="connsiteY53" fmla="*/ 518656 h 562336"/>
                <a:gd name="connsiteX54" fmla="*/ 445645 w 1252728"/>
                <a:gd name="connsiteY54" fmla="*/ 518656 h 562336"/>
                <a:gd name="connsiteX55" fmla="*/ 445645 w 1252728"/>
                <a:gd name="connsiteY55" fmla="*/ 518656 h 562336"/>
                <a:gd name="connsiteX0" fmla="*/ 445647 w 1252730"/>
                <a:gd name="connsiteY0" fmla="*/ 518656 h 562336"/>
                <a:gd name="connsiteX1" fmla="*/ 445646 w 1252730"/>
                <a:gd name="connsiteY1" fmla="*/ 518656 h 562336"/>
                <a:gd name="connsiteX2" fmla="*/ 445647 w 1252730"/>
                <a:gd name="connsiteY2" fmla="*/ 518656 h 562336"/>
                <a:gd name="connsiteX3" fmla="*/ 445647 w 1252730"/>
                <a:gd name="connsiteY3" fmla="*/ 518656 h 562336"/>
                <a:gd name="connsiteX4" fmla="*/ 464791 w 1252730"/>
                <a:gd name="connsiteY4" fmla="*/ 554613 h 562336"/>
                <a:gd name="connsiteX5" fmla="*/ 565375 w 1252730"/>
                <a:gd name="connsiteY5" fmla="*/ 472317 h 562336"/>
                <a:gd name="connsiteX6" fmla="*/ 757399 w 1252730"/>
                <a:gd name="connsiteY6" fmla="*/ 390021 h 562336"/>
                <a:gd name="connsiteX7" fmla="*/ 839695 w 1252730"/>
                <a:gd name="connsiteY7" fmla="*/ 280293 h 562336"/>
                <a:gd name="connsiteX8" fmla="*/ 985999 w 1252730"/>
                <a:gd name="connsiteY8" fmla="*/ 243717 h 562336"/>
                <a:gd name="connsiteX9" fmla="*/ 1031719 w 1252730"/>
                <a:gd name="connsiteY9" fmla="*/ 243717 h 562336"/>
                <a:gd name="connsiteX10" fmla="*/ 1202181 w 1252730"/>
                <a:gd name="connsiteY10" fmla="*/ 266170 h 562336"/>
                <a:gd name="connsiteX11" fmla="*/ 1022575 w 1252730"/>
                <a:gd name="connsiteY11" fmla="*/ 225429 h 562336"/>
                <a:gd name="connsiteX12" fmla="*/ 931135 w 1252730"/>
                <a:gd name="connsiteY12" fmla="*/ 225429 h 562336"/>
                <a:gd name="connsiteX13" fmla="*/ 876271 w 1252730"/>
                <a:gd name="connsiteY13" fmla="*/ 234573 h 562336"/>
                <a:gd name="connsiteX14" fmla="*/ 867127 w 1252730"/>
                <a:gd name="connsiteY14" fmla="*/ 243717 h 562336"/>
                <a:gd name="connsiteX15" fmla="*/ 848839 w 1252730"/>
                <a:gd name="connsiteY15" fmla="*/ 234573 h 562336"/>
                <a:gd name="connsiteX16" fmla="*/ 976855 w 1252730"/>
                <a:gd name="connsiteY16" fmla="*/ 179709 h 562336"/>
                <a:gd name="connsiteX17" fmla="*/ 1031719 w 1252730"/>
                <a:gd name="connsiteY17" fmla="*/ 179709 h 562336"/>
                <a:gd name="connsiteX18" fmla="*/ 1123159 w 1252730"/>
                <a:gd name="connsiteY18" fmla="*/ 170565 h 562336"/>
                <a:gd name="connsiteX19" fmla="*/ 1251175 w 1252730"/>
                <a:gd name="connsiteY19" fmla="*/ 115701 h 562336"/>
                <a:gd name="connsiteX20" fmla="*/ 1113830 w 1252730"/>
                <a:gd name="connsiteY20" fmla="*/ 0 h 562336"/>
                <a:gd name="connsiteX21" fmla="*/ 1196311 w 1252730"/>
                <a:gd name="connsiteY21" fmla="*/ 115701 h 562336"/>
                <a:gd name="connsiteX22" fmla="*/ 1159735 w 1252730"/>
                <a:gd name="connsiteY22" fmla="*/ 124845 h 562336"/>
                <a:gd name="connsiteX23" fmla="*/ 1086583 w 1252730"/>
                <a:gd name="connsiteY23" fmla="*/ 152277 h 562336"/>
                <a:gd name="connsiteX24" fmla="*/ 1031719 w 1252730"/>
                <a:gd name="connsiteY24" fmla="*/ 152277 h 562336"/>
                <a:gd name="connsiteX25" fmla="*/ 921991 w 1252730"/>
                <a:gd name="connsiteY25" fmla="*/ 152277 h 562336"/>
                <a:gd name="connsiteX26" fmla="*/ 867127 w 1252730"/>
                <a:gd name="connsiteY26" fmla="*/ 188853 h 562336"/>
                <a:gd name="connsiteX27" fmla="*/ 840651 w 1252730"/>
                <a:gd name="connsiteY27" fmla="*/ 227068 h 562336"/>
                <a:gd name="connsiteX28" fmla="*/ 784831 w 1252730"/>
                <a:gd name="connsiteY28" fmla="*/ 271149 h 562336"/>
                <a:gd name="connsiteX29" fmla="*/ 739111 w 1252730"/>
                <a:gd name="connsiteY29" fmla="*/ 344301 h 562336"/>
                <a:gd name="connsiteX30" fmla="*/ 665959 w 1252730"/>
                <a:gd name="connsiteY30" fmla="*/ 390021 h 562336"/>
                <a:gd name="connsiteX31" fmla="*/ 565375 w 1252730"/>
                <a:gd name="connsiteY31" fmla="*/ 435741 h 562336"/>
                <a:gd name="connsiteX32" fmla="*/ 528799 w 1252730"/>
                <a:gd name="connsiteY32" fmla="*/ 463173 h 562336"/>
                <a:gd name="connsiteX33" fmla="*/ 483079 w 1252730"/>
                <a:gd name="connsiteY33" fmla="*/ 490605 h 562336"/>
                <a:gd name="connsiteX34" fmla="*/ 464791 w 1252730"/>
                <a:gd name="connsiteY34" fmla="*/ 490605 h 562336"/>
                <a:gd name="connsiteX35" fmla="*/ 483079 w 1252730"/>
                <a:gd name="connsiteY35" fmla="*/ 454029 h 562336"/>
                <a:gd name="connsiteX36" fmla="*/ 537943 w 1252730"/>
                <a:gd name="connsiteY36" fmla="*/ 390021 h 562336"/>
                <a:gd name="connsiteX37" fmla="*/ 629383 w 1252730"/>
                <a:gd name="connsiteY37" fmla="*/ 307725 h 562336"/>
                <a:gd name="connsiteX38" fmla="*/ 512822 w 1252730"/>
                <a:gd name="connsiteY38" fmla="*/ 247371 h 562336"/>
                <a:gd name="connsiteX39" fmla="*/ 384284 w 1252730"/>
                <a:gd name="connsiteY39" fmla="*/ 160150 h 562336"/>
                <a:gd name="connsiteX40" fmla="*/ 10712 w 1252730"/>
                <a:gd name="connsiteY40" fmla="*/ 9767 h 562336"/>
                <a:gd name="connsiteX41" fmla="*/ 320017 w 1252730"/>
                <a:gd name="connsiteY41" fmla="*/ 116539 h 562336"/>
                <a:gd name="connsiteX42" fmla="*/ 479121 w 1252730"/>
                <a:gd name="connsiteY42" fmla="*/ 187965 h 562336"/>
                <a:gd name="connsiteX43" fmla="*/ 556231 w 1252730"/>
                <a:gd name="connsiteY43" fmla="*/ 326013 h 562336"/>
                <a:gd name="connsiteX44" fmla="*/ 528799 w 1252730"/>
                <a:gd name="connsiteY44" fmla="*/ 344301 h 562336"/>
                <a:gd name="connsiteX45" fmla="*/ 455647 w 1252730"/>
                <a:gd name="connsiteY45" fmla="*/ 435741 h 562336"/>
                <a:gd name="connsiteX46" fmla="*/ 446503 w 1252730"/>
                <a:gd name="connsiteY46" fmla="*/ 463173 h 562336"/>
                <a:gd name="connsiteX47" fmla="*/ 437359 w 1252730"/>
                <a:gd name="connsiteY47" fmla="*/ 499749 h 562336"/>
                <a:gd name="connsiteX48" fmla="*/ 455647 w 1252730"/>
                <a:gd name="connsiteY48" fmla="*/ 518037 h 562336"/>
                <a:gd name="connsiteX49" fmla="*/ 409927 w 1252730"/>
                <a:gd name="connsiteY49" fmla="*/ 545469 h 562336"/>
                <a:gd name="connsiteX50" fmla="*/ 445648 w 1252730"/>
                <a:gd name="connsiteY50" fmla="*/ 518656 h 562336"/>
                <a:gd name="connsiteX51" fmla="*/ 445646 w 1252730"/>
                <a:gd name="connsiteY51" fmla="*/ 518656 h 562336"/>
                <a:gd name="connsiteX52" fmla="*/ 445646 w 1252730"/>
                <a:gd name="connsiteY52" fmla="*/ 518656 h 562336"/>
                <a:gd name="connsiteX53" fmla="*/ 445646 w 1252730"/>
                <a:gd name="connsiteY53" fmla="*/ 518656 h 562336"/>
                <a:gd name="connsiteX54" fmla="*/ 445647 w 1252730"/>
                <a:gd name="connsiteY54" fmla="*/ 518656 h 562336"/>
                <a:gd name="connsiteX55" fmla="*/ 445647 w 1252730"/>
                <a:gd name="connsiteY55" fmla="*/ 518656 h 562336"/>
                <a:gd name="connsiteX0" fmla="*/ 445645 w 1252728"/>
                <a:gd name="connsiteY0" fmla="*/ 518656 h 562336"/>
                <a:gd name="connsiteX1" fmla="*/ 445644 w 1252728"/>
                <a:gd name="connsiteY1" fmla="*/ 518656 h 562336"/>
                <a:gd name="connsiteX2" fmla="*/ 445645 w 1252728"/>
                <a:gd name="connsiteY2" fmla="*/ 518656 h 562336"/>
                <a:gd name="connsiteX3" fmla="*/ 445645 w 1252728"/>
                <a:gd name="connsiteY3" fmla="*/ 518656 h 562336"/>
                <a:gd name="connsiteX4" fmla="*/ 464789 w 1252728"/>
                <a:gd name="connsiteY4" fmla="*/ 554613 h 562336"/>
                <a:gd name="connsiteX5" fmla="*/ 565373 w 1252728"/>
                <a:gd name="connsiteY5" fmla="*/ 472317 h 562336"/>
                <a:gd name="connsiteX6" fmla="*/ 757397 w 1252728"/>
                <a:gd name="connsiteY6" fmla="*/ 390021 h 562336"/>
                <a:gd name="connsiteX7" fmla="*/ 839693 w 1252728"/>
                <a:gd name="connsiteY7" fmla="*/ 280293 h 562336"/>
                <a:gd name="connsiteX8" fmla="*/ 985997 w 1252728"/>
                <a:gd name="connsiteY8" fmla="*/ 243717 h 562336"/>
                <a:gd name="connsiteX9" fmla="*/ 1031717 w 1252728"/>
                <a:gd name="connsiteY9" fmla="*/ 243717 h 562336"/>
                <a:gd name="connsiteX10" fmla="*/ 1202179 w 1252728"/>
                <a:gd name="connsiteY10" fmla="*/ 266170 h 562336"/>
                <a:gd name="connsiteX11" fmla="*/ 1022573 w 1252728"/>
                <a:gd name="connsiteY11" fmla="*/ 225429 h 562336"/>
                <a:gd name="connsiteX12" fmla="*/ 931133 w 1252728"/>
                <a:gd name="connsiteY12" fmla="*/ 225429 h 562336"/>
                <a:gd name="connsiteX13" fmla="*/ 876269 w 1252728"/>
                <a:gd name="connsiteY13" fmla="*/ 234573 h 562336"/>
                <a:gd name="connsiteX14" fmla="*/ 867125 w 1252728"/>
                <a:gd name="connsiteY14" fmla="*/ 243717 h 562336"/>
                <a:gd name="connsiteX15" fmla="*/ 848837 w 1252728"/>
                <a:gd name="connsiteY15" fmla="*/ 234573 h 562336"/>
                <a:gd name="connsiteX16" fmla="*/ 976853 w 1252728"/>
                <a:gd name="connsiteY16" fmla="*/ 179709 h 562336"/>
                <a:gd name="connsiteX17" fmla="*/ 1031717 w 1252728"/>
                <a:gd name="connsiteY17" fmla="*/ 179709 h 562336"/>
                <a:gd name="connsiteX18" fmla="*/ 1123157 w 1252728"/>
                <a:gd name="connsiteY18" fmla="*/ 170565 h 562336"/>
                <a:gd name="connsiteX19" fmla="*/ 1251173 w 1252728"/>
                <a:gd name="connsiteY19" fmla="*/ 115701 h 562336"/>
                <a:gd name="connsiteX20" fmla="*/ 1113828 w 1252728"/>
                <a:gd name="connsiteY20" fmla="*/ 0 h 562336"/>
                <a:gd name="connsiteX21" fmla="*/ 1196309 w 1252728"/>
                <a:gd name="connsiteY21" fmla="*/ 115701 h 562336"/>
                <a:gd name="connsiteX22" fmla="*/ 1159733 w 1252728"/>
                <a:gd name="connsiteY22" fmla="*/ 124845 h 562336"/>
                <a:gd name="connsiteX23" fmla="*/ 1086581 w 1252728"/>
                <a:gd name="connsiteY23" fmla="*/ 152277 h 562336"/>
                <a:gd name="connsiteX24" fmla="*/ 1031717 w 1252728"/>
                <a:gd name="connsiteY24" fmla="*/ 152277 h 562336"/>
                <a:gd name="connsiteX25" fmla="*/ 921989 w 1252728"/>
                <a:gd name="connsiteY25" fmla="*/ 152277 h 562336"/>
                <a:gd name="connsiteX26" fmla="*/ 867125 w 1252728"/>
                <a:gd name="connsiteY26" fmla="*/ 188853 h 562336"/>
                <a:gd name="connsiteX27" fmla="*/ 840649 w 1252728"/>
                <a:gd name="connsiteY27" fmla="*/ 227068 h 562336"/>
                <a:gd name="connsiteX28" fmla="*/ 784829 w 1252728"/>
                <a:gd name="connsiteY28" fmla="*/ 271149 h 562336"/>
                <a:gd name="connsiteX29" fmla="*/ 739109 w 1252728"/>
                <a:gd name="connsiteY29" fmla="*/ 344301 h 562336"/>
                <a:gd name="connsiteX30" fmla="*/ 665957 w 1252728"/>
                <a:gd name="connsiteY30" fmla="*/ 390021 h 562336"/>
                <a:gd name="connsiteX31" fmla="*/ 565373 w 1252728"/>
                <a:gd name="connsiteY31" fmla="*/ 435741 h 562336"/>
                <a:gd name="connsiteX32" fmla="*/ 528797 w 1252728"/>
                <a:gd name="connsiteY32" fmla="*/ 463173 h 562336"/>
                <a:gd name="connsiteX33" fmla="*/ 483077 w 1252728"/>
                <a:gd name="connsiteY33" fmla="*/ 490605 h 562336"/>
                <a:gd name="connsiteX34" fmla="*/ 464789 w 1252728"/>
                <a:gd name="connsiteY34" fmla="*/ 490605 h 562336"/>
                <a:gd name="connsiteX35" fmla="*/ 483077 w 1252728"/>
                <a:gd name="connsiteY35" fmla="*/ 454029 h 562336"/>
                <a:gd name="connsiteX36" fmla="*/ 537941 w 1252728"/>
                <a:gd name="connsiteY36" fmla="*/ 390021 h 562336"/>
                <a:gd name="connsiteX37" fmla="*/ 629381 w 1252728"/>
                <a:gd name="connsiteY37" fmla="*/ 307725 h 562336"/>
                <a:gd name="connsiteX38" fmla="*/ 543387 w 1252728"/>
                <a:gd name="connsiteY38" fmla="*/ 231576 h 562336"/>
                <a:gd name="connsiteX39" fmla="*/ 384282 w 1252728"/>
                <a:gd name="connsiteY39" fmla="*/ 160150 h 562336"/>
                <a:gd name="connsiteX40" fmla="*/ 10710 w 1252728"/>
                <a:gd name="connsiteY40" fmla="*/ 9767 h 562336"/>
                <a:gd name="connsiteX41" fmla="*/ 320015 w 1252728"/>
                <a:gd name="connsiteY41" fmla="*/ 116539 h 562336"/>
                <a:gd name="connsiteX42" fmla="*/ 479119 w 1252728"/>
                <a:gd name="connsiteY42" fmla="*/ 187965 h 562336"/>
                <a:gd name="connsiteX43" fmla="*/ 556229 w 1252728"/>
                <a:gd name="connsiteY43" fmla="*/ 326013 h 562336"/>
                <a:gd name="connsiteX44" fmla="*/ 528797 w 1252728"/>
                <a:gd name="connsiteY44" fmla="*/ 344301 h 562336"/>
                <a:gd name="connsiteX45" fmla="*/ 455645 w 1252728"/>
                <a:gd name="connsiteY45" fmla="*/ 435741 h 562336"/>
                <a:gd name="connsiteX46" fmla="*/ 446501 w 1252728"/>
                <a:gd name="connsiteY46" fmla="*/ 463173 h 562336"/>
                <a:gd name="connsiteX47" fmla="*/ 437357 w 1252728"/>
                <a:gd name="connsiteY47" fmla="*/ 499749 h 562336"/>
                <a:gd name="connsiteX48" fmla="*/ 455645 w 1252728"/>
                <a:gd name="connsiteY48" fmla="*/ 518037 h 562336"/>
                <a:gd name="connsiteX49" fmla="*/ 409925 w 1252728"/>
                <a:gd name="connsiteY49" fmla="*/ 545469 h 562336"/>
                <a:gd name="connsiteX50" fmla="*/ 445646 w 1252728"/>
                <a:gd name="connsiteY50" fmla="*/ 518656 h 562336"/>
                <a:gd name="connsiteX51" fmla="*/ 445644 w 1252728"/>
                <a:gd name="connsiteY51" fmla="*/ 518656 h 562336"/>
                <a:gd name="connsiteX52" fmla="*/ 445644 w 1252728"/>
                <a:gd name="connsiteY52" fmla="*/ 518656 h 562336"/>
                <a:gd name="connsiteX53" fmla="*/ 445644 w 1252728"/>
                <a:gd name="connsiteY53" fmla="*/ 518656 h 562336"/>
                <a:gd name="connsiteX54" fmla="*/ 445645 w 1252728"/>
                <a:gd name="connsiteY54" fmla="*/ 518656 h 562336"/>
                <a:gd name="connsiteX55" fmla="*/ 445645 w 1252728"/>
                <a:gd name="connsiteY55" fmla="*/ 518656 h 562336"/>
                <a:gd name="connsiteX0" fmla="*/ 445647 w 1252730"/>
                <a:gd name="connsiteY0" fmla="*/ 518656 h 562336"/>
                <a:gd name="connsiteX1" fmla="*/ 445646 w 1252730"/>
                <a:gd name="connsiteY1" fmla="*/ 518656 h 562336"/>
                <a:gd name="connsiteX2" fmla="*/ 445647 w 1252730"/>
                <a:gd name="connsiteY2" fmla="*/ 518656 h 562336"/>
                <a:gd name="connsiteX3" fmla="*/ 445647 w 1252730"/>
                <a:gd name="connsiteY3" fmla="*/ 518656 h 562336"/>
                <a:gd name="connsiteX4" fmla="*/ 464791 w 1252730"/>
                <a:gd name="connsiteY4" fmla="*/ 554613 h 562336"/>
                <a:gd name="connsiteX5" fmla="*/ 565375 w 1252730"/>
                <a:gd name="connsiteY5" fmla="*/ 472317 h 562336"/>
                <a:gd name="connsiteX6" fmla="*/ 757399 w 1252730"/>
                <a:gd name="connsiteY6" fmla="*/ 390021 h 562336"/>
                <a:gd name="connsiteX7" fmla="*/ 839695 w 1252730"/>
                <a:gd name="connsiteY7" fmla="*/ 280293 h 562336"/>
                <a:gd name="connsiteX8" fmla="*/ 985999 w 1252730"/>
                <a:gd name="connsiteY8" fmla="*/ 243717 h 562336"/>
                <a:gd name="connsiteX9" fmla="*/ 1031719 w 1252730"/>
                <a:gd name="connsiteY9" fmla="*/ 243717 h 562336"/>
                <a:gd name="connsiteX10" fmla="*/ 1202181 w 1252730"/>
                <a:gd name="connsiteY10" fmla="*/ 266170 h 562336"/>
                <a:gd name="connsiteX11" fmla="*/ 1022575 w 1252730"/>
                <a:gd name="connsiteY11" fmla="*/ 225429 h 562336"/>
                <a:gd name="connsiteX12" fmla="*/ 931135 w 1252730"/>
                <a:gd name="connsiteY12" fmla="*/ 225429 h 562336"/>
                <a:gd name="connsiteX13" fmla="*/ 876271 w 1252730"/>
                <a:gd name="connsiteY13" fmla="*/ 234573 h 562336"/>
                <a:gd name="connsiteX14" fmla="*/ 867127 w 1252730"/>
                <a:gd name="connsiteY14" fmla="*/ 243717 h 562336"/>
                <a:gd name="connsiteX15" fmla="*/ 848839 w 1252730"/>
                <a:gd name="connsiteY15" fmla="*/ 234573 h 562336"/>
                <a:gd name="connsiteX16" fmla="*/ 976855 w 1252730"/>
                <a:gd name="connsiteY16" fmla="*/ 179709 h 562336"/>
                <a:gd name="connsiteX17" fmla="*/ 1031719 w 1252730"/>
                <a:gd name="connsiteY17" fmla="*/ 179709 h 562336"/>
                <a:gd name="connsiteX18" fmla="*/ 1123159 w 1252730"/>
                <a:gd name="connsiteY18" fmla="*/ 170565 h 562336"/>
                <a:gd name="connsiteX19" fmla="*/ 1251175 w 1252730"/>
                <a:gd name="connsiteY19" fmla="*/ 115701 h 562336"/>
                <a:gd name="connsiteX20" fmla="*/ 1113830 w 1252730"/>
                <a:gd name="connsiteY20" fmla="*/ 0 h 562336"/>
                <a:gd name="connsiteX21" fmla="*/ 1196311 w 1252730"/>
                <a:gd name="connsiteY21" fmla="*/ 115701 h 562336"/>
                <a:gd name="connsiteX22" fmla="*/ 1159735 w 1252730"/>
                <a:gd name="connsiteY22" fmla="*/ 124845 h 562336"/>
                <a:gd name="connsiteX23" fmla="*/ 1086583 w 1252730"/>
                <a:gd name="connsiteY23" fmla="*/ 152277 h 562336"/>
                <a:gd name="connsiteX24" fmla="*/ 1031719 w 1252730"/>
                <a:gd name="connsiteY24" fmla="*/ 152277 h 562336"/>
                <a:gd name="connsiteX25" fmla="*/ 921991 w 1252730"/>
                <a:gd name="connsiteY25" fmla="*/ 152277 h 562336"/>
                <a:gd name="connsiteX26" fmla="*/ 867127 w 1252730"/>
                <a:gd name="connsiteY26" fmla="*/ 188853 h 562336"/>
                <a:gd name="connsiteX27" fmla="*/ 840651 w 1252730"/>
                <a:gd name="connsiteY27" fmla="*/ 227068 h 562336"/>
                <a:gd name="connsiteX28" fmla="*/ 784831 w 1252730"/>
                <a:gd name="connsiteY28" fmla="*/ 271149 h 562336"/>
                <a:gd name="connsiteX29" fmla="*/ 739111 w 1252730"/>
                <a:gd name="connsiteY29" fmla="*/ 344301 h 562336"/>
                <a:gd name="connsiteX30" fmla="*/ 665959 w 1252730"/>
                <a:gd name="connsiteY30" fmla="*/ 390021 h 562336"/>
                <a:gd name="connsiteX31" fmla="*/ 565375 w 1252730"/>
                <a:gd name="connsiteY31" fmla="*/ 435741 h 562336"/>
                <a:gd name="connsiteX32" fmla="*/ 528799 w 1252730"/>
                <a:gd name="connsiteY32" fmla="*/ 463173 h 562336"/>
                <a:gd name="connsiteX33" fmla="*/ 483079 w 1252730"/>
                <a:gd name="connsiteY33" fmla="*/ 490605 h 562336"/>
                <a:gd name="connsiteX34" fmla="*/ 464791 w 1252730"/>
                <a:gd name="connsiteY34" fmla="*/ 490605 h 562336"/>
                <a:gd name="connsiteX35" fmla="*/ 483079 w 1252730"/>
                <a:gd name="connsiteY35" fmla="*/ 454029 h 562336"/>
                <a:gd name="connsiteX36" fmla="*/ 537943 w 1252730"/>
                <a:gd name="connsiteY36" fmla="*/ 390021 h 562336"/>
                <a:gd name="connsiteX37" fmla="*/ 629383 w 1252730"/>
                <a:gd name="connsiteY37" fmla="*/ 307725 h 562336"/>
                <a:gd name="connsiteX38" fmla="*/ 543389 w 1252730"/>
                <a:gd name="connsiteY38" fmla="*/ 231576 h 562336"/>
                <a:gd name="connsiteX39" fmla="*/ 384284 w 1252730"/>
                <a:gd name="connsiteY39" fmla="*/ 160150 h 562336"/>
                <a:gd name="connsiteX40" fmla="*/ 10712 w 1252730"/>
                <a:gd name="connsiteY40" fmla="*/ 9767 h 562336"/>
                <a:gd name="connsiteX41" fmla="*/ 320017 w 1252730"/>
                <a:gd name="connsiteY41" fmla="*/ 116539 h 562336"/>
                <a:gd name="connsiteX42" fmla="*/ 362625 w 1252730"/>
                <a:gd name="connsiteY42" fmla="*/ 212024 h 562336"/>
                <a:gd name="connsiteX43" fmla="*/ 556231 w 1252730"/>
                <a:gd name="connsiteY43" fmla="*/ 326013 h 562336"/>
                <a:gd name="connsiteX44" fmla="*/ 528799 w 1252730"/>
                <a:gd name="connsiteY44" fmla="*/ 344301 h 562336"/>
                <a:gd name="connsiteX45" fmla="*/ 455647 w 1252730"/>
                <a:gd name="connsiteY45" fmla="*/ 435741 h 562336"/>
                <a:gd name="connsiteX46" fmla="*/ 446503 w 1252730"/>
                <a:gd name="connsiteY46" fmla="*/ 463173 h 562336"/>
                <a:gd name="connsiteX47" fmla="*/ 437359 w 1252730"/>
                <a:gd name="connsiteY47" fmla="*/ 499749 h 562336"/>
                <a:gd name="connsiteX48" fmla="*/ 455647 w 1252730"/>
                <a:gd name="connsiteY48" fmla="*/ 518037 h 562336"/>
                <a:gd name="connsiteX49" fmla="*/ 409927 w 1252730"/>
                <a:gd name="connsiteY49" fmla="*/ 545469 h 562336"/>
                <a:gd name="connsiteX50" fmla="*/ 445648 w 1252730"/>
                <a:gd name="connsiteY50" fmla="*/ 518656 h 562336"/>
                <a:gd name="connsiteX51" fmla="*/ 445646 w 1252730"/>
                <a:gd name="connsiteY51" fmla="*/ 518656 h 562336"/>
                <a:gd name="connsiteX52" fmla="*/ 445646 w 1252730"/>
                <a:gd name="connsiteY52" fmla="*/ 518656 h 562336"/>
                <a:gd name="connsiteX53" fmla="*/ 445646 w 1252730"/>
                <a:gd name="connsiteY53" fmla="*/ 518656 h 562336"/>
                <a:gd name="connsiteX54" fmla="*/ 445647 w 1252730"/>
                <a:gd name="connsiteY54" fmla="*/ 518656 h 562336"/>
                <a:gd name="connsiteX55" fmla="*/ 445647 w 1252730"/>
                <a:gd name="connsiteY55" fmla="*/ 518656 h 562336"/>
                <a:gd name="connsiteX0" fmla="*/ 449256 w 1256339"/>
                <a:gd name="connsiteY0" fmla="*/ 518656 h 562336"/>
                <a:gd name="connsiteX1" fmla="*/ 449255 w 1256339"/>
                <a:gd name="connsiteY1" fmla="*/ 518656 h 562336"/>
                <a:gd name="connsiteX2" fmla="*/ 449256 w 1256339"/>
                <a:gd name="connsiteY2" fmla="*/ 518656 h 562336"/>
                <a:gd name="connsiteX3" fmla="*/ 449256 w 1256339"/>
                <a:gd name="connsiteY3" fmla="*/ 518656 h 562336"/>
                <a:gd name="connsiteX4" fmla="*/ 468400 w 1256339"/>
                <a:gd name="connsiteY4" fmla="*/ 554613 h 562336"/>
                <a:gd name="connsiteX5" fmla="*/ 568984 w 1256339"/>
                <a:gd name="connsiteY5" fmla="*/ 472317 h 562336"/>
                <a:gd name="connsiteX6" fmla="*/ 761008 w 1256339"/>
                <a:gd name="connsiteY6" fmla="*/ 390021 h 562336"/>
                <a:gd name="connsiteX7" fmla="*/ 843304 w 1256339"/>
                <a:gd name="connsiteY7" fmla="*/ 280293 h 562336"/>
                <a:gd name="connsiteX8" fmla="*/ 989608 w 1256339"/>
                <a:gd name="connsiteY8" fmla="*/ 243717 h 562336"/>
                <a:gd name="connsiteX9" fmla="*/ 1035328 w 1256339"/>
                <a:gd name="connsiteY9" fmla="*/ 243717 h 562336"/>
                <a:gd name="connsiteX10" fmla="*/ 1205790 w 1256339"/>
                <a:gd name="connsiteY10" fmla="*/ 266170 h 562336"/>
                <a:gd name="connsiteX11" fmla="*/ 1026184 w 1256339"/>
                <a:gd name="connsiteY11" fmla="*/ 225429 h 562336"/>
                <a:gd name="connsiteX12" fmla="*/ 934744 w 1256339"/>
                <a:gd name="connsiteY12" fmla="*/ 225429 h 562336"/>
                <a:gd name="connsiteX13" fmla="*/ 879880 w 1256339"/>
                <a:gd name="connsiteY13" fmla="*/ 234573 h 562336"/>
                <a:gd name="connsiteX14" fmla="*/ 870736 w 1256339"/>
                <a:gd name="connsiteY14" fmla="*/ 243717 h 562336"/>
                <a:gd name="connsiteX15" fmla="*/ 852448 w 1256339"/>
                <a:gd name="connsiteY15" fmla="*/ 234573 h 562336"/>
                <a:gd name="connsiteX16" fmla="*/ 980464 w 1256339"/>
                <a:gd name="connsiteY16" fmla="*/ 179709 h 562336"/>
                <a:gd name="connsiteX17" fmla="*/ 1035328 w 1256339"/>
                <a:gd name="connsiteY17" fmla="*/ 179709 h 562336"/>
                <a:gd name="connsiteX18" fmla="*/ 1126768 w 1256339"/>
                <a:gd name="connsiteY18" fmla="*/ 170565 h 562336"/>
                <a:gd name="connsiteX19" fmla="*/ 1254784 w 1256339"/>
                <a:gd name="connsiteY19" fmla="*/ 115701 h 562336"/>
                <a:gd name="connsiteX20" fmla="*/ 1117439 w 1256339"/>
                <a:gd name="connsiteY20" fmla="*/ 0 h 562336"/>
                <a:gd name="connsiteX21" fmla="*/ 1199920 w 1256339"/>
                <a:gd name="connsiteY21" fmla="*/ 115701 h 562336"/>
                <a:gd name="connsiteX22" fmla="*/ 1163344 w 1256339"/>
                <a:gd name="connsiteY22" fmla="*/ 124845 h 562336"/>
                <a:gd name="connsiteX23" fmla="*/ 1090192 w 1256339"/>
                <a:gd name="connsiteY23" fmla="*/ 152277 h 562336"/>
                <a:gd name="connsiteX24" fmla="*/ 1035328 w 1256339"/>
                <a:gd name="connsiteY24" fmla="*/ 152277 h 562336"/>
                <a:gd name="connsiteX25" fmla="*/ 925600 w 1256339"/>
                <a:gd name="connsiteY25" fmla="*/ 152277 h 562336"/>
                <a:gd name="connsiteX26" fmla="*/ 870736 w 1256339"/>
                <a:gd name="connsiteY26" fmla="*/ 188853 h 562336"/>
                <a:gd name="connsiteX27" fmla="*/ 844260 w 1256339"/>
                <a:gd name="connsiteY27" fmla="*/ 227068 h 562336"/>
                <a:gd name="connsiteX28" fmla="*/ 788440 w 1256339"/>
                <a:gd name="connsiteY28" fmla="*/ 271149 h 562336"/>
                <a:gd name="connsiteX29" fmla="*/ 742720 w 1256339"/>
                <a:gd name="connsiteY29" fmla="*/ 344301 h 562336"/>
                <a:gd name="connsiteX30" fmla="*/ 669568 w 1256339"/>
                <a:gd name="connsiteY30" fmla="*/ 390021 h 562336"/>
                <a:gd name="connsiteX31" fmla="*/ 568984 w 1256339"/>
                <a:gd name="connsiteY31" fmla="*/ 435741 h 562336"/>
                <a:gd name="connsiteX32" fmla="*/ 532408 w 1256339"/>
                <a:gd name="connsiteY32" fmla="*/ 463173 h 562336"/>
                <a:gd name="connsiteX33" fmla="*/ 486688 w 1256339"/>
                <a:gd name="connsiteY33" fmla="*/ 490605 h 562336"/>
                <a:gd name="connsiteX34" fmla="*/ 468400 w 1256339"/>
                <a:gd name="connsiteY34" fmla="*/ 490605 h 562336"/>
                <a:gd name="connsiteX35" fmla="*/ 486688 w 1256339"/>
                <a:gd name="connsiteY35" fmla="*/ 454029 h 562336"/>
                <a:gd name="connsiteX36" fmla="*/ 541552 w 1256339"/>
                <a:gd name="connsiteY36" fmla="*/ 390021 h 562336"/>
                <a:gd name="connsiteX37" fmla="*/ 632992 w 1256339"/>
                <a:gd name="connsiteY37" fmla="*/ 307725 h 562336"/>
                <a:gd name="connsiteX38" fmla="*/ 546998 w 1256339"/>
                <a:gd name="connsiteY38" fmla="*/ 231576 h 562336"/>
                <a:gd name="connsiteX39" fmla="*/ 387893 w 1256339"/>
                <a:gd name="connsiteY39" fmla="*/ 160150 h 562336"/>
                <a:gd name="connsiteX40" fmla="*/ 14321 w 1256339"/>
                <a:gd name="connsiteY40" fmla="*/ 9767 h 562336"/>
                <a:gd name="connsiteX41" fmla="*/ 301964 w 1256339"/>
                <a:gd name="connsiteY41" fmla="*/ 168414 h 562336"/>
                <a:gd name="connsiteX42" fmla="*/ 366234 w 1256339"/>
                <a:gd name="connsiteY42" fmla="*/ 212024 h 562336"/>
                <a:gd name="connsiteX43" fmla="*/ 559840 w 1256339"/>
                <a:gd name="connsiteY43" fmla="*/ 326013 h 562336"/>
                <a:gd name="connsiteX44" fmla="*/ 532408 w 1256339"/>
                <a:gd name="connsiteY44" fmla="*/ 344301 h 562336"/>
                <a:gd name="connsiteX45" fmla="*/ 459256 w 1256339"/>
                <a:gd name="connsiteY45" fmla="*/ 435741 h 562336"/>
                <a:gd name="connsiteX46" fmla="*/ 450112 w 1256339"/>
                <a:gd name="connsiteY46" fmla="*/ 463173 h 562336"/>
                <a:gd name="connsiteX47" fmla="*/ 440968 w 1256339"/>
                <a:gd name="connsiteY47" fmla="*/ 499749 h 562336"/>
                <a:gd name="connsiteX48" fmla="*/ 459256 w 1256339"/>
                <a:gd name="connsiteY48" fmla="*/ 518037 h 562336"/>
                <a:gd name="connsiteX49" fmla="*/ 413536 w 1256339"/>
                <a:gd name="connsiteY49" fmla="*/ 545469 h 562336"/>
                <a:gd name="connsiteX50" fmla="*/ 449257 w 1256339"/>
                <a:gd name="connsiteY50" fmla="*/ 518656 h 562336"/>
                <a:gd name="connsiteX51" fmla="*/ 449255 w 1256339"/>
                <a:gd name="connsiteY51" fmla="*/ 518656 h 562336"/>
                <a:gd name="connsiteX52" fmla="*/ 449255 w 1256339"/>
                <a:gd name="connsiteY52" fmla="*/ 518656 h 562336"/>
                <a:gd name="connsiteX53" fmla="*/ 449255 w 1256339"/>
                <a:gd name="connsiteY53" fmla="*/ 518656 h 562336"/>
                <a:gd name="connsiteX54" fmla="*/ 449256 w 1256339"/>
                <a:gd name="connsiteY54" fmla="*/ 518656 h 562336"/>
                <a:gd name="connsiteX55" fmla="*/ 449256 w 1256339"/>
                <a:gd name="connsiteY55" fmla="*/ 518656 h 562336"/>
                <a:gd name="connsiteX0" fmla="*/ 449256 w 1256339"/>
                <a:gd name="connsiteY0" fmla="*/ 518656 h 562336"/>
                <a:gd name="connsiteX1" fmla="*/ 449255 w 1256339"/>
                <a:gd name="connsiteY1" fmla="*/ 518656 h 562336"/>
                <a:gd name="connsiteX2" fmla="*/ 449256 w 1256339"/>
                <a:gd name="connsiteY2" fmla="*/ 518656 h 562336"/>
                <a:gd name="connsiteX3" fmla="*/ 449256 w 1256339"/>
                <a:gd name="connsiteY3" fmla="*/ 518656 h 562336"/>
                <a:gd name="connsiteX4" fmla="*/ 468400 w 1256339"/>
                <a:gd name="connsiteY4" fmla="*/ 554613 h 562336"/>
                <a:gd name="connsiteX5" fmla="*/ 568984 w 1256339"/>
                <a:gd name="connsiteY5" fmla="*/ 472317 h 562336"/>
                <a:gd name="connsiteX6" fmla="*/ 761008 w 1256339"/>
                <a:gd name="connsiteY6" fmla="*/ 390021 h 562336"/>
                <a:gd name="connsiteX7" fmla="*/ 843304 w 1256339"/>
                <a:gd name="connsiteY7" fmla="*/ 280293 h 562336"/>
                <a:gd name="connsiteX8" fmla="*/ 989608 w 1256339"/>
                <a:gd name="connsiteY8" fmla="*/ 243717 h 562336"/>
                <a:gd name="connsiteX9" fmla="*/ 1035328 w 1256339"/>
                <a:gd name="connsiteY9" fmla="*/ 243717 h 562336"/>
                <a:gd name="connsiteX10" fmla="*/ 1205790 w 1256339"/>
                <a:gd name="connsiteY10" fmla="*/ 266170 h 562336"/>
                <a:gd name="connsiteX11" fmla="*/ 1026184 w 1256339"/>
                <a:gd name="connsiteY11" fmla="*/ 225429 h 562336"/>
                <a:gd name="connsiteX12" fmla="*/ 934744 w 1256339"/>
                <a:gd name="connsiteY12" fmla="*/ 225429 h 562336"/>
                <a:gd name="connsiteX13" fmla="*/ 879880 w 1256339"/>
                <a:gd name="connsiteY13" fmla="*/ 234573 h 562336"/>
                <a:gd name="connsiteX14" fmla="*/ 870736 w 1256339"/>
                <a:gd name="connsiteY14" fmla="*/ 243717 h 562336"/>
                <a:gd name="connsiteX15" fmla="*/ 852448 w 1256339"/>
                <a:gd name="connsiteY15" fmla="*/ 234573 h 562336"/>
                <a:gd name="connsiteX16" fmla="*/ 980464 w 1256339"/>
                <a:gd name="connsiteY16" fmla="*/ 179709 h 562336"/>
                <a:gd name="connsiteX17" fmla="*/ 1035328 w 1256339"/>
                <a:gd name="connsiteY17" fmla="*/ 179709 h 562336"/>
                <a:gd name="connsiteX18" fmla="*/ 1126768 w 1256339"/>
                <a:gd name="connsiteY18" fmla="*/ 170565 h 562336"/>
                <a:gd name="connsiteX19" fmla="*/ 1254784 w 1256339"/>
                <a:gd name="connsiteY19" fmla="*/ 115701 h 562336"/>
                <a:gd name="connsiteX20" fmla="*/ 1117439 w 1256339"/>
                <a:gd name="connsiteY20" fmla="*/ 0 h 562336"/>
                <a:gd name="connsiteX21" fmla="*/ 1199920 w 1256339"/>
                <a:gd name="connsiteY21" fmla="*/ 115701 h 562336"/>
                <a:gd name="connsiteX22" fmla="*/ 1163344 w 1256339"/>
                <a:gd name="connsiteY22" fmla="*/ 124845 h 562336"/>
                <a:gd name="connsiteX23" fmla="*/ 1090192 w 1256339"/>
                <a:gd name="connsiteY23" fmla="*/ 152277 h 562336"/>
                <a:gd name="connsiteX24" fmla="*/ 1035328 w 1256339"/>
                <a:gd name="connsiteY24" fmla="*/ 152277 h 562336"/>
                <a:gd name="connsiteX25" fmla="*/ 925600 w 1256339"/>
                <a:gd name="connsiteY25" fmla="*/ 152277 h 562336"/>
                <a:gd name="connsiteX26" fmla="*/ 870736 w 1256339"/>
                <a:gd name="connsiteY26" fmla="*/ 188853 h 562336"/>
                <a:gd name="connsiteX27" fmla="*/ 844260 w 1256339"/>
                <a:gd name="connsiteY27" fmla="*/ 227068 h 562336"/>
                <a:gd name="connsiteX28" fmla="*/ 788440 w 1256339"/>
                <a:gd name="connsiteY28" fmla="*/ 271149 h 562336"/>
                <a:gd name="connsiteX29" fmla="*/ 742720 w 1256339"/>
                <a:gd name="connsiteY29" fmla="*/ 344301 h 562336"/>
                <a:gd name="connsiteX30" fmla="*/ 669568 w 1256339"/>
                <a:gd name="connsiteY30" fmla="*/ 390021 h 562336"/>
                <a:gd name="connsiteX31" fmla="*/ 568984 w 1256339"/>
                <a:gd name="connsiteY31" fmla="*/ 435741 h 562336"/>
                <a:gd name="connsiteX32" fmla="*/ 532408 w 1256339"/>
                <a:gd name="connsiteY32" fmla="*/ 463173 h 562336"/>
                <a:gd name="connsiteX33" fmla="*/ 486688 w 1256339"/>
                <a:gd name="connsiteY33" fmla="*/ 490605 h 562336"/>
                <a:gd name="connsiteX34" fmla="*/ 468400 w 1256339"/>
                <a:gd name="connsiteY34" fmla="*/ 490605 h 562336"/>
                <a:gd name="connsiteX35" fmla="*/ 486688 w 1256339"/>
                <a:gd name="connsiteY35" fmla="*/ 454029 h 562336"/>
                <a:gd name="connsiteX36" fmla="*/ 541552 w 1256339"/>
                <a:gd name="connsiteY36" fmla="*/ 390021 h 562336"/>
                <a:gd name="connsiteX37" fmla="*/ 632992 w 1256339"/>
                <a:gd name="connsiteY37" fmla="*/ 307725 h 562336"/>
                <a:gd name="connsiteX38" fmla="*/ 546998 w 1256339"/>
                <a:gd name="connsiteY38" fmla="*/ 231576 h 562336"/>
                <a:gd name="connsiteX39" fmla="*/ 387893 w 1256339"/>
                <a:gd name="connsiteY39" fmla="*/ 160150 h 562336"/>
                <a:gd name="connsiteX40" fmla="*/ 14321 w 1256339"/>
                <a:gd name="connsiteY40" fmla="*/ 9767 h 562336"/>
                <a:gd name="connsiteX41" fmla="*/ 301964 w 1256339"/>
                <a:gd name="connsiteY41" fmla="*/ 168414 h 562336"/>
                <a:gd name="connsiteX42" fmla="*/ 430502 w 1256339"/>
                <a:gd name="connsiteY42" fmla="*/ 255634 h 562336"/>
                <a:gd name="connsiteX43" fmla="*/ 559840 w 1256339"/>
                <a:gd name="connsiteY43" fmla="*/ 326013 h 562336"/>
                <a:gd name="connsiteX44" fmla="*/ 532408 w 1256339"/>
                <a:gd name="connsiteY44" fmla="*/ 344301 h 562336"/>
                <a:gd name="connsiteX45" fmla="*/ 459256 w 1256339"/>
                <a:gd name="connsiteY45" fmla="*/ 435741 h 562336"/>
                <a:gd name="connsiteX46" fmla="*/ 450112 w 1256339"/>
                <a:gd name="connsiteY46" fmla="*/ 463173 h 562336"/>
                <a:gd name="connsiteX47" fmla="*/ 440968 w 1256339"/>
                <a:gd name="connsiteY47" fmla="*/ 499749 h 562336"/>
                <a:gd name="connsiteX48" fmla="*/ 459256 w 1256339"/>
                <a:gd name="connsiteY48" fmla="*/ 518037 h 562336"/>
                <a:gd name="connsiteX49" fmla="*/ 413536 w 1256339"/>
                <a:gd name="connsiteY49" fmla="*/ 545469 h 562336"/>
                <a:gd name="connsiteX50" fmla="*/ 449257 w 1256339"/>
                <a:gd name="connsiteY50" fmla="*/ 518656 h 562336"/>
                <a:gd name="connsiteX51" fmla="*/ 449255 w 1256339"/>
                <a:gd name="connsiteY51" fmla="*/ 518656 h 562336"/>
                <a:gd name="connsiteX52" fmla="*/ 449255 w 1256339"/>
                <a:gd name="connsiteY52" fmla="*/ 518656 h 562336"/>
                <a:gd name="connsiteX53" fmla="*/ 449255 w 1256339"/>
                <a:gd name="connsiteY53" fmla="*/ 518656 h 562336"/>
                <a:gd name="connsiteX54" fmla="*/ 449256 w 1256339"/>
                <a:gd name="connsiteY54" fmla="*/ 518656 h 562336"/>
                <a:gd name="connsiteX55" fmla="*/ 449256 w 1256339"/>
                <a:gd name="connsiteY55" fmla="*/ 518656 h 562336"/>
                <a:gd name="connsiteX0" fmla="*/ 449256 w 1256339"/>
                <a:gd name="connsiteY0" fmla="*/ 518656 h 562336"/>
                <a:gd name="connsiteX1" fmla="*/ 449255 w 1256339"/>
                <a:gd name="connsiteY1" fmla="*/ 518656 h 562336"/>
                <a:gd name="connsiteX2" fmla="*/ 449256 w 1256339"/>
                <a:gd name="connsiteY2" fmla="*/ 518656 h 562336"/>
                <a:gd name="connsiteX3" fmla="*/ 449256 w 1256339"/>
                <a:gd name="connsiteY3" fmla="*/ 518656 h 562336"/>
                <a:gd name="connsiteX4" fmla="*/ 468400 w 1256339"/>
                <a:gd name="connsiteY4" fmla="*/ 554613 h 562336"/>
                <a:gd name="connsiteX5" fmla="*/ 568984 w 1256339"/>
                <a:gd name="connsiteY5" fmla="*/ 472317 h 562336"/>
                <a:gd name="connsiteX6" fmla="*/ 761008 w 1256339"/>
                <a:gd name="connsiteY6" fmla="*/ 390021 h 562336"/>
                <a:gd name="connsiteX7" fmla="*/ 843304 w 1256339"/>
                <a:gd name="connsiteY7" fmla="*/ 280293 h 562336"/>
                <a:gd name="connsiteX8" fmla="*/ 989608 w 1256339"/>
                <a:gd name="connsiteY8" fmla="*/ 243717 h 562336"/>
                <a:gd name="connsiteX9" fmla="*/ 1035328 w 1256339"/>
                <a:gd name="connsiteY9" fmla="*/ 243717 h 562336"/>
                <a:gd name="connsiteX10" fmla="*/ 1205790 w 1256339"/>
                <a:gd name="connsiteY10" fmla="*/ 266170 h 562336"/>
                <a:gd name="connsiteX11" fmla="*/ 1026184 w 1256339"/>
                <a:gd name="connsiteY11" fmla="*/ 225429 h 562336"/>
                <a:gd name="connsiteX12" fmla="*/ 934744 w 1256339"/>
                <a:gd name="connsiteY12" fmla="*/ 225429 h 562336"/>
                <a:gd name="connsiteX13" fmla="*/ 879880 w 1256339"/>
                <a:gd name="connsiteY13" fmla="*/ 234573 h 562336"/>
                <a:gd name="connsiteX14" fmla="*/ 870736 w 1256339"/>
                <a:gd name="connsiteY14" fmla="*/ 243717 h 562336"/>
                <a:gd name="connsiteX15" fmla="*/ 852448 w 1256339"/>
                <a:gd name="connsiteY15" fmla="*/ 234573 h 562336"/>
                <a:gd name="connsiteX16" fmla="*/ 980464 w 1256339"/>
                <a:gd name="connsiteY16" fmla="*/ 179709 h 562336"/>
                <a:gd name="connsiteX17" fmla="*/ 1035328 w 1256339"/>
                <a:gd name="connsiteY17" fmla="*/ 179709 h 562336"/>
                <a:gd name="connsiteX18" fmla="*/ 1126768 w 1256339"/>
                <a:gd name="connsiteY18" fmla="*/ 170565 h 562336"/>
                <a:gd name="connsiteX19" fmla="*/ 1254784 w 1256339"/>
                <a:gd name="connsiteY19" fmla="*/ 115701 h 562336"/>
                <a:gd name="connsiteX20" fmla="*/ 1117439 w 1256339"/>
                <a:gd name="connsiteY20" fmla="*/ 0 h 562336"/>
                <a:gd name="connsiteX21" fmla="*/ 1199920 w 1256339"/>
                <a:gd name="connsiteY21" fmla="*/ 115701 h 562336"/>
                <a:gd name="connsiteX22" fmla="*/ 1163344 w 1256339"/>
                <a:gd name="connsiteY22" fmla="*/ 124845 h 562336"/>
                <a:gd name="connsiteX23" fmla="*/ 1090192 w 1256339"/>
                <a:gd name="connsiteY23" fmla="*/ 152277 h 562336"/>
                <a:gd name="connsiteX24" fmla="*/ 1035328 w 1256339"/>
                <a:gd name="connsiteY24" fmla="*/ 152277 h 562336"/>
                <a:gd name="connsiteX25" fmla="*/ 925600 w 1256339"/>
                <a:gd name="connsiteY25" fmla="*/ 152277 h 562336"/>
                <a:gd name="connsiteX26" fmla="*/ 870736 w 1256339"/>
                <a:gd name="connsiteY26" fmla="*/ 188853 h 562336"/>
                <a:gd name="connsiteX27" fmla="*/ 844260 w 1256339"/>
                <a:gd name="connsiteY27" fmla="*/ 227068 h 562336"/>
                <a:gd name="connsiteX28" fmla="*/ 788440 w 1256339"/>
                <a:gd name="connsiteY28" fmla="*/ 271149 h 562336"/>
                <a:gd name="connsiteX29" fmla="*/ 742720 w 1256339"/>
                <a:gd name="connsiteY29" fmla="*/ 344301 h 562336"/>
                <a:gd name="connsiteX30" fmla="*/ 669568 w 1256339"/>
                <a:gd name="connsiteY30" fmla="*/ 390021 h 562336"/>
                <a:gd name="connsiteX31" fmla="*/ 568984 w 1256339"/>
                <a:gd name="connsiteY31" fmla="*/ 435741 h 562336"/>
                <a:gd name="connsiteX32" fmla="*/ 532408 w 1256339"/>
                <a:gd name="connsiteY32" fmla="*/ 463173 h 562336"/>
                <a:gd name="connsiteX33" fmla="*/ 486688 w 1256339"/>
                <a:gd name="connsiteY33" fmla="*/ 490605 h 562336"/>
                <a:gd name="connsiteX34" fmla="*/ 468400 w 1256339"/>
                <a:gd name="connsiteY34" fmla="*/ 490605 h 562336"/>
                <a:gd name="connsiteX35" fmla="*/ 486688 w 1256339"/>
                <a:gd name="connsiteY35" fmla="*/ 454029 h 562336"/>
                <a:gd name="connsiteX36" fmla="*/ 541552 w 1256339"/>
                <a:gd name="connsiteY36" fmla="*/ 390021 h 562336"/>
                <a:gd name="connsiteX37" fmla="*/ 632992 w 1256339"/>
                <a:gd name="connsiteY37" fmla="*/ 307725 h 562336"/>
                <a:gd name="connsiteX38" fmla="*/ 546998 w 1256339"/>
                <a:gd name="connsiteY38" fmla="*/ 231575 h 562336"/>
                <a:gd name="connsiteX39" fmla="*/ 387893 w 1256339"/>
                <a:gd name="connsiteY39" fmla="*/ 160150 h 562336"/>
                <a:gd name="connsiteX40" fmla="*/ 14321 w 1256339"/>
                <a:gd name="connsiteY40" fmla="*/ 9767 h 562336"/>
                <a:gd name="connsiteX41" fmla="*/ 301964 w 1256339"/>
                <a:gd name="connsiteY41" fmla="*/ 168414 h 562336"/>
                <a:gd name="connsiteX42" fmla="*/ 430502 w 1256339"/>
                <a:gd name="connsiteY42" fmla="*/ 255634 h 562336"/>
                <a:gd name="connsiteX43" fmla="*/ 559840 w 1256339"/>
                <a:gd name="connsiteY43" fmla="*/ 326013 h 562336"/>
                <a:gd name="connsiteX44" fmla="*/ 532408 w 1256339"/>
                <a:gd name="connsiteY44" fmla="*/ 344301 h 562336"/>
                <a:gd name="connsiteX45" fmla="*/ 459256 w 1256339"/>
                <a:gd name="connsiteY45" fmla="*/ 435741 h 562336"/>
                <a:gd name="connsiteX46" fmla="*/ 450112 w 1256339"/>
                <a:gd name="connsiteY46" fmla="*/ 463173 h 562336"/>
                <a:gd name="connsiteX47" fmla="*/ 440968 w 1256339"/>
                <a:gd name="connsiteY47" fmla="*/ 499749 h 562336"/>
                <a:gd name="connsiteX48" fmla="*/ 459256 w 1256339"/>
                <a:gd name="connsiteY48" fmla="*/ 518037 h 562336"/>
                <a:gd name="connsiteX49" fmla="*/ 413536 w 1256339"/>
                <a:gd name="connsiteY49" fmla="*/ 545469 h 562336"/>
                <a:gd name="connsiteX50" fmla="*/ 449257 w 1256339"/>
                <a:gd name="connsiteY50" fmla="*/ 518656 h 562336"/>
                <a:gd name="connsiteX51" fmla="*/ 449255 w 1256339"/>
                <a:gd name="connsiteY51" fmla="*/ 518656 h 562336"/>
                <a:gd name="connsiteX52" fmla="*/ 449255 w 1256339"/>
                <a:gd name="connsiteY52" fmla="*/ 518656 h 562336"/>
                <a:gd name="connsiteX53" fmla="*/ 449255 w 1256339"/>
                <a:gd name="connsiteY53" fmla="*/ 518656 h 562336"/>
                <a:gd name="connsiteX54" fmla="*/ 449256 w 1256339"/>
                <a:gd name="connsiteY54" fmla="*/ 518656 h 562336"/>
                <a:gd name="connsiteX55" fmla="*/ 449256 w 1256339"/>
                <a:gd name="connsiteY55" fmla="*/ 518656 h 562336"/>
                <a:gd name="connsiteX0" fmla="*/ 449256 w 1256339"/>
                <a:gd name="connsiteY0" fmla="*/ 518656 h 562336"/>
                <a:gd name="connsiteX1" fmla="*/ 449255 w 1256339"/>
                <a:gd name="connsiteY1" fmla="*/ 518656 h 562336"/>
                <a:gd name="connsiteX2" fmla="*/ 449256 w 1256339"/>
                <a:gd name="connsiteY2" fmla="*/ 518656 h 562336"/>
                <a:gd name="connsiteX3" fmla="*/ 449256 w 1256339"/>
                <a:gd name="connsiteY3" fmla="*/ 518656 h 562336"/>
                <a:gd name="connsiteX4" fmla="*/ 468400 w 1256339"/>
                <a:gd name="connsiteY4" fmla="*/ 554613 h 562336"/>
                <a:gd name="connsiteX5" fmla="*/ 568984 w 1256339"/>
                <a:gd name="connsiteY5" fmla="*/ 472317 h 562336"/>
                <a:gd name="connsiteX6" fmla="*/ 761008 w 1256339"/>
                <a:gd name="connsiteY6" fmla="*/ 390021 h 562336"/>
                <a:gd name="connsiteX7" fmla="*/ 843304 w 1256339"/>
                <a:gd name="connsiteY7" fmla="*/ 280293 h 562336"/>
                <a:gd name="connsiteX8" fmla="*/ 989608 w 1256339"/>
                <a:gd name="connsiteY8" fmla="*/ 243717 h 562336"/>
                <a:gd name="connsiteX9" fmla="*/ 1035328 w 1256339"/>
                <a:gd name="connsiteY9" fmla="*/ 243717 h 562336"/>
                <a:gd name="connsiteX10" fmla="*/ 1205790 w 1256339"/>
                <a:gd name="connsiteY10" fmla="*/ 266170 h 562336"/>
                <a:gd name="connsiteX11" fmla="*/ 1026184 w 1256339"/>
                <a:gd name="connsiteY11" fmla="*/ 225429 h 562336"/>
                <a:gd name="connsiteX12" fmla="*/ 934744 w 1256339"/>
                <a:gd name="connsiteY12" fmla="*/ 225429 h 562336"/>
                <a:gd name="connsiteX13" fmla="*/ 879880 w 1256339"/>
                <a:gd name="connsiteY13" fmla="*/ 234573 h 562336"/>
                <a:gd name="connsiteX14" fmla="*/ 870736 w 1256339"/>
                <a:gd name="connsiteY14" fmla="*/ 243717 h 562336"/>
                <a:gd name="connsiteX15" fmla="*/ 852448 w 1256339"/>
                <a:gd name="connsiteY15" fmla="*/ 234573 h 562336"/>
                <a:gd name="connsiteX16" fmla="*/ 980464 w 1256339"/>
                <a:gd name="connsiteY16" fmla="*/ 179709 h 562336"/>
                <a:gd name="connsiteX17" fmla="*/ 1035328 w 1256339"/>
                <a:gd name="connsiteY17" fmla="*/ 179709 h 562336"/>
                <a:gd name="connsiteX18" fmla="*/ 1126768 w 1256339"/>
                <a:gd name="connsiteY18" fmla="*/ 170565 h 562336"/>
                <a:gd name="connsiteX19" fmla="*/ 1254784 w 1256339"/>
                <a:gd name="connsiteY19" fmla="*/ 115701 h 562336"/>
                <a:gd name="connsiteX20" fmla="*/ 1117439 w 1256339"/>
                <a:gd name="connsiteY20" fmla="*/ 0 h 562336"/>
                <a:gd name="connsiteX21" fmla="*/ 1199920 w 1256339"/>
                <a:gd name="connsiteY21" fmla="*/ 115701 h 562336"/>
                <a:gd name="connsiteX22" fmla="*/ 1163344 w 1256339"/>
                <a:gd name="connsiteY22" fmla="*/ 124845 h 562336"/>
                <a:gd name="connsiteX23" fmla="*/ 1090192 w 1256339"/>
                <a:gd name="connsiteY23" fmla="*/ 152277 h 562336"/>
                <a:gd name="connsiteX24" fmla="*/ 1035328 w 1256339"/>
                <a:gd name="connsiteY24" fmla="*/ 152277 h 562336"/>
                <a:gd name="connsiteX25" fmla="*/ 925600 w 1256339"/>
                <a:gd name="connsiteY25" fmla="*/ 152277 h 562336"/>
                <a:gd name="connsiteX26" fmla="*/ 870736 w 1256339"/>
                <a:gd name="connsiteY26" fmla="*/ 188853 h 562336"/>
                <a:gd name="connsiteX27" fmla="*/ 844260 w 1256339"/>
                <a:gd name="connsiteY27" fmla="*/ 227068 h 562336"/>
                <a:gd name="connsiteX28" fmla="*/ 788440 w 1256339"/>
                <a:gd name="connsiteY28" fmla="*/ 271149 h 562336"/>
                <a:gd name="connsiteX29" fmla="*/ 742720 w 1256339"/>
                <a:gd name="connsiteY29" fmla="*/ 344301 h 562336"/>
                <a:gd name="connsiteX30" fmla="*/ 669568 w 1256339"/>
                <a:gd name="connsiteY30" fmla="*/ 390021 h 562336"/>
                <a:gd name="connsiteX31" fmla="*/ 568984 w 1256339"/>
                <a:gd name="connsiteY31" fmla="*/ 435741 h 562336"/>
                <a:gd name="connsiteX32" fmla="*/ 532408 w 1256339"/>
                <a:gd name="connsiteY32" fmla="*/ 463173 h 562336"/>
                <a:gd name="connsiteX33" fmla="*/ 486688 w 1256339"/>
                <a:gd name="connsiteY33" fmla="*/ 490605 h 562336"/>
                <a:gd name="connsiteX34" fmla="*/ 468400 w 1256339"/>
                <a:gd name="connsiteY34" fmla="*/ 490605 h 562336"/>
                <a:gd name="connsiteX35" fmla="*/ 486688 w 1256339"/>
                <a:gd name="connsiteY35" fmla="*/ 454029 h 562336"/>
                <a:gd name="connsiteX36" fmla="*/ 541552 w 1256339"/>
                <a:gd name="connsiteY36" fmla="*/ 390021 h 562336"/>
                <a:gd name="connsiteX37" fmla="*/ 632992 w 1256339"/>
                <a:gd name="connsiteY37" fmla="*/ 307725 h 562336"/>
                <a:gd name="connsiteX38" fmla="*/ 546998 w 1256339"/>
                <a:gd name="connsiteY38" fmla="*/ 231575 h 562336"/>
                <a:gd name="connsiteX39" fmla="*/ 387893 w 1256339"/>
                <a:gd name="connsiteY39" fmla="*/ 160150 h 562336"/>
                <a:gd name="connsiteX40" fmla="*/ 14321 w 1256339"/>
                <a:gd name="connsiteY40" fmla="*/ 9767 h 562336"/>
                <a:gd name="connsiteX41" fmla="*/ 301964 w 1256339"/>
                <a:gd name="connsiteY41" fmla="*/ 168414 h 562336"/>
                <a:gd name="connsiteX42" fmla="*/ 546998 w 1256339"/>
                <a:gd name="connsiteY42" fmla="*/ 231575 h 562336"/>
                <a:gd name="connsiteX43" fmla="*/ 559840 w 1256339"/>
                <a:gd name="connsiteY43" fmla="*/ 326013 h 562336"/>
                <a:gd name="connsiteX44" fmla="*/ 532408 w 1256339"/>
                <a:gd name="connsiteY44" fmla="*/ 344301 h 562336"/>
                <a:gd name="connsiteX45" fmla="*/ 459256 w 1256339"/>
                <a:gd name="connsiteY45" fmla="*/ 435741 h 562336"/>
                <a:gd name="connsiteX46" fmla="*/ 450112 w 1256339"/>
                <a:gd name="connsiteY46" fmla="*/ 463173 h 562336"/>
                <a:gd name="connsiteX47" fmla="*/ 440968 w 1256339"/>
                <a:gd name="connsiteY47" fmla="*/ 499749 h 562336"/>
                <a:gd name="connsiteX48" fmla="*/ 459256 w 1256339"/>
                <a:gd name="connsiteY48" fmla="*/ 518037 h 562336"/>
                <a:gd name="connsiteX49" fmla="*/ 413536 w 1256339"/>
                <a:gd name="connsiteY49" fmla="*/ 545469 h 562336"/>
                <a:gd name="connsiteX50" fmla="*/ 449257 w 1256339"/>
                <a:gd name="connsiteY50" fmla="*/ 518656 h 562336"/>
                <a:gd name="connsiteX51" fmla="*/ 449255 w 1256339"/>
                <a:gd name="connsiteY51" fmla="*/ 518656 h 562336"/>
                <a:gd name="connsiteX52" fmla="*/ 449255 w 1256339"/>
                <a:gd name="connsiteY52" fmla="*/ 518656 h 562336"/>
                <a:gd name="connsiteX53" fmla="*/ 449255 w 1256339"/>
                <a:gd name="connsiteY53" fmla="*/ 518656 h 562336"/>
                <a:gd name="connsiteX54" fmla="*/ 449256 w 1256339"/>
                <a:gd name="connsiteY54" fmla="*/ 518656 h 562336"/>
                <a:gd name="connsiteX55" fmla="*/ 449256 w 1256339"/>
                <a:gd name="connsiteY55" fmla="*/ 518656 h 562336"/>
                <a:gd name="connsiteX0" fmla="*/ 440028 w 1247111"/>
                <a:gd name="connsiteY0" fmla="*/ 518656 h 562336"/>
                <a:gd name="connsiteX1" fmla="*/ 440027 w 1247111"/>
                <a:gd name="connsiteY1" fmla="*/ 518656 h 562336"/>
                <a:gd name="connsiteX2" fmla="*/ 440028 w 1247111"/>
                <a:gd name="connsiteY2" fmla="*/ 518656 h 562336"/>
                <a:gd name="connsiteX3" fmla="*/ 440028 w 1247111"/>
                <a:gd name="connsiteY3" fmla="*/ 518656 h 562336"/>
                <a:gd name="connsiteX4" fmla="*/ 459172 w 1247111"/>
                <a:gd name="connsiteY4" fmla="*/ 554613 h 562336"/>
                <a:gd name="connsiteX5" fmla="*/ 559756 w 1247111"/>
                <a:gd name="connsiteY5" fmla="*/ 472317 h 562336"/>
                <a:gd name="connsiteX6" fmla="*/ 751780 w 1247111"/>
                <a:gd name="connsiteY6" fmla="*/ 390021 h 562336"/>
                <a:gd name="connsiteX7" fmla="*/ 834076 w 1247111"/>
                <a:gd name="connsiteY7" fmla="*/ 280293 h 562336"/>
                <a:gd name="connsiteX8" fmla="*/ 980380 w 1247111"/>
                <a:gd name="connsiteY8" fmla="*/ 243717 h 562336"/>
                <a:gd name="connsiteX9" fmla="*/ 1026100 w 1247111"/>
                <a:gd name="connsiteY9" fmla="*/ 243717 h 562336"/>
                <a:gd name="connsiteX10" fmla="*/ 1196562 w 1247111"/>
                <a:gd name="connsiteY10" fmla="*/ 266170 h 562336"/>
                <a:gd name="connsiteX11" fmla="*/ 1016956 w 1247111"/>
                <a:gd name="connsiteY11" fmla="*/ 225429 h 562336"/>
                <a:gd name="connsiteX12" fmla="*/ 925516 w 1247111"/>
                <a:gd name="connsiteY12" fmla="*/ 225429 h 562336"/>
                <a:gd name="connsiteX13" fmla="*/ 870652 w 1247111"/>
                <a:gd name="connsiteY13" fmla="*/ 234573 h 562336"/>
                <a:gd name="connsiteX14" fmla="*/ 861508 w 1247111"/>
                <a:gd name="connsiteY14" fmla="*/ 243717 h 562336"/>
                <a:gd name="connsiteX15" fmla="*/ 843220 w 1247111"/>
                <a:gd name="connsiteY15" fmla="*/ 234573 h 562336"/>
                <a:gd name="connsiteX16" fmla="*/ 971236 w 1247111"/>
                <a:gd name="connsiteY16" fmla="*/ 179709 h 562336"/>
                <a:gd name="connsiteX17" fmla="*/ 1026100 w 1247111"/>
                <a:gd name="connsiteY17" fmla="*/ 179709 h 562336"/>
                <a:gd name="connsiteX18" fmla="*/ 1117540 w 1247111"/>
                <a:gd name="connsiteY18" fmla="*/ 170565 h 562336"/>
                <a:gd name="connsiteX19" fmla="*/ 1245556 w 1247111"/>
                <a:gd name="connsiteY19" fmla="*/ 115701 h 562336"/>
                <a:gd name="connsiteX20" fmla="*/ 1108211 w 1247111"/>
                <a:gd name="connsiteY20" fmla="*/ 0 h 562336"/>
                <a:gd name="connsiteX21" fmla="*/ 1190692 w 1247111"/>
                <a:gd name="connsiteY21" fmla="*/ 115701 h 562336"/>
                <a:gd name="connsiteX22" fmla="*/ 1154116 w 1247111"/>
                <a:gd name="connsiteY22" fmla="*/ 124845 h 562336"/>
                <a:gd name="connsiteX23" fmla="*/ 1080964 w 1247111"/>
                <a:gd name="connsiteY23" fmla="*/ 152277 h 562336"/>
                <a:gd name="connsiteX24" fmla="*/ 1026100 w 1247111"/>
                <a:gd name="connsiteY24" fmla="*/ 152277 h 562336"/>
                <a:gd name="connsiteX25" fmla="*/ 916372 w 1247111"/>
                <a:gd name="connsiteY25" fmla="*/ 152277 h 562336"/>
                <a:gd name="connsiteX26" fmla="*/ 861508 w 1247111"/>
                <a:gd name="connsiteY26" fmla="*/ 188853 h 562336"/>
                <a:gd name="connsiteX27" fmla="*/ 835032 w 1247111"/>
                <a:gd name="connsiteY27" fmla="*/ 227068 h 562336"/>
                <a:gd name="connsiteX28" fmla="*/ 779212 w 1247111"/>
                <a:gd name="connsiteY28" fmla="*/ 271149 h 562336"/>
                <a:gd name="connsiteX29" fmla="*/ 733492 w 1247111"/>
                <a:gd name="connsiteY29" fmla="*/ 344301 h 562336"/>
                <a:gd name="connsiteX30" fmla="*/ 660340 w 1247111"/>
                <a:gd name="connsiteY30" fmla="*/ 390021 h 562336"/>
                <a:gd name="connsiteX31" fmla="*/ 559756 w 1247111"/>
                <a:gd name="connsiteY31" fmla="*/ 435741 h 562336"/>
                <a:gd name="connsiteX32" fmla="*/ 523180 w 1247111"/>
                <a:gd name="connsiteY32" fmla="*/ 463173 h 562336"/>
                <a:gd name="connsiteX33" fmla="*/ 477460 w 1247111"/>
                <a:gd name="connsiteY33" fmla="*/ 490605 h 562336"/>
                <a:gd name="connsiteX34" fmla="*/ 459172 w 1247111"/>
                <a:gd name="connsiteY34" fmla="*/ 490605 h 562336"/>
                <a:gd name="connsiteX35" fmla="*/ 477460 w 1247111"/>
                <a:gd name="connsiteY35" fmla="*/ 454029 h 562336"/>
                <a:gd name="connsiteX36" fmla="*/ 532324 w 1247111"/>
                <a:gd name="connsiteY36" fmla="*/ 390021 h 562336"/>
                <a:gd name="connsiteX37" fmla="*/ 623764 w 1247111"/>
                <a:gd name="connsiteY37" fmla="*/ 307725 h 562336"/>
                <a:gd name="connsiteX38" fmla="*/ 537770 w 1247111"/>
                <a:gd name="connsiteY38" fmla="*/ 231575 h 562336"/>
                <a:gd name="connsiteX39" fmla="*/ 378665 w 1247111"/>
                <a:gd name="connsiteY39" fmla="*/ 160150 h 562336"/>
                <a:gd name="connsiteX40" fmla="*/ 5093 w 1247111"/>
                <a:gd name="connsiteY40" fmla="*/ 9767 h 562336"/>
                <a:gd name="connsiteX41" fmla="*/ 409232 w 1247111"/>
                <a:gd name="connsiteY41" fmla="*/ 144355 h 562336"/>
                <a:gd name="connsiteX42" fmla="*/ 537770 w 1247111"/>
                <a:gd name="connsiteY42" fmla="*/ 231575 h 562336"/>
                <a:gd name="connsiteX43" fmla="*/ 550612 w 1247111"/>
                <a:gd name="connsiteY43" fmla="*/ 326013 h 562336"/>
                <a:gd name="connsiteX44" fmla="*/ 523180 w 1247111"/>
                <a:gd name="connsiteY44" fmla="*/ 344301 h 562336"/>
                <a:gd name="connsiteX45" fmla="*/ 450028 w 1247111"/>
                <a:gd name="connsiteY45" fmla="*/ 435741 h 562336"/>
                <a:gd name="connsiteX46" fmla="*/ 440884 w 1247111"/>
                <a:gd name="connsiteY46" fmla="*/ 463173 h 562336"/>
                <a:gd name="connsiteX47" fmla="*/ 431740 w 1247111"/>
                <a:gd name="connsiteY47" fmla="*/ 499749 h 562336"/>
                <a:gd name="connsiteX48" fmla="*/ 450028 w 1247111"/>
                <a:gd name="connsiteY48" fmla="*/ 518037 h 562336"/>
                <a:gd name="connsiteX49" fmla="*/ 404308 w 1247111"/>
                <a:gd name="connsiteY49" fmla="*/ 545469 h 562336"/>
                <a:gd name="connsiteX50" fmla="*/ 440029 w 1247111"/>
                <a:gd name="connsiteY50" fmla="*/ 518656 h 562336"/>
                <a:gd name="connsiteX51" fmla="*/ 440027 w 1247111"/>
                <a:gd name="connsiteY51" fmla="*/ 518656 h 562336"/>
                <a:gd name="connsiteX52" fmla="*/ 440027 w 1247111"/>
                <a:gd name="connsiteY52" fmla="*/ 518656 h 562336"/>
                <a:gd name="connsiteX53" fmla="*/ 440027 w 1247111"/>
                <a:gd name="connsiteY53" fmla="*/ 518656 h 562336"/>
                <a:gd name="connsiteX54" fmla="*/ 440028 w 1247111"/>
                <a:gd name="connsiteY54" fmla="*/ 518656 h 562336"/>
                <a:gd name="connsiteX55" fmla="*/ 440028 w 1247111"/>
                <a:gd name="connsiteY55" fmla="*/ 518656 h 562336"/>
                <a:gd name="connsiteX0" fmla="*/ 440030 w 1247113"/>
                <a:gd name="connsiteY0" fmla="*/ 518656 h 562336"/>
                <a:gd name="connsiteX1" fmla="*/ 440029 w 1247113"/>
                <a:gd name="connsiteY1" fmla="*/ 518656 h 562336"/>
                <a:gd name="connsiteX2" fmla="*/ 440030 w 1247113"/>
                <a:gd name="connsiteY2" fmla="*/ 518656 h 562336"/>
                <a:gd name="connsiteX3" fmla="*/ 440030 w 1247113"/>
                <a:gd name="connsiteY3" fmla="*/ 518656 h 562336"/>
                <a:gd name="connsiteX4" fmla="*/ 459174 w 1247113"/>
                <a:gd name="connsiteY4" fmla="*/ 554613 h 562336"/>
                <a:gd name="connsiteX5" fmla="*/ 559758 w 1247113"/>
                <a:gd name="connsiteY5" fmla="*/ 472317 h 562336"/>
                <a:gd name="connsiteX6" fmla="*/ 751782 w 1247113"/>
                <a:gd name="connsiteY6" fmla="*/ 390021 h 562336"/>
                <a:gd name="connsiteX7" fmla="*/ 834078 w 1247113"/>
                <a:gd name="connsiteY7" fmla="*/ 280293 h 562336"/>
                <a:gd name="connsiteX8" fmla="*/ 980382 w 1247113"/>
                <a:gd name="connsiteY8" fmla="*/ 243717 h 562336"/>
                <a:gd name="connsiteX9" fmla="*/ 1026102 w 1247113"/>
                <a:gd name="connsiteY9" fmla="*/ 243717 h 562336"/>
                <a:gd name="connsiteX10" fmla="*/ 1196564 w 1247113"/>
                <a:gd name="connsiteY10" fmla="*/ 266170 h 562336"/>
                <a:gd name="connsiteX11" fmla="*/ 1016958 w 1247113"/>
                <a:gd name="connsiteY11" fmla="*/ 225429 h 562336"/>
                <a:gd name="connsiteX12" fmla="*/ 925518 w 1247113"/>
                <a:gd name="connsiteY12" fmla="*/ 225429 h 562336"/>
                <a:gd name="connsiteX13" fmla="*/ 870654 w 1247113"/>
                <a:gd name="connsiteY13" fmla="*/ 234573 h 562336"/>
                <a:gd name="connsiteX14" fmla="*/ 861510 w 1247113"/>
                <a:gd name="connsiteY14" fmla="*/ 243717 h 562336"/>
                <a:gd name="connsiteX15" fmla="*/ 843222 w 1247113"/>
                <a:gd name="connsiteY15" fmla="*/ 234573 h 562336"/>
                <a:gd name="connsiteX16" fmla="*/ 971238 w 1247113"/>
                <a:gd name="connsiteY16" fmla="*/ 179709 h 562336"/>
                <a:gd name="connsiteX17" fmla="*/ 1026102 w 1247113"/>
                <a:gd name="connsiteY17" fmla="*/ 179709 h 562336"/>
                <a:gd name="connsiteX18" fmla="*/ 1117542 w 1247113"/>
                <a:gd name="connsiteY18" fmla="*/ 170565 h 562336"/>
                <a:gd name="connsiteX19" fmla="*/ 1245558 w 1247113"/>
                <a:gd name="connsiteY19" fmla="*/ 115701 h 562336"/>
                <a:gd name="connsiteX20" fmla="*/ 1108213 w 1247113"/>
                <a:gd name="connsiteY20" fmla="*/ 0 h 562336"/>
                <a:gd name="connsiteX21" fmla="*/ 1190694 w 1247113"/>
                <a:gd name="connsiteY21" fmla="*/ 115701 h 562336"/>
                <a:gd name="connsiteX22" fmla="*/ 1154118 w 1247113"/>
                <a:gd name="connsiteY22" fmla="*/ 124845 h 562336"/>
                <a:gd name="connsiteX23" fmla="*/ 1080966 w 1247113"/>
                <a:gd name="connsiteY23" fmla="*/ 152277 h 562336"/>
                <a:gd name="connsiteX24" fmla="*/ 1026102 w 1247113"/>
                <a:gd name="connsiteY24" fmla="*/ 152277 h 562336"/>
                <a:gd name="connsiteX25" fmla="*/ 916374 w 1247113"/>
                <a:gd name="connsiteY25" fmla="*/ 152277 h 562336"/>
                <a:gd name="connsiteX26" fmla="*/ 861510 w 1247113"/>
                <a:gd name="connsiteY26" fmla="*/ 188853 h 562336"/>
                <a:gd name="connsiteX27" fmla="*/ 835034 w 1247113"/>
                <a:gd name="connsiteY27" fmla="*/ 227068 h 562336"/>
                <a:gd name="connsiteX28" fmla="*/ 779214 w 1247113"/>
                <a:gd name="connsiteY28" fmla="*/ 271149 h 562336"/>
                <a:gd name="connsiteX29" fmla="*/ 733494 w 1247113"/>
                <a:gd name="connsiteY29" fmla="*/ 344301 h 562336"/>
                <a:gd name="connsiteX30" fmla="*/ 660342 w 1247113"/>
                <a:gd name="connsiteY30" fmla="*/ 390021 h 562336"/>
                <a:gd name="connsiteX31" fmla="*/ 559758 w 1247113"/>
                <a:gd name="connsiteY31" fmla="*/ 435741 h 562336"/>
                <a:gd name="connsiteX32" fmla="*/ 523182 w 1247113"/>
                <a:gd name="connsiteY32" fmla="*/ 463173 h 562336"/>
                <a:gd name="connsiteX33" fmla="*/ 477462 w 1247113"/>
                <a:gd name="connsiteY33" fmla="*/ 490605 h 562336"/>
                <a:gd name="connsiteX34" fmla="*/ 459174 w 1247113"/>
                <a:gd name="connsiteY34" fmla="*/ 490605 h 562336"/>
                <a:gd name="connsiteX35" fmla="*/ 477462 w 1247113"/>
                <a:gd name="connsiteY35" fmla="*/ 454029 h 562336"/>
                <a:gd name="connsiteX36" fmla="*/ 532326 w 1247113"/>
                <a:gd name="connsiteY36" fmla="*/ 390021 h 562336"/>
                <a:gd name="connsiteX37" fmla="*/ 602042 w 1247113"/>
                <a:gd name="connsiteY37" fmla="*/ 275186 h 562336"/>
                <a:gd name="connsiteX38" fmla="*/ 537772 w 1247113"/>
                <a:gd name="connsiteY38" fmla="*/ 231575 h 562336"/>
                <a:gd name="connsiteX39" fmla="*/ 378667 w 1247113"/>
                <a:gd name="connsiteY39" fmla="*/ 160150 h 562336"/>
                <a:gd name="connsiteX40" fmla="*/ 5095 w 1247113"/>
                <a:gd name="connsiteY40" fmla="*/ 9767 h 562336"/>
                <a:gd name="connsiteX41" fmla="*/ 409234 w 1247113"/>
                <a:gd name="connsiteY41" fmla="*/ 144355 h 562336"/>
                <a:gd name="connsiteX42" fmla="*/ 537772 w 1247113"/>
                <a:gd name="connsiteY42" fmla="*/ 231575 h 562336"/>
                <a:gd name="connsiteX43" fmla="*/ 550614 w 1247113"/>
                <a:gd name="connsiteY43" fmla="*/ 326013 h 562336"/>
                <a:gd name="connsiteX44" fmla="*/ 523182 w 1247113"/>
                <a:gd name="connsiteY44" fmla="*/ 344301 h 562336"/>
                <a:gd name="connsiteX45" fmla="*/ 450030 w 1247113"/>
                <a:gd name="connsiteY45" fmla="*/ 435741 h 562336"/>
                <a:gd name="connsiteX46" fmla="*/ 440886 w 1247113"/>
                <a:gd name="connsiteY46" fmla="*/ 463173 h 562336"/>
                <a:gd name="connsiteX47" fmla="*/ 431742 w 1247113"/>
                <a:gd name="connsiteY47" fmla="*/ 499749 h 562336"/>
                <a:gd name="connsiteX48" fmla="*/ 450030 w 1247113"/>
                <a:gd name="connsiteY48" fmla="*/ 518037 h 562336"/>
                <a:gd name="connsiteX49" fmla="*/ 404310 w 1247113"/>
                <a:gd name="connsiteY49" fmla="*/ 545469 h 562336"/>
                <a:gd name="connsiteX50" fmla="*/ 440031 w 1247113"/>
                <a:gd name="connsiteY50" fmla="*/ 518656 h 562336"/>
                <a:gd name="connsiteX51" fmla="*/ 440029 w 1247113"/>
                <a:gd name="connsiteY51" fmla="*/ 518656 h 562336"/>
                <a:gd name="connsiteX52" fmla="*/ 440029 w 1247113"/>
                <a:gd name="connsiteY52" fmla="*/ 518656 h 562336"/>
                <a:gd name="connsiteX53" fmla="*/ 440029 w 1247113"/>
                <a:gd name="connsiteY53" fmla="*/ 518656 h 562336"/>
                <a:gd name="connsiteX54" fmla="*/ 440030 w 1247113"/>
                <a:gd name="connsiteY54" fmla="*/ 518656 h 562336"/>
                <a:gd name="connsiteX55" fmla="*/ 440030 w 1247113"/>
                <a:gd name="connsiteY55" fmla="*/ 518656 h 562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247113" h="562336">
                  <a:moveTo>
                    <a:pt x="440030" y="518656"/>
                  </a:moveTo>
                  <a:lnTo>
                    <a:pt x="440029" y="518656"/>
                  </a:lnTo>
                  <a:lnTo>
                    <a:pt x="440030" y="518656"/>
                  </a:lnTo>
                  <a:lnTo>
                    <a:pt x="440030" y="518656"/>
                  </a:lnTo>
                  <a:cubicBezTo>
                    <a:pt x="443221" y="524649"/>
                    <a:pt x="439219" y="562336"/>
                    <a:pt x="459174" y="554613"/>
                  </a:cubicBezTo>
                  <a:cubicBezTo>
                    <a:pt x="479129" y="546890"/>
                    <a:pt x="510990" y="499749"/>
                    <a:pt x="559758" y="472317"/>
                  </a:cubicBezTo>
                  <a:cubicBezTo>
                    <a:pt x="608526" y="444885"/>
                    <a:pt x="706062" y="422025"/>
                    <a:pt x="751782" y="390021"/>
                  </a:cubicBezTo>
                  <a:cubicBezTo>
                    <a:pt x="797502" y="358017"/>
                    <a:pt x="795978" y="304677"/>
                    <a:pt x="834078" y="280293"/>
                  </a:cubicBezTo>
                  <a:cubicBezTo>
                    <a:pt x="872178" y="255909"/>
                    <a:pt x="948378" y="249813"/>
                    <a:pt x="980382" y="243717"/>
                  </a:cubicBezTo>
                  <a:cubicBezTo>
                    <a:pt x="1012386" y="237621"/>
                    <a:pt x="990072" y="239975"/>
                    <a:pt x="1026102" y="243717"/>
                  </a:cubicBezTo>
                  <a:cubicBezTo>
                    <a:pt x="1062132" y="247459"/>
                    <a:pt x="1198088" y="269218"/>
                    <a:pt x="1196564" y="266170"/>
                  </a:cubicBezTo>
                  <a:cubicBezTo>
                    <a:pt x="1195040" y="263122"/>
                    <a:pt x="1016958" y="225429"/>
                    <a:pt x="1016958" y="225429"/>
                  </a:cubicBezTo>
                  <a:cubicBezTo>
                    <a:pt x="994098" y="225429"/>
                    <a:pt x="949902" y="223905"/>
                    <a:pt x="925518" y="225429"/>
                  </a:cubicBezTo>
                  <a:cubicBezTo>
                    <a:pt x="901134" y="226953"/>
                    <a:pt x="881322" y="231525"/>
                    <a:pt x="870654" y="234573"/>
                  </a:cubicBezTo>
                  <a:cubicBezTo>
                    <a:pt x="859986" y="237621"/>
                    <a:pt x="866082" y="243717"/>
                    <a:pt x="861510" y="243717"/>
                  </a:cubicBezTo>
                  <a:cubicBezTo>
                    <a:pt x="856938" y="243717"/>
                    <a:pt x="824934" y="245241"/>
                    <a:pt x="843222" y="234573"/>
                  </a:cubicBezTo>
                  <a:cubicBezTo>
                    <a:pt x="861510" y="223905"/>
                    <a:pt x="940758" y="188853"/>
                    <a:pt x="971238" y="179709"/>
                  </a:cubicBezTo>
                  <a:cubicBezTo>
                    <a:pt x="1001718" y="170565"/>
                    <a:pt x="1001718" y="181233"/>
                    <a:pt x="1026102" y="179709"/>
                  </a:cubicBezTo>
                  <a:cubicBezTo>
                    <a:pt x="1050486" y="178185"/>
                    <a:pt x="1080966" y="181233"/>
                    <a:pt x="1117542" y="170565"/>
                  </a:cubicBezTo>
                  <a:cubicBezTo>
                    <a:pt x="1154118" y="159897"/>
                    <a:pt x="1247113" y="144128"/>
                    <a:pt x="1245558" y="115701"/>
                  </a:cubicBezTo>
                  <a:cubicBezTo>
                    <a:pt x="1244003" y="87274"/>
                    <a:pt x="1117357" y="0"/>
                    <a:pt x="1108213" y="0"/>
                  </a:cubicBezTo>
                  <a:cubicBezTo>
                    <a:pt x="1099069" y="0"/>
                    <a:pt x="1183043" y="94894"/>
                    <a:pt x="1190694" y="115701"/>
                  </a:cubicBezTo>
                  <a:cubicBezTo>
                    <a:pt x="1198345" y="136508"/>
                    <a:pt x="1172406" y="118749"/>
                    <a:pt x="1154118" y="124845"/>
                  </a:cubicBezTo>
                  <a:cubicBezTo>
                    <a:pt x="1135830" y="130941"/>
                    <a:pt x="1102302" y="147705"/>
                    <a:pt x="1080966" y="152277"/>
                  </a:cubicBezTo>
                  <a:cubicBezTo>
                    <a:pt x="1059630" y="156849"/>
                    <a:pt x="1026102" y="152277"/>
                    <a:pt x="1026102" y="152277"/>
                  </a:cubicBezTo>
                  <a:cubicBezTo>
                    <a:pt x="998670" y="152277"/>
                    <a:pt x="943806" y="146181"/>
                    <a:pt x="916374" y="152277"/>
                  </a:cubicBezTo>
                  <a:cubicBezTo>
                    <a:pt x="888942" y="158373"/>
                    <a:pt x="875067" y="176388"/>
                    <a:pt x="861510" y="188853"/>
                  </a:cubicBezTo>
                  <a:cubicBezTo>
                    <a:pt x="847953" y="201318"/>
                    <a:pt x="848750" y="213352"/>
                    <a:pt x="835034" y="227068"/>
                  </a:cubicBezTo>
                  <a:cubicBezTo>
                    <a:pt x="821318" y="240784"/>
                    <a:pt x="796137" y="251610"/>
                    <a:pt x="779214" y="271149"/>
                  </a:cubicBezTo>
                  <a:cubicBezTo>
                    <a:pt x="762291" y="290688"/>
                    <a:pt x="753306" y="324489"/>
                    <a:pt x="733494" y="344301"/>
                  </a:cubicBezTo>
                  <a:cubicBezTo>
                    <a:pt x="713682" y="364113"/>
                    <a:pt x="689298" y="374781"/>
                    <a:pt x="660342" y="390021"/>
                  </a:cubicBezTo>
                  <a:cubicBezTo>
                    <a:pt x="631386" y="405261"/>
                    <a:pt x="582618" y="423549"/>
                    <a:pt x="559758" y="435741"/>
                  </a:cubicBezTo>
                  <a:cubicBezTo>
                    <a:pt x="536898" y="447933"/>
                    <a:pt x="536898" y="454029"/>
                    <a:pt x="523182" y="463173"/>
                  </a:cubicBezTo>
                  <a:cubicBezTo>
                    <a:pt x="509466" y="472317"/>
                    <a:pt x="488130" y="486033"/>
                    <a:pt x="477462" y="490605"/>
                  </a:cubicBezTo>
                  <a:cubicBezTo>
                    <a:pt x="466794" y="495177"/>
                    <a:pt x="459174" y="496701"/>
                    <a:pt x="459174" y="490605"/>
                  </a:cubicBezTo>
                  <a:cubicBezTo>
                    <a:pt x="459174" y="484509"/>
                    <a:pt x="465270" y="470793"/>
                    <a:pt x="477462" y="454029"/>
                  </a:cubicBezTo>
                  <a:cubicBezTo>
                    <a:pt x="489654" y="437265"/>
                    <a:pt x="511563" y="419828"/>
                    <a:pt x="532326" y="390021"/>
                  </a:cubicBezTo>
                  <a:cubicBezTo>
                    <a:pt x="553089" y="360214"/>
                    <a:pt x="601134" y="301594"/>
                    <a:pt x="602042" y="275186"/>
                  </a:cubicBezTo>
                  <a:cubicBezTo>
                    <a:pt x="602950" y="248778"/>
                    <a:pt x="575001" y="250748"/>
                    <a:pt x="537772" y="231575"/>
                  </a:cubicBezTo>
                  <a:cubicBezTo>
                    <a:pt x="500543" y="212402"/>
                    <a:pt x="467447" y="197118"/>
                    <a:pt x="378667" y="160150"/>
                  </a:cubicBezTo>
                  <a:cubicBezTo>
                    <a:pt x="289888" y="123182"/>
                    <a:pt x="1" y="12399"/>
                    <a:pt x="5095" y="9767"/>
                  </a:cubicBezTo>
                  <a:cubicBezTo>
                    <a:pt x="10189" y="7135"/>
                    <a:pt x="320455" y="107387"/>
                    <a:pt x="409234" y="144355"/>
                  </a:cubicBezTo>
                  <a:cubicBezTo>
                    <a:pt x="498014" y="181323"/>
                    <a:pt x="514209" y="201299"/>
                    <a:pt x="537772" y="231575"/>
                  </a:cubicBezTo>
                  <a:cubicBezTo>
                    <a:pt x="561335" y="261851"/>
                    <a:pt x="553046" y="307225"/>
                    <a:pt x="550614" y="326013"/>
                  </a:cubicBezTo>
                  <a:cubicBezTo>
                    <a:pt x="548182" y="344801"/>
                    <a:pt x="539946" y="326013"/>
                    <a:pt x="523182" y="344301"/>
                  </a:cubicBezTo>
                  <a:cubicBezTo>
                    <a:pt x="506418" y="362589"/>
                    <a:pt x="463746" y="415929"/>
                    <a:pt x="450030" y="435741"/>
                  </a:cubicBezTo>
                  <a:cubicBezTo>
                    <a:pt x="436314" y="455553"/>
                    <a:pt x="443934" y="452505"/>
                    <a:pt x="440886" y="463173"/>
                  </a:cubicBezTo>
                  <a:cubicBezTo>
                    <a:pt x="437838" y="473841"/>
                    <a:pt x="430218" y="490605"/>
                    <a:pt x="431742" y="499749"/>
                  </a:cubicBezTo>
                  <a:cubicBezTo>
                    <a:pt x="433266" y="508893"/>
                    <a:pt x="454602" y="510417"/>
                    <a:pt x="450030" y="518037"/>
                  </a:cubicBezTo>
                  <a:cubicBezTo>
                    <a:pt x="445458" y="525657"/>
                    <a:pt x="405976" y="545366"/>
                    <a:pt x="404310" y="545469"/>
                  </a:cubicBezTo>
                  <a:cubicBezTo>
                    <a:pt x="402644" y="545572"/>
                    <a:pt x="434078" y="523125"/>
                    <a:pt x="440031" y="518656"/>
                  </a:cubicBezTo>
                  <a:cubicBezTo>
                    <a:pt x="445984" y="514187"/>
                    <a:pt x="429465" y="518155"/>
                    <a:pt x="440029" y="518656"/>
                  </a:cubicBezTo>
                  <a:lnTo>
                    <a:pt x="440029" y="518656"/>
                  </a:lnTo>
                  <a:lnTo>
                    <a:pt x="440029" y="518656"/>
                  </a:lnTo>
                  <a:lnTo>
                    <a:pt x="440030" y="518656"/>
                  </a:lnTo>
                  <a:lnTo>
                    <a:pt x="440030" y="518656"/>
                  </a:lnTo>
                  <a:close/>
                </a:path>
              </a:pathLst>
            </a:custGeom>
            <a:solidFill>
              <a:srgbClr val="8DAA44"/>
            </a:solidFill>
            <a:ln w="6350" cap="flat" cmpd="sng" algn="ctr">
              <a:solidFill>
                <a:srgbClr val="663300"/>
              </a:solidFill>
              <a:prstDash val="solid"/>
            </a:ln>
            <a:effectLst/>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0" cap="none" spc="0" normalizeH="0" baseline="0" noProof="0" dirty="0">
                <a:ln>
                  <a:noFill/>
                </a:ln>
                <a:solidFill>
                  <a:prstClr val="white"/>
                </a:solidFill>
                <a:effectLst/>
                <a:uLnTx/>
                <a:uFillTx/>
                <a:latin typeface="News Gothic MT" panose="020B0503020103020203" pitchFamily="34" charset="0"/>
                <a:ea typeface="MS PGothic" charset="0"/>
                <a:cs typeface="+mn-cs"/>
              </a:endParaRPr>
            </a:p>
          </p:txBody>
        </p:sp>
        <p:sp>
          <p:nvSpPr>
            <p:cNvPr id="12" name="Freeform 207">
              <a:extLst>
                <a:ext uri="{FF2B5EF4-FFF2-40B4-BE49-F238E27FC236}">
                  <a16:creationId xmlns:a16="http://schemas.microsoft.com/office/drawing/2014/main" id="{E1A33B40-BD2E-49E4-A32A-3C92D2EBD0C1}"/>
                </a:ext>
              </a:extLst>
            </p:cNvPr>
            <p:cNvSpPr/>
            <p:nvPr/>
          </p:nvSpPr>
          <p:spPr>
            <a:xfrm rot="7957673" flipH="1" flipV="1">
              <a:off x="5058134" y="1842052"/>
              <a:ext cx="458495" cy="632089"/>
            </a:xfrm>
            <a:custGeom>
              <a:avLst/>
              <a:gdLst>
                <a:gd name="connsiteX0" fmla="*/ 19812 w 1226820"/>
                <a:gd name="connsiteY0" fmla="*/ 841248 h 864108"/>
                <a:gd name="connsiteX1" fmla="*/ 92964 w 1226820"/>
                <a:gd name="connsiteY1" fmla="*/ 649224 h 864108"/>
                <a:gd name="connsiteX2" fmla="*/ 193548 w 1226820"/>
                <a:gd name="connsiteY2" fmla="*/ 548640 h 864108"/>
                <a:gd name="connsiteX3" fmla="*/ 321564 w 1226820"/>
                <a:gd name="connsiteY3" fmla="*/ 493776 h 864108"/>
                <a:gd name="connsiteX4" fmla="*/ 422148 w 1226820"/>
                <a:gd name="connsiteY4" fmla="*/ 466344 h 864108"/>
                <a:gd name="connsiteX5" fmla="*/ 522732 w 1226820"/>
                <a:gd name="connsiteY5" fmla="*/ 384048 h 864108"/>
                <a:gd name="connsiteX6" fmla="*/ 714756 w 1226820"/>
                <a:gd name="connsiteY6" fmla="*/ 301752 h 864108"/>
                <a:gd name="connsiteX7" fmla="*/ 797052 w 1226820"/>
                <a:gd name="connsiteY7" fmla="*/ 192024 h 864108"/>
                <a:gd name="connsiteX8" fmla="*/ 943356 w 1226820"/>
                <a:gd name="connsiteY8" fmla="*/ 155448 h 864108"/>
                <a:gd name="connsiteX9" fmla="*/ 989076 w 1226820"/>
                <a:gd name="connsiteY9" fmla="*/ 155448 h 864108"/>
                <a:gd name="connsiteX10" fmla="*/ 1025652 w 1226820"/>
                <a:gd name="connsiteY10" fmla="*/ 137160 h 864108"/>
                <a:gd name="connsiteX11" fmla="*/ 979932 w 1226820"/>
                <a:gd name="connsiteY11" fmla="*/ 137160 h 864108"/>
                <a:gd name="connsiteX12" fmla="*/ 888492 w 1226820"/>
                <a:gd name="connsiteY12" fmla="*/ 137160 h 864108"/>
                <a:gd name="connsiteX13" fmla="*/ 833628 w 1226820"/>
                <a:gd name="connsiteY13" fmla="*/ 146304 h 864108"/>
                <a:gd name="connsiteX14" fmla="*/ 824484 w 1226820"/>
                <a:gd name="connsiteY14" fmla="*/ 155448 h 864108"/>
                <a:gd name="connsiteX15" fmla="*/ 806196 w 1226820"/>
                <a:gd name="connsiteY15" fmla="*/ 146304 h 864108"/>
                <a:gd name="connsiteX16" fmla="*/ 934212 w 1226820"/>
                <a:gd name="connsiteY16" fmla="*/ 91440 h 864108"/>
                <a:gd name="connsiteX17" fmla="*/ 989076 w 1226820"/>
                <a:gd name="connsiteY17" fmla="*/ 91440 h 864108"/>
                <a:gd name="connsiteX18" fmla="*/ 1080516 w 1226820"/>
                <a:gd name="connsiteY18" fmla="*/ 82296 h 864108"/>
                <a:gd name="connsiteX19" fmla="*/ 1208532 w 1226820"/>
                <a:gd name="connsiteY19" fmla="*/ 27432 h 864108"/>
                <a:gd name="connsiteX20" fmla="*/ 1190244 w 1226820"/>
                <a:gd name="connsiteY20" fmla="*/ 0 h 864108"/>
                <a:gd name="connsiteX21" fmla="*/ 1153668 w 1226820"/>
                <a:gd name="connsiteY21" fmla="*/ 27432 h 864108"/>
                <a:gd name="connsiteX22" fmla="*/ 1117092 w 1226820"/>
                <a:gd name="connsiteY22" fmla="*/ 36576 h 864108"/>
                <a:gd name="connsiteX23" fmla="*/ 1043940 w 1226820"/>
                <a:gd name="connsiteY23" fmla="*/ 64008 h 864108"/>
                <a:gd name="connsiteX24" fmla="*/ 989076 w 1226820"/>
                <a:gd name="connsiteY24" fmla="*/ 64008 h 864108"/>
                <a:gd name="connsiteX25" fmla="*/ 879348 w 1226820"/>
                <a:gd name="connsiteY25" fmla="*/ 64008 h 864108"/>
                <a:gd name="connsiteX26" fmla="*/ 824484 w 1226820"/>
                <a:gd name="connsiteY26" fmla="*/ 100584 h 864108"/>
                <a:gd name="connsiteX27" fmla="*/ 787908 w 1226820"/>
                <a:gd name="connsiteY27" fmla="*/ 146304 h 864108"/>
                <a:gd name="connsiteX28" fmla="*/ 742188 w 1226820"/>
                <a:gd name="connsiteY28" fmla="*/ 182880 h 864108"/>
                <a:gd name="connsiteX29" fmla="*/ 696468 w 1226820"/>
                <a:gd name="connsiteY29" fmla="*/ 256032 h 864108"/>
                <a:gd name="connsiteX30" fmla="*/ 623316 w 1226820"/>
                <a:gd name="connsiteY30" fmla="*/ 301752 h 864108"/>
                <a:gd name="connsiteX31" fmla="*/ 522732 w 1226820"/>
                <a:gd name="connsiteY31" fmla="*/ 347472 h 864108"/>
                <a:gd name="connsiteX32" fmla="*/ 486156 w 1226820"/>
                <a:gd name="connsiteY32" fmla="*/ 374904 h 864108"/>
                <a:gd name="connsiteX33" fmla="*/ 440436 w 1226820"/>
                <a:gd name="connsiteY33" fmla="*/ 402336 h 864108"/>
                <a:gd name="connsiteX34" fmla="*/ 422148 w 1226820"/>
                <a:gd name="connsiteY34" fmla="*/ 402336 h 864108"/>
                <a:gd name="connsiteX35" fmla="*/ 440436 w 1226820"/>
                <a:gd name="connsiteY35" fmla="*/ 365760 h 864108"/>
                <a:gd name="connsiteX36" fmla="*/ 495300 w 1226820"/>
                <a:gd name="connsiteY36" fmla="*/ 301752 h 864108"/>
                <a:gd name="connsiteX37" fmla="*/ 586740 w 1226820"/>
                <a:gd name="connsiteY37" fmla="*/ 219456 h 864108"/>
                <a:gd name="connsiteX38" fmla="*/ 632460 w 1226820"/>
                <a:gd name="connsiteY38" fmla="*/ 146304 h 864108"/>
                <a:gd name="connsiteX39" fmla="*/ 632460 w 1226820"/>
                <a:gd name="connsiteY39" fmla="*/ 64008 h 864108"/>
                <a:gd name="connsiteX40" fmla="*/ 623316 w 1226820"/>
                <a:gd name="connsiteY40" fmla="*/ 54864 h 864108"/>
                <a:gd name="connsiteX41" fmla="*/ 614172 w 1226820"/>
                <a:gd name="connsiteY41" fmla="*/ 128016 h 864108"/>
                <a:gd name="connsiteX42" fmla="*/ 586740 w 1226820"/>
                <a:gd name="connsiteY42" fmla="*/ 173736 h 864108"/>
                <a:gd name="connsiteX43" fmla="*/ 513588 w 1226820"/>
                <a:gd name="connsiteY43" fmla="*/ 237744 h 864108"/>
                <a:gd name="connsiteX44" fmla="*/ 486156 w 1226820"/>
                <a:gd name="connsiteY44" fmla="*/ 256032 h 864108"/>
                <a:gd name="connsiteX45" fmla="*/ 413004 w 1226820"/>
                <a:gd name="connsiteY45" fmla="*/ 347472 h 864108"/>
                <a:gd name="connsiteX46" fmla="*/ 403860 w 1226820"/>
                <a:gd name="connsiteY46" fmla="*/ 374904 h 864108"/>
                <a:gd name="connsiteX47" fmla="*/ 394716 w 1226820"/>
                <a:gd name="connsiteY47" fmla="*/ 411480 h 864108"/>
                <a:gd name="connsiteX48" fmla="*/ 413004 w 1226820"/>
                <a:gd name="connsiteY48" fmla="*/ 429768 h 864108"/>
                <a:gd name="connsiteX49" fmla="*/ 367284 w 1226820"/>
                <a:gd name="connsiteY49" fmla="*/ 457200 h 864108"/>
                <a:gd name="connsiteX50" fmla="*/ 220980 w 1226820"/>
                <a:gd name="connsiteY50" fmla="*/ 493776 h 864108"/>
                <a:gd name="connsiteX51" fmla="*/ 175260 w 1226820"/>
                <a:gd name="connsiteY51" fmla="*/ 530352 h 864108"/>
                <a:gd name="connsiteX52" fmla="*/ 92964 w 1226820"/>
                <a:gd name="connsiteY52" fmla="*/ 585216 h 864108"/>
                <a:gd name="connsiteX53" fmla="*/ 19812 w 1226820"/>
                <a:gd name="connsiteY53" fmla="*/ 704088 h 864108"/>
                <a:gd name="connsiteX54" fmla="*/ 1524 w 1226820"/>
                <a:gd name="connsiteY54" fmla="*/ 786384 h 864108"/>
                <a:gd name="connsiteX55" fmla="*/ 19812 w 1226820"/>
                <a:gd name="connsiteY55" fmla="*/ 841248 h 864108"/>
                <a:gd name="connsiteX0" fmla="*/ 218332 w 1253874"/>
                <a:gd name="connsiteY0" fmla="*/ 554512 h 811313"/>
                <a:gd name="connsiteX1" fmla="*/ 120018 w 1253874"/>
                <a:gd name="connsiteY1" fmla="*/ 649224 h 811313"/>
                <a:gd name="connsiteX2" fmla="*/ 220602 w 1253874"/>
                <a:gd name="connsiteY2" fmla="*/ 548640 h 811313"/>
                <a:gd name="connsiteX3" fmla="*/ 348618 w 1253874"/>
                <a:gd name="connsiteY3" fmla="*/ 493776 h 811313"/>
                <a:gd name="connsiteX4" fmla="*/ 449202 w 1253874"/>
                <a:gd name="connsiteY4" fmla="*/ 466344 h 811313"/>
                <a:gd name="connsiteX5" fmla="*/ 549786 w 1253874"/>
                <a:gd name="connsiteY5" fmla="*/ 384048 h 811313"/>
                <a:gd name="connsiteX6" fmla="*/ 741810 w 1253874"/>
                <a:gd name="connsiteY6" fmla="*/ 301752 h 811313"/>
                <a:gd name="connsiteX7" fmla="*/ 824106 w 1253874"/>
                <a:gd name="connsiteY7" fmla="*/ 192024 h 811313"/>
                <a:gd name="connsiteX8" fmla="*/ 970410 w 1253874"/>
                <a:gd name="connsiteY8" fmla="*/ 155448 h 811313"/>
                <a:gd name="connsiteX9" fmla="*/ 1016130 w 1253874"/>
                <a:gd name="connsiteY9" fmla="*/ 155448 h 811313"/>
                <a:gd name="connsiteX10" fmla="*/ 1052706 w 1253874"/>
                <a:gd name="connsiteY10" fmla="*/ 137160 h 811313"/>
                <a:gd name="connsiteX11" fmla="*/ 1006986 w 1253874"/>
                <a:gd name="connsiteY11" fmla="*/ 137160 h 811313"/>
                <a:gd name="connsiteX12" fmla="*/ 915546 w 1253874"/>
                <a:gd name="connsiteY12" fmla="*/ 137160 h 811313"/>
                <a:gd name="connsiteX13" fmla="*/ 860682 w 1253874"/>
                <a:gd name="connsiteY13" fmla="*/ 146304 h 811313"/>
                <a:gd name="connsiteX14" fmla="*/ 851538 w 1253874"/>
                <a:gd name="connsiteY14" fmla="*/ 155448 h 811313"/>
                <a:gd name="connsiteX15" fmla="*/ 833250 w 1253874"/>
                <a:gd name="connsiteY15" fmla="*/ 146304 h 811313"/>
                <a:gd name="connsiteX16" fmla="*/ 961266 w 1253874"/>
                <a:gd name="connsiteY16" fmla="*/ 91440 h 811313"/>
                <a:gd name="connsiteX17" fmla="*/ 1016130 w 1253874"/>
                <a:gd name="connsiteY17" fmla="*/ 91440 h 811313"/>
                <a:gd name="connsiteX18" fmla="*/ 1107570 w 1253874"/>
                <a:gd name="connsiteY18" fmla="*/ 82296 h 811313"/>
                <a:gd name="connsiteX19" fmla="*/ 1235586 w 1253874"/>
                <a:gd name="connsiteY19" fmla="*/ 27432 h 811313"/>
                <a:gd name="connsiteX20" fmla="*/ 1217298 w 1253874"/>
                <a:gd name="connsiteY20" fmla="*/ 0 h 811313"/>
                <a:gd name="connsiteX21" fmla="*/ 1180722 w 1253874"/>
                <a:gd name="connsiteY21" fmla="*/ 27432 h 811313"/>
                <a:gd name="connsiteX22" fmla="*/ 1144146 w 1253874"/>
                <a:gd name="connsiteY22" fmla="*/ 36576 h 811313"/>
                <a:gd name="connsiteX23" fmla="*/ 1070994 w 1253874"/>
                <a:gd name="connsiteY23" fmla="*/ 64008 h 811313"/>
                <a:gd name="connsiteX24" fmla="*/ 1016130 w 1253874"/>
                <a:gd name="connsiteY24" fmla="*/ 64008 h 811313"/>
                <a:gd name="connsiteX25" fmla="*/ 906402 w 1253874"/>
                <a:gd name="connsiteY25" fmla="*/ 64008 h 811313"/>
                <a:gd name="connsiteX26" fmla="*/ 851538 w 1253874"/>
                <a:gd name="connsiteY26" fmla="*/ 100584 h 811313"/>
                <a:gd name="connsiteX27" fmla="*/ 814962 w 1253874"/>
                <a:gd name="connsiteY27" fmla="*/ 146304 h 811313"/>
                <a:gd name="connsiteX28" fmla="*/ 769242 w 1253874"/>
                <a:gd name="connsiteY28" fmla="*/ 182880 h 811313"/>
                <a:gd name="connsiteX29" fmla="*/ 723522 w 1253874"/>
                <a:gd name="connsiteY29" fmla="*/ 256032 h 811313"/>
                <a:gd name="connsiteX30" fmla="*/ 650370 w 1253874"/>
                <a:gd name="connsiteY30" fmla="*/ 301752 h 811313"/>
                <a:gd name="connsiteX31" fmla="*/ 549786 w 1253874"/>
                <a:gd name="connsiteY31" fmla="*/ 347472 h 811313"/>
                <a:gd name="connsiteX32" fmla="*/ 513210 w 1253874"/>
                <a:gd name="connsiteY32" fmla="*/ 374904 h 811313"/>
                <a:gd name="connsiteX33" fmla="*/ 467490 w 1253874"/>
                <a:gd name="connsiteY33" fmla="*/ 402336 h 811313"/>
                <a:gd name="connsiteX34" fmla="*/ 449202 w 1253874"/>
                <a:gd name="connsiteY34" fmla="*/ 402336 h 811313"/>
                <a:gd name="connsiteX35" fmla="*/ 467490 w 1253874"/>
                <a:gd name="connsiteY35" fmla="*/ 365760 h 811313"/>
                <a:gd name="connsiteX36" fmla="*/ 522354 w 1253874"/>
                <a:gd name="connsiteY36" fmla="*/ 301752 h 811313"/>
                <a:gd name="connsiteX37" fmla="*/ 613794 w 1253874"/>
                <a:gd name="connsiteY37" fmla="*/ 219456 h 811313"/>
                <a:gd name="connsiteX38" fmla="*/ 659514 w 1253874"/>
                <a:gd name="connsiteY38" fmla="*/ 146304 h 811313"/>
                <a:gd name="connsiteX39" fmla="*/ 659514 w 1253874"/>
                <a:gd name="connsiteY39" fmla="*/ 64008 h 811313"/>
                <a:gd name="connsiteX40" fmla="*/ 650370 w 1253874"/>
                <a:gd name="connsiteY40" fmla="*/ 54864 h 811313"/>
                <a:gd name="connsiteX41" fmla="*/ 641226 w 1253874"/>
                <a:gd name="connsiteY41" fmla="*/ 128016 h 811313"/>
                <a:gd name="connsiteX42" fmla="*/ 613794 w 1253874"/>
                <a:gd name="connsiteY42" fmla="*/ 173736 h 811313"/>
                <a:gd name="connsiteX43" fmla="*/ 540642 w 1253874"/>
                <a:gd name="connsiteY43" fmla="*/ 237744 h 811313"/>
                <a:gd name="connsiteX44" fmla="*/ 513210 w 1253874"/>
                <a:gd name="connsiteY44" fmla="*/ 256032 h 811313"/>
                <a:gd name="connsiteX45" fmla="*/ 440058 w 1253874"/>
                <a:gd name="connsiteY45" fmla="*/ 347472 h 811313"/>
                <a:gd name="connsiteX46" fmla="*/ 430914 w 1253874"/>
                <a:gd name="connsiteY46" fmla="*/ 374904 h 811313"/>
                <a:gd name="connsiteX47" fmla="*/ 421770 w 1253874"/>
                <a:gd name="connsiteY47" fmla="*/ 411480 h 811313"/>
                <a:gd name="connsiteX48" fmla="*/ 440058 w 1253874"/>
                <a:gd name="connsiteY48" fmla="*/ 429768 h 811313"/>
                <a:gd name="connsiteX49" fmla="*/ 394338 w 1253874"/>
                <a:gd name="connsiteY49" fmla="*/ 457200 h 811313"/>
                <a:gd name="connsiteX50" fmla="*/ 248034 w 1253874"/>
                <a:gd name="connsiteY50" fmla="*/ 493776 h 811313"/>
                <a:gd name="connsiteX51" fmla="*/ 202314 w 1253874"/>
                <a:gd name="connsiteY51" fmla="*/ 530352 h 811313"/>
                <a:gd name="connsiteX52" fmla="*/ 120018 w 1253874"/>
                <a:gd name="connsiteY52" fmla="*/ 585216 h 811313"/>
                <a:gd name="connsiteX53" fmla="*/ 46866 w 1253874"/>
                <a:gd name="connsiteY53" fmla="*/ 704088 h 811313"/>
                <a:gd name="connsiteX54" fmla="*/ 28578 w 1253874"/>
                <a:gd name="connsiteY54" fmla="*/ 786384 h 811313"/>
                <a:gd name="connsiteX55" fmla="*/ 218332 w 1253874"/>
                <a:gd name="connsiteY55" fmla="*/ 554512 h 811313"/>
                <a:gd name="connsiteX0" fmla="*/ 187852 w 1223394"/>
                <a:gd name="connsiteY0" fmla="*/ 554512 h 709205"/>
                <a:gd name="connsiteX1" fmla="*/ 89538 w 1223394"/>
                <a:gd name="connsiteY1" fmla="*/ 649224 h 709205"/>
                <a:gd name="connsiteX2" fmla="*/ 190122 w 1223394"/>
                <a:gd name="connsiteY2" fmla="*/ 548640 h 709205"/>
                <a:gd name="connsiteX3" fmla="*/ 318138 w 1223394"/>
                <a:gd name="connsiteY3" fmla="*/ 493776 h 709205"/>
                <a:gd name="connsiteX4" fmla="*/ 418722 w 1223394"/>
                <a:gd name="connsiteY4" fmla="*/ 466344 h 709205"/>
                <a:gd name="connsiteX5" fmla="*/ 519306 w 1223394"/>
                <a:gd name="connsiteY5" fmla="*/ 384048 h 709205"/>
                <a:gd name="connsiteX6" fmla="*/ 711330 w 1223394"/>
                <a:gd name="connsiteY6" fmla="*/ 301752 h 709205"/>
                <a:gd name="connsiteX7" fmla="*/ 793626 w 1223394"/>
                <a:gd name="connsiteY7" fmla="*/ 192024 h 709205"/>
                <a:gd name="connsiteX8" fmla="*/ 939930 w 1223394"/>
                <a:gd name="connsiteY8" fmla="*/ 155448 h 709205"/>
                <a:gd name="connsiteX9" fmla="*/ 985650 w 1223394"/>
                <a:gd name="connsiteY9" fmla="*/ 155448 h 709205"/>
                <a:gd name="connsiteX10" fmla="*/ 1022226 w 1223394"/>
                <a:gd name="connsiteY10" fmla="*/ 137160 h 709205"/>
                <a:gd name="connsiteX11" fmla="*/ 976506 w 1223394"/>
                <a:gd name="connsiteY11" fmla="*/ 137160 h 709205"/>
                <a:gd name="connsiteX12" fmla="*/ 885066 w 1223394"/>
                <a:gd name="connsiteY12" fmla="*/ 137160 h 709205"/>
                <a:gd name="connsiteX13" fmla="*/ 830202 w 1223394"/>
                <a:gd name="connsiteY13" fmla="*/ 146304 h 709205"/>
                <a:gd name="connsiteX14" fmla="*/ 821058 w 1223394"/>
                <a:gd name="connsiteY14" fmla="*/ 155448 h 709205"/>
                <a:gd name="connsiteX15" fmla="*/ 802770 w 1223394"/>
                <a:gd name="connsiteY15" fmla="*/ 146304 h 709205"/>
                <a:gd name="connsiteX16" fmla="*/ 930786 w 1223394"/>
                <a:gd name="connsiteY16" fmla="*/ 91440 h 709205"/>
                <a:gd name="connsiteX17" fmla="*/ 985650 w 1223394"/>
                <a:gd name="connsiteY17" fmla="*/ 91440 h 709205"/>
                <a:gd name="connsiteX18" fmla="*/ 1077090 w 1223394"/>
                <a:gd name="connsiteY18" fmla="*/ 82296 h 709205"/>
                <a:gd name="connsiteX19" fmla="*/ 1205106 w 1223394"/>
                <a:gd name="connsiteY19" fmla="*/ 27432 h 709205"/>
                <a:gd name="connsiteX20" fmla="*/ 1186818 w 1223394"/>
                <a:gd name="connsiteY20" fmla="*/ 0 h 709205"/>
                <a:gd name="connsiteX21" fmla="*/ 1150242 w 1223394"/>
                <a:gd name="connsiteY21" fmla="*/ 27432 h 709205"/>
                <a:gd name="connsiteX22" fmla="*/ 1113666 w 1223394"/>
                <a:gd name="connsiteY22" fmla="*/ 36576 h 709205"/>
                <a:gd name="connsiteX23" fmla="*/ 1040514 w 1223394"/>
                <a:gd name="connsiteY23" fmla="*/ 64008 h 709205"/>
                <a:gd name="connsiteX24" fmla="*/ 985650 w 1223394"/>
                <a:gd name="connsiteY24" fmla="*/ 64008 h 709205"/>
                <a:gd name="connsiteX25" fmla="*/ 875922 w 1223394"/>
                <a:gd name="connsiteY25" fmla="*/ 64008 h 709205"/>
                <a:gd name="connsiteX26" fmla="*/ 821058 w 1223394"/>
                <a:gd name="connsiteY26" fmla="*/ 100584 h 709205"/>
                <a:gd name="connsiteX27" fmla="*/ 784482 w 1223394"/>
                <a:gd name="connsiteY27" fmla="*/ 146304 h 709205"/>
                <a:gd name="connsiteX28" fmla="*/ 738762 w 1223394"/>
                <a:gd name="connsiteY28" fmla="*/ 182880 h 709205"/>
                <a:gd name="connsiteX29" fmla="*/ 693042 w 1223394"/>
                <a:gd name="connsiteY29" fmla="*/ 256032 h 709205"/>
                <a:gd name="connsiteX30" fmla="*/ 619890 w 1223394"/>
                <a:gd name="connsiteY30" fmla="*/ 301752 h 709205"/>
                <a:gd name="connsiteX31" fmla="*/ 519306 w 1223394"/>
                <a:gd name="connsiteY31" fmla="*/ 347472 h 709205"/>
                <a:gd name="connsiteX32" fmla="*/ 482730 w 1223394"/>
                <a:gd name="connsiteY32" fmla="*/ 374904 h 709205"/>
                <a:gd name="connsiteX33" fmla="*/ 437010 w 1223394"/>
                <a:gd name="connsiteY33" fmla="*/ 402336 h 709205"/>
                <a:gd name="connsiteX34" fmla="*/ 418722 w 1223394"/>
                <a:gd name="connsiteY34" fmla="*/ 402336 h 709205"/>
                <a:gd name="connsiteX35" fmla="*/ 437010 w 1223394"/>
                <a:gd name="connsiteY35" fmla="*/ 365760 h 709205"/>
                <a:gd name="connsiteX36" fmla="*/ 491874 w 1223394"/>
                <a:gd name="connsiteY36" fmla="*/ 301752 h 709205"/>
                <a:gd name="connsiteX37" fmla="*/ 583314 w 1223394"/>
                <a:gd name="connsiteY37" fmla="*/ 219456 h 709205"/>
                <a:gd name="connsiteX38" fmla="*/ 629034 w 1223394"/>
                <a:gd name="connsiteY38" fmla="*/ 146304 h 709205"/>
                <a:gd name="connsiteX39" fmla="*/ 629034 w 1223394"/>
                <a:gd name="connsiteY39" fmla="*/ 64008 h 709205"/>
                <a:gd name="connsiteX40" fmla="*/ 619890 w 1223394"/>
                <a:gd name="connsiteY40" fmla="*/ 54864 h 709205"/>
                <a:gd name="connsiteX41" fmla="*/ 610746 w 1223394"/>
                <a:gd name="connsiteY41" fmla="*/ 128016 h 709205"/>
                <a:gd name="connsiteX42" fmla="*/ 583314 w 1223394"/>
                <a:gd name="connsiteY42" fmla="*/ 173736 h 709205"/>
                <a:gd name="connsiteX43" fmla="*/ 510162 w 1223394"/>
                <a:gd name="connsiteY43" fmla="*/ 237744 h 709205"/>
                <a:gd name="connsiteX44" fmla="*/ 482730 w 1223394"/>
                <a:gd name="connsiteY44" fmla="*/ 256032 h 709205"/>
                <a:gd name="connsiteX45" fmla="*/ 409578 w 1223394"/>
                <a:gd name="connsiteY45" fmla="*/ 347472 h 709205"/>
                <a:gd name="connsiteX46" fmla="*/ 400434 w 1223394"/>
                <a:gd name="connsiteY46" fmla="*/ 374904 h 709205"/>
                <a:gd name="connsiteX47" fmla="*/ 391290 w 1223394"/>
                <a:gd name="connsiteY47" fmla="*/ 411480 h 709205"/>
                <a:gd name="connsiteX48" fmla="*/ 409578 w 1223394"/>
                <a:gd name="connsiteY48" fmla="*/ 429768 h 709205"/>
                <a:gd name="connsiteX49" fmla="*/ 363858 w 1223394"/>
                <a:gd name="connsiteY49" fmla="*/ 457200 h 709205"/>
                <a:gd name="connsiteX50" fmla="*/ 217554 w 1223394"/>
                <a:gd name="connsiteY50" fmla="*/ 493776 h 709205"/>
                <a:gd name="connsiteX51" fmla="*/ 171834 w 1223394"/>
                <a:gd name="connsiteY51" fmla="*/ 530352 h 709205"/>
                <a:gd name="connsiteX52" fmla="*/ 89538 w 1223394"/>
                <a:gd name="connsiteY52" fmla="*/ 585216 h 709205"/>
                <a:gd name="connsiteX53" fmla="*/ 16386 w 1223394"/>
                <a:gd name="connsiteY53" fmla="*/ 704088 h 709205"/>
                <a:gd name="connsiteX54" fmla="*/ 187853 w 1223394"/>
                <a:gd name="connsiteY54" fmla="*/ 554512 h 709205"/>
                <a:gd name="connsiteX55" fmla="*/ 187852 w 1223394"/>
                <a:gd name="connsiteY55" fmla="*/ 554512 h 709205"/>
                <a:gd name="connsiteX0" fmla="*/ 110754 w 1146296"/>
                <a:gd name="connsiteY0" fmla="*/ 554512 h 649224"/>
                <a:gd name="connsiteX1" fmla="*/ 12440 w 1146296"/>
                <a:gd name="connsiteY1" fmla="*/ 649224 h 649224"/>
                <a:gd name="connsiteX2" fmla="*/ 113024 w 1146296"/>
                <a:gd name="connsiteY2" fmla="*/ 548640 h 649224"/>
                <a:gd name="connsiteX3" fmla="*/ 241040 w 1146296"/>
                <a:gd name="connsiteY3" fmla="*/ 493776 h 649224"/>
                <a:gd name="connsiteX4" fmla="*/ 341624 w 1146296"/>
                <a:gd name="connsiteY4" fmla="*/ 466344 h 649224"/>
                <a:gd name="connsiteX5" fmla="*/ 442208 w 1146296"/>
                <a:gd name="connsiteY5" fmla="*/ 384048 h 649224"/>
                <a:gd name="connsiteX6" fmla="*/ 634232 w 1146296"/>
                <a:gd name="connsiteY6" fmla="*/ 301752 h 649224"/>
                <a:gd name="connsiteX7" fmla="*/ 716528 w 1146296"/>
                <a:gd name="connsiteY7" fmla="*/ 192024 h 649224"/>
                <a:gd name="connsiteX8" fmla="*/ 862832 w 1146296"/>
                <a:gd name="connsiteY8" fmla="*/ 155448 h 649224"/>
                <a:gd name="connsiteX9" fmla="*/ 908552 w 1146296"/>
                <a:gd name="connsiteY9" fmla="*/ 155448 h 649224"/>
                <a:gd name="connsiteX10" fmla="*/ 945128 w 1146296"/>
                <a:gd name="connsiteY10" fmla="*/ 137160 h 649224"/>
                <a:gd name="connsiteX11" fmla="*/ 899408 w 1146296"/>
                <a:gd name="connsiteY11" fmla="*/ 137160 h 649224"/>
                <a:gd name="connsiteX12" fmla="*/ 807968 w 1146296"/>
                <a:gd name="connsiteY12" fmla="*/ 137160 h 649224"/>
                <a:gd name="connsiteX13" fmla="*/ 753104 w 1146296"/>
                <a:gd name="connsiteY13" fmla="*/ 146304 h 649224"/>
                <a:gd name="connsiteX14" fmla="*/ 743960 w 1146296"/>
                <a:gd name="connsiteY14" fmla="*/ 155448 h 649224"/>
                <a:gd name="connsiteX15" fmla="*/ 725672 w 1146296"/>
                <a:gd name="connsiteY15" fmla="*/ 146304 h 649224"/>
                <a:gd name="connsiteX16" fmla="*/ 853688 w 1146296"/>
                <a:gd name="connsiteY16" fmla="*/ 91440 h 649224"/>
                <a:gd name="connsiteX17" fmla="*/ 908552 w 1146296"/>
                <a:gd name="connsiteY17" fmla="*/ 91440 h 649224"/>
                <a:gd name="connsiteX18" fmla="*/ 999992 w 1146296"/>
                <a:gd name="connsiteY18" fmla="*/ 82296 h 649224"/>
                <a:gd name="connsiteX19" fmla="*/ 1128008 w 1146296"/>
                <a:gd name="connsiteY19" fmla="*/ 27432 h 649224"/>
                <a:gd name="connsiteX20" fmla="*/ 1109720 w 1146296"/>
                <a:gd name="connsiteY20" fmla="*/ 0 h 649224"/>
                <a:gd name="connsiteX21" fmla="*/ 1073144 w 1146296"/>
                <a:gd name="connsiteY21" fmla="*/ 27432 h 649224"/>
                <a:gd name="connsiteX22" fmla="*/ 1036568 w 1146296"/>
                <a:gd name="connsiteY22" fmla="*/ 36576 h 649224"/>
                <a:gd name="connsiteX23" fmla="*/ 963416 w 1146296"/>
                <a:gd name="connsiteY23" fmla="*/ 64008 h 649224"/>
                <a:gd name="connsiteX24" fmla="*/ 908552 w 1146296"/>
                <a:gd name="connsiteY24" fmla="*/ 64008 h 649224"/>
                <a:gd name="connsiteX25" fmla="*/ 798824 w 1146296"/>
                <a:gd name="connsiteY25" fmla="*/ 64008 h 649224"/>
                <a:gd name="connsiteX26" fmla="*/ 743960 w 1146296"/>
                <a:gd name="connsiteY26" fmla="*/ 100584 h 649224"/>
                <a:gd name="connsiteX27" fmla="*/ 707384 w 1146296"/>
                <a:gd name="connsiteY27" fmla="*/ 146304 h 649224"/>
                <a:gd name="connsiteX28" fmla="*/ 661664 w 1146296"/>
                <a:gd name="connsiteY28" fmla="*/ 182880 h 649224"/>
                <a:gd name="connsiteX29" fmla="*/ 615944 w 1146296"/>
                <a:gd name="connsiteY29" fmla="*/ 256032 h 649224"/>
                <a:gd name="connsiteX30" fmla="*/ 542792 w 1146296"/>
                <a:gd name="connsiteY30" fmla="*/ 301752 h 649224"/>
                <a:gd name="connsiteX31" fmla="*/ 442208 w 1146296"/>
                <a:gd name="connsiteY31" fmla="*/ 347472 h 649224"/>
                <a:gd name="connsiteX32" fmla="*/ 405632 w 1146296"/>
                <a:gd name="connsiteY32" fmla="*/ 374904 h 649224"/>
                <a:gd name="connsiteX33" fmla="*/ 359912 w 1146296"/>
                <a:gd name="connsiteY33" fmla="*/ 402336 h 649224"/>
                <a:gd name="connsiteX34" fmla="*/ 341624 w 1146296"/>
                <a:gd name="connsiteY34" fmla="*/ 402336 h 649224"/>
                <a:gd name="connsiteX35" fmla="*/ 359912 w 1146296"/>
                <a:gd name="connsiteY35" fmla="*/ 365760 h 649224"/>
                <a:gd name="connsiteX36" fmla="*/ 414776 w 1146296"/>
                <a:gd name="connsiteY36" fmla="*/ 301752 h 649224"/>
                <a:gd name="connsiteX37" fmla="*/ 506216 w 1146296"/>
                <a:gd name="connsiteY37" fmla="*/ 219456 h 649224"/>
                <a:gd name="connsiteX38" fmla="*/ 551936 w 1146296"/>
                <a:gd name="connsiteY38" fmla="*/ 146304 h 649224"/>
                <a:gd name="connsiteX39" fmla="*/ 551936 w 1146296"/>
                <a:gd name="connsiteY39" fmla="*/ 64008 h 649224"/>
                <a:gd name="connsiteX40" fmla="*/ 542792 w 1146296"/>
                <a:gd name="connsiteY40" fmla="*/ 54864 h 649224"/>
                <a:gd name="connsiteX41" fmla="*/ 533648 w 1146296"/>
                <a:gd name="connsiteY41" fmla="*/ 128016 h 649224"/>
                <a:gd name="connsiteX42" fmla="*/ 506216 w 1146296"/>
                <a:gd name="connsiteY42" fmla="*/ 173736 h 649224"/>
                <a:gd name="connsiteX43" fmla="*/ 433064 w 1146296"/>
                <a:gd name="connsiteY43" fmla="*/ 237744 h 649224"/>
                <a:gd name="connsiteX44" fmla="*/ 405632 w 1146296"/>
                <a:gd name="connsiteY44" fmla="*/ 256032 h 649224"/>
                <a:gd name="connsiteX45" fmla="*/ 332480 w 1146296"/>
                <a:gd name="connsiteY45" fmla="*/ 347472 h 649224"/>
                <a:gd name="connsiteX46" fmla="*/ 323336 w 1146296"/>
                <a:gd name="connsiteY46" fmla="*/ 374904 h 649224"/>
                <a:gd name="connsiteX47" fmla="*/ 314192 w 1146296"/>
                <a:gd name="connsiteY47" fmla="*/ 411480 h 649224"/>
                <a:gd name="connsiteX48" fmla="*/ 332480 w 1146296"/>
                <a:gd name="connsiteY48" fmla="*/ 429768 h 649224"/>
                <a:gd name="connsiteX49" fmla="*/ 286760 w 1146296"/>
                <a:gd name="connsiteY49" fmla="*/ 457200 h 649224"/>
                <a:gd name="connsiteX50" fmla="*/ 140456 w 1146296"/>
                <a:gd name="connsiteY50" fmla="*/ 493776 h 649224"/>
                <a:gd name="connsiteX51" fmla="*/ 94736 w 1146296"/>
                <a:gd name="connsiteY51" fmla="*/ 530352 h 649224"/>
                <a:gd name="connsiteX52" fmla="*/ 12440 w 1146296"/>
                <a:gd name="connsiteY52" fmla="*/ 585216 h 649224"/>
                <a:gd name="connsiteX53" fmla="*/ 20096 w 1146296"/>
                <a:gd name="connsiteY53" fmla="*/ 612769 h 649224"/>
                <a:gd name="connsiteX54" fmla="*/ 110755 w 1146296"/>
                <a:gd name="connsiteY54" fmla="*/ 554512 h 649224"/>
                <a:gd name="connsiteX55" fmla="*/ 110754 w 1146296"/>
                <a:gd name="connsiteY55" fmla="*/ 554512 h 649224"/>
                <a:gd name="connsiteX0" fmla="*/ 101388 w 1136930"/>
                <a:gd name="connsiteY0" fmla="*/ 554512 h 649224"/>
                <a:gd name="connsiteX1" fmla="*/ 3074 w 1136930"/>
                <a:gd name="connsiteY1" fmla="*/ 649224 h 649224"/>
                <a:gd name="connsiteX2" fmla="*/ 103658 w 1136930"/>
                <a:gd name="connsiteY2" fmla="*/ 548640 h 649224"/>
                <a:gd name="connsiteX3" fmla="*/ 231674 w 1136930"/>
                <a:gd name="connsiteY3" fmla="*/ 493776 h 649224"/>
                <a:gd name="connsiteX4" fmla="*/ 332258 w 1136930"/>
                <a:gd name="connsiteY4" fmla="*/ 466344 h 649224"/>
                <a:gd name="connsiteX5" fmla="*/ 432842 w 1136930"/>
                <a:gd name="connsiteY5" fmla="*/ 384048 h 649224"/>
                <a:gd name="connsiteX6" fmla="*/ 624866 w 1136930"/>
                <a:gd name="connsiteY6" fmla="*/ 301752 h 649224"/>
                <a:gd name="connsiteX7" fmla="*/ 707162 w 1136930"/>
                <a:gd name="connsiteY7" fmla="*/ 192024 h 649224"/>
                <a:gd name="connsiteX8" fmla="*/ 853466 w 1136930"/>
                <a:gd name="connsiteY8" fmla="*/ 155448 h 649224"/>
                <a:gd name="connsiteX9" fmla="*/ 899186 w 1136930"/>
                <a:gd name="connsiteY9" fmla="*/ 155448 h 649224"/>
                <a:gd name="connsiteX10" fmla="*/ 935762 w 1136930"/>
                <a:gd name="connsiteY10" fmla="*/ 137160 h 649224"/>
                <a:gd name="connsiteX11" fmla="*/ 890042 w 1136930"/>
                <a:gd name="connsiteY11" fmla="*/ 137160 h 649224"/>
                <a:gd name="connsiteX12" fmla="*/ 798602 w 1136930"/>
                <a:gd name="connsiteY12" fmla="*/ 137160 h 649224"/>
                <a:gd name="connsiteX13" fmla="*/ 743738 w 1136930"/>
                <a:gd name="connsiteY13" fmla="*/ 146304 h 649224"/>
                <a:gd name="connsiteX14" fmla="*/ 734594 w 1136930"/>
                <a:gd name="connsiteY14" fmla="*/ 155448 h 649224"/>
                <a:gd name="connsiteX15" fmla="*/ 716306 w 1136930"/>
                <a:gd name="connsiteY15" fmla="*/ 146304 h 649224"/>
                <a:gd name="connsiteX16" fmla="*/ 844322 w 1136930"/>
                <a:gd name="connsiteY16" fmla="*/ 91440 h 649224"/>
                <a:gd name="connsiteX17" fmla="*/ 899186 w 1136930"/>
                <a:gd name="connsiteY17" fmla="*/ 91440 h 649224"/>
                <a:gd name="connsiteX18" fmla="*/ 990626 w 1136930"/>
                <a:gd name="connsiteY18" fmla="*/ 82296 h 649224"/>
                <a:gd name="connsiteX19" fmla="*/ 1118642 w 1136930"/>
                <a:gd name="connsiteY19" fmla="*/ 27432 h 649224"/>
                <a:gd name="connsiteX20" fmla="*/ 1100354 w 1136930"/>
                <a:gd name="connsiteY20" fmla="*/ 0 h 649224"/>
                <a:gd name="connsiteX21" fmla="*/ 1063778 w 1136930"/>
                <a:gd name="connsiteY21" fmla="*/ 27432 h 649224"/>
                <a:gd name="connsiteX22" fmla="*/ 1027202 w 1136930"/>
                <a:gd name="connsiteY22" fmla="*/ 36576 h 649224"/>
                <a:gd name="connsiteX23" fmla="*/ 954050 w 1136930"/>
                <a:gd name="connsiteY23" fmla="*/ 64008 h 649224"/>
                <a:gd name="connsiteX24" fmla="*/ 899186 w 1136930"/>
                <a:gd name="connsiteY24" fmla="*/ 64008 h 649224"/>
                <a:gd name="connsiteX25" fmla="*/ 789458 w 1136930"/>
                <a:gd name="connsiteY25" fmla="*/ 64008 h 649224"/>
                <a:gd name="connsiteX26" fmla="*/ 734594 w 1136930"/>
                <a:gd name="connsiteY26" fmla="*/ 100584 h 649224"/>
                <a:gd name="connsiteX27" fmla="*/ 698018 w 1136930"/>
                <a:gd name="connsiteY27" fmla="*/ 146304 h 649224"/>
                <a:gd name="connsiteX28" fmla="*/ 652298 w 1136930"/>
                <a:gd name="connsiteY28" fmla="*/ 182880 h 649224"/>
                <a:gd name="connsiteX29" fmla="*/ 606578 w 1136930"/>
                <a:gd name="connsiteY29" fmla="*/ 256032 h 649224"/>
                <a:gd name="connsiteX30" fmla="*/ 533426 w 1136930"/>
                <a:gd name="connsiteY30" fmla="*/ 301752 h 649224"/>
                <a:gd name="connsiteX31" fmla="*/ 432842 w 1136930"/>
                <a:gd name="connsiteY31" fmla="*/ 347472 h 649224"/>
                <a:gd name="connsiteX32" fmla="*/ 396266 w 1136930"/>
                <a:gd name="connsiteY32" fmla="*/ 374904 h 649224"/>
                <a:gd name="connsiteX33" fmla="*/ 350546 w 1136930"/>
                <a:gd name="connsiteY33" fmla="*/ 402336 h 649224"/>
                <a:gd name="connsiteX34" fmla="*/ 332258 w 1136930"/>
                <a:gd name="connsiteY34" fmla="*/ 402336 h 649224"/>
                <a:gd name="connsiteX35" fmla="*/ 350546 w 1136930"/>
                <a:gd name="connsiteY35" fmla="*/ 365760 h 649224"/>
                <a:gd name="connsiteX36" fmla="*/ 405410 w 1136930"/>
                <a:gd name="connsiteY36" fmla="*/ 301752 h 649224"/>
                <a:gd name="connsiteX37" fmla="*/ 496850 w 1136930"/>
                <a:gd name="connsiteY37" fmla="*/ 219456 h 649224"/>
                <a:gd name="connsiteX38" fmla="*/ 542570 w 1136930"/>
                <a:gd name="connsiteY38" fmla="*/ 146304 h 649224"/>
                <a:gd name="connsiteX39" fmla="*/ 542570 w 1136930"/>
                <a:gd name="connsiteY39" fmla="*/ 64008 h 649224"/>
                <a:gd name="connsiteX40" fmla="*/ 533426 w 1136930"/>
                <a:gd name="connsiteY40" fmla="*/ 54864 h 649224"/>
                <a:gd name="connsiteX41" fmla="*/ 524282 w 1136930"/>
                <a:gd name="connsiteY41" fmla="*/ 128016 h 649224"/>
                <a:gd name="connsiteX42" fmla="*/ 496850 w 1136930"/>
                <a:gd name="connsiteY42" fmla="*/ 173736 h 649224"/>
                <a:gd name="connsiteX43" fmla="*/ 423698 w 1136930"/>
                <a:gd name="connsiteY43" fmla="*/ 237744 h 649224"/>
                <a:gd name="connsiteX44" fmla="*/ 396266 w 1136930"/>
                <a:gd name="connsiteY44" fmla="*/ 256032 h 649224"/>
                <a:gd name="connsiteX45" fmla="*/ 323114 w 1136930"/>
                <a:gd name="connsiteY45" fmla="*/ 347472 h 649224"/>
                <a:gd name="connsiteX46" fmla="*/ 313970 w 1136930"/>
                <a:gd name="connsiteY46" fmla="*/ 374904 h 649224"/>
                <a:gd name="connsiteX47" fmla="*/ 304826 w 1136930"/>
                <a:gd name="connsiteY47" fmla="*/ 411480 h 649224"/>
                <a:gd name="connsiteX48" fmla="*/ 323114 w 1136930"/>
                <a:gd name="connsiteY48" fmla="*/ 429768 h 649224"/>
                <a:gd name="connsiteX49" fmla="*/ 277394 w 1136930"/>
                <a:gd name="connsiteY49" fmla="*/ 457200 h 649224"/>
                <a:gd name="connsiteX50" fmla="*/ 131090 w 1136930"/>
                <a:gd name="connsiteY50" fmla="*/ 493776 h 649224"/>
                <a:gd name="connsiteX51" fmla="*/ 85370 w 1136930"/>
                <a:gd name="connsiteY51" fmla="*/ 530352 h 649224"/>
                <a:gd name="connsiteX52" fmla="*/ 3074 w 1136930"/>
                <a:gd name="connsiteY52" fmla="*/ 585216 h 649224"/>
                <a:gd name="connsiteX53" fmla="*/ 103816 w 1136930"/>
                <a:gd name="connsiteY53" fmla="*/ 555040 h 649224"/>
                <a:gd name="connsiteX54" fmla="*/ 101389 w 1136930"/>
                <a:gd name="connsiteY54" fmla="*/ 554512 h 649224"/>
                <a:gd name="connsiteX55" fmla="*/ 101388 w 1136930"/>
                <a:gd name="connsiteY55" fmla="*/ 554512 h 649224"/>
                <a:gd name="connsiteX0" fmla="*/ 101388 w 1136930"/>
                <a:gd name="connsiteY0" fmla="*/ 554512 h 589331"/>
                <a:gd name="connsiteX1" fmla="*/ 103816 w 1136930"/>
                <a:gd name="connsiteY1" fmla="*/ 555041 h 589331"/>
                <a:gd name="connsiteX2" fmla="*/ 103658 w 1136930"/>
                <a:gd name="connsiteY2" fmla="*/ 548640 h 589331"/>
                <a:gd name="connsiteX3" fmla="*/ 231674 w 1136930"/>
                <a:gd name="connsiteY3" fmla="*/ 493776 h 589331"/>
                <a:gd name="connsiteX4" fmla="*/ 332258 w 1136930"/>
                <a:gd name="connsiteY4" fmla="*/ 466344 h 589331"/>
                <a:gd name="connsiteX5" fmla="*/ 432842 w 1136930"/>
                <a:gd name="connsiteY5" fmla="*/ 384048 h 589331"/>
                <a:gd name="connsiteX6" fmla="*/ 624866 w 1136930"/>
                <a:gd name="connsiteY6" fmla="*/ 301752 h 589331"/>
                <a:gd name="connsiteX7" fmla="*/ 707162 w 1136930"/>
                <a:gd name="connsiteY7" fmla="*/ 192024 h 589331"/>
                <a:gd name="connsiteX8" fmla="*/ 853466 w 1136930"/>
                <a:gd name="connsiteY8" fmla="*/ 155448 h 589331"/>
                <a:gd name="connsiteX9" fmla="*/ 899186 w 1136930"/>
                <a:gd name="connsiteY9" fmla="*/ 155448 h 589331"/>
                <a:gd name="connsiteX10" fmla="*/ 935762 w 1136930"/>
                <a:gd name="connsiteY10" fmla="*/ 137160 h 589331"/>
                <a:gd name="connsiteX11" fmla="*/ 890042 w 1136930"/>
                <a:gd name="connsiteY11" fmla="*/ 137160 h 589331"/>
                <a:gd name="connsiteX12" fmla="*/ 798602 w 1136930"/>
                <a:gd name="connsiteY12" fmla="*/ 137160 h 589331"/>
                <a:gd name="connsiteX13" fmla="*/ 743738 w 1136930"/>
                <a:gd name="connsiteY13" fmla="*/ 146304 h 589331"/>
                <a:gd name="connsiteX14" fmla="*/ 734594 w 1136930"/>
                <a:gd name="connsiteY14" fmla="*/ 155448 h 589331"/>
                <a:gd name="connsiteX15" fmla="*/ 716306 w 1136930"/>
                <a:gd name="connsiteY15" fmla="*/ 146304 h 589331"/>
                <a:gd name="connsiteX16" fmla="*/ 844322 w 1136930"/>
                <a:gd name="connsiteY16" fmla="*/ 91440 h 589331"/>
                <a:gd name="connsiteX17" fmla="*/ 899186 w 1136930"/>
                <a:gd name="connsiteY17" fmla="*/ 91440 h 589331"/>
                <a:gd name="connsiteX18" fmla="*/ 990626 w 1136930"/>
                <a:gd name="connsiteY18" fmla="*/ 82296 h 589331"/>
                <a:gd name="connsiteX19" fmla="*/ 1118642 w 1136930"/>
                <a:gd name="connsiteY19" fmla="*/ 27432 h 589331"/>
                <a:gd name="connsiteX20" fmla="*/ 1100354 w 1136930"/>
                <a:gd name="connsiteY20" fmla="*/ 0 h 589331"/>
                <a:gd name="connsiteX21" fmla="*/ 1063778 w 1136930"/>
                <a:gd name="connsiteY21" fmla="*/ 27432 h 589331"/>
                <a:gd name="connsiteX22" fmla="*/ 1027202 w 1136930"/>
                <a:gd name="connsiteY22" fmla="*/ 36576 h 589331"/>
                <a:gd name="connsiteX23" fmla="*/ 954050 w 1136930"/>
                <a:gd name="connsiteY23" fmla="*/ 64008 h 589331"/>
                <a:gd name="connsiteX24" fmla="*/ 899186 w 1136930"/>
                <a:gd name="connsiteY24" fmla="*/ 64008 h 589331"/>
                <a:gd name="connsiteX25" fmla="*/ 789458 w 1136930"/>
                <a:gd name="connsiteY25" fmla="*/ 64008 h 589331"/>
                <a:gd name="connsiteX26" fmla="*/ 734594 w 1136930"/>
                <a:gd name="connsiteY26" fmla="*/ 100584 h 589331"/>
                <a:gd name="connsiteX27" fmla="*/ 698018 w 1136930"/>
                <a:gd name="connsiteY27" fmla="*/ 146304 h 589331"/>
                <a:gd name="connsiteX28" fmla="*/ 652298 w 1136930"/>
                <a:gd name="connsiteY28" fmla="*/ 182880 h 589331"/>
                <a:gd name="connsiteX29" fmla="*/ 606578 w 1136930"/>
                <a:gd name="connsiteY29" fmla="*/ 256032 h 589331"/>
                <a:gd name="connsiteX30" fmla="*/ 533426 w 1136930"/>
                <a:gd name="connsiteY30" fmla="*/ 301752 h 589331"/>
                <a:gd name="connsiteX31" fmla="*/ 432842 w 1136930"/>
                <a:gd name="connsiteY31" fmla="*/ 347472 h 589331"/>
                <a:gd name="connsiteX32" fmla="*/ 396266 w 1136930"/>
                <a:gd name="connsiteY32" fmla="*/ 374904 h 589331"/>
                <a:gd name="connsiteX33" fmla="*/ 350546 w 1136930"/>
                <a:gd name="connsiteY33" fmla="*/ 402336 h 589331"/>
                <a:gd name="connsiteX34" fmla="*/ 332258 w 1136930"/>
                <a:gd name="connsiteY34" fmla="*/ 402336 h 589331"/>
                <a:gd name="connsiteX35" fmla="*/ 350546 w 1136930"/>
                <a:gd name="connsiteY35" fmla="*/ 365760 h 589331"/>
                <a:gd name="connsiteX36" fmla="*/ 405410 w 1136930"/>
                <a:gd name="connsiteY36" fmla="*/ 301752 h 589331"/>
                <a:gd name="connsiteX37" fmla="*/ 496850 w 1136930"/>
                <a:gd name="connsiteY37" fmla="*/ 219456 h 589331"/>
                <a:gd name="connsiteX38" fmla="*/ 542570 w 1136930"/>
                <a:gd name="connsiteY38" fmla="*/ 146304 h 589331"/>
                <a:gd name="connsiteX39" fmla="*/ 542570 w 1136930"/>
                <a:gd name="connsiteY39" fmla="*/ 64008 h 589331"/>
                <a:gd name="connsiteX40" fmla="*/ 533426 w 1136930"/>
                <a:gd name="connsiteY40" fmla="*/ 54864 h 589331"/>
                <a:gd name="connsiteX41" fmla="*/ 524282 w 1136930"/>
                <a:gd name="connsiteY41" fmla="*/ 128016 h 589331"/>
                <a:gd name="connsiteX42" fmla="*/ 496850 w 1136930"/>
                <a:gd name="connsiteY42" fmla="*/ 173736 h 589331"/>
                <a:gd name="connsiteX43" fmla="*/ 423698 w 1136930"/>
                <a:gd name="connsiteY43" fmla="*/ 237744 h 589331"/>
                <a:gd name="connsiteX44" fmla="*/ 396266 w 1136930"/>
                <a:gd name="connsiteY44" fmla="*/ 256032 h 589331"/>
                <a:gd name="connsiteX45" fmla="*/ 323114 w 1136930"/>
                <a:gd name="connsiteY45" fmla="*/ 347472 h 589331"/>
                <a:gd name="connsiteX46" fmla="*/ 313970 w 1136930"/>
                <a:gd name="connsiteY46" fmla="*/ 374904 h 589331"/>
                <a:gd name="connsiteX47" fmla="*/ 304826 w 1136930"/>
                <a:gd name="connsiteY47" fmla="*/ 411480 h 589331"/>
                <a:gd name="connsiteX48" fmla="*/ 323114 w 1136930"/>
                <a:gd name="connsiteY48" fmla="*/ 429768 h 589331"/>
                <a:gd name="connsiteX49" fmla="*/ 277394 w 1136930"/>
                <a:gd name="connsiteY49" fmla="*/ 457200 h 589331"/>
                <a:gd name="connsiteX50" fmla="*/ 131090 w 1136930"/>
                <a:gd name="connsiteY50" fmla="*/ 493776 h 589331"/>
                <a:gd name="connsiteX51" fmla="*/ 85370 w 1136930"/>
                <a:gd name="connsiteY51" fmla="*/ 530352 h 589331"/>
                <a:gd name="connsiteX52" fmla="*/ 3074 w 1136930"/>
                <a:gd name="connsiteY52" fmla="*/ 585216 h 589331"/>
                <a:gd name="connsiteX53" fmla="*/ 103816 w 1136930"/>
                <a:gd name="connsiteY53" fmla="*/ 555040 h 589331"/>
                <a:gd name="connsiteX54" fmla="*/ 101389 w 1136930"/>
                <a:gd name="connsiteY54" fmla="*/ 554512 h 589331"/>
                <a:gd name="connsiteX55" fmla="*/ 101388 w 1136930"/>
                <a:gd name="connsiteY55" fmla="*/ 554512 h 589331"/>
                <a:gd name="connsiteX0" fmla="*/ 19040 w 1054582"/>
                <a:gd name="connsiteY0" fmla="*/ 554512 h 567361"/>
                <a:gd name="connsiteX1" fmla="*/ 21468 w 1054582"/>
                <a:gd name="connsiteY1" fmla="*/ 555041 h 567361"/>
                <a:gd name="connsiteX2" fmla="*/ 21310 w 1054582"/>
                <a:gd name="connsiteY2" fmla="*/ 548640 h 567361"/>
                <a:gd name="connsiteX3" fmla="*/ 149326 w 1054582"/>
                <a:gd name="connsiteY3" fmla="*/ 493776 h 567361"/>
                <a:gd name="connsiteX4" fmla="*/ 249910 w 1054582"/>
                <a:gd name="connsiteY4" fmla="*/ 466344 h 567361"/>
                <a:gd name="connsiteX5" fmla="*/ 350494 w 1054582"/>
                <a:gd name="connsiteY5" fmla="*/ 384048 h 567361"/>
                <a:gd name="connsiteX6" fmla="*/ 542518 w 1054582"/>
                <a:gd name="connsiteY6" fmla="*/ 301752 h 567361"/>
                <a:gd name="connsiteX7" fmla="*/ 624814 w 1054582"/>
                <a:gd name="connsiteY7" fmla="*/ 192024 h 567361"/>
                <a:gd name="connsiteX8" fmla="*/ 771118 w 1054582"/>
                <a:gd name="connsiteY8" fmla="*/ 155448 h 567361"/>
                <a:gd name="connsiteX9" fmla="*/ 816838 w 1054582"/>
                <a:gd name="connsiteY9" fmla="*/ 155448 h 567361"/>
                <a:gd name="connsiteX10" fmla="*/ 853414 w 1054582"/>
                <a:gd name="connsiteY10" fmla="*/ 137160 h 567361"/>
                <a:gd name="connsiteX11" fmla="*/ 807694 w 1054582"/>
                <a:gd name="connsiteY11" fmla="*/ 137160 h 567361"/>
                <a:gd name="connsiteX12" fmla="*/ 716254 w 1054582"/>
                <a:gd name="connsiteY12" fmla="*/ 137160 h 567361"/>
                <a:gd name="connsiteX13" fmla="*/ 661390 w 1054582"/>
                <a:gd name="connsiteY13" fmla="*/ 146304 h 567361"/>
                <a:gd name="connsiteX14" fmla="*/ 652246 w 1054582"/>
                <a:gd name="connsiteY14" fmla="*/ 155448 h 567361"/>
                <a:gd name="connsiteX15" fmla="*/ 633958 w 1054582"/>
                <a:gd name="connsiteY15" fmla="*/ 146304 h 567361"/>
                <a:gd name="connsiteX16" fmla="*/ 761974 w 1054582"/>
                <a:gd name="connsiteY16" fmla="*/ 91440 h 567361"/>
                <a:gd name="connsiteX17" fmla="*/ 816838 w 1054582"/>
                <a:gd name="connsiteY17" fmla="*/ 91440 h 567361"/>
                <a:gd name="connsiteX18" fmla="*/ 908278 w 1054582"/>
                <a:gd name="connsiteY18" fmla="*/ 82296 h 567361"/>
                <a:gd name="connsiteX19" fmla="*/ 1036294 w 1054582"/>
                <a:gd name="connsiteY19" fmla="*/ 27432 h 567361"/>
                <a:gd name="connsiteX20" fmla="*/ 1018006 w 1054582"/>
                <a:gd name="connsiteY20" fmla="*/ 0 h 567361"/>
                <a:gd name="connsiteX21" fmla="*/ 981430 w 1054582"/>
                <a:gd name="connsiteY21" fmla="*/ 27432 h 567361"/>
                <a:gd name="connsiteX22" fmla="*/ 944854 w 1054582"/>
                <a:gd name="connsiteY22" fmla="*/ 36576 h 567361"/>
                <a:gd name="connsiteX23" fmla="*/ 871702 w 1054582"/>
                <a:gd name="connsiteY23" fmla="*/ 64008 h 567361"/>
                <a:gd name="connsiteX24" fmla="*/ 816838 w 1054582"/>
                <a:gd name="connsiteY24" fmla="*/ 64008 h 567361"/>
                <a:gd name="connsiteX25" fmla="*/ 707110 w 1054582"/>
                <a:gd name="connsiteY25" fmla="*/ 64008 h 567361"/>
                <a:gd name="connsiteX26" fmla="*/ 652246 w 1054582"/>
                <a:gd name="connsiteY26" fmla="*/ 100584 h 567361"/>
                <a:gd name="connsiteX27" fmla="*/ 615670 w 1054582"/>
                <a:gd name="connsiteY27" fmla="*/ 146304 h 567361"/>
                <a:gd name="connsiteX28" fmla="*/ 569950 w 1054582"/>
                <a:gd name="connsiteY28" fmla="*/ 182880 h 567361"/>
                <a:gd name="connsiteX29" fmla="*/ 524230 w 1054582"/>
                <a:gd name="connsiteY29" fmla="*/ 256032 h 567361"/>
                <a:gd name="connsiteX30" fmla="*/ 451078 w 1054582"/>
                <a:gd name="connsiteY30" fmla="*/ 301752 h 567361"/>
                <a:gd name="connsiteX31" fmla="*/ 350494 w 1054582"/>
                <a:gd name="connsiteY31" fmla="*/ 347472 h 567361"/>
                <a:gd name="connsiteX32" fmla="*/ 313918 w 1054582"/>
                <a:gd name="connsiteY32" fmla="*/ 374904 h 567361"/>
                <a:gd name="connsiteX33" fmla="*/ 268198 w 1054582"/>
                <a:gd name="connsiteY33" fmla="*/ 402336 h 567361"/>
                <a:gd name="connsiteX34" fmla="*/ 249910 w 1054582"/>
                <a:gd name="connsiteY34" fmla="*/ 402336 h 567361"/>
                <a:gd name="connsiteX35" fmla="*/ 268198 w 1054582"/>
                <a:gd name="connsiteY35" fmla="*/ 365760 h 567361"/>
                <a:gd name="connsiteX36" fmla="*/ 323062 w 1054582"/>
                <a:gd name="connsiteY36" fmla="*/ 301752 h 567361"/>
                <a:gd name="connsiteX37" fmla="*/ 414502 w 1054582"/>
                <a:gd name="connsiteY37" fmla="*/ 219456 h 567361"/>
                <a:gd name="connsiteX38" fmla="*/ 460222 w 1054582"/>
                <a:gd name="connsiteY38" fmla="*/ 146304 h 567361"/>
                <a:gd name="connsiteX39" fmla="*/ 460222 w 1054582"/>
                <a:gd name="connsiteY39" fmla="*/ 64008 h 567361"/>
                <a:gd name="connsiteX40" fmla="*/ 451078 w 1054582"/>
                <a:gd name="connsiteY40" fmla="*/ 54864 h 567361"/>
                <a:gd name="connsiteX41" fmla="*/ 441934 w 1054582"/>
                <a:gd name="connsiteY41" fmla="*/ 128016 h 567361"/>
                <a:gd name="connsiteX42" fmla="*/ 414502 w 1054582"/>
                <a:gd name="connsiteY42" fmla="*/ 173736 h 567361"/>
                <a:gd name="connsiteX43" fmla="*/ 341350 w 1054582"/>
                <a:gd name="connsiteY43" fmla="*/ 237744 h 567361"/>
                <a:gd name="connsiteX44" fmla="*/ 313918 w 1054582"/>
                <a:gd name="connsiteY44" fmla="*/ 256032 h 567361"/>
                <a:gd name="connsiteX45" fmla="*/ 240766 w 1054582"/>
                <a:gd name="connsiteY45" fmla="*/ 347472 h 567361"/>
                <a:gd name="connsiteX46" fmla="*/ 231622 w 1054582"/>
                <a:gd name="connsiteY46" fmla="*/ 374904 h 567361"/>
                <a:gd name="connsiteX47" fmla="*/ 222478 w 1054582"/>
                <a:gd name="connsiteY47" fmla="*/ 411480 h 567361"/>
                <a:gd name="connsiteX48" fmla="*/ 240766 w 1054582"/>
                <a:gd name="connsiteY48" fmla="*/ 429768 h 567361"/>
                <a:gd name="connsiteX49" fmla="*/ 195046 w 1054582"/>
                <a:gd name="connsiteY49" fmla="*/ 457200 h 567361"/>
                <a:gd name="connsiteX50" fmla="*/ 48742 w 1054582"/>
                <a:gd name="connsiteY50" fmla="*/ 493776 h 567361"/>
                <a:gd name="connsiteX51" fmla="*/ 3022 w 1054582"/>
                <a:gd name="connsiteY51" fmla="*/ 530352 h 567361"/>
                <a:gd name="connsiteX52" fmla="*/ 37669 w 1054582"/>
                <a:gd name="connsiteY52" fmla="*/ 480583 h 567361"/>
                <a:gd name="connsiteX53" fmla="*/ 21468 w 1054582"/>
                <a:gd name="connsiteY53" fmla="*/ 555040 h 567361"/>
                <a:gd name="connsiteX54" fmla="*/ 19041 w 1054582"/>
                <a:gd name="connsiteY54" fmla="*/ 554512 h 567361"/>
                <a:gd name="connsiteX55" fmla="*/ 19040 w 1054582"/>
                <a:gd name="connsiteY55" fmla="*/ 554512 h 567361"/>
                <a:gd name="connsiteX0" fmla="*/ 112127 w 1054582"/>
                <a:gd name="connsiteY0" fmla="*/ 496784 h 567361"/>
                <a:gd name="connsiteX1" fmla="*/ 21468 w 1054582"/>
                <a:gd name="connsiteY1" fmla="*/ 555041 h 567361"/>
                <a:gd name="connsiteX2" fmla="*/ 21310 w 1054582"/>
                <a:gd name="connsiteY2" fmla="*/ 548640 h 567361"/>
                <a:gd name="connsiteX3" fmla="*/ 149326 w 1054582"/>
                <a:gd name="connsiteY3" fmla="*/ 493776 h 567361"/>
                <a:gd name="connsiteX4" fmla="*/ 249910 w 1054582"/>
                <a:gd name="connsiteY4" fmla="*/ 466344 h 567361"/>
                <a:gd name="connsiteX5" fmla="*/ 350494 w 1054582"/>
                <a:gd name="connsiteY5" fmla="*/ 384048 h 567361"/>
                <a:gd name="connsiteX6" fmla="*/ 542518 w 1054582"/>
                <a:gd name="connsiteY6" fmla="*/ 301752 h 567361"/>
                <a:gd name="connsiteX7" fmla="*/ 624814 w 1054582"/>
                <a:gd name="connsiteY7" fmla="*/ 192024 h 567361"/>
                <a:gd name="connsiteX8" fmla="*/ 771118 w 1054582"/>
                <a:gd name="connsiteY8" fmla="*/ 155448 h 567361"/>
                <a:gd name="connsiteX9" fmla="*/ 816838 w 1054582"/>
                <a:gd name="connsiteY9" fmla="*/ 155448 h 567361"/>
                <a:gd name="connsiteX10" fmla="*/ 853414 w 1054582"/>
                <a:gd name="connsiteY10" fmla="*/ 137160 h 567361"/>
                <a:gd name="connsiteX11" fmla="*/ 807694 w 1054582"/>
                <a:gd name="connsiteY11" fmla="*/ 137160 h 567361"/>
                <a:gd name="connsiteX12" fmla="*/ 716254 w 1054582"/>
                <a:gd name="connsiteY12" fmla="*/ 137160 h 567361"/>
                <a:gd name="connsiteX13" fmla="*/ 661390 w 1054582"/>
                <a:gd name="connsiteY13" fmla="*/ 146304 h 567361"/>
                <a:gd name="connsiteX14" fmla="*/ 652246 w 1054582"/>
                <a:gd name="connsiteY14" fmla="*/ 155448 h 567361"/>
                <a:gd name="connsiteX15" fmla="*/ 633958 w 1054582"/>
                <a:gd name="connsiteY15" fmla="*/ 146304 h 567361"/>
                <a:gd name="connsiteX16" fmla="*/ 761974 w 1054582"/>
                <a:gd name="connsiteY16" fmla="*/ 91440 h 567361"/>
                <a:gd name="connsiteX17" fmla="*/ 816838 w 1054582"/>
                <a:gd name="connsiteY17" fmla="*/ 91440 h 567361"/>
                <a:gd name="connsiteX18" fmla="*/ 908278 w 1054582"/>
                <a:gd name="connsiteY18" fmla="*/ 82296 h 567361"/>
                <a:gd name="connsiteX19" fmla="*/ 1036294 w 1054582"/>
                <a:gd name="connsiteY19" fmla="*/ 27432 h 567361"/>
                <a:gd name="connsiteX20" fmla="*/ 1018006 w 1054582"/>
                <a:gd name="connsiteY20" fmla="*/ 0 h 567361"/>
                <a:gd name="connsiteX21" fmla="*/ 981430 w 1054582"/>
                <a:gd name="connsiteY21" fmla="*/ 27432 h 567361"/>
                <a:gd name="connsiteX22" fmla="*/ 944854 w 1054582"/>
                <a:gd name="connsiteY22" fmla="*/ 36576 h 567361"/>
                <a:gd name="connsiteX23" fmla="*/ 871702 w 1054582"/>
                <a:gd name="connsiteY23" fmla="*/ 64008 h 567361"/>
                <a:gd name="connsiteX24" fmla="*/ 816838 w 1054582"/>
                <a:gd name="connsiteY24" fmla="*/ 64008 h 567361"/>
                <a:gd name="connsiteX25" fmla="*/ 707110 w 1054582"/>
                <a:gd name="connsiteY25" fmla="*/ 64008 h 567361"/>
                <a:gd name="connsiteX26" fmla="*/ 652246 w 1054582"/>
                <a:gd name="connsiteY26" fmla="*/ 100584 h 567361"/>
                <a:gd name="connsiteX27" fmla="*/ 615670 w 1054582"/>
                <a:gd name="connsiteY27" fmla="*/ 146304 h 567361"/>
                <a:gd name="connsiteX28" fmla="*/ 569950 w 1054582"/>
                <a:gd name="connsiteY28" fmla="*/ 182880 h 567361"/>
                <a:gd name="connsiteX29" fmla="*/ 524230 w 1054582"/>
                <a:gd name="connsiteY29" fmla="*/ 256032 h 567361"/>
                <a:gd name="connsiteX30" fmla="*/ 451078 w 1054582"/>
                <a:gd name="connsiteY30" fmla="*/ 301752 h 567361"/>
                <a:gd name="connsiteX31" fmla="*/ 350494 w 1054582"/>
                <a:gd name="connsiteY31" fmla="*/ 347472 h 567361"/>
                <a:gd name="connsiteX32" fmla="*/ 313918 w 1054582"/>
                <a:gd name="connsiteY32" fmla="*/ 374904 h 567361"/>
                <a:gd name="connsiteX33" fmla="*/ 268198 w 1054582"/>
                <a:gd name="connsiteY33" fmla="*/ 402336 h 567361"/>
                <a:gd name="connsiteX34" fmla="*/ 249910 w 1054582"/>
                <a:gd name="connsiteY34" fmla="*/ 402336 h 567361"/>
                <a:gd name="connsiteX35" fmla="*/ 268198 w 1054582"/>
                <a:gd name="connsiteY35" fmla="*/ 365760 h 567361"/>
                <a:gd name="connsiteX36" fmla="*/ 323062 w 1054582"/>
                <a:gd name="connsiteY36" fmla="*/ 301752 h 567361"/>
                <a:gd name="connsiteX37" fmla="*/ 414502 w 1054582"/>
                <a:gd name="connsiteY37" fmla="*/ 219456 h 567361"/>
                <a:gd name="connsiteX38" fmla="*/ 460222 w 1054582"/>
                <a:gd name="connsiteY38" fmla="*/ 146304 h 567361"/>
                <a:gd name="connsiteX39" fmla="*/ 460222 w 1054582"/>
                <a:gd name="connsiteY39" fmla="*/ 64008 h 567361"/>
                <a:gd name="connsiteX40" fmla="*/ 451078 w 1054582"/>
                <a:gd name="connsiteY40" fmla="*/ 54864 h 567361"/>
                <a:gd name="connsiteX41" fmla="*/ 441934 w 1054582"/>
                <a:gd name="connsiteY41" fmla="*/ 128016 h 567361"/>
                <a:gd name="connsiteX42" fmla="*/ 414502 w 1054582"/>
                <a:gd name="connsiteY42" fmla="*/ 173736 h 567361"/>
                <a:gd name="connsiteX43" fmla="*/ 341350 w 1054582"/>
                <a:gd name="connsiteY43" fmla="*/ 237744 h 567361"/>
                <a:gd name="connsiteX44" fmla="*/ 313918 w 1054582"/>
                <a:gd name="connsiteY44" fmla="*/ 256032 h 567361"/>
                <a:gd name="connsiteX45" fmla="*/ 240766 w 1054582"/>
                <a:gd name="connsiteY45" fmla="*/ 347472 h 567361"/>
                <a:gd name="connsiteX46" fmla="*/ 231622 w 1054582"/>
                <a:gd name="connsiteY46" fmla="*/ 374904 h 567361"/>
                <a:gd name="connsiteX47" fmla="*/ 222478 w 1054582"/>
                <a:gd name="connsiteY47" fmla="*/ 411480 h 567361"/>
                <a:gd name="connsiteX48" fmla="*/ 240766 w 1054582"/>
                <a:gd name="connsiteY48" fmla="*/ 429768 h 567361"/>
                <a:gd name="connsiteX49" fmla="*/ 195046 w 1054582"/>
                <a:gd name="connsiteY49" fmla="*/ 457200 h 567361"/>
                <a:gd name="connsiteX50" fmla="*/ 48742 w 1054582"/>
                <a:gd name="connsiteY50" fmla="*/ 493776 h 567361"/>
                <a:gd name="connsiteX51" fmla="*/ 3022 w 1054582"/>
                <a:gd name="connsiteY51" fmla="*/ 530352 h 567361"/>
                <a:gd name="connsiteX52" fmla="*/ 37669 w 1054582"/>
                <a:gd name="connsiteY52" fmla="*/ 480583 h 567361"/>
                <a:gd name="connsiteX53" fmla="*/ 21468 w 1054582"/>
                <a:gd name="connsiteY53" fmla="*/ 555040 h 567361"/>
                <a:gd name="connsiteX54" fmla="*/ 19041 w 1054582"/>
                <a:gd name="connsiteY54" fmla="*/ 554512 h 567361"/>
                <a:gd name="connsiteX55" fmla="*/ 112127 w 1054582"/>
                <a:gd name="connsiteY55" fmla="*/ 496784 h 567361"/>
                <a:gd name="connsiteX0" fmla="*/ 112127 w 1054582"/>
                <a:gd name="connsiteY0" fmla="*/ 496784 h 558851"/>
                <a:gd name="connsiteX1" fmla="*/ 21468 w 1054582"/>
                <a:gd name="connsiteY1" fmla="*/ 555041 h 558851"/>
                <a:gd name="connsiteX2" fmla="*/ 21310 w 1054582"/>
                <a:gd name="connsiteY2" fmla="*/ 548640 h 558851"/>
                <a:gd name="connsiteX3" fmla="*/ 149326 w 1054582"/>
                <a:gd name="connsiteY3" fmla="*/ 493776 h 558851"/>
                <a:gd name="connsiteX4" fmla="*/ 249910 w 1054582"/>
                <a:gd name="connsiteY4" fmla="*/ 466344 h 558851"/>
                <a:gd name="connsiteX5" fmla="*/ 350494 w 1054582"/>
                <a:gd name="connsiteY5" fmla="*/ 384048 h 558851"/>
                <a:gd name="connsiteX6" fmla="*/ 542518 w 1054582"/>
                <a:gd name="connsiteY6" fmla="*/ 301752 h 558851"/>
                <a:gd name="connsiteX7" fmla="*/ 624814 w 1054582"/>
                <a:gd name="connsiteY7" fmla="*/ 192024 h 558851"/>
                <a:gd name="connsiteX8" fmla="*/ 771118 w 1054582"/>
                <a:gd name="connsiteY8" fmla="*/ 155448 h 558851"/>
                <a:gd name="connsiteX9" fmla="*/ 816838 w 1054582"/>
                <a:gd name="connsiteY9" fmla="*/ 155448 h 558851"/>
                <a:gd name="connsiteX10" fmla="*/ 853414 w 1054582"/>
                <a:gd name="connsiteY10" fmla="*/ 137160 h 558851"/>
                <a:gd name="connsiteX11" fmla="*/ 807694 w 1054582"/>
                <a:gd name="connsiteY11" fmla="*/ 137160 h 558851"/>
                <a:gd name="connsiteX12" fmla="*/ 716254 w 1054582"/>
                <a:gd name="connsiteY12" fmla="*/ 137160 h 558851"/>
                <a:gd name="connsiteX13" fmla="*/ 661390 w 1054582"/>
                <a:gd name="connsiteY13" fmla="*/ 146304 h 558851"/>
                <a:gd name="connsiteX14" fmla="*/ 652246 w 1054582"/>
                <a:gd name="connsiteY14" fmla="*/ 155448 h 558851"/>
                <a:gd name="connsiteX15" fmla="*/ 633958 w 1054582"/>
                <a:gd name="connsiteY15" fmla="*/ 146304 h 558851"/>
                <a:gd name="connsiteX16" fmla="*/ 761974 w 1054582"/>
                <a:gd name="connsiteY16" fmla="*/ 91440 h 558851"/>
                <a:gd name="connsiteX17" fmla="*/ 816838 w 1054582"/>
                <a:gd name="connsiteY17" fmla="*/ 91440 h 558851"/>
                <a:gd name="connsiteX18" fmla="*/ 908278 w 1054582"/>
                <a:gd name="connsiteY18" fmla="*/ 82296 h 558851"/>
                <a:gd name="connsiteX19" fmla="*/ 1036294 w 1054582"/>
                <a:gd name="connsiteY19" fmla="*/ 27432 h 558851"/>
                <a:gd name="connsiteX20" fmla="*/ 1018006 w 1054582"/>
                <a:gd name="connsiteY20" fmla="*/ 0 h 558851"/>
                <a:gd name="connsiteX21" fmla="*/ 981430 w 1054582"/>
                <a:gd name="connsiteY21" fmla="*/ 27432 h 558851"/>
                <a:gd name="connsiteX22" fmla="*/ 944854 w 1054582"/>
                <a:gd name="connsiteY22" fmla="*/ 36576 h 558851"/>
                <a:gd name="connsiteX23" fmla="*/ 871702 w 1054582"/>
                <a:gd name="connsiteY23" fmla="*/ 64008 h 558851"/>
                <a:gd name="connsiteX24" fmla="*/ 816838 w 1054582"/>
                <a:gd name="connsiteY24" fmla="*/ 64008 h 558851"/>
                <a:gd name="connsiteX25" fmla="*/ 707110 w 1054582"/>
                <a:gd name="connsiteY25" fmla="*/ 64008 h 558851"/>
                <a:gd name="connsiteX26" fmla="*/ 652246 w 1054582"/>
                <a:gd name="connsiteY26" fmla="*/ 100584 h 558851"/>
                <a:gd name="connsiteX27" fmla="*/ 615670 w 1054582"/>
                <a:gd name="connsiteY27" fmla="*/ 146304 h 558851"/>
                <a:gd name="connsiteX28" fmla="*/ 569950 w 1054582"/>
                <a:gd name="connsiteY28" fmla="*/ 182880 h 558851"/>
                <a:gd name="connsiteX29" fmla="*/ 524230 w 1054582"/>
                <a:gd name="connsiteY29" fmla="*/ 256032 h 558851"/>
                <a:gd name="connsiteX30" fmla="*/ 451078 w 1054582"/>
                <a:gd name="connsiteY30" fmla="*/ 301752 h 558851"/>
                <a:gd name="connsiteX31" fmla="*/ 350494 w 1054582"/>
                <a:gd name="connsiteY31" fmla="*/ 347472 h 558851"/>
                <a:gd name="connsiteX32" fmla="*/ 313918 w 1054582"/>
                <a:gd name="connsiteY32" fmla="*/ 374904 h 558851"/>
                <a:gd name="connsiteX33" fmla="*/ 268198 w 1054582"/>
                <a:gd name="connsiteY33" fmla="*/ 402336 h 558851"/>
                <a:gd name="connsiteX34" fmla="*/ 249910 w 1054582"/>
                <a:gd name="connsiteY34" fmla="*/ 402336 h 558851"/>
                <a:gd name="connsiteX35" fmla="*/ 268198 w 1054582"/>
                <a:gd name="connsiteY35" fmla="*/ 365760 h 558851"/>
                <a:gd name="connsiteX36" fmla="*/ 323062 w 1054582"/>
                <a:gd name="connsiteY36" fmla="*/ 301752 h 558851"/>
                <a:gd name="connsiteX37" fmla="*/ 414502 w 1054582"/>
                <a:gd name="connsiteY37" fmla="*/ 219456 h 558851"/>
                <a:gd name="connsiteX38" fmla="*/ 460222 w 1054582"/>
                <a:gd name="connsiteY38" fmla="*/ 146304 h 558851"/>
                <a:gd name="connsiteX39" fmla="*/ 460222 w 1054582"/>
                <a:gd name="connsiteY39" fmla="*/ 64008 h 558851"/>
                <a:gd name="connsiteX40" fmla="*/ 451078 w 1054582"/>
                <a:gd name="connsiteY40" fmla="*/ 54864 h 558851"/>
                <a:gd name="connsiteX41" fmla="*/ 441934 w 1054582"/>
                <a:gd name="connsiteY41" fmla="*/ 128016 h 558851"/>
                <a:gd name="connsiteX42" fmla="*/ 414502 w 1054582"/>
                <a:gd name="connsiteY42" fmla="*/ 173736 h 558851"/>
                <a:gd name="connsiteX43" fmla="*/ 341350 w 1054582"/>
                <a:gd name="connsiteY43" fmla="*/ 237744 h 558851"/>
                <a:gd name="connsiteX44" fmla="*/ 313918 w 1054582"/>
                <a:gd name="connsiteY44" fmla="*/ 256032 h 558851"/>
                <a:gd name="connsiteX45" fmla="*/ 240766 w 1054582"/>
                <a:gd name="connsiteY45" fmla="*/ 347472 h 558851"/>
                <a:gd name="connsiteX46" fmla="*/ 231622 w 1054582"/>
                <a:gd name="connsiteY46" fmla="*/ 374904 h 558851"/>
                <a:gd name="connsiteX47" fmla="*/ 222478 w 1054582"/>
                <a:gd name="connsiteY47" fmla="*/ 411480 h 558851"/>
                <a:gd name="connsiteX48" fmla="*/ 240766 w 1054582"/>
                <a:gd name="connsiteY48" fmla="*/ 429768 h 558851"/>
                <a:gd name="connsiteX49" fmla="*/ 195046 w 1054582"/>
                <a:gd name="connsiteY49" fmla="*/ 457200 h 558851"/>
                <a:gd name="connsiteX50" fmla="*/ 48742 w 1054582"/>
                <a:gd name="connsiteY50" fmla="*/ 493776 h 558851"/>
                <a:gd name="connsiteX51" fmla="*/ 3022 w 1054582"/>
                <a:gd name="connsiteY51" fmla="*/ 530352 h 558851"/>
                <a:gd name="connsiteX52" fmla="*/ 37669 w 1054582"/>
                <a:gd name="connsiteY52" fmla="*/ 480583 h 558851"/>
                <a:gd name="connsiteX53" fmla="*/ 21468 w 1054582"/>
                <a:gd name="connsiteY53" fmla="*/ 555040 h 558851"/>
                <a:gd name="connsiteX54" fmla="*/ 37669 w 1054582"/>
                <a:gd name="connsiteY54" fmla="*/ 480583 h 558851"/>
                <a:gd name="connsiteX55" fmla="*/ 112127 w 1054582"/>
                <a:gd name="connsiteY55" fmla="*/ 496784 h 558851"/>
                <a:gd name="connsiteX0" fmla="*/ 112127 w 1054582"/>
                <a:gd name="connsiteY0" fmla="*/ 496784 h 558851"/>
                <a:gd name="connsiteX1" fmla="*/ 21468 w 1054582"/>
                <a:gd name="connsiteY1" fmla="*/ 555041 h 558851"/>
                <a:gd name="connsiteX2" fmla="*/ 21310 w 1054582"/>
                <a:gd name="connsiteY2" fmla="*/ 548640 h 558851"/>
                <a:gd name="connsiteX3" fmla="*/ 149326 w 1054582"/>
                <a:gd name="connsiteY3" fmla="*/ 493776 h 558851"/>
                <a:gd name="connsiteX4" fmla="*/ 249910 w 1054582"/>
                <a:gd name="connsiteY4" fmla="*/ 466344 h 558851"/>
                <a:gd name="connsiteX5" fmla="*/ 350494 w 1054582"/>
                <a:gd name="connsiteY5" fmla="*/ 384048 h 558851"/>
                <a:gd name="connsiteX6" fmla="*/ 542518 w 1054582"/>
                <a:gd name="connsiteY6" fmla="*/ 301752 h 558851"/>
                <a:gd name="connsiteX7" fmla="*/ 624814 w 1054582"/>
                <a:gd name="connsiteY7" fmla="*/ 192024 h 558851"/>
                <a:gd name="connsiteX8" fmla="*/ 771118 w 1054582"/>
                <a:gd name="connsiteY8" fmla="*/ 155448 h 558851"/>
                <a:gd name="connsiteX9" fmla="*/ 816838 w 1054582"/>
                <a:gd name="connsiteY9" fmla="*/ 155448 h 558851"/>
                <a:gd name="connsiteX10" fmla="*/ 853414 w 1054582"/>
                <a:gd name="connsiteY10" fmla="*/ 137160 h 558851"/>
                <a:gd name="connsiteX11" fmla="*/ 807694 w 1054582"/>
                <a:gd name="connsiteY11" fmla="*/ 137160 h 558851"/>
                <a:gd name="connsiteX12" fmla="*/ 716254 w 1054582"/>
                <a:gd name="connsiteY12" fmla="*/ 137160 h 558851"/>
                <a:gd name="connsiteX13" fmla="*/ 661390 w 1054582"/>
                <a:gd name="connsiteY13" fmla="*/ 146304 h 558851"/>
                <a:gd name="connsiteX14" fmla="*/ 652246 w 1054582"/>
                <a:gd name="connsiteY14" fmla="*/ 155448 h 558851"/>
                <a:gd name="connsiteX15" fmla="*/ 633958 w 1054582"/>
                <a:gd name="connsiteY15" fmla="*/ 146304 h 558851"/>
                <a:gd name="connsiteX16" fmla="*/ 761974 w 1054582"/>
                <a:gd name="connsiteY16" fmla="*/ 91440 h 558851"/>
                <a:gd name="connsiteX17" fmla="*/ 816838 w 1054582"/>
                <a:gd name="connsiteY17" fmla="*/ 91440 h 558851"/>
                <a:gd name="connsiteX18" fmla="*/ 908278 w 1054582"/>
                <a:gd name="connsiteY18" fmla="*/ 82296 h 558851"/>
                <a:gd name="connsiteX19" fmla="*/ 1036294 w 1054582"/>
                <a:gd name="connsiteY19" fmla="*/ 27432 h 558851"/>
                <a:gd name="connsiteX20" fmla="*/ 1018006 w 1054582"/>
                <a:gd name="connsiteY20" fmla="*/ 0 h 558851"/>
                <a:gd name="connsiteX21" fmla="*/ 981430 w 1054582"/>
                <a:gd name="connsiteY21" fmla="*/ 27432 h 558851"/>
                <a:gd name="connsiteX22" fmla="*/ 944854 w 1054582"/>
                <a:gd name="connsiteY22" fmla="*/ 36576 h 558851"/>
                <a:gd name="connsiteX23" fmla="*/ 871702 w 1054582"/>
                <a:gd name="connsiteY23" fmla="*/ 64008 h 558851"/>
                <a:gd name="connsiteX24" fmla="*/ 816838 w 1054582"/>
                <a:gd name="connsiteY24" fmla="*/ 64008 h 558851"/>
                <a:gd name="connsiteX25" fmla="*/ 707110 w 1054582"/>
                <a:gd name="connsiteY25" fmla="*/ 64008 h 558851"/>
                <a:gd name="connsiteX26" fmla="*/ 652246 w 1054582"/>
                <a:gd name="connsiteY26" fmla="*/ 100584 h 558851"/>
                <a:gd name="connsiteX27" fmla="*/ 615670 w 1054582"/>
                <a:gd name="connsiteY27" fmla="*/ 146304 h 558851"/>
                <a:gd name="connsiteX28" fmla="*/ 569950 w 1054582"/>
                <a:gd name="connsiteY28" fmla="*/ 182880 h 558851"/>
                <a:gd name="connsiteX29" fmla="*/ 524230 w 1054582"/>
                <a:gd name="connsiteY29" fmla="*/ 256032 h 558851"/>
                <a:gd name="connsiteX30" fmla="*/ 451078 w 1054582"/>
                <a:gd name="connsiteY30" fmla="*/ 301752 h 558851"/>
                <a:gd name="connsiteX31" fmla="*/ 350494 w 1054582"/>
                <a:gd name="connsiteY31" fmla="*/ 347472 h 558851"/>
                <a:gd name="connsiteX32" fmla="*/ 313918 w 1054582"/>
                <a:gd name="connsiteY32" fmla="*/ 374904 h 558851"/>
                <a:gd name="connsiteX33" fmla="*/ 268198 w 1054582"/>
                <a:gd name="connsiteY33" fmla="*/ 402336 h 558851"/>
                <a:gd name="connsiteX34" fmla="*/ 249910 w 1054582"/>
                <a:gd name="connsiteY34" fmla="*/ 402336 h 558851"/>
                <a:gd name="connsiteX35" fmla="*/ 268198 w 1054582"/>
                <a:gd name="connsiteY35" fmla="*/ 365760 h 558851"/>
                <a:gd name="connsiteX36" fmla="*/ 323062 w 1054582"/>
                <a:gd name="connsiteY36" fmla="*/ 301752 h 558851"/>
                <a:gd name="connsiteX37" fmla="*/ 414502 w 1054582"/>
                <a:gd name="connsiteY37" fmla="*/ 219456 h 558851"/>
                <a:gd name="connsiteX38" fmla="*/ 460222 w 1054582"/>
                <a:gd name="connsiteY38" fmla="*/ 146304 h 558851"/>
                <a:gd name="connsiteX39" fmla="*/ 460222 w 1054582"/>
                <a:gd name="connsiteY39" fmla="*/ 64008 h 558851"/>
                <a:gd name="connsiteX40" fmla="*/ 451078 w 1054582"/>
                <a:gd name="connsiteY40" fmla="*/ 54864 h 558851"/>
                <a:gd name="connsiteX41" fmla="*/ 441934 w 1054582"/>
                <a:gd name="connsiteY41" fmla="*/ 128016 h 558851"/>
                <a:gd name="connsiteX42" fmla="*/ 414502 w 1054582"/>
                <a:gd name="connsiteY42" fmla="*/ 173736 h 558851"/>
                <a:gd name="connsiteX43" fmla="*/ 341350 w 1054582"/>
                <a:gd name="connsiteY43" fmla="*/ 237744 h 558851"/>
                <a:gd name="connsiteX44" fmla="*/ 313918 w 1054582"/>
                <a:gd name="connsiteY44" fmla="*/ 256032 h 558851"/>
                <a:gd name="connsiteX45" fmla="*/ 240766 w 1054582"/>
                <a:gd name="connsiteY45" fmla="*/ 347472 h 558851"/>
                <a:gd name="connsiteX46" fmla="*/ 231622 w 1054582"/>
                <a:gd name="connsiteY46" fmla="*/ 374904 h 558851"/>
                <a:gd name="connsiteX47" fmla="*/ 222478 w 1054582"/>
                <a:gd name="connsiteY47" fmla="*/ 411480 h 558851"/>
                <a:gd name="connsiteX48" fmla="*/ 240766 w 1054582"/>
                <a:gd name="connsiteY48" fmla="*/ 429768 h 558851"/>
                <a:gd name="connsiteX49" fmla="*/ 195046 w 1054582"/>
                <a:gd name="connsiteY49" fmla="*/ 457200 h 558851"/>
                <a:gd name="connsiteX50" fmla="*/ 48742 w 1054582"/>
                <a:gd name="connsiteY50" fmla="*/ 493776 h 558851"/>
                <a:gd name="connsiteX51" fmla="*/ 3022 w 1054582"/>
                <a:gd name="connsiteY51" fmla="*/ 530352 h 558851"/>
                <a:gd name="connsiteX52" fmla="*/ 37669 w 1054582"/>
                <a:gd name="connsiteY52" fmla="*/ 480583 h 558851"/>
                <a:gd name="connsiteX53" fmla="*/ 21468 w 1054582"/>
                <a:gd name="connsiteY53" fmla="*/ 555040 h 558851"/>
                <a:gd name="connsiteX54" fmla="*/ 112127 w 1054582"/>
                <a:gd name="connsiteY54" fmla="*/ 496784 h 558851"/>
                <a:gd name="connsiteX55" fmla="*/ 112127 w 1054582"/>
                <a:gd name="connsiteY55" fmla="*/ 496784 h 558851"/>
                <a:gd name="connsiteX0" fmla="*/ 112127 w 1054582"/>
                <a:gd name="connsiteY0" fmla="*/ 496784 h 558851"/>
                <a:gd name="connsiteX1" fmla="*/ 21468 w 1054582"/>
                <a:gd name="connsiteY1" fmla="*/ 555041 h 558851"/>
                <a:gd name="connsiteX2" fmla="*/ 21310 w 1054582"/>
                <a:gd name="connsiteY2" fmla="*/ 548640 h 558851"/>
                <a:gd name="connsiteX3" fmla="*/ 149326 w 1054582"/>
                <a:gd name="connsiteY3" fmla="*/ 493776 h 558851"/>
                <a:gd name="connsiteX4" fmla="*/ 249910 w 1054582"/>
                <a:gd name="connsiteY4" fmla="*/ 466344 h 558851"/>
                <a:gd name="connsiteX5" fmla="*/ 350494 w 1054582"/>
                <a:gd name="connsiteY5" fmla="*/ 384048 h 558851"/>
                <a:gd name="connsiteX6" fmla="*/ 542518 w 1054582"/>
                <a:gd name="connsiteY6" fmla="*/ 301752 h 558851"/>
                <a:gd name="connsiteX7" fmla="*/ 624814 w 1054582"/>
                <a:gd name="connsiteY7" fmla="*/ 192024 h 558851"/>
                <a:gd name="connsiteX8" fmla="*/ 771118 w 1054582"/>
                <a:gd name="connsiteY8" fmla="*/ 155448 h 558851"/>
                <a:gd name="connsiteX9" fmla="*/ 816838 w 1054582"/>
                <a:gd name="connsiteY9" fmla="*/ 155448 h 558851"/>
                <a:gd name="connsiteX10" fmla="*/ 853414 w 1054582"/>
                <a:gd name="connsiteY10" fmla="*/ 137160 h 558851"/>
                <a:gd name="connsiteX11" fmla="*/ 807694 w 1054582"/>
                <a:gd name="connsiteY11" fmla="*/ 137160 h 558851"/>
                <a:gd name="connsiteX12" fmla="*/ 716254 w 1054582"/>
                <a:gd name="connsiteY12" fmla="*/ 137160 h 558851"/>
                <a:gd name="connsiteX13" fmla="*/ 661390 w 1054582"/>
                <a:gd name="connsiteY13" fmla="*/ 146304 h 558851"/>
                <a:gd name="connsiteX14" fmla="*/ 652246 w 1054582"/>
                <a:gd name="connsiteY14" fmla="*/ 155448 h 558851"/>
                <a:gd name="connsiteX15" fmla="*/ 633958 w 1054582"/>
                <a:gd name="connsiteY15" fmla="*/ 146304 h 558851"/>
                <a:gd name="connsiteX16" fmla="*/ 761974 w 1054582"/>
                <a:gd name="connsiteY16" fmla="*/ 91440 h 558851"/>
                <a:gd name="connsiteX17" fmla="*/ 816838 w 1054582"/>
                <a:gd name="connsiteY17" fmla="*/ 91440 h 558851"/>
                <a:gd name="connsiteX18" fmla="*/ 908278 w 1054582"/>
                <a:gd name="connsiteY18" fmla="*/ 82296 h 558851"/>
                <a:gd name="connsiteX19" fmla="*/ 1036294 w 1054582"/>
                <a:gd name="connsiteY19" fmla="*/ 27432 h 558851"/>
                <a:gd name="connsiteX20" fmla="*/ 1018006 w 1054582"/>
                <a:gd name="connsiteY20" fmla="*/ 0 h 558851"/>
                <a:gd name="connsiteX21" fmla="*/ 981430 w 1054582"/>
                <a:gd name="connsiteY21" fmla="*/ 27432 h 558851"/>
                <a:gd name="connsiteX22" fmla="*/ 944854 w 1054582"/>
                <a:gd name="connsiteY22" fmla="*/ 36576 h 558851"/>
                <a:gd name="connsiteX23" fmla="*/ 871702 w 1054582"/>
                <a:gd name="connsiteY23" fmla="*/ 64008 h 558851"/>
                <a:gd name="connsiteX24" fmla="*/ 816838 w 1054582"/>
                <a:gd name="connsiteY24" fmla="*/ 64008 h 558851"/>
                <a:gd name="connsiteX25" fmla="*/ 707110 w 1054582"/>
                <a:gd name="connsiteY25" fmla="*/ 64008 h 558851"/>
                <a:gd name="connsiteX26" fmla="*/ 652246 w 1054582"/>
                <a:gd name="connsiteY26" fmla="*/ 100584 h 558851"/>
                <a:gd name="connsiteX27" fmla="*/ 615670 w 1054582"/>
                <a:gd name="connsiteY27" fmla="*/ 146304 h 558851"/>
                <a:gd name="connsiteX28" fmla="*/ 569950 w 1054582"/>
                <a:gd name="connsiteY28" fmla="*/ 182880 h 558851"/>
                <a:gd name="connsiteX29" fmla="*/ 524230 w 1054582"/>
                <a:gd name="connsiteY29" fmla="*/ 256032 h 558851"/>
                <a:gd name="connsiteX30" fmla="*/ 451078 w 1054582"/>
                <a:gd name="connsiteY30" fmla="*/ 301752 h 558851"/>
                <a:gd name="connsiteX31" fmla="*/ 350494 w 1054582"/>
                <a:gd name="connsiteY31" fmla="*/ 347472 h 558851"/>
                <a:gd name="connsiteX32" fmla="*/ 313918 w 1054582"/>
                <a:gd name="connsiteY32" fmla="*/ 374904 h 558851"/>
                <a:gd name="connsiteX33" fmla="*/ 268198 w 1054582"/>
                <a:gd name="connsiteY33" fmla="*/ 402336 h 558851"/>
                <a:gd name="connsiteX34" fmla="*/ 249910 w 1054582"/>
                <a:gd name="connsiteY34" fmla="*/ 402336 h 558851"/>
                <a:gd name="connsiteX35" fmla="*/ 268198 w 1054582"/>
                <a:gd name="connsiteY35" fmla="*/ 365760 h 558851"/>
                <a:gd name="connsiteX36" fmla="*/ 323062 w 1054582"/>
                <a:gd name="connsiteY36" fmla="*/ 301752 h 558851"/>
                <a:gd name="connsiteX37" fmla="*/ 414502 w 1054582"/>
                <a:gd name="connsiteY37" fmla="*/ 219456 h 558851"/>
                <a:gd name="connsiteX38" fmla="*/ 460222 w 1054582"/>
                <a:gd name="connsiteY38" fmla="*/ 146304 h 558851"/>
                <a:gd name="connsiteX39" fmla="*/ 460222 w 1054582"/>
                <a:gd name="connsiteY39" fmla="*/ 64008 h 558851"/>
                <a:gd name="connsiteX40" fmla="*/ 451078 w 1054582"/>
                <a:gd name="connsiteY40" fmla="*/ 54864 h 558851"/>
                <a:gd name="connsiteX41" fmla="*/ 441934 w 1054582"/>
                <a:gd name="connsiteY41" fmla="*/ 128016 h 558851"/>
                <a:gd name="connsiteX42" fmla="*/ 414502 w 1054582"/>
                <a:gd name="connsiteY42" fmla="*/ 173736 h 558851"/>
                <a:gd name="connsiteX43" fmla="*/ 341350 w 1054582"/>
                <a:gd name="connsiteY43" fmla="*/ 237744 h 558851"/>
                <a:gd name="connsiteX44" fmla="*/ 313918 w 1054582"/>
                <a:gd name="connsiteY44" fmla="*/ 256032 h 558851"/>
                <a:gd name="connsiteX45" fmla="*/ 240766 w 1054582"/>
                <a:gd name="connsiteY45" fmla="*/ 347472 h 558851"/>
                <a:gd name="connsiteX46" fmla="*/ 231622 w 1054582"/>
                <a:gd name="connsiteY46" fmla="*/ 374904 h 558851"/>
                <a:gd name="connsiteX47" fmla="*/ 222478 w 1054582"/>
                <a:gd name="connsiteY47" fmla="*/ 411480 h 558851"/>
                <a:gd name="connsiteX48" fmla="*/ 240766 w 1054582"/>
                <a:gd name="connsiteY48" fmla="*/ 429768 h 558851"/>
                <a:gd name="connsiteX49" fmla="*/ 195046 w 1054582"/>
                <a:gd name="connsiteY49" fmla="*/ 457200 h 558851"/>
                <a:gd name="connsiteX50" fmla="*/ 48742 w 1054582"/>
                <a:gd name="connsiteY50" fmla="*/ 493776 h 558851"/>
                <a:gd name="connsiteX51" fmla="*/ 3022 w 1054582"/>
                <a:gd name="connsiteY51" fmla="*/ 530352 h 558851"/>
                <a:gd name="connsiteX52" fmla="*/ 37669 w 1054582"/>
                <a:gd name="connsiteY52" fmla="*/ 480583 h 558851"/>
                <a:gd name="connsiteX53" fmla="*/ 112127 w 1054582"/>
                <a:gd name="connsiteY53" fmla="*/ 496784 h 558851"/>
                <a:gd name="connsiteX54" fmla="*/ 112127 w 1054582"/>
                <a:gd name="connsiteY54" fmla="*/ 496784 h 558851"/>
                <a:gd name="connsiteX55" fmla="*/ 112127 w 1054582"/>
                <a:gd name="connsiteY55" fmla="*/ 496784 h 558851"/>
                <a:gd name="connsiteX0" fmla="*/ 112127 w 1054582"/>
                <a:gd name="connsiteY0" fmla="*/ 496784 h 558851"/>
                <a:gd name="connsiteX1" fmla="*/ 21468 w 1054582"/>
                <a:gd name="connsiteY1" fmla="*/ 555041 h 558851"/>
                <a:gd name="connsiteX2" fmla="*/ 21310 w 1054582"/>
                <a:gd name="connsiteY2" fmla="*/ 548640 h 558851"/>
                <a:gd name="connsiteX3" fmla="*/ 149326 w 1054582"/>
                <a:gd name="connsiteY3" fmla="*/ 493776 h 558851"/>
                <a:gd name="connsiteX4" fmla="*/ 249910 w 1054582"/>
                <a:gd name="connsiteY4" fmla="*/ 466344 h 558851"/>
                <a:gd name="connsiteX5" fmla="*/ 350494 w 1054582"/>
                <a:gd name="connsiteY5" fmla="*/ 384048 h 558851"/>
                <a:gd name="connsiteX6" fmla="*/ 542518 w 1054582"/>
                <a:gd name="connsiteY6" fmla="*/ 301752 h 558851"/>
                <a:gd name="connsiteX7" fmla="*/ 624814 w 1054582"/>
                <a:gd name="connsiteY7" fmla="*/ 192024 h 558851"/>
                <a:gd name="connsiteX8" fmla="*/ 771118 w 1054582"/>
                <a:gd name="connsiteY8" fmla="*/ 155448 h 558851"/>
                <a:gd name="connsiteX9" fmla="*/ 816838 w 1054582"/>
                <a:gd name="connsiteY9" fmla="*/ 155448 h 558851"/>
                <a:gd name="connsiteX10" fmla="*/ 853414 w 1054582"/>
                <a:gd name="connsiteY10" fmla="*/ 137160 h 558851"/>
                <a:gd name="connsiteX11" fmla="*/ 807694 w 1054582"/>
                <a:gd name="connsiteY11" fmla="*/ 137160 h 558851"/>
                <a:gd name="connsiteX12" fmla="*/ 716254 w 1054582"/>
                <a:gd name="connsiteY12" fmla="*/ 137160 h 558851"/>
                <a:gd name="connsiteX13" fmla="*/ 661390 w 1054582"/>
                <a:gd name="connsiteY13" fmla="*/ 146304 h 558851"/>
                <a:gd name="connsiteX14" fmla="*/ 652246 w 1054582"/>
                <a:gd name="connsiteY14" fmla="*/ 155448 h 558851"/>
                <a:gd name="connsiteX15" fmla="*/ 633958 w 1054582"/>
                <a:gd name="connsiteY15" fmla="*/ 146304 h 558851"/>
                <a:gd name="connsiteX16" fmla="*/ 761974 w 1054582"/>
                <a:gd name="connsiteY16" fmla="*/ 91440 h 558851"/>
                <a:gd name="connsiteX17" fmla="*/ 816838 w 1054582"/>
                <a:gd name="connsiteY17" fmla="*/ 91440 h 558851"/>
                <a:gd name="connsiteX18" fmla="*/ 908278 w 1054582"/>
                <a:gd name="connsiteY18" fmla="*/ 82296 h 558851"/>
                <a:gd name="connsiteX19" fmla="*/ 1036294 w 1054582"/>
                <a:gd name="connsiteY19" fmla="*/ 27432 h 558851"/>
                <a:gd name="connsiteX20" fmla="*/ 1018006 w 1054582"/>
                <a:gd name="connsiteY20" fmla="*/ 0 h 558851"/>
                <a:gd name="connsiteX21" fmla="*/ 981430 w 1054582"/>
                <a:gd name="connsiteY21" fmla="*/ 27432 h 558851"/>
                <a:gd name="connsiteX22" fmla="*/ 944854 w 1054582"/>
                <a:gd name="connsiteY22" fmla="*/ 36576 h 558851"/>
                <a:gd name="connsiteX23" fmla="*/ 871702 w 1054582"/>
                <a:gd name="connsiteY23" fmla="*/ 64008 h 558851"/>
                <a:gd name="connsiteX24" fmla="*/ 816838 w 1054582"/>
                <a:gd name="connsiteY24" fmla="*/ 64008 h 558851"/>
                <a:gd name="connsiteX25" fmla="*/ 707110 w 1054582"/>
                <a:gd name="connsiteY25" fmla="*/ 64008 h 558851"/>
                <a:gd name="connsiteX26" fmla="*/ 652246 w 1054582"/>
                <a:gd name="connsiteY26" fmla="*/ 100584 h 558851"/>
                <a:gd name="connsiteX27" fmla="*/ 615670 w 1054582"/>
                <a:gd name="connsiteY27" fmla="*/ 146304 h 558851"/>
                <a:gd name="connsiteX28" fmla="*/ 569950 w 1054582"/>
                <a:gd name="connsiteY28" fmla="*/ 182880 h 558851"/>
                <a:gd name="connsiteX29" fmla="*/ 524230 w 1054582"/>
                <a:gd name="connsiteY29" fmla="*/ 256032 h 558851"/>
                <a:gd name="connsiteX30" fmla="*/ 451078 w 1054582"/>
                <a:gd name="connsiteY30" fmla="*/ 301752 h 558851"/>
                <a:gd name="connsiteX31" fmla="*/ 350494 w 1054582"/>
                <a:gd name="connsiteY31" fmla="*/ 347472 h 558851"/>
                <a:gd name="connsiteX32" fmla="*/ 313918 w 1054582"/>
                <a:gd name="connsiteY32" fmla="*/ 374904 h 558851"/>
                <a:gd name="connsiteX33" fmla="*/ 268198 w 1054582"/>
                <a:gd name="connsiteY33" fmla="*/ 402336 h 558851"/>
                <a:gd name="connsiteX34" fmla="*/ 249910 w 1054582"/>
                <a:gd name="connsiteY34" fmla="*/ 402336 h 558851"/>
                <a:gd name="connsiteX35" fmla="*/ 268198 w 1054582"/>
                <a:gd name="connsiteY35" fmla="*/ 365760 h 558851"/>
                <a:gd name="connsiteX36" fmla="*/ 323062 w 1054582"/>
                <a:gd name="connsiteY36" fmla="*/ 301752 h 558851"/>
                <a:gd name="connsiteX37" fmla="*/ 414502 w 1054582"/>
                <a:gd name="connsiteY37" fmla="*/ 219456 h 558851"/>
                <a:gd name="connsiteX38" fmla="*/ 460222 w 1054582"/>
                <a:gd name="connsiteY38" fmla="*/ 146304 h 558851"/>
                <a:gd name="connsiteX39" fmla="*/ 460222 w 1054582"/>
                <a:gd name="connsiteY39" fmla="*/ 64008 h 558851"/>
                <a:gd name="connsiteX40" fmla="*/ 451078 w 1054582"/>
                <a:gd name="connsiteY40" fmla="*/ 54864 h 558851"/>
                <a:gd name="connsiteX41" fmla="*/ 441934 w 1054582"/>
                <a:gd name="connsiteY41" fmla="*/ 128016 h 558851"/>
                <a:gd name="connsiteX42" fmla="*/ 414502 w 1054582"/>
                <a:gd name="connsiteY42" fmla="*/ 173736 h 558851"/>
                <a:gd name="connsiteX43" fmla="*/ 341350 w 1054582"/>
                <a:gd name="connsiteY43" fmla="*/ 237744 h 558851"/>
                <a:gd name="connsiteX44" fmla="*/ 313918 w 1054582"/>
                <a:gd name="connsiteY44" fmla="*/ 256032 h 558851"/>
                <a:gd name="connsiteX45" fmla="*/ 240766 w 1054582"/>
                <a:gd name="connsiteY45" fmla="*/ 347472 h 558851"/>
                <a:gd name="connsiteX46" fmla="*/ 231622 w 1054582"/>
                <a:gd name="connsiteY46" fmla="*/ 374904 h 558851"/>
                <a:gd name="connsiteX47" fmla="*/ 222478 w 1054582"/>
                <a:gd name="connsiteY47" fmla="*/ 411480 h 558851"/>
                <a:gd name="connsiteX48" fmla="*/ 240766 w 1054582"/>
                <a:gd name="connsiteY48" fmla="*/ 429768 h 558851"/>
                <a:gd name="connsiteX49" fmla="*/ 195046 w 1054582"/>
                <a:gd name="connsiteY49" fmla="*/ 457200 h 558851"/>
                <a:gd name="connsiteX50" fmla="*/ 48742 w 1054582"/>
                <a:gd name="connsiteY50" fmla="*/ 493776 h 558851"/>
                <a:gd name="connsiteX51" fmla="*/ 37668 w 1054582"/>
                <a:gd name="connsiteY51" fmla="*/ 480583 h 558851"/>
                <a:gd name="connsiteX52" fmla="*/ 37669 w 1054582"/>
                <a:gd name="connsiteY52" fmla="*/ 480583 h 558851"/>
                <a:gd name="connsiteX53" fmla="*/ 112127 w 1054582"/>
                <a:gd name="connsiteY53" fmla="*/ 496784 h 558851"/>
                <a:gd name="connsiteX54" fmla="*/ 112127 w 1054582"/>
                <a:gd name="connsiteY54" fmla="*/ 496784 h 558851"/>
                <a:gd name="connsiteX55" fmla="*/ 112127 w 1054582"/>
                <a:gd name="connsiteY55" fmla="*/ 496784 h 558851"/>
                <a:gd name="connsiteX0" fmla="*/ 90659 w 1033114"/>
                <a:gd name="connsiteY0" fmla="*/ 496784 h 555041"/>
                <a:gd name="connsiteX1" fmla="*/ 0 w 1033114"/>
                <a:gd name="connsiteY1" fmla="*/ 555041 h 555041"/>
                <a:gd name="connsiteX2" fmla="*/ 90659 w 1033114"/>
                <a:gd name="connsiteY2" fmla="*/ 496784 h 555041"/>
                <a:gd name="connsiteX3" fmla="*/ 127858 w 1033114"/>
                <a:gd name="connsiteY3" fmla="*/ 493776 h 555041"/>
                <a:gd name="connsiteX4" fmla="*/ 228442 w 1033114"/>
                <a:gd name="connsiteY4" fmla="*/ 466344 h 555041"/>
                <a:gd name="connsiteX5" fmla="*/ 329026 w 1033114"/>
                <a:gd name="connsiteY5" fmla="*/ 384048 h 555041"/>
                <a:gd name="connsiteX6" fmla="*/ 521050 w 1033114"/>
                <a:gd name="connsiteY6" fmla="*/ 301752 h 555041"/>
                <a:gd name="connsiteX7" fmla="*/ 603346 w 1033114"/>
                <a:gd name="connsiteY7" fmla="*/ 192024 h 555041"/>
                <a:gd name="connsiteX8" fmla="*/ 749650 w 1033114"/>
                <a:gd name="connsiteY8" fmla="*/ 155448 h 555041"/>
                <a:gd name="connsiteX9" fmla="*/ 795370 w 1033114"/>
                <a:gd name="connsiteY9" fmla="*/ 155448 h 555041"/>
                <a:gd name="connsiteX10" fmla="*/ 831946 w 1033114"/>
                <a:gd name="connsiteY10" fmla="*/ 137160 h 555041"/>
                <a:gd name="connsiteX11" fmla="*/ 786226 w 1033114"/>
                <a:gd name="connsiteY11" fmla="*/ 137160 h 555041"/>
                <a:gd name="connsiteX12" fmla="*/ 694786 w 1033114"/>
                <a:gd name="connsiteY12" fmla="*/ 137160 h 555041"/>
                <a:gd name="connsiteX13" fmla="*/ 639922 w 1033114"/>
                <a:gd name="connsiteY13" fmla="*/ 146304 h 555041"/>
                <a:gd name="connsiteX14" fmla="*/ 630778 w 1033114"/>
                <a:gd name="connsiteY14" fmla="*/ 155448 h 555041"/>
                <a:gd name="connsiteX15" fmla="*/ 612490 w 1033114"/>
                <a:gd name="connsiteY15" fmla="*/ 146304 h 555041"/>
                <a:gd name="connsiteX16" fmla="*/ 740506 w 1033114"/>
                <a:gd name="connsiteY16" fmla="*/ 91440 h 555041"/>
                <a:gd name="connsiteX17" fmla="*/ 795370 w 1033114"/>
                <a:gd name="connsiteY17" fmla="*/ 91440 h 555041"/>
                <a:gd name="connsiteX18" fmla="*/ 886810 w 1033114"/>
                <a:gd name="connsiteY18" fmla="*/ 82296 h 555041"/>
                <a:gd name="connsiteX19" fmla="*/ 1014826 w 1033114"/>
                <a:gd name="connsiteY19" fmla="*/ 27432 h 555041"/>
                <a:gd name="connsiteX20" fmla="*/ 996538 w 1033114"/>
                <a:gd name="connsiteY20" fmla="*/ 0 h 555041"/>
                <a:gd name="connsiteX21" fmla="*/ 959962 w 1033114"/>
                <a:gd name="connsiteY21" fmla="*/ 27432 h 555041"/>
                <a:gd name="connsiteX22" fmla="*/ 923386 w 1033114"/>
                <a:gd name="connsiteY22" fmla="*/ 36576 h 555041"/>
                <a:gd name="connsiteX23" fmla="*/ 850234 w 1033114"/>
                <a:gd name="connsiteY23" fmla="*/ 64008 h 555041"/>
                <a:gd name="connsiteX24" fmla="*/ 795370 w 1033114"/>
                <a:gd name="connsiteY24" fmla="*/ 64008 h 555041"/>
                <a:gd name="connsiteX25" fmla="*/ 685642 w 1033114"/>
                <a:gd name="connsiteY25" fmla="*/ 64008 h 555041"/>
                <a:gd name="connsiteX26" fmla="*/ 630778 w 1033114"/>
                <a:gd name="connsiteY26" fmla="*/ 100584 h 555041"/>
                <a:gd name="connsiteX27" fmla="*/ 594202 w 1033114"/>
                <a:gd name="connsiteY27" fmla="*/ 146304 h 555041"/>
                <a:gd name="connsiteX28" fmla="*/ 548482 w 1033114"/>
                <a:gd name="connsiteY28" fmla="*/ 182880 h 555041"/>
                <a:gd name="connsiteX29" fmla="*/ 502762 w 1033114"/>
                <a:gd name="connsiteY29" fmla="*/ 256032 h 555041"/>
                <a:gd name="connsiteX30" fmla="*/ 429610 w 1033114"/>
                <a:gd name="connsiteY30" fmla="*/ 301752 h 555041"/>
                <a:gd name="connsiteX31" fmla="*/ 329026 w 1033114"/>
                <a:gd name="connsiteY31" fmla="*/ 347472 h 555041"/>
                <a:gd name="connsiteX32" fmla="*/ 292450 w 1033114"/>
                <a:gd name="connsiteY32" fmla="*/ 374904 h 555041"/>
                <a:gd name="connsiteX33" fmla="*/ 246730 w 1033114"/>
                <a:gd name="connsiteY33" fmla="*/ 402336 h 555041"/>
                <a:gd name="connsiteX34" fmla="*/ 228442 w 1033114"/>
                <a:gd name="connsiteY34" fmla="*/ 402336 h 555041"/>
                <a:gd name="connsiteX35" fmla="*/ 246730 w 1033114"/>
                <a:gd name="connsiteY35" fmla="*/ 365760 h 555041"/>
                <a:gd name="connsiteX36" fmla="*/ 301594 w 1033114"/>
                <a:gd name="connsiteY36" fmla="*/ 301752 h 555041"/>
                <a:gd name="connsiteX37" fmla="*/ 393034 w 1033114"/>
                <a:gd name="connsiteY37" fmla="*/ 219456 h 555041"/>
                <a:gd name="connsiteX38" fmla="*/ 438754 w 1033114"/>
                <a:gd name="connsiteY38" fmla="*/ 146304 h 555041"/>
                <a:gd name="connsiteX39" fmla="*/ 438754 w 1033114"/>
                <a:gd name="connsiteY39" fmla="*/ 64008 h 555041"/>
                <a:gd name="connsiteX40" fmla="*/ 429610 w 1033114"/>
                <a:gd name="connsiteY40" fmla="*/ 54864 h 555041"/>
                <a:gd name="connsiteX41" fmla="*/ 420466 w 1033114"/>
                <a:gd name="connsiteY41" fmla="*/ 128016 h 555041"/>
                <a:gd name="connsiteX42" fmla="*/ 393034 w 1033114"/>
                <a:gd name="connsiteY42" fmla="*/ 173736 h 555041"/>
                <a:gd name="connsiteX43" fmla="*/ 319882 w 1033114"/>
                <a:gd name="connsiteY43" fmla="*/ 237744 h 555041"/>
                <a:gd name="connsiteX44" fmla="*/ 292450 w 1033114"/>
                <a:gd name="connsiteY44" fmla="*/ 256032 h 555041"/>
                <a:gd name="connsiteX45" fmla="*/ 219298 w 1033114"/>
                <a:gd name="connsiteY45" fmla="*/ 347472 h 555041"/>
                <a:gd name="connsiteX46" fmla="*/ 210154 w 1033114"/>
                <a:gd name="connsiteY46" fmla="*/ 374904 h 555041"/>
                <a:gd name="connsiteX47" fmla="*/ 201010 w 1033114"/>
                <a:gd name="connsiteY47" fmla="*/ 411480 h 555041"/>
                <a:gd name="connsiteX48" fmla="*/ 219298 w 1033114"/>
                <a:gd name="connsiteY48" fmla="*/ 429768 h 555041"/>
                <a:gd name="connsiteX49" fmla="*/ 173578 w 1033114"/>
                <a:gd name="connsiteY49" fmla="*/ 457200 h 555041"/>
                <a:gd name="connsiteX50" fmla="*/ 27274 w 1033114"/>
                <a:gd name="connsiteY50" fmla="*/ 493776 h 555041"/>
                <a:gd name="connsiteX51" fmla="*/ 16200 w 1033114"/>
                <a:gd name="connsiteY51" fmla="*/ 480583 h 555041"/>
                <a:gd name="connsiteX52" fmla="*/ 16201 w 1033114"/>
                <a:gd name="connsiteY52" fmla="*/ 480583 h 555041"/>
                <a:gd name="connsiteX53" fmla="*/ 90659 w 1033114"/>
                <a:gd name="connsiteY53" fmla="*/ 496784 h 555041"/>
                <a:gd name="connsiteX54" fmla="*/ 90659 w 1033114"/>
                <a:gd name="connsiteY54" fmla="*/ 496784 h 555041"/>
                <a:gd name="connsiteX55" fmla="*/ 90659 w 1033114"/>
                <a:gd name="connsiteY55" fmla="*/ 496784 h 555041"/>
                <a:gd name="connsiteX0" fmla="*/ 89615 w 1032070"/>
                <a:gd name="connsiteY0" fmla="*/ 496784 h 498849"/>
                <a:gd name="connsiteX1" fmla="*/ 89615 w 1032070"/>
                <a:gd name="connsiteY1" fmla="*/ 496784 h 498849"/>
                <a:gd name="connsiteX2" fmla="*/ 89615 w 1032070"/>
                <a:gd name="connsiteY2" fmla="*/ 496784 h 498849"/>
                <a:gd name="connsiteX3" fmla="*/ 126814 w 1032070"/>
                <a:gd name="connsiteY3" fmla="*/ 493776 h 498849"/>
                <a:gd name="connsiteX4" fmla="*/ 227398 w 1032070"/>
                <a:gd name="connsiteY4" fmla="*/ 466344 h 498849"/>
                <a:gd name="connsiteX5" fmla="*/ 327982 w 1032070"/>
                <a:gd name="connsiteY5" fmla="*/ 384048 h 498849"/>
                <a:gd name="connsiteX6" fmla="*/ 520006 w 1032070"/>
                <a:gd name="connsiteY6" fmla="*/ 301752 h 498849"/>
                <a:gd name="connsiteX7" fmla="*/ 602302 w 1032070"/>
                <a:gd name="connsiteY7" fmla="*/ 192024 h 498849"/>
                <a:gd name="connsiteX8" fmla="*/ 748606 w 1032070"/>
                <a:gd name="connsiteY8" fmla="*/ 155448 h 498849"/>
                <a:gd name="connsiteX9" fmla="*/ 794326 w 1032070"/>
                <a:gd name="connsiteY9" fmla="*/ 155448 h 498849"/>
                <a:gd name="connsiteX10" fmla="*/ 830902 w 1032070"/>
                <a:gd name="connsiteY10" fmla="*/ 137160 h 498849"/>
                <a:gd name="connsiteX11" fmla="*/ 785182 w 1032070"/>
                <a:gd name="connsiteY11" fmla="*/ 137160 h 498849"/>
                <a:gd name="connsiteX12" fmla="*/ 693742 w 1032070"/>
                <a:gd name="connsiteY12" fmla="*/ 137160 h 498849"/>
                <a:gd name="connsiteX13" fmla="*/ 638878 w 1032070"/>
                <a:gd name="connsiteY13" fmla="*/ 146304 h 498849"/>
                <a:gd name="connsiteX14" fmla="*/ 629734 w 1032070"/>
                <a:gd name="connsiteY14" fmla="*/ 155448 h 498849"/>
                <a:gd name="connsiteX15" fmla="*/ 611446 w 1032070"/>
                <a:gd name="connsiteY15" fmla="*/ 146304 h 498849"/>
                <a:gd name="connsiteX16" fmla="*/ 739462 w 1032070"/>
                <a:gd name="connsiteY16" fmla="*/ 91440 h 498849"/>
                <a:gd name="connsiteX17" fmla="*/ 794326 w 1032070"/>
                <a:gd name="connsiteY17" fmla="*/ 91440 h 498849"/>
                <a:gd name="connsiteX18" fmla="*/ 885766 w 1032070"/>
                <a:gd name="connsiteY18" fmla="*/ 82296 h 498849"/>
                <a:gd name="connsiteX19" fmla="*/ 1013782 w 1032070"/>
                <a:gd name="connsiteY19" fmla="*/ 27432 h 498849"/>
                <a:gd name="connsiteX20" fmla="*/ 995494 w 1032070"/>
                <a:gd name="connsiteY20" fmla="*/ 0 h 498849"/>
                <a:gd name="connsiteX21" fmla="*/ 958918 w 1032070"/>
                <a:gd name="connsiteY21" fmla="*/ 27432 h 498849"/>
                <a:gd name="connsiteX22" fmla="*/ 922342 w 1032070"/>
                <a:gd name="connsiteY22" fmla="*/ 36576 h 498849"/>
                <a:gd name="connsiteX23" fmla="*/ 849190 w 1032070"/>
                <a:gd name="connsiteY23" fmla="*/ 64008 h 498849"/>
                <a:gd name="connsiteX24" fmla="*/ 794326 w 1032070"/>
                <a:gd name="connsiteY24" fmla="*/ 64008 h 498849"/>
                <a:gd name="connsiteX25" fmla="*/ 684598 w 1032070"/>
                <a:gd name="connsiteY25" fmla="*/ 64008 h 498849"/>
                <a:gd name="connsiteX26" fmla="*/ 629734 w 1032070"/>
                <a:gd name="connsiteY26" fmla="*/ 100584 h 498849"/>
                <a:gd name="connsiteX27" fmla="*/ 593158 w 1032070"/>
                <a:gd name="connsiteY27" fmla="*/ 146304 h 498849"/>
                <a:gd name="connsiteX28" fmla="*/ 547438 w 1032070"/>
                <a:gd name="connsiteY28" fmla="*/ 182880 h 498849"/>
                <a:gd name="connsiteX29" fmla="*/ 501718 w 1032070"/>
                <a:gd name="connsiteY29" fmla="*/ 256032 h 498849"/>
                <a:gd name="connsiteX30" fmla="*/ 428566 w 1032070"/>
                <a:gd name="connsiteY30" fmla="*/ 301752 h 498849"/>
                <a:gd name="connsiteX31" fmla="*/ 327982 w 1032070"/>
                <a:gd name="connsiteY31" fmla="*/ 347472 h 498849"/>
                <a:gd name="connsiteX32" fmla="*/ 291406 w 1032070"/>
                <a:gd name="connsiteY32" fmla="*/ 374904 h 498849"/>
                <a:gd name="connsiteX33" fmla="*/ 245686 w 1032070"/>
                <a:gd name="connsiteY33" fmla="*/ 402336 h 498849"/>
                <a:gd name="connsiteX34" fmla="*/ 227398 w 1032070"/>
                <a:gd name="connsiteY34" fmla="*/ 402336 h 498849"/>
                <a:gd name="connsiteX35" fmla="*/ 245686 w 1032070"/>
                <a:gd name="connsiteY35" fmla="*/ 365760 h 498849"/>
                <a:gd name="connsiteX36" fmla="*/ 300550 w 1032070"/>
                <a:gd name="connsiteY36" fmla="*/ 301752 h 498849"/>
                <a:gd name="connsiteX37" fmla="*/ 391990 w 1032070"/>
                <a:gd name="connsiteY37" fmla="*/ 219456 h 498849"/>
                <a:gd name="connsiteX38" fmla="*/ 437710 w 1032070"/>
                <a:gd name="connsiteY38" fmla="*/ 146304 h 498849"/>
                <a:gd name="connsiteX39" fmla="*/ 437710 w 1032070"/>
                <a:gd name="connsiteY39" fmla="*/ 64008 h 498849"/>
                <a:gd name="connsiteX40" fmla="*/ 428566 w 1032070"/>
                <a:gd name="connsiteY40" fmla="*/ 54864 h 498849"/>
                <a:gd name="connsiteX41" fmla="*/ 419422 w 1032070"/>
                <a:gd name="connsiteY41" fmla="*/ 128016 h 498849"/>
                <a:gd name="connsiteX42" fmla="*/ 391990 w 1032070"/>
                <a:gd name="connsiteY42" fmla="*/ 173736 h 498849"/>
                <a:gd name="connsiteX43" fmla="*/ 318838 w 1032070"/>
                <a:gd name="connsiteY43" fmla="*/ 237744 h 498849"/>
                <a:gd name="connsiteX44" fmla="*/ 291406 w 1032070"/>
                <a:gd name="connsiteY44" fmla="*/ 256032 h 498849"/>
                <a:gd name="connsiteX45" fmla="*/ 218254 w 1032070"/>
                <a:gd name="connsiteY45" fmla="*/ 347472 h 498849"/>
                <a:gd name="connsiteX46" fmla="*/ 209110 w 1032070"/>
                <a:gd name="connsiteY46" fmla="*/ 374904 h 498849"/>
                <a:gd name="connsiteX47" fmla="*/ 199966 w 1032070"/>
                <a:gd name="connsiteY47" fmla="*/ 411480 h 498849"/>
                <a:gd name="connsiteX48" fmla="*/ 218254 w 1032070"/>
                <a:gd name="connsiteY48" fmla="*/ 429768 h 498849"/>
                <a:gd name="connsiteX49" fmla="*/ 172534 w 1032070"/>
                <a:gd name="connsiteY49" fmla="*/ 457200 h 498849"/>
                <a:gd name="connsiteX50" fmla="*/ 26230 w 1032070"/>
                <a:gd name="connsiteY50" fmla="*/ 493776 h 498849"/>
                <a:gd name="connsiteX51" fmla="*/ 15156 w 1032070"/>
                <a:gd name="connsiteY51" fmla="*/ 480583 h 498849"/>
                <a:gd name="connsiteX52" fmla="*/ 15157 w 1032070"/>
                <a:gd name="connsiteY52" fmla="*/ 480583 h 498849"/>
                <a:gd name="connsiteX53" fmla="*/ 89615 w 1032070"/>
                <a:gd name="connsiteY53" fmla="*/ 496784 h 498849"/>
                <a:gd name="connsiteX54" fmla="*/ 89615 w 1032070"/>
                <a:gd name="connsiteY54" fmla="*/ 496784 h 498849"/>
                <a:gd name="connsiteX55" fmla="*/ 89615 w 1032070"/>
                <a:gd name="connsiteY55" fmla="*/ 496784 h 498849"/>
                <a:gd name="connsiteX0" fmla="*/ 89615 w 1032070"/>
                <a:gd name="connsiteY0" fmla="*/ 496784 h 498849"/>
                <a:gd name="connsiteX1" fmla="*/ 89615 w 1032070"/>
                <a:gd name="connsiteY1" fmla="*/ 496784 h 498849"/>
                <a:gd name="connsiteX2" fmla="*/ 89615 w 1032070"/>
                <a:gd name="connsiteY2" fmla="*/ 496784 h 498849"/>
                <a:gd name="connsiteX3" fmla="*/ 126814 w 1032070"/>
                <a:gd name="connsiteY3" fmla="*/ 493776 h 498849"/>
                <a:gd name="connsiteX4" fmla="*/ 227398 w 1032070"/>
                <a:gd name="connsiteY4" fmla="*/ 466344 h 498849"/>
                <a:gd name="connsiteX5" fmla="*/ 327982 w 1032070"/>
                <a:gd name="connsiteY5" fmla="*/ 384048 h 498849"/>
                <a:gd name="connsiteX6" fmla="*/ 520006 w 1032070"/>
                <a:gd name="connsiteY6" fmla="*/ 301752 h 498849"/>
                <a:gd name="connsiteX7" fmla="*/ 602302 w 1032070"/>
                <a:gd name="connsiteY7" fmla="*/ 192024 h 498849"/>
                <a:gd name="connsiteX8" fmla="*/ 748606 w 1032070"/>
                <a:gd name="connsiteY8" fmla="*/ 155448 h 498849"/>
                <a:gd name="connsiteX9" fmla="*/ 794326 w 1032070"/>
                <a:gd name="connsiteY9" fmla="*/ 155448 h 498849"/>
                <a:gd name="connsiteX10" fmla="*/ 830902 w 1032070"/>
                <a:gd name="connsiteY10" fmla="*/ 137160 h 498849"/>
                <a:gd name="connsiteX11" fmla="*/ 785182 w 1032070"/>
                <a:gd name="connsiteY11" fmla="*/ 137160 h 498849"/>
                <a:gd name="connsiteX12" fmla="*/ 693742 w 1032070"/>
                <a:gd name="connsiteY12" fmla="*/ 137160 h 498849"/>
                <a:gd name="connsiteX13" fmla="*/ 638878 w 1032070"/>
                <a:gd name="connsiteY13" fmla="*/ 146304 h 498849"/>
                <a:gd name="connsiteX14" fmla="*/ 629734 w 1032070"/>
                <a:gd name="connsiteY14" fmla="*/ 155448 h 498849"/>
                <a:gd name="connsiteX15" fmla="*/ 611446 w 1032070"/>
                <a:gd name="connsiteY15" fmla="*/ 146304 h 498849"/>
                <a:gd name="connsiteX16" fmla="*/ 739462 w 1032070"/>
                <a:gd name="connsiteY16" fmla="*/ 91440 h 498849"/>
                <a:gd name="connsiteX17" fmla="*/ 794326 w 1032070"/>
                <a:gd name="connsiteY17" fmla="*/ 91440 h 498849"/>
                <a:gd name="connsiteX18" fmla="*/ 885766 w 1032070"/>
                <a:gd name="connsiteY18" fmla="*/ 82296 h 498849"/>
                <a:gd name="connsiteX19" fmla="*/ 1013782 w 1032070"/>
                <a:gd name="connsiteY19" fmla="*/ 27432 h 498849"/>
                <a:gd name="connsiteX20" fmla="*/ 995494 w 1032070"/>
                <a:gd name="connsiteY20" fmla="*/ 0 h 498849"/>
                <a:gd name="connsiteX21" fmla="*/ 958918 w 1032070"/>
                <a:gd name="connsiteY21" fmla="*/ 27432 h 498849"/>
                <a:gd name="connsiteX22" fmla="*/ 922342 w 1032070"/>
                <a:gd name="connsiteY22" fmla="*/ 36576 h 498849"/>
                <a:gd name="connsiteX23" fmla="*/ 849190 w 1032070"/>
                <a:gd name="connsiteY23" fmla="*/ 64008 h 498849"/>
                <a:gd name="connsiteX24" fmla="*/ 794326 w 1032070"/>
                <a:gd name="connsiteY24" fmla="*/ 64008 h 498849"/>
                <a:gd name="connsiteX25" fmla="*/ 684598 w 1032070"/>
                <a:gd name="connsiteY25" fmla="*/ 64008 h 498849"/>
                <a:gd name="connsiteX26" fmla="*/ 629734 w 1032070"/>
                <a:gd name="connsiteY26" fmla="*/ 100584 h 498849"/>
                <a:gd name="connsiteX27" fmla="*/ 593158 w 1032070"/>
                <a:gd name="connsiteY27" fmla="*/ 146304 h 498849"/>
                <a:gd name="connsiteX28" fmla="*/ 547438 w 1032070"/>
                <a:gd name="connsiteY28" fmla="*/ 182880 h 498849"/>
                <a:gd name="connsiteX29" fmla="*/ 501718 w 1032070"/>
                <a:gd name="connsiteY29" fmla="*/ 256032 h 498849"/>
                <a:gd name="connsiteX30" fmla="*/ 428566 w 1032070"/>
                <a:gd name="connsiteY30" fmla="*/ 301752 h 498849"/>
                <a:gd name="connsiteX31" fmla="*/ 327982 w 1032070"/>
                <a:gd name="connsiteY31" fmla="*/ 347472 h 498849"/>
                <a:gd name="connsiteX32" fmla="*/ 291406 w 1032070"/>
                <a:gd name="connsiteY32" fmla="*/ 374904 h 498849"/>
                <a:gd name="connsiteX33" fmla="*/ 245686 w 1032070"/>
                <a:gd name="connsiteY33" fmla="*/ 402336 h 498849"/>
                <a:gd name="connsiteX34" fmla="*/ 227398 w 1032070"/>
                <a:gd name="connsiteY34" fmla="*/ 402336 h 498849"/>
                <a:gd name="connsiteX35" fmla="*/ 245686 w 1032070"/>
                <a:gd name="connsiteY35" fmla="*/ 365760 h 498849"/>
                <a:gd name="connsiteX36" fmla="*/ 300550 w 1032070"/>
                <a:gd name="connsiteY36" fmla="*/ 301752 h 498849"/>
                <a:gd name="connsiteX37" fmla="*/ 391990 w 1032070"/>
                <a:gd name="connsiteY37" fmla="*/ 219456 h 498849"/>
                <a:gd name="connsiteX38" fmla="*/ 437710 w 1032070"/>
                <a:gd name="connsiteY38" fmla="*/ 146304 h 498849"/>
                <a:gd name="connsiteX39" fmla="*/ 437710 w 1032070"/>
                <a:gd name="connsiteY39" fmla="*/ 64008 h 498849"/>
                <a:gd name="connsiteX40" fmla="*/ 428566 w 1032070"/>
                <a:gd name="connsiteY40" fmla="*/ 54864 h 498849"/>
                <a:gd name="connsiteX41" fmla="*/ 419422 w 1032070"/>
                <a:gd name="connsiteY41" fmla="*/ 128016 h 498849"/>
                <a:gd name="connsiteX42" fmla="*/ 391990 w 1032070"/>
                <a:gd name="connsiteY42" fmla="*/ 173736 h 498849"/>
                <a:gd name="connsiteX43" fmla="*/ 318838 w 1032070"/>
                <a:gd name="connsiteY43" fmla="*/ 237744 h 498849"/>
                <a:gd name="connsiteX44" fmla="*/ 291406 w 1032070"/>
                <a:gd name="connsiteY44" fmla="*/ 256032 h 498849"/>
                <a:gd name="connsiteX45" fmla="*/ 218254 w 1032070"/>
                <a:gd name="connsiteY45" fmla="*/ 347472 h 498849"/>
                <a:gd name="connsiteX46" fmla="*/ 209110 w 1032070"/>
                <a:gd name="connsiteY46" fmla="*/ 374904 h 498849"/>
                <a:gd name="connsiteX47" fmla="*/ 199966 w 1032070"/>
                <a:gd name="connsiteY47" fmla="*/ 411480 h 498849"/>
                <a:gd name="connsiteX48" fmla="*/ 218254 w 1032070"/>
                <a:gd name="connsiteY48" fmla="*/ 429768 h 498849"/>
                <a:gd name="connsiteX49" fmla="*/ 172534 w 1032070"/>
                <a:gd name="connsiteY49" fmla="*/ 457200 h 498849"/>
                <a:gd name="connsiteX50" fmla="*/ 26230 w 1032070"/>
                <a:gd name="connsiteY50" fmla="*/ 493776 h 498849"/>
                <a:gd name="connsiteX51" fmla="*/ 15156 w 1032070"/>
                <a:gd name="connsiteY51" fmla="*/ 480583 h 498849"/>
                <a:gd name="connsiteX52" fmla="*/ 89615 w 1032070"/>
                <a:gd name="connsiteY52" fmla="*/ 496784 h 498849"/>
                <a:gd name="connsiteX53" fmla="*/ 89615 w 1032070"/>
                <a:gd name="connsiteY53" fmla="*/ 496784 h 498849"/>
                <a:gd name="connsiteX54" fmla="*/ 89615 w 1032070"/>
                <a:gd name="connsiteY54" fmla="*/ 496784 h 498849"/>
                <a:gd name="connsiteX55" fmla="*/ 89615 w 1032070"/>
                <a:gd name="connsiteY55" fmla="*/ 496784 h 498849"/>
                <a:gd name="connsiteX0" fmla="*/ 77205 w 1019660"/>
                <a:gd name="connsiteY0" fmla="*/ 496784 h 500373"/>
                <a:gd name="connsiteX1" fmla="*/ 77205 w 1019660"/>
                <a:gd name="connsiteY1" fmla="*/ 496784 h 500373"/>
                <a:gd name="connsiteX2" fmla="*/ 77205 w 1019660"/>
                <a:gd name="connsiteY2" fmla="*/ 496784 h 500373"/>
                <a:gd name="connsiteX3" fmla="*/ 114404 w 1019660"/>
                <a:gd name="connsiteY3" fmla="*/ 493776 h 500373"/>
                <a:gd name="connsiteX4" fmla="*/ 214988 w 1019660"/>
                <a:gd name="connsiteY4" fmla="*/ 466344 h 500373"/>
                <a:gd name="connsiteX5" fmla="*/ 315572 w 1019660"/>
                <a:gd name="connsiteY5" fmla="*/ 384048 h 500373"/>
                <a:gd name="connsiteX6" fmla="*/ 507596 w 1019660"/>
                <a:gd name="connsiteY6" fmla="*/ 301752 h 500373"/>
                <a:gd name="connsiteX7" fmla="*/ 589892 w 1019660"/>
                <a:gd name="connsiteY7" fmla="*/ 192024 h 500373"/>
                <a:gd name="connsiteX8" fmla="*/ 736196 w 1019660"/>
                <a:gd name="connsiteY8" fmla="*/ 155448 h 500373"/>
                <a:gd name="connsiteX9" fmla="*/ 781916 w 1019660"/>
                <a:gd name="connsiteY9" fmla="*/ 155448 h 500373"/>
                <a:gd name="connsiteX10" fmla="*/ 818492 w 1019660"/>
                <a:gd name="connsiteY10" fmla="*/ 137160 h 500373"/>
                <a:gd name="connsiteX11" fmla="*/ 772772 w 1019660"/>
                <a:gd name="connsiteY11" fmla="*/ 137160 h 500373"/>
                <a:gd name="connsiteX12" fmla="*/ 681332 w 1019660"/>
                <a:gd name="connsiteY12" fmla="*/ 137160 h 500373"/>
                <a:gd name="connsiteX13" fmla="*/ 626468 w 1019660"/>
                <a:gd name="connsiteY13" fmla="*/ 146304 h 500373"/>
                <a:gd name="connsiteX14" fmla="*/ 617324 w 1019660"/>
                <a:gd name="connsiteY14" fmla="*/ 155448 h 500373"/>
                <a:gd name="connsiteX15" fmla="*/ 599036 w 1019660"/>
                <a:gd name="connsiteY15" fmla="*/ 146304 h 500373"/>
                <a:gd name="connsiteX16" fmla="*/ 727052 w 1019660"/>
                <a:gd name="connsiteY16" fmla="*/ 91440 h 500373"/>
                <a:gd name="connsiteX17" fmla="*/ 781916 w 1019660"/>
                <a:gd name="connsiteY17" fmla="*/ 91440 h 500373"/>
                <a:gd name="connsiteX18" fmla="*/ 873356 w 1019660"/>
                <a:gd name="connsiteY18" fmla="*/ 82296 h 500373"/>
                <a:gd name="connsiteX19" fmla="*/ 1001372 w 1019660"/>
                <a:gd name="connsiteY19" fmla="*/ 27432 h 500373"/>
                <a:gd name="connsiteX20" fmla="*/ 983084 w 1019660"/>
                <a:gd name="connsiteY20" fmla="*/ 0 h 500373"/>
                <a:gd name="connsiteX21" fmla="*/ 946508 w 1019660"/>
                <a:gd name="connsiteY21" fmla="*/ 27432 h 500373"/>
                <a:gd name="connsiteX22" fmla="*/ 909932 w 1019660"/>
                <a:gd name="connsiteY22" fmla="*/ 36576 h 500373"/>
                <a:gd name="connsiteX23" fmla="*/ 836780 w 1019660"/>
                <a:gd name="connsiteY23" fmla="*/ 64008 h 500373"/>
                <a:gd name="connsiteX24" fmla="*/ 781916 w 1019660"/>
                <a:gd name="connsiteY24" fmla="*/ 64008 h 500373"/>
                <a:gd name="connsiteX25" fmla="*/ 672188 w 1019660"/>
                <a:gd name="connsiteY25" fmla="*/ 64008 h 500373"/>
                <a:gd name="connsiteX26" fmla="*/ 617324 w 1019660"/>
                <a:gd name="connsiteY26" fmla="*/ 100584 h 500373"/>
                <a:gd name="connsiteX27" fmla="*/ 580748 w 1019660"/>
                <a:gd name="connsiteY27" fmla="*/ 146304 h 500373"/>
                <a:gd name="connsiteX28" fmla="*/ 535028 w 1019660"/>
                <a:gd name="connsiteY28" fmla="*/ 182880 h 500373"/>
                <a:gd name="connsiteX29" fmla="*/ 489308 w 1019660"/>
                <a:gd name="connsiteY29" fmla="*/ 256032 h 500373"/>
                <a:gd name="connsiteX30" fmla="*/ 416156 w 1019660"/>
                <a:gd name="connsiteY30" fmla="*/ 301752 h 500373"/>
                <a:gd name="connsiteX31" fmla="*/ 315572 w 1019660"/>
                <a:gd name="connsiteY31" fmla="*/ 347472 h 500373"/>
                <a:gd name="connsiteX32" fmla="*/ 278996 w 1019660"/>
                <a:gd name="connsiteY32" fmla="*/ 374904 h 500373"/>
                <a:gd name="connsiteX33" fmla="*/ 233276 w 1019660"/>
                <a:gd name="connsiteY33" fmla="*/ 402336 h 500373"/>
                <a:gd name="connsiteX34" fmla="*/ 214988 w 1019660"/>
                <a:gd name="connsiteY34" fmla="*/ 402336 h 500373"/>
                <a:gd name="connsiteX35" fmla="*/ 233276 w 1019660"/>
                <a:gd name="connsiteY35" fmla="*/ 365760 h 500373"/>
                <a:gd name="connsiteX36" fmla="*/ 288140 w 1019660"/>
                <a:gd name="connsiteY36" fmla="*/ 301752 h 500373"/>
                <a:gd name="connsiteX37" fmla="*/ 379580 w 1019660"/>
                <a:gd name="connsiteY37" fmla="*/ 219456 h 500373"/>
                <a:gd name="connsiteX38" fmla="*/ 425300 w 1019660"/>
                <a:gd name="connsiteY38" fmla="*/ 146304 h 500373"/>
                <a:gd name="connsiteX39" fmla="*/ 425300 w 1019660"/>
                <a:gd name="connsiteY39" fmla="*/ 64008 h 500373"/>
                <a:gd name="connsiteX40" fmla="*/ 416156 w 1019660"/>
                <a:gd name="connsiteY40" fmla="*/ 54864 h 500373"/>
                <a:gd name="connsiteX41" fmla="*/ 407012 w 1019660"/>
                <a:gd name="connsiteY41" fmla="*/ 128016 h 500373"/>
                <a:gd name="connsiteX42" fmla="*/ 379580 w 1019660"/>
                <a:gd name="connsiteY42" fmla="*/ 173736 h 500373"/>
                <a:gd name="connsiteX43" fmla="*/ 306428 w 1019660"/>
                <a:gd name="connsiteY43" fmla="*/ 237744 h 500373"/>
                <a:gd name="connsiteX44" fmla="*/ 278996 w 1019660"/>
                <a:gd name="connsiteY44" fmla="*/ 256032 h 500373"/>
                <a:gd name="connsiteX45" fmla="*/ 205844 w 1019660"/>
                <a:gd name="connsiteY45" fmla="*/ 347472 h 500373"/>
                <a:gd name="connsiteX46" fmla="*/ 196700 w 1019660"/>
                <a:gd name="connsiteY46" fmla="*/ 374904 h 500373"/>
                <a:gd name="connsiteX47" fmla="*/ 187556 w 1019660"/>
                <a:gd name="connsiteY47" fmla="*/ 411480 h 500373"/>
                <a:gd name="connsiteX48" fmla="*/ 205844 w 1019660"/>
                <a:gd name="connsiteY48" fmla="*/ 429768 h 500373"/>
                <a:gd name="connsiteX49" fmla="*/ 160124 w 1019660"/>
                <a:gd name="connsiteY49" fmla="*/ 457200 h 500373"/>
                <a:gd name="connsiteX50" fmla="*/ 13820 w 1019660"/>
                <a:gd name="connsiteY50" fmla="*/ 493776 h 500373"/>
                <a:gd name="connsiteX51" fmla="*/ 77205 w 1019660"/>
                <a:gd name="connsiteY51" fmla="*/ 496784 h 500373"/>
                <a:gd name="connsiteX52" fmla="*/ 77205 w 1019660"/>
                <a:gd name="connsiteY52" fmla="*/ 496784 h 500373"/>
                <a:gd name="connsiteX53" fmla="*/ 77205 w 1019660"/>
                <a:gd name="connsiteY53" fmla="*/ 496784 h 500373"/>
                <a:gd name="connsiteX54" fmla="*/ 77205 w 1019660"/>
                <a:gd name="connsiteY54" fmla="*/ 496784 h 500373"/>
                <a:gd name="connsiteX55" fmla="*/ 77205 w 1019660"/>
                <a:gd name="connsiteY55" fmla="*/ 496784 h 500373"/>
                <a:gd name="connsiteX0" fmla="*/ 13820 w 956275"/>
                <a:gd name="connsiteY0" fmla="*/ 496784 h 503380"/>
                <a:gd name="connsiteX1" fmla="*/ 13820 w 956275"/>
                <a:gd name="connsiteY1" fmla="*/ 496784 h 503380"/>
                <a:gd name="connsiteX2" fmla="*/ 13820 w 956275"/>
                <a:gd name="connsiteY2" fmla="*/ 496784 h 503380"/>
                <a:gd name="connsiteX3" fmla="*/ 51019 w 956275"/>
                <a:gd name="connsiteY3" fmla="*/ 493776 h 503380"/>
                <a:gd name="connsiteX4" fmla="*/ 151603 w 956275"/>
                <a:gd name="connsiteY4" fmla="*/ 466344 h 503380"/>
                <a:gd name="connsiteX5" fmla="*/ 252187 w 956275"/>
                <a:gd name="connsiteY5" fmla="*/ 384048 h 503380"/>
                <a:gd name="connsiteX6" fmla="*/ 444211 w 956275"/>
                <a:gd name="connsiteY6" fmla="*/ 301752 h 503380"/>
                <a:gd name="connsiteX7" fmla="*/ 526507 w 956275"/>
                <a:gd name="connsiteY7" fmla="*/ 192024 h 503380"/>
                <a:gd name="connsiteX8" fmla="*/ 672811 w 956275"/>
                <a:gd name="connsiteY8" fmla="*/ 155448 h 503380"/>
                <a:gd name="connsiteX9" fmla="*/ 718531 w 956275"/>
                <a:gd name="connsiteY9" fmla="*/ 155448 h 503380"/>
                <a:gd name="connsiteX10" fmla="*/ 755107 w 956275"/>
                <a:gd name="connsiteY10" fmla="*/ 137160 h 503380"/>
                <a:gd name="connsiteX11" fmla="*/ 709387 w 956275"/>
                <a:gd name="connsiteY11" fmla="*/ 137160 h 503380"/>
                <a:gd name="connsiteX12" fmla="*/ 617947 w 956275"/>
                <a:gd name="connsiteY12" fmla="*/ 137160 h 503380"/>
                <a:gd name="connsiteX13" fmla="*/ 563083 w 956275"/>
                <a:gd name="connsiteY13" fmla="*/ 146304 h 503380"/>
                <a:gd name="connsiteX14" fmla="*/ 553939 w 956275"/>
                <a:gd name="connsiteY14" fmla="*/ 155448 h 503380"/>
                <a:gd name="connsiteX15" fmla="*/ 535651 w 956275"/>
                <a:gd name="connsiteY15" fmla="*/ 146304 h 503380"/>
                <a:gd name="connsiteX16" fmla="*/ 663667 w 956275"/>
                <a:gd name="connsiteY16" fmla="*/ 91440 h 503380"/>
                <a:gd name="connsiteX17" fmla="*/ 718531 w 956275"/>
                <a:gd name="connsiteY17" fmla="*/ 91440 h 503380"/>
                <a:gd name="connsiteX18" fmla="*/ 809971 w 956275"/>
                <a:gd name="connsiteY18" fmla="*/ 82296 h 503380"/>
                <a:gd name="connsiteX19" fmla="*/ 937987 w 956275"/>
                <a:gd name="connsiteY19" fmla="*/ 27432 h 503380"/>
                <a:gd name="connsiteX20" fmla="*/ 919699 w 956275"/>
                <a:gd name="connsiteY20" fmla="*/ 0 h 503380"/>
                <a:gd name="connsiteX21" fmla="*/ 883123 w 956275"/>
                <a:gd name="connsiteY21" fmla="*/ 27432 h 503380"/>
                <a:gd name="connsiteX22" fmla="*/ 846547 w 956275"/>
                <a:gd name="connsiteY22" fmla="*/ 36576 h 503380"/>
                <a:gd name="connsiteX23" fmla="*/ 773395 w 956275"/>
                <a:gd name="connsiteY23" fmla="*/ 64008 h 503380"/>
                <a:gd name="connsiteX24" fmla="*/ 718531 w 956275"/>
                <a:gd name="connsiteY24" fmla="*/ 64008 h 503380"/>
                <a:gd name="connsiteX25" fmla="*/ 608803 w 956275"/>
                <a:gd name="connsiteY25" fmla="*/ 64008 h 503380"/>
                <a:gd name="connsiteX26" fmla="*/ 553939 w 956275"/>
                <a:gd name="connsiteY26" fmla="*/ 100584 h 503380"/>
                <a:gd name="connsiteX27" fmla="*/ 517363 w 956275"/>
                <a:gd name="connsiteY27" fmla="*/ 146304 h 503380"/>
                <a:gd name="connsiteX28" fmla="*/ 471643 w 956275"/>
                <a:gd name="connsiteY28" fmla="*/ 182880 h 503380"/>
                <a:gd name="connsiteX29" fmla="*/ 425923 w 956275"/>
                <a:gd name="connsiteY29" fmla="*/ 256032 h 503380"/>
                <a:gd name="connsiteX30" fmla="*/ 352771 w 956275"/>
                <a:gd name="connsiteY30" fmla="*/ 301752 h 503380"/>
                <a:gd name="connsiteX31" fmla="*/ 252187 w 956275"/>
                <a:gd name="connsiteY31" fmla="*/ 347472 h 503380"/>
                <a:gd name="connsiteX32" fmla="*/ 215611 w 956275"/>
                <a:gd name="connsiteY32" fmla="*/ 374904 h 503380"/>
                <a:gd name="connsiteX33" fmla="*/ 169891 w 956275"/>
                <a:gd name="connsiteY33" fmla="*/ 402336 h 503380"/>
                <a:gd name="connsiteX34" fmla="*/ 151603 w 956275"/>
                <a:gd name="connsiteY34" fmla="*/ 402336 h 503380"/>
                <a:gd name="connsiteX35" fmla="*/ 169891 w 956275"/>
                <a:gd name="connsiteY35" fmla="*/ 365760 h 503380"/>
                <a:gd name="connsiteX36" fmla="*/ 224755 w 956275"/>
                <a:gd name="connsiteY36" fmla="*/ 301752 h 503380"/>
                <a:gd name="connsiteX37" fmla="*/ 316195 w 956275"/>
                <a:gd name="connsiteY37" fmla="*/ 219456 h 503380"/>
                <a:gd name="connsiteX38" fmla="*/ 361915 w 956275"/>
                <a:gd name="connsiteY38" fmla="*/ 146304 h 503380"/>
                <a:gd name="connsiteX39" fmla="*/ 361915 w 956275"/>
                <a:gd name="connsiteY39" fmla="*/ 64008 h 503380"/>
                <a:gd name="connsiteX40" fmla="*/ 352771 w 956275"/>
                <a:gd name="connsiteY40" fmla="*/ 54864 h 503380"/>
                <a:gd name="connsiteX41" fmla="*/ 343627 w 956275"/>
                <a:gd name="connsiteY41" fmla="*/ 128016 h 503380"/>
                <a:gd name="connsiteX42" fmla="*/ 316195 w 956275"/>
                <a:gd name="connsiteY42" fmla="*/ 173736 h 503380"/>
                <a:gd name="connsiteX43" fmla="*/ 243043 w 956275"/>
                <a:gd name="connsiteY43" fmla="*/ 237744 h 503380"/>
                <a:gd name="connsiteX44" fmla="*/ 215611 w 956275"/>
                <a:gd name="connsiteY44" fmla="*/ 256032 h 503380"/>
                <a:gd name="connsiteX45" fmla="*/ 142459 w 956275"/>
                <a:gd name="connsiteY45" fmla="*/ 347472 h 503380"/>
                <a:gd name="connsiteX46" fmla="*/ 133315 w 956275"/>
                <a:gd name="connsiteY46" fmla="*/ 374904 h 503380"/>
                <a:gd name="connsiteX47" fmla="*/ 124171 w 956275"/>
                <a:gd name="connsiteY47" fmla="*/ 411480 h 503380"/>
                <a:gd name="connsiteX48" fmla="*/ 142459 w 956275"/>
                <a:gd name="connsiteY48" fmla="*/ 429768 h 503380"/>
                <a:gd name="connsiteX49" fmla="*/ 96739 w 956275"/>
                <a:gd name="connsiteY49" fmla="*/ 457200 h 503380"/>
                <a:gd name="connsiteX50" fmla="*/ 13820 w 956275"/>
                <a:gd name="connsiteY50" fmla="*/ 496783 h 503380"/>
                <a:gd name="connsiteX51" fmla="*/ 13820 w 956275"/>
                <a:gd name="connsiteY51" fmla="*/ 496784 h 503380"/>
                <a:gd name="connsiteX52" fmla="*/ 13820 w 956275"/>
                <a:gd name="connsiteY52" fmla="*/ 496784 h 503380"/>
                <a:gd name="connsiteX53" fmla="*/ 13820 w 956275"/>
                <a:gd name="connsiteY53" fmla="*/ 496784 h 503380"/>
                <a:gd name="connsiteX54" fmla="*/ 13820 w 956275"/>
                <a:gd name="connsiteY54" fmla="*/ 496784 h 503380"/>
                <a:gd name="connsiteX55" fmla="*/ 13820 w 956275"/>
                <a:gd name="connsiteY55" fmla="*/ 496784 h 503380"/>
                <a:gd name="connsiteX0" fmla="*/ 40672 w 956275"/>
                <a:gd name="connsiteY0" fmla="*/ 486851 h 503380"/>
                <a:gd name="connsiteX1" fmla="*/ 13820 w 956275"/>
                <a:gd name="connsiteY1" fmla="*/ 496784 h 503380"/>
                <a:gd name="connsiteX2" fmla="*/ 13820 w 956275"/>
                <a:gd name="connsiteY2" fmla="*/ 496784 h 503380"/>
                <a:gd name="connsiteX3" fmla="*/ 51019 w 956275"/>
                <a:gd name="connsiteY3" fmla="*/ 493776 h 503380"/>
                <a:gd name="connsiteX4" fmla="*/ 151603 w 956275"/>
                <a:gd name="connsiteY4" fmla="*/ 466344 h 503380"/>
                <a:gd name="connsiteX5" fmla="*/ 252187 w 956275"/>
                <a:gd name="connsiteY5" fmla="*/ 384048 h 503380"/>
                <a:gd name="connsiteX6" fmla="*/ 444211 w 956275"/>
                <a:gd name="connsiteY6" fmla="*/ 301752 h 503380"/>
                <a:gd name="connsiteX7" fmla="*/ 526507 w 956275"/>
                <a:gd name="connsiteY7" fmla="*/ 192024 h 503380"/>
                <a:gd name="connsiteX8" fmla="*/ 672811 w 956275"/>
                <a:gd name="connsiteY8" fmla="*/ 155448 h 503380"/>
                <a:gd name="connsiteX9" fmla="*/ 718531 w 956275"/>
                <a:gd name="connsiteY9" fmla="*/ 155448 h 503380"/>
                <a:gd name="connsiteX10" fmla="*/ 755107 w 956275"/>
                <a:gd name="connsiteY10" fmla="*/ 137160 h 503380"/>
                <a:gd name="connsiteX11" fmla="*/ 709387 w 956275"/>
                <a:gd name="connsiteY11" fmla="*/ 137160 h 503380"/>
                <a:gd name="connsiteX12" fmla="*/ 617947 w 956275"/>
                <a:gd name="connsiteY12" fmla="*/ 137160 h 503380"/>
                <a:gd name="connsiteX13" fmla="*/ 563083 w 956275"/>
                <a:gd name="connsiteY13" fmla="*/ 146304 h 503380"/>
                <a:gd name="connsiteX14" fmla="*/ 553939 w 956275"/>
                <a:gd name="connsiteY14" fmla="*/ 155448 h 503380"/>
                <a:gd name="connsiteX15" fmla="*/ 535651 w 956275"/>
                <a:gd name="connsiteY15" fmla="*/ 146304 h 503380"/>
                <a:gd name="connsiteX16" fmla="*/ 663667 w 956275"/>
                <a:gd name="connsiteY16" fmla="*/ 91440 h 503380"/>
                <a:gd name="connsiteX17" fmla="*/ 718531 w 956275"/>
                <a:gd name="connsiteY17" fmla="*/ 91440 h 503380"/>
                <a:gd name="connsiteX18" fmla="*/ 809971 w 956275"/>
                <a:gd name="connsiteY18" fmla="*/ 82296 h 503380"/>
                <a:gd name="connsiteX19" fmla="*/ 937987 w 956275"/>
                <a:gd name="connsiteY19" fmla="*/ 27432 h 503380"/>
                <a:gd name="connsiteX20" fmla="*/ 919699 w 956275"/>
                <a:gd name="connsiteY20" fmla="*/ 0 h 503380"/>
                <a:gd name="connsiteX21" fmla="*/ 883123 w 956275"/>
                <a:gd name="connsiteY21" fmla="*/ 27432 h 503380"/>
                <a:gd name="connsiteX22" fmla="*/ 846547 w 956275"/>
                <a:gd name="connsiteY22" fmla="*/ 36576 h 503380"/>
                <a:gd name="connsiteX23" fmla="*/ 773395 w 956275"/>
                <a:gd name="connsiteY23" fmla="*/ 64008 h 503380"/>
                <a:gd name="connsiteX24" fmla="*/ 718531 w 956275"/>
                <a:gd name="connsiteY24" fmla="*/ 64008 h 503380"/>
                <a:gd name="connsiteX25" fmla="*/ 608803 w 956275"/>
                <a:gd name="connsiteY25" fmla="*/ 64008 h 503380"/>
                <a:gd name="connsiteX26" fmla="*/ 553939 w 956275"/>
                <a:gd name="connsiteY26" fmla="*/ 100584 h 503380"/>
                <a:gd name="connsiteX27" fmla="*/ 517363 w 956275"/>
                <a:gd name="connsiteY27" fmla="*/ 146304 h 503380"/>
                <a:gd name="connsiteX28" fmla="*/ 471643 w 956275"/>
                <a:gd name="connsiteY28" fmla="*/ 182880 h 503380"/>
                <a:gd name="connsiteX29" fmla="*/ 425923 w 956275"/>
                <a:gd name="connsiteY29" fmla="*/ 256032 h 503380"/>
                <a:gd name="connsiteX30" fmla="*/ 352771 w 956275"/>
                <a:gd name="connsiteY30" fmla="*/ 301752 h 503380"/>
                <a:gd name="connsiteX31" fmla="*/ 252187 w 956275"/>
                <a:gd name="connsiteY31" fmla="*/ 347472 h 503380"/>
                <a:gd name="connsiteX32" fmla="*/ 215611 w 956275"/>
                <a:gd name="connsiteY32" fmla="*/ 374904 h 503380"/>
                <a:gd name="connsiteX33" fmla="*/ 169891 w 956275"/>
                <a:gd name="connsiteY33" fmla="*/ 402336 h 503380"/>
                <a:gd name="connsiteX34" fmla="*/ 151603 w 956275"/>
                <a:gd name="connsiteY34" fmla="*/ 402336 h 503380"/>
                <a:gd name="connsiteX35" fmla="*/ 169891 w 956275"/>
                <a:gd name="connsiteY35" fmla="*/ 365760 h 503380"/>
                <a:gd name="connsiteX36" fmla="*/ 224755 w 956275"/>
                <a:gd name="connsiteY36" fmla="*/ 301752 h 503380"/>
                <a:gd name="connsiteX37" fmla="*/ 316195 w 956275"/>
                <a:gd name="connsiteY37" fmla="*/ 219456 h 503380"/>
                <a:gd name="connsiteX38" fmla="*/ 361915 w 956275"/>
                <a:gd name="connsiteY38" fmla="*/ 146304 h 503380"/>
                <a:gd name="connsiteX39" fmla="*/ 361915 w 956275"/>
                <a:gd name="connsiteY39" fmla="*/ 64008 h 503380"/>
                <a:gd name="connsiteX40" fmla="*/ 352771 w 956275"/>
                <a:gd name="connsiteY40" fmla="*/ 54864 h 503380"/>
                <a:gd name="connsiteX41" fmla="*/ 343627 w 956275"/>
                <a:gd name="connsiteY41" fmla="*/ 128016 h 503380"/>
                <a:gd name="connsiteX42" fmla="*/ 316195 w 956275"/>
                <a:gd name="connsiteY42" fmla="*/ 173736 h 503380"/>
                <a:gd name="connsiteX43" fmla="*/ 243043 w 956275"/>
                <a:gd name="connsiteY43" fmla="*/ 237744 h 503380"/>
                <a:gd name="connsiteX44" fmla="*/ 215611 w 956275"/>
                <a:gd name="connsiteY44" fmla="*/ 256032 h 503380"/>
                <a:gd name="connsiteX45" fmla="*/ 142459 w 956275"/>
                <a:gd name="connsiteY45" fmla="*/ 347472 h 503380"/>
                <a:gd name="connsiteX46" fmla="*/ 133315 w 956275"/>
                <a:gd name="connsiteY46" fmla="*/ 374904 h 503380"/>
                <a:gd name="connsiteX47" fmla="*/ 124171 w 956275"/>
                <a:gd name="connsiteY47" fmla="*/ 411480 h 503380"/>
                <a:gd name="connsiteX48" fmla="*/ 142459 w 956275"/>
                <a:gd name="connsiteY48" fmla="*/ 429768 h 503380"/>
                <a:gd name="connsiteX49" fmla="*/ 96739 w 956275"/>
                <a:gd name="connsiteY49" fmla="*/ 457200 h 503380"/>
                <a:gd name="connsiteX50" fmla="*/ 13820 w 956275"/>
                <a:gd name="connsiteY50" fmla="*/ 496783 h 503380"/>
                <a:gd name="connsiteX51" fmla="*/ 13820 w 956275"/>
                <a:gd name="connsiteY51" fmla="*/ 496784 h 503380"/>
                <a:gd name="connsiteX52" fmla="*/ 13820 w 956275"/>
                <a:gd name="connsiteY52" fmla="*/ 496784 h 503380"/>
                <a:gd name="connsiteX53" fmla="*/ 13820 w 956275"/>
                <a:gd name="connsiteY53" fmla="*/ 496784 h 503380"/>
                <a:gd name="connsiteX54" fmla="*/ 13820 w 956275"/>
                <a:gd name="connsiteY54" fmla="*/ 496784 h 503380"/>
                <a:gd name="connsiteX55" fmla="*/ 40672 w 956275"/>
                <a:gd name="connsiteY55" fmla="*/ 486851 h 503380"/>
                <a:gd name="connsiteX0" fmla="*/ 40672 w 956275"/>
                <a:gd name="connsiteY0" fmla="*/ 486851 h 503380"/>
                <a:gd name="connsiteX1" fmla="*/ 13820 w 956275"/>
                <a:gd name="connsiteY1" fmla="*/ 496784 h 503380"/>
                <a:gd name="connsiteX2" fmla="*/ 13820 w 956275"/>
                <a:gd name="connsiteY2" fmla="*/ 496784 h 503380"/>
                <a:gd name="connsiteX3" fmla="*/ 51019 w 956275"/>
                <a:gd name="connsiteY3" fmla="*/ 493776 h 503380"/>
                <a:gd name="connsiteX4" fmla="*/ 151603 w 956275"/>
                <a:gd name="connsiteY4" fmla="*/ 466344 h 503380"/>
                <a:gd name="connsiteX5" fmla="*/ 252187 w 956275"/>
                <a:gd name="connsiteY5" fmla="*/ 384048 h 503380"/>
                <a:gd name="connsiteX6" fmla="*/ 444211 w 956275"/>
                <a:gd name="connsiteY6" fmla="*/ 301752 h 503380"/>
                <a:gd name="connsiteX7" fmla="*/ 526507 w 956275"/>
                <a:gd name="connsiteY7" fmla="*/ 192024 h 503380"/>
                <a:gd name="connsiteX8" fmla="*/ 672811 w 956275"/>
                <a:gd name="connsiteY8" fmla="*/ 155448 h 503380"/>
                <a:gd name="connsiteX9" fmla="*/ 718531 w 956275"/>
                <a:gd name="connsiteY9" fmla="*/ 155448 h 503380"/>
                <a:gd name="connsiteX10" fmla="*/ 755107 w 956275"/>
                <a:gd name="connsiteY10" fmla="*/ 137160 h 503380"/>
                <a:gd name="connsiteX11" fmla="*/ 709387 w 956275"/>
                <a:gd name="connsiteY11" fmla="*/ 137160 h 503380"/>
                <a:gd name="connsiteX12" fmla="*/ 617947 w 956275"/>
                <a:gd name="connsiteY12" fmla="*/ 137160 h 503380"/>
                <a:gd name="connsiteX13" fmla="*/ 563083 w 956275"/>
                <a:gd name="connsiteY13" fmla="*/ 146304 h 503380"/>
                <a:gd name="connsiteX14" fmla="*/ 553939 w 956275"/>
                <a:gd name="connsiteY14" fmla="*/ 155448 h 503380"/>
                <a:gd name="connsiteX15" fmla="*/ 535651 w 956275"/>
                <a:gd name="connsiteY15" fmla="*/ 146304 h 503380"/>
                <a:gd name="connsiteX16" fmla="*/ 663667 w 956275"/>
                <a:gd name="connsiteY16" fmla="*/ 91440 h 503380"/>
                <a:gd name="connsiteX17" fmla="*/ 718531 w 956275"/>
                <a:gd name="connsiteY17" fmla="*/ 91440 h 503380"/>
                <a:gd name="connsiteX18" fmla="*/ 809971 w 956275"/>
                <a:gd name="connsiteY18" fmla="*/ 82296 h 503380"/>
                <a:gd name="connsiteX19" fmla="*/ 937987 w 956275"/>
                <a:gd name="connsiteY19" fmla="*/ 27432 h 503380"/>
                <a:gd name="connsiteX20" fmla="*/ 919699 w 956275"/>
                <a:gd name="connsiteY20" fmla="*/ 0 h 503380"/>
                <a:gd name="connsiteX21" fmla="*/ 883123 w 956275"/>
                <a:gd name="connsiteY21" fmla="*/ 27432 h 503380"/>
                <a:gd name="connsiteX22" fmla="*/ 846547 w 956275"/>
                <a:gd name="connsiteY22" fmla="*/ 36576 h 503380"/>
                <a:gd name="connsiteX23" fmla="*/ 773395 w 956275"/>
                <a:gd name="connsiteY23" fmla="*/ 64008 h 503380"/>
                <a:gd name="connsiteX24" fmla="*/ 718531 w 956275"/>
                <a:gd name="connsiteY24" fmla="*/ 64008 h 503380"/>
                <a:gd name="connsiteX25" fmla="*/ 608803 w 956275"/>
                <a:gd name="connsiteY25" fmla="*/ 64008 h 503380"/>
                <a:gd name="connsiteX26" fmla="*/ 553939 w 956275"/>
                <a:gd name="connsiteY26" fmla="*/ 100584 h 503380"/>
                <a:gd name="connsiteX27" fmla="*/ 517363 w 956275"/>
                <a:gd name="connsiteY27" fmla="*/ 146304 h 503380"/>
                <a:gd name="connsiteX28" fmla="*/ 471643 w 956275"/>
                <a:gd name="connsiteY28" fmla="*/ 182880 h 503380"/>
                <a:gd name="connsiteX29" fmla="*/ 425923 w 956275"/>
                <a:gd name="connsiteY29" fmla="*/ 256032 h 503380"/>
                <a:gd name="connsiteX30" fmla="*/ 352771 w 956275"/>
                <a:gd name="connsiteY30" fmla="*/ 301752 h 503380"/>
                <a:gd name="connsiteX31" fmla="*/ 252187 w 956275"/>
                <a:gd name="connsiteY31" fmla="*/ 347472 h 503380"/>
                <a:gd name="connsiteX32" fmla="*/ 215611 w 956275"/>
                <a:gd name="connsiteY32" fmla="*/ 374904 h 503380"/>
                <a:gd name="connsiteX33" fmla="*/ 169891 w 956275"/>
                <a:gd name="connsiteY33" fmla="*/ 402336 h 503380"/>
                <a:gd name="connsiteX34" fmla="*/ 151603 w 956275"/>
                <a:gd name="connsiteY34" fmla="*/ 402336 h 503380"/>
                <a:gd name="connsiteX35" fmla="*/ 169891 w 956275"/>
                <a:gd name="connsiteY35" fmla="*/ 365760 h 503380"/>
                <a:gd name="connsiteX36" fmla="*/ 224755 w 956275"/>
                <a:gd name="connsiteY36" fmla="*/ 301752 h 503380"/>
                <a:gd name="connsiteX37" fmla="*/ 316195 w 956275"/>
                <a:gd name="connsiteY37" fmla="*/ 219456 h 503380"/>
                <a:gd name="connsiteX38" fmla="*/ 361915 w 956275"/>
                <a:gd name="connsiteY38" fmla="*/ 146304 h 503380"/>
                <a:gd name="connsiteX39" fmla="*/ 361915 w 956275"/>
                <a:gd name="connsiteY39" fmla="*/ 64008 h 503380"/>
                <a:gd name="connsiteX40" fmla="*/ 352771 w 956275"/>
                <a:gd name="connsiteY40" fmla="*/ 54864 h 503380"/>
                <a:gd name="connsiteX41" fmla="*/ 343627 w 956275"/>
                <a:gd name="connsiteY41" fmla="*/ 128016 h 503380"/>
                <a:gd name="connsiteX42" fmla="*/ 316195 w 956275"/>
                <a:gd name="connsiteY42" fmla="*/ 173736 h 503380"/>
                <a:gd name="connsiteX43" fmla="*/ 243043 w 956275"/>
                <a:gd name="connsiteY43" fmla="*/ 237744 h 503380"/>
                <a:gd name="connsiteX44" fmla="*/ 215611 w 956275"/>
                <a:gd name="connsiteY44" fmla="*/ 256032 h 503380"/>
                <a:gd name="connsiteX45" fmla="*/ 142459 w 956275"/>
                <a:gd name="connsiteY45" fmla="*/ 347472 h 503380"/>
                <a:gd name="connsiteX46" fmla="*/ 133315 w 956275"/>
                <a:gd name="connsiteY46" fmla="*/ 374904 h 503380"/>
                <a:gd name="connsiteX47" fmla="*/ 124171 w 956275"/>
                <a:gd name="connsiteY47" fmla="*/ 411480 h 503380"/>
                <a:gd name="connsiteX48" fmla="*/ 142459 w 956275"/>
                <a:gd name="connsiteY48" fmla="*/ 429768 h 503380"/>
                <a:gd name="connsiteX49" fmla="*/ 96739 w 956275"/>
                <a:gd name="connsiteY49" fmla="*/ 457200 h 503380"/>
                <a:gd name="connsiteX50" fmla="*/ 13820 w 956275"/>
                <a:gd name="connsiteY50" fmla="*/ 496783 h 503380"/>
                <a:gd name="connsiteX51" fmla="*/ 13820 w 956275"/>
                <a:gd name="connsiteY51" fmla="*/ 496784 h 503380"/>
                <a:gd name="connsiteX52" fmla="*/ 13820 w 956275"/>
                <a:gd name="connsiteY52" fmla="*/ 496784 h 503380"/>
                <a:gd name="connsiteX53" fmla="*/ 13820 w 956275"/>
                <a:gd name="connsiteY53" fmla="*/ 496784 h 503380"/>
                <a:gd name="connsiteX54" fmla="*/ 13820 w 956275"/>
                <a:gd name="connsiteY54" fmla="*/ 496784 h 503380"/>
                <a:gd name="connsiteX55" fmla="*/ 40672 w 956275"/>
                <a:gd name="connsiteY55" fmla="*/ 486851 h 503380"/>
                <a:gd name="connsiteX0" fmla="*/ 114797 w 956275"/>
                <a:gd name="connsiteY0" fmla="*/ 504512 h 504512"/>
                <a:gd name="connsiteX1" fmla="*/ 13820 w 956275"/>
                <a:gd name="connsiteY1" fmla="*/ 496784 h 504512"/>
                <a:gd name="connsiteX2" fmla="*/ 13820 w 956275"/>
                <a:gd name="connsiteY2" fmla="*/ 496784 h 504512"/>
                <a:gd name="connsiteX3" fmla="*/ 51019 w 956275"/>
                <a:gd name="connsiteY3" fmla="*/ 493776 h 504512"/>
                <a:gd name="connsiteX4" fmla="*/ 151603 w 956275"/>
                <a:gd name="connsiteY4" fmla="*/ 466344 h 504512"/>
                <a:gd name="connsiteX5" fmla="*/ 252187 w 956275"/>
                <a:gd name="connsiteY5" fmla="*/ 384048 h 504512"/>
                <a:gd name="connsiteX6" fmla="*/ 444211 w 956275"/>
                <a:gd name="connsiteY6" fmla="*/ 301752 h 504512"/>
                <a:gd name="connsiteX7" fmla="*/ 526507 w 956275"/>
                <a:gd name="connsiteY7" fmla="*/ 192024 h 504512"/>
                <a:gd name="connsiteX8" fmla="*/ 672811 w 956275"/>
                <a:gd name="connsiteY8" fmla="*/ 155448 h 504512"/>
                <a:gd name="connsiteX9" fmla="*/ 718531 w 956275"/>
                <a:gd name="connsiteY9" fmla="*/ 155448 h 504512"/>
                <a:gd name="connsiteX10" fmla="*/ 755107 w 956275"/>
                <a:gd name="connsiteY10" fmla="*/ 137160 h 504512"/>
                <a:gd name="connsiteX11" fmla="*/ 709387 w 956275"/>
                <a:gd name="connsiteY11" fmla="*/ 137160 h 504512"/>
                <a:gd name="connsiteX12" fmla="*/ 617947 w 956275"/>
                <a:gd name="connsiteY12" fmla="*/ 137160 h 504512"/>
                <a:gd name="connsiteX13" fmla="*/ 563083 w 956275"/>
                <a:gd name="connsiteY13" fmla="*/ 146304 h 504512"/>
                <a:gd name="connsiteX14" fmla="*/ 553939 w 956275"/>
                <a:gd name="connsiteY14" fmla="*/ 155448 h 504512"/>
                <a:gd name="connsiteX15" fmla="*/ 535651 w 956275"/>
                <a:gd name="connsiteY15" fmla="*/ 146304 h 504512"/>
                <a:gd name="connsiteX16" fmla="*/ 663667 w 956275"/>
                <a:gd name="connsiteY16" fmla="*/ 91440 h 504512"/>
                <a:gd name="connsiteX17" fmla="*/ 718531 w 956275"/>
                <a:gd name="connsiteY17" fmla="*/ 91440 h 504512"/>
                <a:gd name="connsiteX18" fmla="*/ 809971 w 956275"/>
                <a:gd name="connsiteY18" fmla="*/ 82296 h 504512"/>
                <a:gd name="connsiteX19" fmla="*/ 937987 w 956275"/>
                <a:gd name="connsiteY19" fmla="*/ 27432 h 504512"/>
                <a:gd name="connsiteX20" fmla="*/ 919699 w 956275"/>
                <a:gd name="connsiteY20" fmla="*/ 0 h 504512"/>
                <a:gd name="connsiteX21" fmla="*/ 883123 w 956275"/>
                <a:gd name="connsiteY21" fmla="*/ 27432 h 504512"/>
                <a:gd name="connsiteX22" fmla="*/ 846547 w 956275"/>
                <a:gd name="connsiteY22" fmla="*/ 36576 h 504512"/>
                <a:gd name="connsiteX23" fmla="*/ 773395 w 956275"/>
                <a:gd name="connsiteY23" fmla="*/ 64008 h 504512"/>
                <a:gd name="connsiteX24" fmla="*/ 718531 w 956275"/>
                <a:gd name="connsiteY24" fmla="*/ 64008 h 504512"/>
                <a:gd name="connsiteX25" fmla="*/ 608803 w 956275"/>
                <a:gd name="connsiteY25" fmla="*/ 64008 h 504512"/>
                <a:gd name="connsiteX26" fmla="*/ 553939 w 956275"/>
                <a:gd name="connsiteY26" fmla="*/ 100584 h 504512"/>
                <a:gd name="connsiteX27" fmla="*/ 517363 w 956275"/>
                <a:gd name="connsiteY27" fmla="*/ 146304 h 504512"/>
                <a:gd name="connsiteX28" fmla="*/ 471643 w 956275"/>
                <a:gd name="connsiteY28" fmla="*/ 182880 h 504512"/>
                <a:gd name="connsiteX29" fmla="*/ 425923 w 956275"/>
                <a:gd name="connsiteY29" fmla="*/ 256032 h 504512"/>
                <a:gd name="connsiteX30" fmla="*/ 352771 w 956275"/>
                <a:gd name="connsiteY30" fmla="*/ 301752 h 504512"/>
                <a:gd name="connsiteX31" fmla="*/ 252187 w 956275"/>
                <a:gd name="connsiteY31" fmla="*/ 347472 h 504512"/>
                <a:gd name="connsiteX32" fmla="*/ 215611 w 956275"/>
                <a:gd name="connsiteY32" fmla="*/ 374904 h 504512"/>
                <a:gd name="connsiteX33" fmla="*/ 169891 w 956275"/>
                <a:gd name="connsiteY33" fmla="*/ 402336 h 504512"/>
                <a:gd name="connsiteX34" fmla="*/ 151603 w 956275"/>
                <a:gd name="connsiteY34" fmla="*/ 402336 h 504512"/>
                <a:gd name="connsiteX35" fmla="*/ 169891 w 956275"/>
                <a:gd name="connsiteY35" fmla="*/ 365760 h 504512"/>
                <a:gd name="connsiteX36" fmla="*/ 224755 w 956275"/>
                <a:gd name="connsiteY36" fmla="*/ 301752 h 504512"/>
                <a:gd name="connsiteX37" fmla="*/ 316195 w 956275"/>
                <a:gd name="connsiteY37" fmla="*/ 219456 h 504512"/>
                <a:gd name="connsiteX38" fmla="*/ 361915 w 956275"/>
                <a:gd name="connsiteY38" fmla="*/ 146304 h 504512"/>
                <a:gd name="connsiteX39" fmla="*/ 361915 w 956275"/>
                <a:gd name="connsiteY39" fmla="*/ 64008 h 504512"/>
                <a:gd name="connsiteX40" fmla="*/ 352771 w 956275"/>
                <a:gd name="connsiteY40" fmla="*/ 54864 h 504512"/>
                <a:gd name="connsiteX41" fmla="*/ 343627 w 956275"/>
                <a:gd name="connsiteY41" fmla="*/ 128016 h 504512"/>
                <a:gd name="connsiteX42" fmla="*/ 316195 w 956275"/>
                <a:gd name="connsiteY42" fmla="*/ 173736 h 504512"/>
                <a:gd name="connsiteX43" fmla="*/ 243043 w 956275"/>
                <a:gd name="connsiteY43" fmla="*/ 237744 h 504512"/>
                <a:gd name="connsiteX44" fmla="*/ 215611 w 956275"/>
                <a:gd name="connsiteY44" fmla="*/ 256032 h 504512"/>
                <a:gd name="connsiteX45" fmla="*/ 142459 w 956275"/>
                <a:gd name="connsiteY45" fmla="*/ 347472 h 504512"/>
                <a:gd name="connsiteX46" fmla="*/ 133315 w 956275"/>
                <a:gd name="connsiteY46" fmla="*/ 374904 h 504512"/>
                <a:gd name="connsiteX47" fmla="*/ 124171 w 956275"/>
                <a:gd name="connsiteY47" fmla="*/ 411480 h 504512"/>
                <a:gd name="connsiteX48" fmla="*/ 142459 w 956275"/>
                <a:gd name="connsiteY48" fmla="*/ 429768 h 504512"/>
                <a:gd name="connsiteX49" fmla="*/ 96739 w 956275"/>
                <a:gd name="connsiteY49" fmla="*/ 457200 h 504512"/>
                <a:gd name="connsiteX50" fmla="*/ 13820 w 956275"/>
                <a:gd name="connsiteY50" fmla="*/ 496783 h 504512"/>
                <a:gd name="connsiteX51" fmla="*/ 13820 w 956275"/>
                <a:gd name="connsiteY51" fmla="*/ 496784 h 504512"/>
                <a:gd name="connsiteX52" fmla="*/ 13820 w 956275"/>
                <a:gd name="connsiteY52" fmla="*/ 496784 h 504512"/>
                <a:gd name="connsiteX53" fmla="*/ 13820 w 956275"/>
                <a:gd name="connsiteY53" fmla="*/ 496784 h 504512"/>
                <a:gd name="connsiteX54" fmla="*/ 13820 w 956275"/>
                <a:gd name="connsiteY54" fmla="*/ 496784 h 504512"/>
                <a:gd name="connsiteX55" fmla="*/ 114797 w 956275"/>
                <a:gd name="connsiteY55" fmla="*/ 504512 h 504512"/>
                <a:gd name="connsiteX0" fmla="*/ 114797 w 956275"/>
                <a:gd name="connsiteY0" fmla="*/ 504512 h 505800"/>
                <a:gd name="connsiteX1" fmla="*/ 13820 w 956275"/>
                <a:gd name="connsiteY1" fmla="*/ 496784 h 505800"/>
                <a:gd name="connsiteX2" fmla="*/ 13820 w 956275"/>
                <a:gd name="connsiteY2" fmla="*/ 496784 h 505800"/>
                <a:gd name="connsiteX3" fmla="*/ 51019 w 956275"/>
                <a:gd name="connsiteY3" fmla="*/ 493776 h 505800"/>
                <a:gd name="connsiteX4" fmla="*/ 151603 w 956275"/>
                <a:gd name="connsiteY4" fmla="*/ 466344 h 505800"/>
                <a:gd name="connsiteX5" fmla="*/ 252187 w 956275"/>
                <a:gd name="connsiteY5" fmla="*/ 384048 h 505800"/>
                <a:gd name="connsiteX6" fmla="*/ 444211 w 956275"/>
                <a:gd name="connsiteY6" fmla="*/ 301752 h 505800"/>
                <a:gd name="connsiteX7" fmla="*/ 526507 w 956275"/>
                <a:gd name="connsiteY7" fmla="*/ 192024 h 505800"/>
                <a:gd name="connsiteX8" fmla="*/ 672811 w 956275"/>
                <a:gd name="connsiteY8" fmla="*/ 155448 h 505800"/>
                <a:gd name="connsiteX9" fmla="*/ 718531 w 956275"/>
                <a:gd name="connsiteY9" fmla="*/ 155448 h 505800"/>
                <a:gd name="connsiteX10" fmla="*/ 755107 w 956275"/>
                <a:gd name="connsiteY10" fmla="*/ 137160 h 505800"/>
                <a:gd name="connsiteX11" fmla="*/ 709387 w 956275"/>
                <a:gd name="connsiteY11" fmla="*/ 137160 h 505800"/>
                <a:gd name="connsiteX12" fmla="*/ 617947 w 956275"/>
                <a:gd name="connsiteY12" fmla="*/ 137160 h 505800"/>
                <a:gd name="connsiteX13" fmla="*/ 563083 w 956275"/>
                <a:gd name="connsiteY13" fmla="*/ 146304 h 505800"/>
                <a:gd name="connsiteX14" fmla="*/ 553939 w 956275"/>
                <a:gd name="connsiteY14" fmla="*/ 155448 h 505800"/>
                <a:gd name="connsiteX15" fmla="*/ 535651 w 956275"/>
                <a:gd name="connsiteY15" fmla="*/ 146304 h 505800"/>
                <a:gd name="connsiteX16" fmla="*/ 663667 w 956275"/>
                <a:gd name="connsiteY16" fmla="*/ 91440 h 505800"/>
                <a:gd name="connsiteX17" fmla="*/ 718531 w 956275"/>
                <a:gd name="connsiteY17" fmla="*/ 91440 h 505800"/>
                <a:gd name="connsiteX18" fmla="*/ 809971 w 956275"/>
                <a:gd name="connsiteY18" fmla="*/ 82296 h 505800"/>
                <a:gd name="connsiteX19" fmla="*/ 937987 w 956275"/>
                <a:gd name="connsiteY19" fmla="*/ 27432 h 505800"/>
                <a:gd name="connsiteX20" fmla="*/ 919699 w 956275"/>
                <a:gd name="connsiteY20" fmla="*/ 0 h 505800"/>
                <a:gd name="connsiteX21" fmla="*/ 883123 w 956275"/>
                <a:gd name="connsiteY21" fmla="*/ 27432 h 505800"/>
                <a:gd name="connsiteX22" fmla="*/ 846547 w 956275"/>
                <a:gd name="connsiteY22" fmla="*/ 36576 h 505800"/>
                <a:gd name="connsiteX23" fmla="*/ 773395 w 956275"/>
                <a:gd name="connsiteY23" fmla="*/ 64008 h 505800"/>
                <a:gd name="connsiteX24" fmla="*/ 718531 w 956275"/>
                <a:gd name="connsiteY24" fmla="*/ 64008 h 505800"/>
                <a:gd name="connsiteX25" fmla="*/ 608803 w 956275"/>
                <a:gd name="connsiteY25" fmla="*/ 64008 h 505800"/>
                <a:gd name="connsiteX26" fmla="*/ 553939 w 956275"/>
                <a:gd name="connsiteY26" fmla="*/ 100584 h 505800"/>
                <a:gd name="connsiteX27" fmla="*/ 517363 w 956275"/>
                <a:gd name="connsiteY27" fmla="*/ 146304 h 505800"/>
                <a:gd name="connsiteX28" fmla="*/ 471643 w 956275"/>
                <a:gd name="connsiteY28" fmla="*/ 182880 h 505800"/>
                <a:gd name="connsiteX29" fmla="*/ 425923 w 956275"/>
                <a:gd name="connsiteY29" fmla="*/ 256032 h 505800"/>
                <a:gd name="connsiteX30" fmla="*/ 352771 w 956275"/>
                <a:gd name="connsiteY30" fmla="*/ 301752 h 505800"/>
                <a:gd name="connsiteX31" fmla="*/ 252187 w 956275"/>
                <a:gd name="connsiteY31" fmla="*/ 347472 h 505800"/>
                <a:gd name="connsiteX32" fmla="*/ 215611 w 956275"/>
                <a:gd name="connsiteY32" fmla="*/ 374904 h 505800"/>
                <a:gd name="connsiteX33" fmla="*/ 169891 w 956275"/>
                <a:gd name="connsiteY33" fmla="*/ 402336 h 505800"/>
                <a:gd name="connsiteX34" fmla="*/ 151603 w 956275"/>
                <a:gd name="connsiteY34" fmla="*/ 402336 h 505800"/>
                <a:gd name="connsiteX35" fmla="*/ 169891 w 956275"/>
                <a:gd name="connsiteY35" fmla="*/ 365760 h 505800"/>
                <a:gd name="connsiteX36" fmla="*/ 224755 w 956275"/>
                <a:gd name="connsiteY36" fmla="*/ 301752 h 505800"/>
                <a:gd name="connsiteX37" fmla="*/ 316195 w 956275"/>
                <a:gd name="connsiteY37" fmla="*/ 219456 h 505800"/>
                <a:gd name="connsiteX38" fmla="*/ 361915 w 956275"/>
                <a:gd name="connsiteY38" fmla="*/ 146304 h 505800"/>
                <a:gd name="connsiteX39" fmla="*/ 361915 w 956275"/>
                <a:gd name="connsiteY39" fmla="*/ 64008 h 505800"/>
                <a:gd name="connsiteX40" fmla="*/ 352771 w 956275"/>
                <a:gd name="connsiteY40" fmla="*/ 54864 h 505800"/>
                <a:gd name="connsiteX41" fmla="*/ 343627 w 956275"/>
                <a:gd name="connsiteY41" fmla="*/ 128016 h 505800"/>
                <a:gd name="connsiteX42" fmla="*/ 316195 w 956275"/>
                <a:gd name="connsiteY42" fmla="*/ 173736 h 505800"/>
                <a:gd name="connsiteX43" fmla="*/ 243043 w 956275"/>
                <a:gd name="connsiteY43" fmla="*/ 237744 h 505800"/>
                <a:gd name="connsiteX44" fmla="*/ 215611 w 956275"/>
                <a:gd name="connsiteY44" fmla="*/ 256032 h 505800"/>
                <a:gd name="connsiteX45" fmla="*/ 142459 w 956275"/>
                <a:gd name="connsiteY45" fmla="*/ 347472 h 505800"/>
                <a:gd name="connsiteX46" fmla="*/ 133315 w 956275"/>
                <a:gd name="connsiteY46" fmla="*/ 374904 h 505800"/>
                <a:gd name="connsiteX47" fmla="*/ 124171 w 956275"/>
                <a:gd name="connsiteY47" fmla="*/ 411480 h 505800"/>
                <a:gd name="connsiteX48" fmla="*/ 142459 w 956275"/>
                <a:gd name="connsiteY48" fmla="*/ 429768 h 505800"/>
                <a:gd name="connsiteX49" fmla="*/ 96739 w 956275"/>
                <a:gd name="connsiteY49" fmla="*/ 457200 h 505800"/>
                <a:gd name="connsiteX50" fmla="*/ 13820 w 956275"/>
                <a:gd name="connsiteY50" fmla="*/ 496783 h 505800"/>
                <a:gd name="connsiteX51" fmla="*/ 13820 w 956275"/>
                <a:gd name="connsiteY51" fmla="*/ 496784 h 505800"/>
                <a:gd name="connsiteX52" fmla="*/ 13820 w 956275"/>
                <a:gd name="connsiteY52" fmla="*/ 496784 h 505800"/>
                <a:gd name="connsiteX53" fmla="*/ 13820 w 956275"/>
                <a:gd name="connsiteY53" fmla="*/ 496784 h 505800"/>
                <a:gd name="connsiteX54" fmla="*/ 114796 w 956275"/>
                <a:gd name="connsiteY54" fmla="*/ 504511 h 505800"/>
                <a:gd name="connsiteX55" fmla="*/ 114797 w 956275"/>
                <a:gd name="connsiteY55" fmla="*/ 504512 h 505800"/>
                <a:gd name="connsiteX0" fmla="*/ 114797 w 956275"/>
                <a:gd name="connsiteY0" fmla="*/ 504512 h 505800"/>
                <a:gd name="connsiteX1" fmla="*/ 13820 w 956275"/>
                <a:gd name="connsiteY1" fmla="*/ 496784 h 505800"/>
                <a:gd name="connsiteX2" fmla="*/ 13820 w 956275"/>
                <a:gd name="connsiteY2" fmla="*/ 496784 h 505800"/>
                <a:gd name="connsiteX3" fmla="*/ 51019 w 956275"/>
                <a:gd name="connsiteY3" fmla="*/ 493776 h 505800"/>
                <a:gd name="connsiteX4" fmla="*/ 151603 w 956275"/>
                <a:gd name="connsiteY4" fmla="*/ 466344 h 505800"/>
                <a:gd name="connsiteX5" fmla="*/ 252187 w 956275"/>
                <a:gd name="connsiteY5" fmla="*/ 384048 h 505800"/>
                <a:gd name="connsiteX6" fmla="*/ 444211 w 956275"/>
                <a:gd name="connsiteY6" fmla="*/ 301752 h 505800"/>
                <a:gd name="connsiteX7" fmla="*/ 526507 w 956275"/>
                <a:gd name="connsiteY7" fmla="*/ 192024 h 505800"/>
                <a:gd name="connsiteX8" fmla="*/ 672811 w 956275"/>
                <a:gd name="connsiteY8" fmla="*/ 155448 h 505800"/>
                <a:gd name="connsiteX9" fmla="*/ 718531 w 956275"/>
                <a:gd name="connsiteY9" fmla="*/ 155448 h 505800"/>
                <a:gd name="connsiteX10" fmla="*/ 755107 w 956275"/>
                <a:gd name="connsiteY10" fmla="*/ 137160 h 505800"/>
                <a:gd name="connsiteX11" fmla="*/ 709387 w 956275"/>
                <a:gd name="connsiteY11" fmla="*/ 137160 h 505800"/>
                <a:gd name="connsiteX12" fmla="*/ 617947 w 956275"/>
                <a:gd name="connsiteY12" fmla="*/ 137160 h 505800"/>
                <a:gd name="connsiteX13" fmla="*/ 563083 w 956275"/>
                <a:gd name="connsiteY13" fmla="*/ 146304 h 505800"/>
                <a:gd name="connsiteX14" fmla="*/ 553939 w 956275"/>
                <a:gd name="connsiteY14" fmla="*/ 155448 h 505800"/>
                <a:gd name="connsiteX15" fmla="*/ 535651 w 956275"/>
                <a:gd name="connsiteY15" fmla="*/ 146304 h 505800"/>
                <a:gd name="connsiteX16" fmla="*/ 663667 w 956275"/>
                <a:gd name="connsiteY16" fmla="*/ 91440 h 505800"/>
                <a:gd name="connsiteX17" fmla="*/ 718531 w 956275"/>
                <a:gd name="connsiteY17" fmla="*/ 91440 h 505800"/>
                <a:gd name="connsiteX18" fmla="*/ 809971 w 956275"/>
                <a:gd name="connsiteY18" fmla="*/ 82296 h 505800"/>
                <a:gd name="connsiteX19" fmla="*/ 937987 w 956275"/>
                <a:gd name="connsiteY19" fmla="*/ 27432 h 505800"/>
                <a:gd name="connsiteX20" fmla="*/ 919699 w 956275"/>
                <a:gd name="connsiteY20" fmla="*/ 0 h 505800"/>
                <a:gd name="connsiteX21" fmla="*/ 883123 w 956275"/>
                <a:gd name="connsiteY21" fmla="*/ 27432 h 505800"/>
                <a:gd name="connsiteX22" fmla="*/ 846547 w 956275"/>
                <a:gd name="connsiteY22" fmla="*/ 36576 h 505800"/>
                <a:gd name="connsiteX23" fmla="*/ 773395 w 956275"/>
                <a:gd name="connsiteY23" fmla="*/ 64008 h 505800"/>
                <a:gd name="connsiteX24" fmla="*/ 718531 w 956275"/>
                <a:gd name="connsiteY24" fmla="*/ 64008 h 505800"/>
                <a:gd name="connsiteX25" fmla="*/ 608803 w 956275"/>
                <a:gd name="connsiteY25" fmla="*/ 64008 h 505800"/>
                <a:gd name="connsiteX26" fmla="*/ 553939 w 956275"/>
                <a:gd name="connsiteY26" fmla="*/ 100584 h 505800"/>
                <a:gd name="connsiteX27" fmla="*/ 517363 w 956275"/>
                <a:gd name="connsiteY27" fmla="*/ 146304 h 505800"/>
                <a:gd name="connsiteX28" fmla="*/ 471643 w 956275"/>
                <a:gd name="connsiteY28" fmla="*/ 182880 h 505800"/>
                <a:gd name="connsiteX29" fmla="*/ 425923 w 956275"/>
                <a:gd name="connsiteY29" fmla="*/ 256032 h 505800"/>
                <a:gd name="connsiteX30" fmla="*/ 352771 w 956275"/>
                <a:gd name="connsiteY30" fmla="*/ 301752 h 505800"/>
                <a:gd name="connsiteX31" fmla="*/ 252187 w 956275"/>
                <a:gd name="connsiteY31" fmla="*/ 347472 h 505800"/>
                <a:gd name="connsiteX32" fmla="*/ 215611 w 956275"/>
                <a:gd name="connsiteY32" fmla="*/ 374904 h 505800"/>
                <a:gd name="connsiteX33" fmla="*/ 169891 w 956275"/>
                <a:gd name="connsiteY33" fmla="*/ 402336 h 505800"/>
                <a:gd name="connsiteX34" fmla="*/ 151603 w 956275"/>
                <a:gd name="connsiteY34" fmla="*/ 402336 h 505800"/>
                <a:gd name="connsiteX35" fmla="*/ 169891 w 956275"/>
                <a:gd name="connsiteY35" fmla="*/ 365760 h 505800"/>
                <a:gd name="connsiteX36" fmla="*/ 224755 w 956275"/>
                <a:gd name="connsiteY36" fmla="*/ 301752 h 505800"/>
                <a:gd name="connsiteX37" fmla="*/ 316195 w 956275"/>
                <a:gd name="connsiteY37" fmla="*/ 219456 h 505800"/>
                <a:gd name="connsiteX38" fmla="*/ 361915 w 956275"/>
                <a:gd name="connsiteY38" fmla="*/ 146304 h 505800"/>
                <a:gd name="connsiteX39" fmla="*/ 361915 w 956275"/>
                <a:gd name="connsiteY39" fmla="*/ 64008 h 505800"/>
                <a:gd name="connsiteX40" fmla="*/ 352771 w 956275"/>
                <a:gd name="connsiteY40" fmla="*/ 54864 h 505800"/>
                <a:gd name="connsiteX41" fmla="*/ 343627 w 956275"/>
                <a:gd name="connsiteY41" fmla="*/ 128016 h 505800"/>
                <a:gd name="connsiteX42" fmla="*/ 316195 w 956275"/>
                <a:gd name="connsiteY42" fmla="*/ 173736 h 505800"/>
                <a:gd name="connsiteX43" fmla="*/ 243043 w 956275"/>
                <a:gd name="connsiteY43" fmla="*/ 237744 h 505800"/>
                <a:gd name="connsiteX44" fmla="*/ 215611 w 956275"/>
                <a:gd name="connsiteY44" fmla="*/ 256032 h 505800"/>
                <a:gd name="connsiteX45" fmla="*/ 142459 w 956275"/>
                <a:gd name="connsiteY45" fmla="*/ 347472 h 505800"/>
                <a:gd name="connsiteX46" fmla="*/ 133315 w 956275"/>
                <a:gd name="connsiteY46" fmla="*/ 374904 h 505800"/>
                <a:gd name="connsiteX47" fmla="*/ 124171 w 956275"/>
                <a:gd name="connsiteY47" fmla="*/ 411480 h 505800"/>
                <a:gd name="connsiteX48" fmla="*/ 142459 w 956275"/>
                <a:gd name="connsiteY48" fmla="*/ 429768 h 505800"/>
                <a:gd name="connsiteX49" fmla="*/ 96739 w 956275"/>
                <a:gd name="connsiteY49" fmla="*/ 457200 h 505800"/>
                <a:gd name="connsiteX50" fmla="*/ 13820 w 956275"/>
                <a:gd name="connsiteY50" fmla="*/ 496783 h 505800"/>
                <a:gd name="connsiteX51" fmla="*/ 13820 w 956275"/>
                <a:gd name="connsiteY51" fmla="*/ 496784 h 505800"/>
                <a:gd name="connsiteX52" fmla="*/ 13820 w 956275"/>
                <a:gd name="connsiteY52" fmla="*/ 496784 h 505800"/>
                <a:gd name="connsiteX53" fmla="*/ 132458 w 956275"/>
                <a:gd name="connsiteY53" fmla="*/ 430387 h 505800"/>
                <a:gd name="connsiteX54" fmla="*/ 114796 w 956275"/>
                <a:gd name="connsiteY54" fmla="*/ 504511 h 505800"/>
                <a:gd name="connsiteX55" fmla="*/ 114797 w 956275"/>
                <a:gd name="connsiteY55" fmla="*/ 504512 h 505800"/>
                <a:gd name="connsiteX0" fmla="*/ 114798 w 956275"/>
                <a:gd name="connsiteY0" fmla="*/ 504512 h 505800"/>
                <a:gd name="connsiteX1" fmla="*/ 13820 w 956275"/>
                <a:gd name="connsiteY1" fmla="*/ 496784 h 505800"/>
                <a:gd name="connsiteX2" fmla="*/ 13820 w 956275"/>
                <a:gd name="connsiteY2" fmla="*/ 496784 h 505800"/>
                <a:gd name="connsiteX3" fmla="*/ 51019 w 956275"/>
                <a:gd name="connsiteY3" fmla="*/ 493776 h 505800"/>
                <a:gd name="connsiteX4" fmla="*/ 151603 w 956275"/>
                <a:gd name="connsiteY4" fmla="*/ 466344 h 505800"/>
                <a:gd name="connsiteX5" fmla="*/ 252187 w 956275"/>
                <a:gd name="connsiteY5" fmla="*/ 384048 h 505800"/>
                <a:gd name="connsiteX6" fmla="*/ 444211 w 956275"/>
                <a:gd name="connsiteY6" fmla="*/ 301752 h 505800"/>
                <a:gd name="connsiteX7" fmla="*/ 526507 w 956275"/>
                <a:gd name="connsiteY7" fmla="*/ 192024 h 505800"/>
                <a:gd name="connsiteX8" fmla="*/ 672811 w 956275"/>
                <a:gd name="connsiteY8" fmla="*/ 155448 h 505800"/>
                <a:gd name="connsiteX9" fmla="*/ 718531 w 956275"/>
                <a:gd name="connsiteY9" fmla="*/ 155448 h 505800"/>
                <a:gd name="connsiteX10" fmla="*/ 755107 w 956275"/>
                <a:gd name="connsiteY10" fmla="*/ 137160 h 505800"/>
                <a:gd name="connsiteX11" fmla="*/ 709387 w 956275"/>
                <a:gd name="connsiteY11" fmla="*/ 137160 h 505800"/>
                <a:gd name="connsiteX12" fmla="*/ 617947 w 956275"/>
                <a:gd name="connsiteY12" fmla="*/ 137160 h 505800"/>
                <a:gd name="connsiteX13" fmla="*/ 563083 w 956275"/>
                <a:gd name="connsiteY13" fmla="*/ 146304 h 505800"/>
                <a:gd name="connsiteX14" fmla="*/ 553939 w 956275"/>
                <a:gd name="connsiteY14" fmla="*/ 155448 h 505800"/>
                <a:gd name="connsiteX15" fmla="*/ 535651 w 956275"/>
                <a:gd name="connsiteY15" fmla="*/ 146304 h 505800"/>
                <a:gd name="connsiteX16" fmla="*/ 663667 w 956275"/>
                <a:gd name="connsiteY16" fmla="*/ 91440 h 505800"/>
                <a:gd name="connsiteX17" fmla="*/ 718531 w 956275"/>
                <a:gd name="connsiteY17" fmla="*/ 91440 h 505800"/>
                <a:gd name="connsiteX18" fmla="*/ 809971 w 956275"/>
                <a:gd name="connsiteY18" fmla="*/ 82296 h 505800"/>
                <a:gd name="connsiteX19" fmla="*/ 937987 w 956275"/>
                <a:gd name="connsiteY19" fmla="*/ 27432 h 505800"/>
                <a:gd name="connsiteX20" fmla="*/ 919699 w 956275"/>
                <a:gd name="connsiteY20" fmla="*/ 0 h 505800"/>
                <a:gd name="connsiteX21" fmla="*/ 883123 w 956275"/>
                <a:gd name="connsiteY21" fmla="*/ 27432 h 505800"/>
                <a:gd name="connsiteX22" fmla="*/ 846547 w 956275"/>
                <a:gd name="connsiteY22" fmla="*/ 36576 h 505800"/>
                <a:gd name="connsiteX23" fmla="*/ 773395 w 956275"/>
                <a:gd name="connsiteY23" fmla="*/ 64008 h 505800"/>
                <a:gd name="connsiteX24" fmla="*/ 718531 w 956275"/>
                <a:gd name="connsiteY24" fmla="*/ 64008 h 505800"/>
                <a:gd name="connsiteX25" fmla="*/ 608803 w 956275"/>
                <a:gd name="connsiteY25" fmla="*/ 64008 h 505800"/>
                <a:gd name="connsiteX26" fmla="*/ 553939 w 956275"/>
                <a:gd name="connsiteY26" fmla="*/ 100584 h 505800"/>
                <a:gd name="connsiteX27" fmla="*/ 517363 w 956275"/>
                <a:gd name="connsiteY27" fmla="*/ 146304 h 505800"/>
                <a:gd name="connsiteX28" fmla="*/ 471643 w 956275"/>
                <a:gd name="connsiteY28" fmla="*/ 182880 h 505800"/>
                <a:gd name="connsiteX29" fmla="*/ 425923 w 956275"/>
                <a:gd name="connsiteY29" fmla="*/ 256032 h 505800"/>
                <a:gd name="connsiteX30" fmla="*/ 352771 w 956275"/>
                <a:gd name="connsiteY30" fmla="*/ 301752 h 505800"/>
                <a:gd name="connsiteX31" fmla="*/ 252187 w 956275"/>
                <a:gd name="connsiteY31" fmla="*/ 347472 h 505800"/>
                <a:gd name="connsiteX32" fmla="*/ 215611 w 956275"/>
                <a:gd name="connsiteY32" fmla="*/ 374904 h 505800"/>
                <a:gd name="connsiteX33" fmla="*/ 169891 w 956275"/>
                <a:gd name="connsiteY33" fmla="*/ 402336 h 505800"/>
                <a:gd name="connsiteX34" fmla="*/ 151603 w 956275"/>
                <a:gd name="connsiteY34" fmla="*/ 402336 h 505800"/>
                <a:gd name="connsiteX35" fmla="*/ 169891 w 956275"/>
                <a:gd name="connsiteY35" fmla="*/ 365760 h 505800"/>
                <a:gd name="connsiteX36" fmla="*/ 224755 w 956275"/>
                <a:gd name="connsiteY36" fmla="*/ 301752 h 505800"/>
                <a:gd name="connsiteX37" fmla="*/ 316195 w 956275"/>
                <a:gd name="connsiteY37" fmla="*/ 219456 h 505800"/>
                <a:gd name="connsiteX38" fmla="*/ 361915 w 956275"/>
                <a:gd name="connsiteY38" fmla="*/ 146304 h 505800"/>
                <a:gd name="connsiteX39" fmla="*/ 361915 w 956275"/>
                <a:gd name="connsiteY39" fmla="*/ 64008 h 505800"/>
                <a:gd name="connsiteX40" fmla="*/ 352771 w 956275"/>
                <a:gd name="connsiteY40" fmla="*/ 54864 h 505800"/>
                <a:gd name="connsiteX41" fmla="*/ 343627 w 956275"/>
                <a:gd name="connsiteY41" fmla="*/ 128016 h 505800"/>
                <a:gd name="connsiteX42" fmla="*/ 316195 w 956275"/>
                <a:gd name="connsiteY42" fmla="*/ 173736 h 505800"/>
                <a:gd name="connsiteX43" fmla="*/ 243043 w 956275"/>
                <a:gd name="connsiteY43" fmla="*/ 237744 h 505800"/>
                <a:gd name="connsiteX44" fmla="*/ 215611 w 956275"/>
                <a:gd name="connsiteY44" fmla="*/ 256032 h 505800"/>
                <a:gd name="connsiteX45" fmla="*/ 142459 w 956275"/>
                <a:gd name="connsiteY45" fmla="*/ 347472 h 505800"/>
                <a:gd name="connsiteX46" fmla="*/ 133315 w 956275"/>
                <a:gd name="connsiteY46" fmla="*/ 374904 h 505800"/>
                <a:gd name="connsiteX47" fmla="*/ 124171 w 956275"/>
                <a:gd name="connsiteY47" fmla="*/ 411480 h 505800"/>
                <a:gd name="connsiteX48" fmla="*/ 142459 w 956275"/>
                <a:gd name="connsiteY48" fmla="*/ 429768 h 505800"/>
                <a:gd name="connsiteX49" fmla="*/ 96739 w 956275"/>
                <a:gd name="connsiteY49" fmla="*/ 457200 h 505800"/>
                <a:gd name="connsiteX50" fmla="*/ 13820 w 956275"/>
                <a:gd name="connsiteY50" fmla="*/ 496783 h 505800"/>
                <a:gd name="connsiteX51" fmla="*/ 13820 w 956275"/>
                <a:gd name="connsiteY51" fmla="*/ 496784 h 505800"/>
                <a:gd name="connsiteX52" fmla="*/ 13820 w 956275"/>
                <a:gd name="connsiteY52" fmla="*/ 496784 h 505800"/>
                <a:gd name="connsiteX53" fmla="*/ 132458 w 956275"/>
                <a:gd name="connsiteY53" fmla="*/ 430387 h 505800"/>
                <a:gd name="connsiteX54" fmla="*/ 114796 w 956275"/>
                <a:gd name="connsiteY54" fmla="*/ 504511 h 505800"/>
                <a:gd name="connsiteX55" fmla="*/ 114798 w 956275"/>
                <a:gd name="connsiteY55" fmla="*/ 504512 h 505800"/>
                <a:gd name="connsiteX0" fmla="*/ 40672 w 956275"/>
                <a:gd name="connsiteY0" fmla="*/ 486852 h 504511"/>
                <a:gd name="connsiteX1" fmla="*/ 13820 w 956275"/>
                <a:gd name="connsiteY1" fmla="*/ 496784 h 504511"/>
                <a:gd name="connsiteX2" fmla="*/ 13820 w 956275"/>
                <a:gd name="connsiteY2" fmla="*/ 496784 h 504511"/>
                <a:gd name="connsiteX3" fmla="*/ 51019 w 956275"/>
                <a:gd name="connsiteY3" fmla="*/ 493776 h 504511"/>
                <a:gd name="connsiteX4" fmla="*/ 151603 w 956275"/>
                <a:gd name="connsiteY4" fmla="*/ 466344 h 504511"/>
                <a:gd name="connsiteX5" fmla="*/ 252187 w 956275"/>
                <a:gd name="connsiteY5" fmla="*/ 384048 h 504511"/>
                <a:gd name="connsiteX6" fmla="*/ 444211 w 956275"/>
                <a:gd name="connsiteY6" fmla="*/ 301752 h 504511"/>
                <a:gd name="connsiteX7" fmla="*/ 526507 w 956275"/>
                <a:gd name="connsiteY7" fmla="*/ 192024 h 504511"/>
                <a:gd name="connsiteX8" fmla="*/ 672811 w 956275"/>
                <a:gd name="connsiteY8" fmla="*/ 155448 h 504511"/>
                <a:gd name="connsiteX9" fmla="*/ 718531 w 956275"/>
                <a:gd name="connsiteY9" fmla="*/ 155448 h 504511"/>
                <a:gd name="connsiteX10" fmla="*/ 755107 w 956275"/>
                <a:gd name="connsiteY10" fmla="*/ 137160 h 504511"/>
                <a:gd name="connsiteX11" fmla="*/ 709387 w 956275"/>
                <a:gd name="connsiteY11" fmla="*/ 137160 h 504511"/>
                <a:gd name="connsiteX12" fmla="*/ 617947 w 956275"/>
                <a:gd name="connsiteY12" fmla="*/ 137160 h 504511"/>
                <a:gd name="connsiteX13" fmla="*/ 563083 w 956275"/>
                <a:gd name="connsiteY13" fmla="*/ 146304 h 504511"/>
                <a:gd name="connsiteX14" fmla="*/ 553939 w 956275"/>
                <a:gd name="connsiteY14" fmla="*/ 155448 h 504511"/>
                <a:gd name="connsiteX15" fmla="*/ 535651 w 956275"/>
                <a:gd name="connsiteY15" fmla="*/ 146304 h 504511"/>
                <a:gd name="connsiteX16" fmla="*/ 663667 w 956275"/>
                <a:gd name="connsiteY16" fmla="*/ 91440 h 504511"/>
                <a:gd name="connsiteX17" fmla="*/ 718531 w 956275"/>
                <a:gd name="connsiteY17" fmla="*/ 91440 h 504511"/>
                <a:gd name="connsiteX18" fmla="*/ 809971 w 956275"/>
                <a:gd name="connsiteY18" fmla="*/ 82296 h 504511"/>
                <a:gd name="connsiteX19" fmla="*/ 937987 w 956275"/>
                <a:gd name="connsiteY19" fmla="*/ 27432 h 504511"/>
                <a:gd name="connsiteX20" fmla="*/ 919699 w 956275"/>
                <a:gd name="connsiteY20" fmla="*/ 0 h 504511"/>
                <a:gd name="connsiteX21" fmla="*/ 883123 w 956275"/>
                <a:gd name="connsiteY21" fmla="*/ 27432 h 504511"/>
                <a:gd name="connsiteX22" fmla="*/ 846547 w 956275"/>
                <a:gd name="connsiteY22" fmla="*/ 36576 h 504511"/>
                <a:gd name="connsiteX23" fmla="*/ 773395 w 956275"/>
                <a:gd name="connsiteY23" fmla="*/ 64008 h 504511"/>
                <a:gd name="connsiteX24" fmla="*/ 718531 w 956275"/>
                <a:gd name="connsiteY24" fmla="*/ 64008 h 504511"/>
                <a:gd name="connsiteX25" fmla="*/ 608803 w 956275"/>
                <a:gd name="connsiteY25" fmla="*/ 64008 h 504511"/>
                <a:gd name="connsiteX26" fmla="*/ 553939 w 956275"/>
                <a:gd name="connsiteY26" fmla="*/ 100584 h 504511"/>
                <a:gd name="connsiteX27" fmla="*/ 517363 w 956275"/>
                <a:gd name="connsiteY27" fmla="*/ 146304 h 504511"/>
                <a:gd name="connsiteX28" fmla="*/ 471643 w 956275"/>
                <a:gd name="connsiteY28" fmla="*/ 182880 h 504511"/>
                <a:gd name="connsiteX29" fmla="*/ 425923 w 956275"/>
                <a:gd name="connsiteY29" fmla="*/ 256032 h 504511"/>
                <a:gd name="connsiteX30" fmla="*/ 352771 w 956275"/>
                <a:gd name="connsiteY30" fmla="*/ 301752 h 504511"/>
                <a:gd name="connsiteX31" fmla="*/ 252187 w 956275"/>
                <a:gd name="connsiteY31" fmla="*/ 347472 h 504511"/>
                <a:gd name="connsiteX32" fmla="*/ 215611 w 956275"/>
                <a:gd name="connsiteY32" fmla="*/ 374904 h 504511"/>
                <a:gd name="connsiteX33" fmla="*/ 169891 w 956275"/>
                <a:gd name="connsiteY33" fmla="*/ 402336 h 504511"/>
                <a:gd name="connsiteX34" fmla="*/ 151603 w 956275"/>
                <a:gd name="connsiteY34" fmla="*/ 402336 h 504511"/>
                <a:gd name="connsiteX35" fmla="*/ 169891 w 956275"/>
                <a:gd name="connsiteY35" fmla="*/ 365760 h 504511"/>
                <a:gd name="connsiteX36" fmla="*/ 224755 w 956275"/>
                <a:gd name="connsiteY36" fmla="*/ 301752 h 504511"/>
                <a:gd name="connsiteX37" fmla="*/ 316195 w 956275"/>
                <a:gd name="connsiteY37" fmla="*/ 219456 h 504511"/>
                <a:gd name="connsiteX38" fmla="*/ 361915 w 956275"/>
                <a:gd name="connsiteY38" fmla="*/ 146304 h 504511"/>
                <a:gd name="connsiteX39" fmla="*/ 361915 w 956275"/>
                <a:gd name="connsiteY39" fmla="*/ 64008 h 504511"/>
                <a:gd name="connsiteX40" fmla="*/ 352771 w 956275"/>
                <a:gd name="connsiteY40" fmla="*/ 54864 h 504511"/>
                <a:gd name="connsiteX41" fmla="*/ 343627 w 956275"/>
                <a:gd name="connsiteY41" fmla="*/ 128016 h 504511"/>
                <a:gd name="connsiteX42" fmla="*/ 316195 w 956275"/>
                <a:gd name="connsiteY42" fmla="*/ 173736 h 504511"/>
                <a:gd name="connsiteX43" fmla="*/ 243043 w 956275"/>
                <a:gd name="connsiteY43" fmla="*/ 237744 h 504511"/>
                <a:gd name="connsiteX44" fmla="*/ 215611 w 956275"/>
                <a:gd name="connsiteY44" fmla="*/ 256032 h 504511"/>
                <a:gd name="connsiteX45" fmla="*/ 142459 w 956275"/>
                <a:gd name="connsiteY45" fmla="*/ 347472 h 504511"/>
                <a:gd name="connsiteX46" fmla="*/ 133315 w 956275"/>
                <a:gd name="connsiteY46" fmla="*/ 374904 h 504511"/>
                <a:gd name="connsiteX47" fmla="*/ 124171 w 956275"/>
                <a:gd name="connsiteY47" fmla="*/ 411480 h 504511"/>
                <a:gd name="connsiteX48" fmla="*/ 142459 w 956275"/>
                <a:gd name="connsiteY48" fmla="*/ 429768 h 504511"/>
                <a:gd name="connsiteX49" fmla="*/ 96739 w 956275"/>
                <a:gd name="connsiteY49" fmla="*/ 457200 h 504511"/>
                <a:gd name="connsiteX50" fmla="*/ 13820 w 956275"/>
                <a:gd name="connsiteY50" fmla="*/ 496783 h 504511"/>
                <a:gd name="connsiteX51" fmla="*/ 13820 w 956275"/>
                <a:gd name="connsiteY51" fmla="*/ 496784 h 504511"/>
                <a:gd name="connsiteX52" fmla="*/ 13820 w 956275"/>
                <a:gd name="connsiteY52" fmla="*/ 496784 h 504511"/>
                <a:gd name="connsiteX53" fmla="*/ 132458 w 956275"/>
                <a:gd name="connsiteY53" fmla="*/ 430387 h 504511"/>
                <a:gd name="connsiteX54" fmla="*/ 114796 w 956275"/>
                <a:gd name="connsiteY54" fmla="*/ 504511 h 504511"/>
                <a:gd name="connsiteX55" fmla="*/ 40672 w 956275"/>
                <a:gd name="connsiteY55" fmla="*/ 486852 h 504511"/>
                <a:gd name="connsiteX0" fmla="*/ 40672 w 956275"/>
                <a:gd name="connsiteY0" fmla="*/ 486852 h 504512"/>
                <a:gd name="connsiteX1" fmla="*/ 13820 w 956275"/>
                <a:gd name="connsiteY1" fmla="*/ 496784 h 504512"/>
                <a:gd name="connsiteX2" fmla="*/ 13820 w 956275"/>
                <a:gd name="connsiteY2" fmla="*/ 496784 h 504512"/>
                <a:gd name="connsiteX3" fmla="*/ 51019 w 956275"/>
                <a:gd name="connsiteY3" fmla="*/ 493776 h 504512"/>
                <a:gd name="connsiteX4" fmla="*/ 151603 w 956275"/>
                <a:gd name="connsiteY4" fmla="*/ 466344 h 504512"/>
                <a:gd name="connsiteX5" fmla="*/ 252187 w 956275"/>
                <a:gd name="connsiteY5" fmla="*/ 384048 h 504512"/>
                <a:gd name="connsiteX6" fmla="*/ 444211 w 956275"/>
                <a:gd name="connsiteY6" fmla="*/ 301752 h 504512"/>
                <a:gd name="connsiteX7" fmla="*/ 526507 w 956275"/>
                <a:gd name="connsiteY7" fmla="*/ 192024 h 504512"/>
                <a:gd name="connsiteX8" fmla="*/ 672811 w 956275"/>
                <a:gd name="connsiteY8" fmla="*/ 155448 h 504512"/>
                <a:gd name="connsiteX9" fmla="*/ 718531 w 956275"/>
                <a:gd name="connsiteY9" fmla="*/ 155448 h 504512"/>
                <a:gd name="connsiteX10" fmla="*/ 755107 w 956275"/>
                <a:gd name="connsiteY10" fmla="*/ 137160 h 504512"/>
                <a:gd name="connsiteX11" fmla="*/ 709387 w 956275"/>
                <a:gd name="connsiteY11" fmla="*/ 137160 h 504512"/>
                <a:gd name="connsiteX12" fmla="*/ 617947 w 956275"/>
                <a:gd name="connsiteY12" fmla="*/ 137160 h 504512"/>
                <a:gd name="connsiteX13" fmla="*/ 563083 w 956275"/>
                <a:gd name="connsiteY13" fmla="*/ 146304 h 504512"/>
                <a:gd name="connsiteX14" fmla="*/ 553939 w 956275"/>
                <a:gd name="connsiteY14" fmla="*/ 155448 h 504512"/>
                <a:gd name="connsiteX15" fmla="*/ 535651 w 956275"/>
                <a:gd name="connsiteY15" fmla="*/ 146304 h 504512"/>
                <a:gd name="connsiteX16" fmla="*/ 663667 w 956275"/>
                <a:gd name="connsiteY16" fmla="*/ 91440 h 504512"/>
                <a:gd name="connsiteX17" fmla="*/ 718531 w 956275"/>
                <a:gd name="connsiteY17" fmla="*/ 91440 h 504512"/>
                <a:gd name="connsiteX18" fmla="*/ 809971 w 956275"/>
                <a:gd name="connsiteY18" fmla="*/ 82296 h 504512"/>
                <a:gd name="connsiteX19" fmla="*/ 937987 w 956275"/>
                <a:gd name="connsiteY19" fmla="*/ 27432 h 504512"/>
                <a:gd name="connsiteX20" fmla="*/ 919699 w 956275"/>
                <a:gd name="connsiteY20" fmla="*/ 0 h 504512"/>
                <a:gd name="connsiteX21" fmla="*/ 883123 w 956275"/>
                <a:gd name="connsiteY21" fmla="*/ 27432 h 504512"/>
                <a:gd name="connsiteX22" fmla="*/ 846547 w 956275"/>
                <a:gd name="connsiteY22" fmla="*/ 36576 h 504512"/>
                <a:gd name="connsiteX23" fmla="*/ 773395 w 956275"/>
                <a:gd name="connsiteY23" fmla="*/ 64008 h 504512"/>
                <a:gd name="connsiteX24" fmla="*/ 718531 w 956275"/>
                <a:gd name="connsiteY24" fmla="*/ 64008 h 504512"/>
                <a:gd name="connsiteX25" fmla="*/ 608803 w 956275"/>
                <a:gd name="connsiteY25" fmla="*/ 64008 h 504512"/>
                <a:gd name="connsiteX26" fmla="*/ 553939 w 956275"/>
                <a:gd name="connsiteY26" fmla="*/ 100584 h 504512"/>
                <a:gd name="connsiteX27" fmla="*/ 517363 w 956275"/>
                <a:gd name="connsiteY27" fmla="*/ 146304 h 504512"/>
                <a:gd name="connsiteX28" fmla="*/ 471643 w 956275"/>
                <a:gd name="connsiteY28" fmla="*/ 182880 h 504512"/>
                <a:gd name="connsiteX29" fmla="*/ 425923 w 956275"/>
                <a:gd name="connsiteY29" fmla="*/ 256032 h 504512"/>
                <a:gd name="connsiteX30" fmla="*/ 352771 w 956275"/>
                <a:gd name="connsiteY30" fmla="*/ 301752 h 504512"/>
                <a:gd name="connsiteX31" fmla="*/ 252187 w 956275"/>
                <a:gd name="connsiteY31" fmla="*/ 347472 h 504512"/>
                <a:gd name="connsiteX32" fmla="*/ 215611 w 956275"/>
                <a:gd name="connsiteY32" fmla="*/ 374904 h 504512"/>
                <a:gd name="connsiteX33" fmla="*/ 169891 w 956275"/>
                <a:gd name="connsiteY33" fmla="*/ 402336 h 504512"/>
                <a:gd name="connsiteX34" fmla="*/ 151603 w 956275"/>
                <a:gd name="connsiteY34" fmla="*/ 402336 h 504512"/>
                <a:gd name="connsiteX35" fmla="*/ 169891 w 956275"/>
                <a:gd name="connsiteY35" fmla="*/ 365760 h 504512"/>
                <a:gd name="connsiteX36" fmla="*/ 224755 w 956275"/>
                <a:gd name="connsiteY36" fmla="*/ 301752 h 504512"/>
                <a:gd name="connsiteX37" fmla="*/ 316195 w 956275"/>
                <a:gd name="connsiteY37" fmla="*/ 219456 h 504512"/>
                <a:gd name="connsiteX38" fmla="*/ 361915 w 956275"/>
                <a:gd name="connsiteY38" fmla="*/ 146304 h 504512"/>
                <a:gd name="connsiteX39" fmla="*/ 361915 w 956275"/>
                <a:gd name="connsiteY39" fmla="*/ 64008 h 504512"/>
                <a:gd name="connsiteX40" fmla="*/ 352771 w 956275"/>
                <a:gd name="connsiteY40" fmla="*/ 54864 h 504512"/>
                <a:gd name="connsiteX41" fmla="*/ 343627 w 956275"/>
                <a:gd name="connsiteY41" fmla="*/ 128016 h 504512"/>
                <a:gd name="connsiteX42" fmla="*/ 316195 w 956275"/>
                <a:gd name="connsiteY42" fmla="*/ 173736 h 504512"/>
                <a:gd name="connsiteX43" fmla="*/ 243043 w 956275"/>
                <a:gd name="connsiteY43" fmla="*/ 237744 h 504512"/>
                <a:gd name="connsiteX44" fmla="*/ 215611 w 956275"/>
                <a:gd name="connsiteY44" fmla="*/ 256032 h 504512"/>
                <a:gd name="connsiteX45" fmla="*/ 142459 w 956275"/>
                <a:gd name="connsiteY45" fmla="*/ 347472 h 504512"/>
                <a:gd name="connsiteX46" fmla="*/ 133315 w 956275"/>
                <a:gd name="connsiteY46" fmla="*/ 374904 h 504512"/>
                <a:gd name="connsiteX47" fmla="*/ 124171 w 956275"/>
                <a:gd name="connsiteY47" fmla="*/ 411480 h 504512"/>
                <a:gd name="connsiteX48" fmla="*/ 142459 w 956275"/>
                <a:gd name="connsiteY48" fmla="*/ 429768 h 504512"/>
                <a:gd name="connsiteX49" fmla="*/ 96739 w 956275"/>
                <a:gd name="connsiteY49" fmla="*/ 457200 h 504512"/>
                <a:gd name="connsiteX50" fmla="*/ 13820 w 956275"/>
                <a:gd name="connsiteY50" fmla="*/ 496783 h 504512"/>
                <a:gd name="connsiteX51" fmla="*/ 13820 w 956275"/>
                <a:gd name="connsiteY51" fmla="*/ 496784 h 504512"/>
                <a:gd name="connsiteX52" fmla="*/ 13820 w 956275"/>
                <a:gd name="connsiteY52" fmla="*/ 496784 h 504512"/>
                <a:gd name="connsiteX53" fmla="*/ 132458 w 956275"/>
                <a:gd name="connsiteY53" fmla="*/ 430387 h 504512"/>
                <a:gd name="connsiteX54" fmla="*/ 114798 w 956275"/>
                <a:gd name="connsiteY54" fmla="*/ 504512 h 504512"/>
                <a:gd name="connsiteX55" fmla="*/ 40672 w 956275"/>
                <a:gd name="connsiteY55" fmla="*/ 486852 h 504512"/>
                <a:gd name="connsiteX0" fmla="*/ 40672 w 956275"/>
                <a:gd name="connsiteY0" fmla="*/ 486852 h 504512"/>
                <a:gd name="connsiteX1" fmla="*/ 13820 w 956275"/>
                <a:gd name="connsiteY1" fmla="*/ 496784 h 504512"/>
                <a:gd name="connsiteX2" fmla="*/ 13820 w 956275"/>
                <a:gd name="connsiteY2" fmla="*/ 496784 h 504512"/>
                <a:gd name="connsiteX3" fmla="*/ 51019 w 956275"/>
                <a:gd name="connsiteY3" fmla="*/ 493776 h 504512"/>
                <a:gd name="connsiteX4" fmla="*/ 151603 w 956275"/>
                <a:gd name="connsiteY4" fmla="*/ 466344 h 504512"/>
                <a:gd name="connsiteX5" fmla="*/ 252187 w 956275"/>
                <a:gd name="connsiteY5" fmla="*/ 384048 h 504512"/>
                <a:gd name="connsiteX6" fmla="*/ 444211 w 956275"/>
                <a:gd name="connsiteY6" fmla="*/ 301752 h 504512"/>
                <a:gd name="connsiteX7" fmla="*/ 526507 w 956275"/>
                <a:gd name="connsiteY7" fmla="*/ 192024 h 504512"/>
                <a:gd name="connsiteX8" fmla="*/ 672811 w 956275"/>
                <a:gd name="connsiteY8" fmla="*/ 155448 h 504512"/>
                <a:gd name="connsiteX9" fmla="*/ 718531 w 956275"/>
                <a:gd name="connsiteY9" fmla="*/ 155448 h 504512"/>
                <a:gd name="connsiteX10" fmla="*/ 755107 w 956275"/>
                <a:gd name="connsiteY10" fmla="*/ 137160 h 504512"/>
                <a:gd name="connsiteX11" fmla="*/ 709387 w 956275"/>
                <a:gd name="connsiteY11" fmla="*/ 137160 h 504512"/>
                <a:gd name="connsiteX12" fmla="*/ 617947 w 956275"/>
                <a:gd name="connsiteY12" fmla="*/ 137160 h 504512"/>
                <a:gd name="connsiteX13" fmla="*/ 563083 w 956275"/>
                <a:gd name="connsiteY13" fmla="*/ 146304 h 504512"/>
                <a:gd name="connsiteX14" fmla="*/ 553939 w 956275"/>
                <a:gd name="connsiteY14" fmla="*/ 155448 h 504512"/>
                <a:gd name="connsiteX15" fmla="*/ 535651 w 956275"/>
                <a:gd name="connsiteY15" fmla="*/ 146304 h 504512"/>
                <a:gd name="connsiteX16" fmla="*/ 663667 w 956275"/>
                <a:gd name="connsiteY16" fmla="*/ 91440 h 504512"/>
                <a:gd name="connsiteX17" fmla="*/ 718531 w 956275"/>
                <a:gd name="connsiteY17" fmla="*/ 91440 h 504512"/>
                <a:gd name="connsiteX18" fmla="*/ 809971 w 956275"/>
                <a:gd name="connsiteY18" fmla="*/ 82296 h 504512"/>
                <a:gd name="connsiteX19" fmla="*/ 937987 w 956275"/>
                <a:gd name="connsiteY19" fmla="*/ 27432 h 504512"/>
                <a:gd name="connsiteX20" fmla="*/ 919699 w 956275"/>
                <a:gd name="connsiteY20" fmla="*/ 0 h 504512"/>
                <a:gd name="connsiteX21" fmla="*/ 883123 w 956275"/>
                <a:gd name="connsiteY21" fmla="*/ 27432 h 504512"/>
                <a:gd name="connsiteX22" fmla="*/ 846547 w 956275"/>
                <a:gd name="connsiteY22" fmla="*/ 36576 h 504512"/>
                <a:gd name="connsiteX23" fmla="*/ 773395 w 956275"/>
                <a:gd name="connsiteY23" fmla="*/ 64008 h 504512"/>
                <a:gd name="connsiteX24" fmla="*/ 718531 w 956275"/>
                <a:gd name="connsiteY24" fmla="*/ 64008 h 504512"/>
                <a:gd name="connsiteX25" fmla="*/ 608803 w 956275"/>
                <a:gd name="connsiteY25" fmla="*/ 64008 h 504512"/>
                <a:gd name="connsiteX26" fmla="*/ 553939 w 956275"/>
                <a:gd name="connsiteY26" fmla="*/ 100584 h 504512"/>
                <a:gd name="connsiteX27" fmla="*/ 517363 w 956275"/>
                <a:gd name="connsiteY27" fmla="*/ 146304 h 504512"/>
                <a:gd name="connsiteX28" fmla="*/ 471643 w 956275"/>
                <a:gd name="connsiteY28" fmla="*/ 182880 h 504512"/>
                <a:gd name="connsiteX29" fmla="*/ 425923 w 956275"/>
                <a:gd name="connsiteY29" fmla="*/ 256032 h 504512"/>
                <a:gd name="connsiteX30" fmla="*/ 352771 w 956275"/>
                <a:gd name="connsiteY30" fmla="*/ 301752 h 504512"/>
                <a:gd name="connsiteX31" fmla="*/ 252187 w 956275"/>
                <a:gd name="connsiteY31" fmla="*/ 347472 h 504512"/>
                <a:gd name="connsiteX32" fmla="*/ 215611 w 956275"/>
                <a:gd name="connsiteY32" fmla="*/ 374904 h 504512"/>
                <a:gd name="connsiteX33" fmla="*/ 169891 w 956275"/>
                <a:gd name="connsiteY33" fmla="*/ 402336 h 504512"/>
                <a:gd name="connsiteX34" fmla="*/ 151603 w 956275"/>
                <a:gd name="connsiteY34" fmla="*/ 402336 h 504512"/>
                <a:gd name="connsiteX35" fmla="*/ 169891 w 956275"/>
                <a:gd name="connsiteY35" fmla="*/ 365760 h 504512"/>
                <a:gd name="connsiteX36" fmla="*/ 224755 w 956275"/>
                <a:gd name="connsiteY36" fmla="*/ 301752 h 504512"/>
                <a:gd name="connsiteX37" fmla="*/ 316195 w 956275"/>
                <a:gd name="connsiteY37" fmla="*/ 219456 h 504512"/>
                <a:gd name="connsiteX38" fmla="*/ 361915 w 956275"/>
                <a:gd name="connsiteY38" fmla="*/ 146304 h 504512"/>
                <a:gd name="connsiteX39" fmla="*/ 361915 w 956275"/>
                <a:gd name="connsiteY39" fmla="*/ 64008 h 504512"/>
                <a:gd name="connsiteX40" fmla="*/ 352771 w 956275"/>
                <a:gd name="connsiteY40" fmla="*/ 54864 h 504512"/>
                <a:gd name="connsiteX41" fmla="*/ 343627 w 956275"/>
                <a:gd name="connsiteY41" fmla="*/ 128016 h 504512"/>
                <a:gd name="connsiteX42" fmla="*/ 316195 w 956275"/>
                <a:gd name="connsiteY42" fmla="*/ 173736 h 504512"/>
                <a:gd name="connsiteX43" fmla="*/ 243043 w 956275"/>
                <a:gd name="connsiteY43" fmla="*/ 237744 h 504512"/>
                <a:gd name="connsiteX44" fmla="*/ 215611 w 956275"/>
                <a:gd name="connsiteY44" fmla="*/ 256032 h 504512"/>
                <a:gd name="connsiteX45" fmla="*/ 142459 w 956275"/>
                <a:gd name="connsiteY45" fmla="*/ 347472 h 504512"/>
                <a:gd name="connsiteX46" fmla="*/ 133315 w 956275"/>
                <a:gd name="connsiteY46" fmla="*/ 374904 h 504512"/>
                <a:gd name="connsiteX47" fmla="*/ 124171 w 956275"/>
                <a:gd name="connsiteY47" fmla="*/ 411480 h 504512"/>
                <a:gd name="connsiteX48" fmla="*/ 142459 w 956275"/>
                <a:gd name="connsiteY48" fmla="*/ 429768 h 504512"/>
                <a:gd name="connsiteX49" fmla="*/ 96739 w 956275"/>
                <a:gd name="connsiteY49" fmla="*/ 457200 h 504512"/>
                <a:gd name="connsiteX50" fmla="*/ 13820 w 956275"/>
                <a:gd name="connsiteY50" fmla="*/ 496783 h 504512"/>
                <a:gd name="connsiteX51" fmla="*/ 13820 w 956275"/>
                <a:gd name="connsiteY51" fmla="*/ 496784 h 504512"/>
                <a:gd name="connsiteX52" fmla="*/ 13820 w 956275"/>
                <a:gd name="connsiteY52" fmla="*/ 496784 h 504512"/>
                <a:gd name="connsiteX53" fmla="*/ 132458 w 956275"/>
                <a:gd name="connsiteY53" fmla="*/ 430387 h 504512"/>
                <a:gd name="connsiteX54" fmla="*/ 114797 w 956275"/>
                <a:gd name="connsiteY54" fmla="*/ 504512 h 504512"/>
                <a:gd name="connsiteX55" fmla="*/ 40672 w 956275"/>
                <a:gd name="connsiteY55" fmla="*/ 486852 h 504512"/>
                <a:gd name="connsiteX0" fmla="*/ 40672 w 956275"/>
                <a:gd name="connsiteY0" fmla="*/ 486852 h 578638"/>
                <a:gd name="connsiteX1" fmla="*/ 13820 w 956275"/>
                <a:gd name="connsiteY1" fmla="*/ 496784 h 578638"/>
                <a:gd name="connsiteX2" fmla="*/ 13820 w 956275"/>
                <a:gd name="connsiteY2" fmla="*/ 496784 h 578638"/>
                <a:gd name="connsiteX3" fmla="*/ 51019 w 956275"/>
                <a:gd name="connsiteY3" fmla="*/ 493776 h 578638"/>
                <a:gd name="connsiteX4" fmla="*/ 151603 w 956275"/>
                <a:gd name="connsiteY4" fmla="*/ 466344 h 578638"/>
                <a:gd name="connsiteX5" fmla="*/ 252187 w 956275"/>
                <a:gd name="connsiteY5" fmla="*/ 384048 h 578638"/>
                <a:gd name="connsiteX6" fmla="*/ 444211 w 956275"/>
                <a:gd name="connsiteY6" fmla="*/ 301752 h 578638"/>
                <a:gd name="connsiteX7" fmla="*/ 526507 w 956275"/>
                <a:gd name="connsiteY7" fmla="*/ 192024 h 578638"/>
                <a:gd name="connsiteX8" fmla="*/ 672811 w 956275"/>
                <a:gd name="connsiteY8" fmla="*/ 155448 h 578638"/>
                <a:gd name="connsiteX9" fmla="*/ 718531 w 956275"/>
                <a:gd name="connsiteY9" fmla="*/ 155448 h 578638"/>
                <a:gd name="connsiteX10" fmla="*/ 755107 w 956275"/>
                <a:gd name="connsiteY10" fmla="*/ 137160 h 578638"/>
                <a:gd name="connsiteX11" fmla="*/ 709387 w 956275"/>
                <a:gd name="connsiteY11" fmla="*/ 137160 h 578638"/>
                <a:gd name="connsiteX12" fmla="*/ 617947 w 956275"/>
                <a:gd name="connsiteY12" fmla="*/ 137160 h 578638"/>
                <a:gd name="connsiteX13" fmla="*/ 563083 w 956275"/>
                <a:gd name="connsiteY13" fmla="*/ 146304 h 578638"/>
                <a:gd name="connsiteX14" fmla="*/ 553939 w 956275"/>
                <a:gd name="connsiteY14" fmla="*/ 155448 h 578638"/>
                <a:gd name="connsiteX15" fmla="*/ 535651 w 956275"/>
                <a:gd name="connsiteY15" fmla="*/ 146304 h 578638"/>
                <a:gd name="connsiteX16" fmla="*/ 663667 w 956275"/>
                <a:gd name="connsiteY16" fmla="*/ 91440 h 578638"/>
                <a:gd name="connsiteX17" fmla="*/ 718531 w 956275"/>
                <a:gd name="connsiteY17" fmla="*/ 91440 h 578638"/>
                <a:gd name="connsiteX18" fmla="*/ 809971 w 956275"/>
                <a:gd name="connsiteY18" fmla="*/ 82296 h 578638"/>
                <a:gd name="connsiteX19" fmla="*/ 937987 w 956275"/>
                <a:gd name="connsiteY19" fmla="*/ 27432 h 578638"/>
                <a:gd name="connsiteX20" fmla="*/ 919699 w 956275"/>
                <a:gd name="connsiteY20" fmla="*/ 0 h 578638"/>
                <a:gd name="connsiteX21" fmla="*/ 883123 w 956275"/>
                <a:gd name="connsiteY21" fmla="*/ 27432 h 578638"/>
                <a:gd name="connsiteX22" fmla="*/ 846547 w 956275"/>
                <a:gd name="connsiteY22" fmla="*/ 36576 h 578638"/>
                <a:gd name="connsiteX23" fmla="*/ 773395 w 956275"/>
                <a:gd name="connsiteY23" fmla="*/ 64008 h 578638"/>
                <a:gd name="connsiteX24" fmla="*/ 718531 w 956275"/>
                <a:gd name="connsiteY24" fmla="*/ 64008 h 578638"/>
                <a:gd name="connsiteX25" fmla="*/ 608803 w 956275"/>
                <a:gd name="connsiteY25" fmla="*/ 64008 h 578638"/>
                <a:gd name="connsiteX26" fmla="*/ 553939 w 956275"/>
                <a:gd name="connsiteY26" fmla="*/ 100584 h 578638"/>
                <a:gd name="connsiteX27" fmla="*/ 517363 w 956275"/>
                <a:gd name="connsiteY27" fmla="*/ 146304 h 578638"/>
                <a:gd name="connsiteX28" fmla="*/ 471643 w 956275"/>
                <a:gd name="connsiteY28" fmla="*/ 182880 h 578638"/>
                <a:gd name="connsiteX29" fmla="*/ 425923 w 956275"/>
                <a:gd name="connsiteY29" fmla="*/ 256032 h 578638"/>
                <a:gd name="connsiteX30" fmla="*/ 352771 w 956275"/>
                <a:gd name="connsiteY30" fmla="*/ 301752 h 578638"/>
                <a:gd name="connsiteX31" fmla="*/ 252187 w 956275"/>
                <a:gd name="connsiteY31" fmla="*/ 347472 h 578638"/>
                <a:gd name="connsiteX32" fmla="*/ 215611 w 956275"/>
                <a:gd name="connsiteY32" fmla="*/ 374904 h 578638"/>
                <a:gd name="connsiteX33" fmla="*/ 169891 w 956275"/>
                <a:gd name="connsiteY33" fmla="*/ 402336 h 578638"/>
                <a:gd name="connsiteX34" fmla="*/ 151603 w 956275"/>
                <a:gd name="connsiteY34" fmla="*/ 402336 h 578638"/>
                <a:gd name="connsiteX35" fmla="*/ 169891 w 956275"/>
                <a:gd name="connsiteY35" fmla="*/ 365760 h 578638"/>
                <a:gd name="connsiteX36" fmla="*/ 224755 w 956275"/>
                <a:gd name="connsiteY36" fmla="*/ 301752 h 578638"/>
                <a:gd name="connsiteX37" fmla="*/ 316195 w 956275"/>
                <a:gd name="connsiteY37" fmla="*/ 219456 h 578638"/>
                <a:gd name="connsiteX38" fmla="*/ 361915 w 956275"/>
                <a:gd name="connsiteY38" fmla="*/ 146304 h 578638"/>
                <a:gd name="connsiteX39" fmla="*/ 361915 w 956275"/>
                <a:gd name="connsiteY39" fmla="*/ 64008 h 578638"/>
                <a:gd name="connsiteX40" fmla="*/ 352771 w 956275"/>
                <a:gd name="connsiteY40" fmla="*/ 54864 h 578638"/>
                <a:gd name="connsiteX41" fmla="*/ 343627 w 956275"/>
                <a:gd name="connsiteY41" fmla="*/ 128016 h 578638"/>
                <a:gd name="connsiteX42" fmla="*/ 316195 w 956275"/>
                <a:gd name="connsiteY42" fmla="*/ 173736 h 578638"/>
                <a:gd name="connsiteX43" fmla="*/ 243043 w 956275"/>
                <a:gd name="connsiteY43" fmla="*/ 237744 h 578638"/>
                <a:gd name="connsiteX44" fmla="*/ 215611 w 956275"/>
                <a:gd name="connsiteY44" fmla="*/ 256032 h 578638"/>
                <a:gd name="connsiteX45" fmla="*/ 142459 w 956275"/>
                <a:gd name="connsiteY45" fmla="*/ 347472 h 578638"/>
                <a:gd name="connsiteX46" fmla="*/ 133315 w 956275"/>
                <a:gd name="connsiteY46" fmla="*/ 374904 h 578638"/>
                <a:gd name="connsiteX47" fmla="*/ 124171 w 956275"/>
                <a:gd name="connsiteY47" fmla="*/ 411480 h 578638"/>
                <a:gd name="connsiteX48" fmla="*/ 142459 w 956275"/>
                <a:gd name="connsiteY48" fmla="*/ 429768 h 578638"/>
                <a:gd name="connsiteX49" fmla="*/ 96739 w 956275"/>
                <a:gd name="connsiteY49" fmla="*/ 457200 h 578638"/>
                <a:gd name="connsiteX50" fmla="*/ 13820 w 956275"/>
                <a:gd name="connsiteY50" fmla="*/ 496783 h 578638"/>
                <a:gd name="connsiteX51" fmla="*/ 13820 w 956275"/>
                <a:gd name="connsiteY51" fmla="*/ 496784 h 578638"/>
                <a:gd name="connsiteX52" fmla="*/ 13820 w 956275"/>
                <a:gd name="connsiteY52" fmla="*/ 496784 h 578638"/>
                <a:gd name="connsiteX53" fmla="*/ 132458 w 956275"/>
                <a:gd name="connsiteY53" fmla="*/ 430387 h 578638"/>
                <a:gd name="connsiteX54" fmla="*/ 97137 w 956275"/>
                <a:gd name="connsiteY54" fmla="*/ 578638 h 578638"/>
                <a:gd name="connsiteX55" fmla="*/ 40672 w 956275"/>
                <a:gd name="connsiteY55" fmla="*/ 486852 h 578638"/>
                <a:gd name="connsiteX0" fmla="*/ 40672 w 956275"/>
                <a:gd name="connsiteY0" fmla="*/ 486852 h 503380"/>
                <a:gd name="connsiteX1" fmla="*/ 13820 w 956275"/>
                <a:gd name="connsiteY1" fmla="*/ 496784 h 503380"/>
                <a:gd name="connsiteX2" fmla="*/ 13820 w 956275"/>
                <a:gd name="connsiteY2" fmla="*/ 496784 h 503380"/>
                <a:gd name="connsiteX3" fmla="*/ 51019 w 956275"/>
                <a:gd name="connsiteY3" fmla="*/ 493776 h 503380"/>
                <a:gd name="connsiteX4" fmla="*/ 151603 w 956275"/>
                <a:gd name="connsiteY4" fmla="*/ 466344 h 503380"/>
                <a:gd name="connsiteX5" fmla="*/ 252187 w 956275"/>
                <a:gd name="connsiteY5" fmla="*/ 384048 h 503380"/>
                <a:gd name="connsiteX6" fmla="*/ 444211 w 956275"/>
                <a:gd name="connsiteY6" fmla="*/ 301752 h 503380"/>
                <a:gd name="connsiteX7" fmla="*/ 526507 w 956275"/>
                <a:gd name="connsiteY7" fmla="*/ 192024 h 503380"/>
                <a:gd name="connsiteX8" fmla="*/ 672811 w 956275"/>
                <a:gd name="connsiteY8" fmla="*/ 155448 h 503380"/>
                <a:gd name="connsiteX9" fmla="*/ 718531 w 956275"/>
                <a:gd name="connsiteY9" fmla="*/ 155448 h 503380"/>
                <a:gd name="connsiteX10" fmla="*/ 755107 w 956275"/>
                <a:gd name="connsiteY10" fmla="*/ 137160 h 503380"/>
                <a:gd name="connsiteX11" fmla="*/ 709387 w 956275"/>
                <a:gd name="connsiteY11" fmla="*/ 137160 h 503380"/>
                <a:gd name="connsiteX12" fmla="*/ 617947 w 956275"/>
                <a:gd name="connsiteY12" fmla="*/ 137160 h 503380"/>
                <a:gd name="connsiteX13" fmla="*/ 563083 w 956275"/>
                <a:gd name="connsiteY13" fmla="*/ 146304 h 503380"/>
                <a:gd name="connsiteX14" fmla="*/ 553939 w 956275"/>
                <a:gd name="connsiteY14" fmla="*/ 155448 h 503380"/>
                <a:gd name="connsiteX15" fmla="*/ 535651 w 956275"/>
                <a:gd name="connsiteY15" fmla="*/ 146304 h 503380"/>
                <a:gd name="connsiteX16" fmla="*/ 663667 w 956275"/>
                <a:gd name="connsiteY16" fmla="*/ 91440 h 503380"/>
                <a:gd name="connsiteX17" fmla="*/ 718531 w 956275"/>
                <a:gd name="connsiteY17" fmla="*/ 91440 h 503380"/>
                <a:gd name="connsiteX18" fmla="*/ 809971 w 956275"/>
                <a:gd name="connsiteY18" fmla="*/ 82296 h 503380"/>
                <a:gd name="connsiteX19" fmla="*/ 937987 w 956275"/>
                <a:gd name="connsiteY19" fmla="*/ 27432 h 503380"/>
                <a:gd name="connsiteX20" fmla="*/ 919699 w 956275"/>
                <a:gd name="connsiteY20" fmla="*/ 0 h 503380"/>
                <a:gd name="connsiteX21" fmla="*/ 883123 w 956275"/>
                <a:gd name="connsiteY21" fmla="*/ 27432 h 503380"/>
                <a:gd name="connsiteX22" fmla="*/ 846547 w 956275"/>
                <a:gd name="connsiteY22" fmla="*/ 36576 h 503380"/>
                <a:gd name="connsiteX23" fmla="*/ 773395 w 956275"/>
                <a:gd name="connsiteY23" fmla="*/ 64008 h 503380"/>
                <a:gd name="connsiteX24" fmla="*/ 718531 w 956275"/>
                <a:gd name="connsiteY24" fmla="*/ 64008 h 503380"/>
                <a:gd name="connsiteX25" fmla="*/ 608803 w 956275"/>
                <a:gd name="connsiteY25" fmla="*/ 64008 h 503380"/>
                <a:gd name="connsiteX26" fmla="*/ 553939 w 956275"/>
                <a:gd name="connsiteY26" fmla="*/ 100584 h 503380"/>
                <a:gd name="connsiteX27" fmla="*/ 517363 w 956275"/>
                <a:gd name="connsiteY27" fmla="*/ 146304 h 503380"/>
                <a:gd name="connsiteX28" fmla="*/ 471643 w 956275"/>
                <a:gd name="connsiteY28" fmla="*/ 182880 h 503380"/>
                <a:gd name="connsiteX29" fmla="*/ 425923 w 956275"/>
                <a:gd name="connsiteY29" fmla="*/ 256032 h 503380"/>
                <a:gd name="connsiteX30" fmla="*/ 352771 w 956275"/>
                <a:gd name="connsiteY30" fmla="*/ 301752 h 503380"/>
                <a:gd name="connsiteX31" fmla="*/ 252187 w 956275"/>
                <a:gd name="connsiteY31" fmla="*/ 347472 h 503380"/>
                <a:gd name="connsiteX32" fmla="*/ 215611 w 956275"/>
                <a:gd name="connsiteY32" fmla="*/ 374904 h 503380"/>
                <a:gd name="connsiteX33" fmla="*/ 169891 w 956275"/>
                <a:gd name="connsiteY33" fmla="*/ 402336 h 503380"/>
                <a:gd name="connsiteX34" fmla="*/ 151603 w 956275"/>
                <a:gd name="connsiteY34" fmla="*/ 402336 h 503380"/>
                <a:gd name="connsiteX35" fmla="*/ 169891 w 956275"/>
                <a:gd name="connsiteY35" fmla="*/ 365760 h 503380"/>
                <a:gd name="connsiteX36" fmla="*/ 224755 w 956275"/>
                <a:gd name="connsiteY36" fmla="*/ 301752 h 503380"/>
                <a:gd name="connsiteX37" fmla="*/ 316195 w 956275"/>
                <a:gd name="connsiteY37" fmla="*/ 219456 h 503380"/>
                <a:gd name="connsiteX38" fmla="*/ 361915 w 956275"/>
                <a:gd name="connsiteY38" fmla="*/ 146304 h 503380"/>
                <a:gd name="connsiteX39" fmla="*/ 361915 w 956275"/>
                <a:gd name="connsiteY39" fmla="*/ 64008 h 503380"/>
                <a:gd name="connsiteX40" fmla="*/ 352771 w 956275"/>
                <a:gd name="connsiteY40" fmla="*/ 54864 h 503380"/>
                <a:gd name="connsiteX41" fmla="*/ 343627 w 956275"/>
                <a:gd name="connsiteY41" fmla="*/ 128016 h 503380"/>
                <a:gd name="connsiteX42" fmla="*/ 316195 w 956275"/>
                <a:gd name="connsiteY42" fmla="*/ 173736 h 503380"/>
                <a:gd name="connsiteX43" fmla="*/ 243043 w 956275"/>
                <a:gd name="connsiteY43" fmla="*/ 237744 h 503380"/>
                <a:gd name="connsiteX44" fmla="*/ 215611 w 956275"/>
                <a:gd name="connsiteY44" fmla="*/ 256032 h 503380"/>
                <a:gd name="connsiteX45" fmla="*/ 142459 w 956275"/>
                <a:gd name="connsiteY45" fmla="*/ 347472 h 503380"/>
                <a:gd name="connsiteX46" fmla="*/ 133315 w 956275"/>
                <a:gd name="connsiteY46" fmla="*/ 374904 h 503380"/>
                <a:gd name="connsiteX47" fmla="*/ 124171 w 956275"/>
                <a:gd name="connsiteY47" fmla="*/ 411480 h 503380"/>
                <a:gd name="connsiteX48" fmla="*/ 142459 w 956275"/>
                <a:gd name="connsiteY48" fmla="*/ 429768 h 503380"/>
                <a:gd name="connsiteX49" fmla="*/ 96739 w 956275"/>
                <a:gd name="connsiteY49" fmla="*/ 457200 h 503380"/>
                <a:gd name="connsiteX50" fmla="*/ 13820 w 956275"/>
                <a:gd name="connsiteY50" fmla="*/ 496783 h 503380"/>
                <a:gd name="connsiteX51" fmla="*/ 13820 w 956275"/>
                <a:gd name="connsiteY51" fmla="*/ 496784 h 503380"/>
                <a:gd name="connsiteX52" fmla="*/ 13820 w 956275"/>
                <a:gd name="connsiteY52" fmla="*/ 496784 h 503380"/>
                <a:gd name="connsiteX53" fmla="*/ 132458 w 956275"/>
                <a:gd name="connsiteY53" fmla="*/ 430387 h 503380"/>
                <a:gd name="connsiteX54" fmla="*/ 40672 w 956275"/>
                <a:gd name="connsiteY54" fmla="*/ 486852 h 503380"/>
                <a:gd name="connsiteX55" fmla="*/ 40672 w 956275"/>
                <a:gd name="connsiteY55" fmla="*/ 486852 h 503380"/>
                <a:gd name="connsiteX0" fmla="*/ 40672 w 956275"/>
                <a:gd name="connsiteY0" fmla="*/ 486852 h 503380"/>
                <a:gd name="connsiteX1" fmla="*/ 13820 w 956275"/>
                <a:gd name="connsiteY1" fmla="*/ 496784 h 503380"/>
                <a:gd name="connsiteX2" fmla="*/ 13820 w 956275"/>
                <a:gd name="connsiteY2" fmla="*/ 496784 h 503380"/>
                <a:gd name="connsiteX3" fmla="*/ 51019 w 956275"/>
                <a:gd name="connsiteY3" fmla="*/ 493776 h 503380"/>
                <a:gd name="connsiteX4" fmla="*/ 151603 w 956275"/>
                <a:gd name="connsiteY4" fmla="*/ 466344 h 503380"/>
                <a:gd name="connsiteX5" fmla="*/ 252187 w 956275"/>
                <a:gd name="connsiteY5" fmla="*/ 384048 h 503380"/>
                <a:gd name="connsiteX6" fmla="*/ 444211 w 956275"/>
                <a:gd name="connsiteY6" fmla="*/ 301752 h 503380"/>
                <a:gd name="connsiteX7" fmla="*/ 526507 w 956275"/>
                <a:gd name="connsiteY7" fmla="*/ 192024 h 503380"/>
                <a:gd name="connsiteX8" fmla="*/ 672811 w 956275"/>
                <a:gd name="connsiteY8" fmla="*/ 155448 h 503380"/>
                <a:gd name="connsiteX9" fmla="*/ 718531 w 956275"/>
                <a:gd name="connsiteY9" fmla="*/ 155448 h 503380"/>
                <a:gd name="connsiteX10" fmla="*/ 755107 w 956275"/>
                <a:gd name="connsiteY10" fmla="*/ 137160 h 503380"/>
                <a:gd name="connsiteX11" fmla="*/ 709387 w 956275"/>
                <a:gd name="connsiteY11" fmla="*/ 137160 h 503380"/>
                <a:gd name="connsiteX12" fmla="*/ 617947 w 956275"/>
                <a:gd name="connsiteY12" fmla="*/ 137160 h 503380"/>
                <a:gd name="connsiteX13" fmla="*/ 563083 w 956275"/>
                <a:gd name="connsiteY13" fmla="*/ 146304 h 503380"/>
                <a:gd name="connsiteX14" fmla="*/ 553939 w 956275"/>
                <a:gd name="connsiteY14" fmla="*/ 155448 h 503380"/>
                <a:gd name="connsiteX15" fmla="*/ 535651 w 956275"/>
                <a:gd name="connsiteY15" fmla="*/ 146304 h 503380"/>
                <a:gd name="connsiteX16" fmla="*/ 663667 w 956275"/>
                <a:gd name="connsiteY16" fmla="*/ 91440 h 503380"/>
                <a:gd name="connsiteX17" fmla="*/ 718531 w 956275"/>
                <a:gd name="connsiteY17" fmla="*/ 91440 h 503380"/>
                <a:gd name="connsiteX18" fmla="*/ 809971 w 956275"/>
                <a:gd name="connsiteY18" fmla="*/ 82296 h 503380"/>
                <a:gd name="connsiteX19" fmla="*/ 937987 w 956275"/>
                <a:gd name="connsiteY19" fmla="*/ 27432 h 503380"/>
                <a:gd name="connsiteX20" fmla="*/ 919699 w 956275"/>
                <a:gd name="connsiteY20" fmla="*/ 0 h 503380"/>
                <a:gd name="connsiteX21" fmla="*/ 883123 w 956275"/>
                <a:gd name="connsiteY21" fmla="*/ 27432 h 503380"/>
                <a:gd name="connsiteX22" fmla="*/ 846547 w 956275"/>
                <a:gd name="connsiteY22" fmla="*/ 36576 h 503380"/>
                <a:gd name="connsiteX23" fmla="*/ 773395 w 956275"/>
                <a:gd name="connsiteY23" fmla="*/ 64008 h 503380"/>
                <a:gd name="connsiteX24" fmla="*/ 718531 w 956275"/>
                <a:gd name="connsiteY24" fmla="*/ 64008 h 503380"/>
                <a:gd name="connsiteX25" fmla="*/ 608803 w 956275"/>
                <a:gd name="connsiteY25" fmla="*/ 64008 h 503380"/>
                <a:gd name="connsiteX26" fmla="*/ 553939 w 956275"/>
                <a:gd name="connsiteY26" fmla="*/ 100584 h 503380"/>
                <a:gd name="connsiteX27" fmla="*/ 517363 w 956275"/>
                <a:gd name="connsiteY27" fmla="*/ 146304 h 503380"/>
                <a:gd name="connsiteX28" fmla="*/ 471643 w 956275"/>
                <a:gd name="connsiteY28" fmla="*/ 182880 h 503380"/>
                <a:gd name="connsiteX29" fmla="*/ 425923 w 956275"/>
                <a:gd name="connsiteY29" fmla="*/ 256032 h 503380"/>
                <a:gd name="connsiteX30" fmla="*/ 352771 w 956275"/>
                <a:gd name="connsiteY30" fmla="*/ 301752 h 503380"/>
                <a:gd name="connsiteX31" fmla="*/ 252187 w 956275"/>
                <a:gd name="connsiteY31" fmla="*/ 347472 h 503380"/>
                <a:gd name="connsiteX32" fmla="*/ 215611 w 956275"/>
                <a:gd name="connsiteY32" fmla="*/ 374904 h 503380"/>
                <a:gd name="connsiteX33" fmla="*/ 169891 w 956275"/>
                <a:gd name="connsiteY33" fmla="*/ 402336 h 503380"/>
                <a:gd name="connsiteX34" fmla="*/ 151603 w 956275"/>
                <a:gd name="connsiteY34" fmla="*/ 402336 h 503380"/>
                <a:gd name="connsiteX35" fmla="*/ 169891 w 956275"/>
                <a:gd name="connsiteY35" fmla="*/ 365760 h 503380"/>
                <a:gd name="connsiteX36" fmla="*/ 224755 w 956275"/>
                <a:gd name="connsiteY36" fmla="*/ 301752 h 503380"/>
                <a:gd name="connsiteX37" fmla="*/ 316195 w 956275"/>
                <a:gd name="connsiteY37" fmla="*/ 219456 h 503380"/>
                <a:gd name="connsiteX38" fmla="*/ 361915 w 956275"/>
                <a:gd name="connsiteY38" fmla="*/ 146304 h 503380"/>
                <a:gd name="connsiteX39" fmla="*/ 361915 w 956275"/>
                <a:gd name="connsiteY39" fmla="*/ 64008 h 503380"/>
                <a:gd name="connsiteX40" fmla="*/ 352771 w 956275"/>
                <a:gd name="connsiteY40" fmla="*/ 54864 h 503380"/>
                <a:gd name="connsiteX41" fmla="*/ 343627 w 956275"/>
                <a:gd name="connsiteY41" fmla="*/ 128016 h 503380"/>
                <a:gd name="connsiteX42" fmla="*/ 316195 w 956275"/>
                <a:gd name="connsiteY42" fmla="*/ 173736 h 503380"/>
                <a:gd name="connsiteX43" fmla="*/ 243043 w 956275"/>
                <a:gd name="connsiteY43" fmla="*/ 237744 h 503380"/>
                <a:gd name="connsiteX44" fmla="*/ 215611 w 956275"/>
                <a:gd name="connsiteY44" fmla="*/ 256032 h 503380"/>
                <a:gd name="connsiteX45" fmla="*/ 142459 w 956275"/>
                <a:gd name="connsiteY45" fmla="*/ 347472 h 503380"/>
                <a:gd name="connsiteX46" fmla="*/ 133315 w 956275"/>
                <a:gd name="connsiteY46" fmla="*/ 374904 h 503380"/>
                <a:gd name="connsiteX47" fmla="*/ 124171 w 956275"/>
                <a:gd name="connsiteY47" fmla="*/ 411480 h 503380"/>
                <a:gd name="connsiteX48" fmla="*/ 142459 w 956275"/>
                <a:gd name="connsiteY48" fmla="*/ 429768 h 503380"/>
                <a:gd name="connsiteX49" fmla="*/ 96739 w 956275"/>
                <a:gd name="connsiteY49" fmla="*/ 457200 h 503380"/>
                <a:gd name="connsiteX50" fmla="*/ 13820 w 956275"/>
                <a:gd name="connsiteY50" fmla="*/ 496783 h 503380"/>
                <a:gd name="connsiteX51" fmla="*/ 13820 w 956275"/>
                <a:gd name="connsiteY51" fmla="*/ 496784 h 503380"/>
                <a:gd name="connsiteX52" fmla="*/ 40672 w 956275"/>
                <a:gd name="connsiteY52" fmla="*/ 486851 h 503380"/>
                <a:gd name="connsiteX53" fmla="*/ 132458 w 956275"/>
                <a:gd name="connsiteY53" fmla="*/ 430387 h 503380"/>
                <a:gd name="connsiteX54" fmla="*/ 40672 w 956275"/>
                <a:gd name="connsiteY54" fmla="*/ 486852 h 503380"/>
                <a:gd name="connsiteX55" fmla="*/ 40672 w 956275"/>
                <a:gd name="connsiteY55" fmla="*/ 486852 h 503380"/>
                <a:gd name="connsiteX0" fmla="*/ 97137 w 956275"/>
                <a:gd name="connsiteY0" fmla="*/ 578637 h 578637"/>
                <a:gd name="connsiteX1" fmla="*/ 13820 w 956275"/>
                <a:gd name="connsiteY1" fmla="*/ 496784 h 578637"/>
                <a:gd name="connsiteX2" fmla="*/ 13820 w 956275"/>
                <a:gd name="connsiteY2" fmla="*/ 496784 h 578637"/>
                <a:gd name="connsiteX3" fmla="*/ 51019 w 956275"/>
                <a:gd name="connsiteY3" fmla="*/ 493776 h 578637"/>
                <a:gd name="connsiteX4" fmla="*/ 151603 w 956275"/>
                <a:gd name="connsiteY4" fmla="*/ 466344 h 578637"/>
                <a:gd name="connsiteX5" fmla="*/ 252187 w 956275"/>
                <a:gd name="connsiteY5" fmla="*/ 384048 h 578637"/>
                <a:gd name="connsiteX6" fmla="*/ 444211 w 956275"/>
                <a:gd name="connsiteY6" fmla="*/ 301752 h 578637"/>
                <a:gd name="connsiteX7" fmla="*/ 526507 w 956275"/>
                <a:gd name="connsiteY7" fmla="*/ 192024 h 578637"/>
                <a:gd name="connsiteX8" fmla="*/ 672811 w 956275"/>
                <a:gd name="connsiteY8" fmla="*/ 155448 h 578637"/>
                <a:gd name="connsiteX9" fmla="*/ 718531 w 956275"/>
                <a:gd name="connsiteY9" fmla="*/ 155448 h 578637"/>
                <a:gd name="connsiteX10" fmla="*/ 755107 w 956275"/>
                <a:gd name="connsiteY10" fmla="*/ 137160 h 578637"/>
                <a:gd name="connsiteX11" fmla="*/ 709387 w 956275"/>
                <a:gd name="connsiteY11" fmla="*/ 137160 h 578637"/>
                <a:gd name="connsiteX12" fmla="*/ 617947 w 956275"/>
                <a:gd name="connsiteY12" fmla="*/ 137160 h 578637"/>
                <a:gd name="connsiteX13" fmla="*/ 563083 w 956275"/>
                <a:gd name="connsiteY13" fmla="*/ 146304 h 578637"/>
                <a:gd name="connsiteX14" fmla="*/ 553939 w 956275"/>
                <a:gd name="connsiteY14" fmla="*/ 155448 h 578637"/>
                <a:gd name="connsiteX15" fmla="*/ 535651 w 956275"/>
                <a:gd name="connsiteY15" fmla="*/ 146304 h 578637"/>
                <a:gd name="connsiteX16" fmla="*/ 663667 w 956275"/>
                <a:gd name="connsiteY16" fmla="*/ 91440 h 578637"/>
                <a:gd name="connsiteX17" fmla="*/ 718531 w 956275"/>
                <a:gd name="connsiteY17" fmla="*/ 91440 h 578637"/>
                <a:gd name="connsiteX18" fmla="*/ 809971 w 956275"/>
                <a:gd name="connsiteY18" fmla="*/ 82296 h 578637"/>
                <a:gd name="connsiteX19" fmla="*/ 937987 w 956275"/>
                <a:gd name="connsiteY19" fmla="*/ 27432 h 578637"/>
                <a:gd name="connsiteX20" fmla="*/ 919699 w 956275"/>
                <a:gd name="connsiteY20" fmla="*/ 0 h 578637"/>
                <a:gd name="connsiteX21" fmla="*/ 883123 w 956275"/>
                <a:gd name="connsiteY21" fmla="*/ 27432 h 578637"/>
                <a:gd name="connsiteX22" fmla="*/ 846547 w 956275"/>
                <a:gd name="connsiteY22" fmla="*/ 36576 h 578637"/>
                <a:gd name="connsiteX23" fmla="*/ 773395 w 956275"/>
                <a:gd name="connsiteY23" fmla="*/ 64008 h 578637"/>
                <a:gd name="connsiteX24" fmla="*/ 718531 w 956275"/>
                <a:gd name="connsiteY24" fmla="*/ 64008 h 578637"/>
                <a:gd name="connsiteX25" fmla="*/ 608803 w 956275"/>
                <a:gd name="connsiteY25" fmla="*/ 64008 h 578637"/>
                <a:gd name="connsiteX26" fmla="*/ 553939 w 956275"/>
                <a:gd name="connsiteY26" fmla="*/ 100584 h 578637"/>
                <a:gd name="connsiteX27" fmla="*/ 517363 w 956275"/>
                <a:gd name="connsiteY27" fmla="*/ 146304 h 578637"/>
                <a:gd name="connsiteX28" fmla="*/ 471643 w 956275"/>
                <a:gd name="connsiteY28" fmla="*/ 182880 h 578637"/>
                <a:gd name="connsiteX29" fmla="*/ 425923 w 956275"/>
                <a:gd name="connsiteY29" fmla="*/ 256032 h 578637"/>
                <a:gd name="connsiteX30" fmla="*/ 352771 w 956275"/>
                <a:gd name="connsiteY30" fmla="*/ 301752 h 578637"/>
                <a:gd name="connsiteX31" fmla="*/ 252187 w 956275"/>
                <a:gd name="connsiteY31" fmla="*/ 347472 h 578637"/>
                <a:gd name="connsiteX32" fmla="*/ 215611 w 956275"/>
                <a:gd name="connsiteY32" fmla="*/ 374904 h 578637"/>
                <a:gd name="connsiteX33" fmla="*/ 169891 w 956275"/>
                <a:gd name="connsiteY33" fmla="*/ 402336 h 578637"/>
                <a:gd name="connsiteX34" fmla="*/ 151603 w 956275"/>
                <a:gd name="connsiteY34" fmla="*/ 402336 h 578637"/>
                <a:gd name="connsiteX35" fmla="*/ 169891 w 956275"/>
                <a:gd name="connsiteY35" fmla="*/ 365760 h 578637"/>
                <a:gd name="connsiteX36" fmla="*/ 224755 w 956275"/>
                <a:gd name="connsiteY36" fmla="*/ 301752 h 578637"/>
                <a:gd name="connsiteX37" fmla="*/ 316195 w 956275"/>
                <a:gd name="connsiteY37" fmla="*/ 219456 h 578637"/>
                <a:gd name="connsiteX38" fmla="*/ 361915 w 956275"/>
                <a:gd name="connsiteY38" fmla="*/ 146304 h 578637"/>
                <a:gd name="connsiteX39" fmla="*/ 361915 w 956275"/>
                <a:gd name="connsiteY39" fmla="*/ 64008 h 578637"/>
                <a:gd name="connsiteX40" fmla="*/ 352771 w 956275"/>
                <a:gd name="connsiteY40" fmla="*/ 54864 h 578637"/>
                <a:gd name="connsiteX41" fmla="*/ 343627 w 956275"/>
                <a:gd name="connsiteY41" fmla="*/ 128016 h 578637"/>
                <a:gd name="connsiteX42" fmla="*/ 316195 w 956275"/>
                <a:gd name="connsiteY42" fmla="*/ 173736 h 578637"/>
                <a:gd name="connsiteX43" fmla="*/ 243043 w 956275"/>
                <a:gd name="connsiteY43" fmla="*/ 237744 h 578637"/>
                <a:gd name="connsiteX44" fmla="*/ 215611 w 956275"/>
                <a:gd name="connsiteY44" fmla="*/ 256032 h 578637"/>
                <a:gd name="connsiteX45" fmla="*/ 142459 w 956275"/>
                <a:gd name="connsiteY45" fmla="*/ 347472 h 578637"/>
                <a:gd name="connsiteX46" fmla="*/ 133315 w 956275"/>
                <a:gd name="connsiteY46" fmla="*/ 374904 h 578637"/>
                <a:gd name="connsiteX47" fmla="*/ 124171 w 956275"/>
                <a:gd name="connsiteY47" fmla="*/ 411480 h 578637"/>
                <a:gd name="connsiteX48" fmla="*/ 142459 w 956275"/>
                <a:gd name="connsiteY48" fmla="*/ 429768 h 578637"/>
                <a:gd name="connsiteX49" fmla="*/ 96739 w 956275"/>
                <a:gd name="connsiteY49" fmla="*/ 457200 h 578637"/>
                <a:gd name="connsiteX50" fmla="*/ 13820 w 956275"/>
                <a:gd name="connsiteY50" fmla="*/ 496783 h 578637"/>
                <a:gd name="connsiteX51" fmla="*/ 13820 w 956275"/>
                <a:gd name="connsiteY51" fmla="*/ 496784 h 578637"/>
                <a:gd name="connsiteX52" fmla="*/ 40672 w 956275"/>
                <a:gd name="connsiteY52" fmla="*/ 486851 h 578637"/>
                <a:gd name="connsiteX53" fmla="*/ 132458 w 956275"/>
                <a:gd name="connsiteY53" fmla="*/ 430387 h 578637"/>
                <a:gd name="connsiteX54" fmla="*/ 40672 w 956275"/>
                <a:gd name="connsiteY54" fmla="*/ 486852 h 578637"/>
                <a:gd name="connsiteX55" fmla="*/ 97137 w 956275"/>
                <a:gd name="connsiteY55" fmla="*/ 578637 h 578637"/>
                <a:gd name="connsiteX0" fmla="*/ 97137 w 956275"/>
                <a:gd name="connsiteY0" fmla="*/ 578637 h 578637"/>
                <a:gd name="connsiteX1" fmla="*/ 13820 w 956275"/>
                <a:gd name="connsiteY1" fmla="*/ 496784 h 578637"/>
                <a:gd name="connsiteX2" fmla="*/ 13820 w 956275"/>
                <a:gd name="connsiteY2" fmla="*/ 496784 h 578637"/>
                <a:gd name="connsiteX3" fmla="*/ 51019 w 956275"/>
                <a:gd name="connsiteY3" fmla="*/ 493776 h 578637"/>
                <a:gd name="connsiteX4" fmla="*/ 151603 w 956275"/>
                <a:gd name="connsiteY4" fmla="*/ 466344 h 578637"/>
                <a:gd name="connsiteX5" fmla="*/ 252187 w 956275"/>
                <a:gd name="connsiteY5" fmla="*/ 384048 h 578637"/>
                <a:gd name="connsiteX6" fmla="*/ 444211 w 956275"/>
                <a:gd name="connsiteY6" fmla="*/ 301752 h 578637"/>
                <a:gd name="connsiteX7" fmla="*/ 526507 w 956275"/>
                <a:gd name="connsiteY7" fmla="*/ 192024 h 578637"/>
                <a:gd name="connsiteX8" fmla="*/ 672811 w 956275"/>
                <a:gd name="connsiteY8" fmla="*/ 155448 h 578637"/>
                <a:gd name="connsiteX9" fmla="*/ 718531 w 956275"/>
                <a:gd name="connsiteY9" fmla="*/ 155448 h 578637"/>
                <a:gd name="connsiteX10" fmla="*/ 755107 w 956275"/>
                <a:gd name="connsiteY10" fmla="*/ 137160 h 578637"/>
                <a:gd name="connsiteX11" fmla="*/ 709387 w 956275"/>
                <a:gd name="connsiteY11" fmla="*/ 137160 h 578637"/>
                <a:gd name="connsiteX12" fmla="*/ 617947 w 956275"/>
                <a:gd name="connsiteY12" fmla="*/ 137160 h 578637"/>
                <a:gd name="connsiteX13" fmla="*/ 563083 w 956275"/>
                <a:gd name="connsiteY13" fmla="*/ 146304 h 578637"/>
                <a:gd name="connsiteX14" fmla="*/ 553939 w 956275"/>
                <a:gd name="connsiteY14" fmla="*/ 155448 h 578637"/>
                <a:gd name="connsiteX15" fmla="*/ 535651 w 956275"/>
                <a:gd name="connsiteY15" fmla="*/ 146304 h 578637"/>
                <a:gd name="connsiteX16" fmla="*/ 663667 w 956275"/>
                <a:gd name="connsiteY16" fmla="*/ 91440 h 578637"/>
                <a:gd name="connsiteX17" fmla="*/ 718531 w 956275"/>
                <a:gd name="connsiteY17" fmla="*/ 91440 h 578637"/>
                <a:gd name="connsiteX18" fmla="*/ 809971 w 956275"/>
                <a:gd name="connsiteY18" fmla="*/ 82296 h 578637"/>
                <a:gd name="connsiteX19" fmla="*/ 937987 w 956275"/>
                <a:gd name="connsiteY19" fmla="*/ 27432 h 578637"/>
                <a:gd name="connsiteX20" fmla="*/ 919699 w 956275"/>
                <a:gd name="connsiteY20" fmla="*/ 0 h 578637"/>
                <a:gd name="connsiteX21" fmla="*/ 883123 w 956275"/>
                <a:gd name="connsiteY21" fmla="*/ 27432 h 578637"/>
                <a:gd name="connsiteX22" fmla="*/ 846547 w 956275"/>
                <a:gd name="connsiteY22" fmla="*/ 36576 h 578637"/>
                <a:gd name="connsiteX23" fmla="*/ 773395 w 956275"/>
                <a:gd name="connsiteY23" fmla="*/ 64008 h 578637"/>
                <a:gd name="connsiteX24" fmla="*/ 718531 w 956275"/>
                <a:gd name="connsiteY24" fmla="*/ 64008 h 578637"/>
                <a:gd name="connsiteX25" fmla="*/ 608803 w 956275"/>
                <a:gd name="connsiteY25" fmla="*/ 64008 h 578637"/>
                <a:gd name="connsiteX26" fmla="*/ 553939 w 956275"/>
                <a:gd name="connsiteY26" fmla="*/ 100584 h 578637"/>
                <a:gd name="connsiteX27" fmla="*/ 517363 w 956275"/>
                <a:gd name="connsiteY27" fmla="*/ 146304 h 578637"/>
                <a:gd name="connsiteX28" fmla="*/ 471643 w 956275"/>
                <a:gd name="connsiteY28" fmla="*/ 182880 h 578637"/>
                <a:gd name="connsiteX29" fmla="*/ 425923 w 956275"/>
                <a:gd name="connsiteY29" fmla="*/ 256032 h 578637"/>
                <a:gd name="connsiteX30" fmla="*/ 352771 w 956275"/>
                <a:gd name="connsiteY30" fmla="*/ 301752 h 578637"/>
                <a:gd name="connsiteX31" fmla="*/ 252187 w 956275"/>
                <a:gd name="connsiteY31" fmla="*/ 347472 h 578637"/>
                <a:gd name="connsiteX32" fmla="*/ 215611 w 956275"/>
                <a:gd name="connsiteY32" fmla="*/ 374904 h 578637"/>
                <a:gd name="connsiteX33" fmla="*/ 169891 w 956275"/>
                <a:gd name="connsiteY33" fmla="*/ 402336 h 578637"/>
                <a:gd name="connsiteX34" fmla="*/ 151603 w 956275"/>
                <a:gd name="connsiteY34" fmla="*/ 402336 h 578637"/>
                <a:gd name="connsiteX35" fmla="*/ 169891 w 956275"/>
                <a:gd name="connsiteY35" fmla="*/ 365760 h 578637"/>
                <a:gd name="connsiteX36" fmla="*/ 224755 w 956275"/>
                <a:gd name="connsiteY36" fmla="*/ 301752 h 578637"/>
                <a:gd name="connsiteX37" fmla="*/ 316195 w 956275"/>
                <a:gd name="connsiteY37" fmla="*/ 219456 h 578637"/>
                <a:gd name="connsiteX38" fmla="*/ 361915 w 956275"/>
                <a:gd name="connsiteY38" fmla="*/ 146304 h 578637"/>
                <a:gd name="connsiteX39" fmla="*/ 361915 w 956275"/>
                <a:gd name="connsiteY39" fmla="*/ 64008 h 578637"/>
                <a:gd name="connsiteX40" fmla="*/ 352771 w 956275"/>
                <a:gd name="connsiteY40" fmla="*/ 54864 h 578637"/>
                <a:gd name="connsiteX41" fmla="*/ 343627 w 956275"/>
                <a:gd name="connsiteY41" fmla="*/ 128016 h 578637"/>
                <a:gd name="connsiteX42" fmla="*/ 316195 w 956275"/>
                <a:gd name="connsiteY42" fmla="*/ 173736 h 578637"/>
                <a:gd name="connsiteX43" fmla="*/ 243043 w 956275"/>
                <a:gd name="connsiteY43" fmla="*/ 237744 h 578637"/>
                <a:gd name="connsiteX44" fmla="*/ 215611 w 956275"/>
                <a:gd name="connsiteY44" fmla="*/ 256032 h 578637"/>
                <a:gd name="connsiteX45" fmla="*/ 142459 w 956275"/>
                <a:gd name="connsiteY45" fmla="*/ 347472 h 578637"/>
                <a:gd name="connsiteX46" fmla="*/ 133315 w 956275"/>
                <a:gd name="connsiteY46" fmla="*/ 374904 h 578637"/>
                <a:gd name="connsiteX47" fmla="*/ 124171 w 956275"/>
                <a:gd name="connsiteY47" fmla="*/ 411480 h 578637"/>
                <a:gd name="connsiteX48" fmla="*/ 142459 w 956275"/>
                <a:gd name="connsiteY48" fmla="*/ 429768 h 578637"/>
                <a:gd name="connsiteX49" fmla="*/ 96739 w 956275"/>
                <a:gd name="connsiteY49" fmla="*/ 457200 h 578637"/>
                <a:gd name="connsiteX50" fmla="*/ 13820 w 956275"/>
                <a:gd name="connsiteY50" fmla="*/ 496783 h 578637"/>
                <a:gd name="connsiteX51" fmla="*/ 13820 w 956275"/>
                <a:gd name="connsiteY51" fmla="*/ 496784 h 578637"/>
                <a:gd name="connsiteX52" fmla="*/ 40672 w 956275"/>
                <a:gd name="connsiteY52" fmla="*/ 486851 h 578637"/>
                <a:gd name="connsiteX53" fmla="*/ 132458 w 956275"/>
                <a:gd name="connsiteY53" fmla="*/ 430387 h 578637"/>
                <a:gd name="connsiteX54" fmla="*/ 97137 w 956275"/>
                <a:gd name="connsiteY54" fmla="*/ 578637 h 578637"/>
                <a:gd name="connsiteX55" fmla="*/ 97137 w 956275"/>
                <a:gd name="connsiteY55" fmla="*/ 578637 h 578637"/>
                <a:gd name="connsiteX0" fmla="*/ 97137 w 956275"/>
                <a:gd name="connsiteY0" fmla="*/ 578637 h 578637"/>
                <a:gd name="connsiteX1" fmla="*/ 13820 w 956275"/>
                <a:gd name="connsiteY1" fmla="*/ 496784 h 578637"/>
                <a:gd name="connsiteX2" fmla="*/ 13820 w 956275"/>
                <a:gd name="connsiteY2" fmla="*/ 496784 h 578637"/>
                <a:gd name="connsiteX3" fmla="*/ 51019 w 956275"/>
                <a:gd name="connsiteY3" fmla="*/ 493776 h 578637"/>
                <a:gd name="connsiteX4" fmla="*/ 151603 w 956275"/>
                <a:gd name="connsiteY4" fmla="*/ 466344 h 578637"/>
                <a:gd name="connsiteX5" fmla="*/ 252187 w 956275"/>
                <a:gd name="connsiteY5" fmla="*/ 384048 h 578637"/>
                <a:gd name="connsiteX6" fmla="*/ 444211 w 956275"/>
                <a:gd name="connsiteY6" fmla="*/ 301752 h 578637"/>
                <a:gd name="connsiteX7" fmla="*/ 526507 w 956275"/>
                <a:gd name="connsiteY7" fmla="*/ 192024 h 578637"/>
                <a:gd name="connsiteX8" fmla="*/ 672811 w 956275"/>
                <a:gd name="connsiteY8" fmla="*/ 155448 h 578637"/>
                <a:gd name="connsiteX9" fmla="*/ 718531 w 956275"/>
                <a:gd name="connsiteY9" fmla="*/ 155448 h 578637"/>
                <a:gd name="connsiteX10" fmla="*/ 755107 w 956275"/>
                <a:gd name="connsiteY10" fmla="*/ 137160 h 578637"/>
                <a:gd name="connsiteX11" fmla="*/ 709387 w 956275"/>
                <a:gd name="connsiteY11" fmla="*/ 137160 h 578637"/>
                <a:gd name="connsiteX12" fmla="*/ 617947 w 956275"/>
                <a:gd name="connsiteY12" fmla="*/ 137160 h 578637"/>
                <a:gd name="connsiteX13" fmla="*/ 563083 w 956275"/>
                <a:gd name="connsiteY13" fmla="*/ 146304 h 578637"/>
                <a:gd name="connsiteX14" fmla="*/ 553939 w 956275"/>
                <a:gd name="connsiteY14" fmla="*/ 155448 h 578637"/>
                <a:gd name="connsiteX15" fmla="*/ 535651 w 956275"/>
                <a:gd name="connsiteY15" fmla="*/ 146304 h 578637"/>
                <a:gd name="connsiteX16" fmla="*/ 663667 w 956275"/>
                <a:gd name="connsiteY16" fmla="*/ 91440 h 578637"/>
                <a:gd name="connsiteX17" fmla="*/ 718531 w 956275"/>
                <a:gd name="connsiteY17" fmla="*/ 91440 h 578637"/>
                <a:gd name="connsiteX18" fmla="*/ 809971 w 956275"/>
                <a:gd name="connsiteY18" fmla="*/ 82296 h 578637"/>
                <a:gd name="connsiteX19" fmla="*/ 937987 w 956275"/>
                <a:gd name="connsiteY19" fmla="*/ 27432 h 578637"/>
                <a:gd name="connsiteX20" fmla="*/ 919699 w 956275"/>
                <a:gd name="connsiteY20" fmla="*/ 0 h 578637"/>
                <a:gd name="connsiteX21" fmla="*/ 883123 w 956275"/>
                <a:gd name="connsiteY21" fmla="*/ 27432 h 578637"/>
                <a:gd name="connsiteX22" fmla="*/ 846547 w 956275"/>
                <a:gd name="connsiteY22" fmla="*/ 36576 h 578637"/>
                <a:gd name="connsiteX23" fmla="*/ 773395 w 956275"/>
                <a:gd name="connsiteY23" fmla="*/ 64008 h 578637"/>
                <a:gd name="connsiteX24" fmla="*/ 718531 w 956275"/>
                <a:gd name="connsiteY24" fmla="*/ 64008 h 578637"/>
                <a:gd name="connsiteX25" fmla="*/ 608803 w 956275"/>
                <a:gd name="connsiteY25" fmla="*/ 64008 h 578637"/>
                <a:gd name="connsiteX26" fmla="*/ 553939 w 956275"/>
                <a:gd name="connsiteY26" fmla="*/ 100584 h 578637"/>
                <a:gd name="connsiteX27" fmla="*/ 517363 w 956275"/>
                <a:gd name="connsiteY27" fmla="*/ 146304 h 578637"/>
                <a:gd name="connsiteX28" fmla="*/ 471643 w 956275"/>
                <a:gd name="connsiteY28" fmla="*/ 182880 h 578637"/>
                <a:gd name="connsiteX29" fmla="*/ 425923 w 956275"/>
                <a:gd name="connsiteY29" fmla="*/ 256032 h 578637"/>
                <a:gd name="connsiteX30" fmla="*/ 352771 w 956275"/>
                <a:gd name="connsiteY30" fmla="*/ 301752 h 578637"/>
                <a:gd name="connsiteX31" fmla="*/ 252187 w 956275"/>
                <a:gd name="connsiteY31" fmla="*/ 347472 h 578637"/>
                <a:gd name="connsiteX32" fmla="*/ 215611 w 956275"/>
                <a:gd name="connsiteY32" fmla="*/ 374904 h 578637"/>
                <a:gd name="connsiteX33" fmla="*/ 169891 w 956275"/>
                <a:gd name="connsiteY33" fmla="*/ 402336 h 578637"/>
                <a:gd name="connsiteX34" fmla="*/ 151603 w 956275"/>
                <a:gd name="connsiteY34" fmla="*/ 402336 h 578637"/>
                <a:gd name="connsiteX35" fmla="*/ 169891 w 956275"/>
                <a:gd name="connsiteY35" fmla="*/ 365760 h 578637"/>
                <a:gd name="connsiteX36" fmla="*/ 224755 w 956275"/>
                <a:gd name="connsiteY36" fmla="*/ 301752 h 578637"/>
                <a:gd name="connsiteX37" fmla="*/ 316195 w 956275"/>
                <a:gd name="connsiteY37" fmla="*/ 219456 h 578637"/>
                <a:gd name="connsiteX38" fmla="*/ 361915 w 956275"/>
                <a:gd name="connsiteY38" fmla="*/ 146304 h 578637"/>
                <a:gd name="connsiteX39" fmla="*/ 361915 w 956275"/>
                <a:gd name="connsiteY39" fmla="*/ 64008 h 578637"/>
                <a:gd name="connsiteX40" fmla="*/ 352771 w 956275"/>
                <a:gd name="connsiteY40" fmla="*/ 54864 h 578637"/>
                <a:gd name="connsiteX41" fmla="*/ 343627 w 956275"/>
                <a:gd name="connsiteY41" fmla="*/ 128016 h 578637"/>
                <a:gd name="connsiteX42" fmla="*/ 316195 w 956275"/>
                <a:gd name="connsiteY42" fmla="*/ 173736 h 578637"/>
                <a:gd name="connsiteX43" fmla="*/ 243043 w 956275"/>
                <a:gd name="connsiteY43" fmla="*/ 237744 h 578637"/>
                <a:gd name="connsiteX44" fmla="*/ 215611 w 956275"/>
                <a:gd name="connsiteY44" fmla="*/ 256032 h 578637"/>
                <a:gd name="connsiteX45" fmla="*/ 142459 w 956275"/>
                <a:gd name="connsiteY45" fmla="*/ 347472 h 578637"/>
                <a:gd name="connsiteX46" fmla="*/ 133315 w 956275"/>
                <a:gd name="connsiteY46" fmla="*/ 374904 h 578637"/>
                <a:gd name="connsiteX47" fmla="*/ 124171 w 956275"/>
                <a:gd name="connsiteY47" fmla="*/ 411480 h 578637"/>
                <a:gd name="connsiteX48" fmla="*/ 142459 w 956275"/>
                <a:gd name="connsiteY48" fmla="*/ 429768 h 578637"/>
                <a:gd name="connsiteX49" fmla="*/ 96739 w 956275"/>
                <a:gd name="connsiteY49" fmla="*/ 457200 h 578637"/>
                <a:gd name="connsiteX50" fmla="*/ 13820 w 956275"/>
                <a:gd name="connsiteY50" fmla="*/ 496783 h 578637"/>
                <a:gd name="connsiteX51" fmla="*/ 13820 w 956275"/>
                <a:gd name="connsiteY51" fmla="*/ 496784 h 578637"/>
                <a:gd name="connsiteX52" fmla="*/ 23012 w 956275"/>
                <a:gd name="connsiteY52" fmla="*/ 560977 h 578637"/>
                <a:gd name="connsiteX53" fmla="*/ 132458 w 956275"/>
                <a:gd name="connsiteY53" fmla="*/ 430387 h 578637"/>
                <a:gd name="connsiteX54" fmla="*/ 97137 w 956275"/>
                <a:gd name="connsiteY54" fmla="*/ 578637 h 578637"/>
                <a:gd name="connsiteX55" fmla="*/ 97137 w 956275"/>
                <a:gd name="connsiteY55" fmla="*/ 578637 h 578637"/>
                <a:gd name="connsiteX0" fmla="*/ 97137 w 956275"/>
                <a:gd name="connsiteY0" fmla="*/ 578637 h 578637"/>
                <a:gd name="connsiteX1" fmla="*/ 13820 w 956275"/>
                <a:gd name="connsiteY1" fmla="*/ 496784 h 578637"/>
                <a:gd name="connsiteX2" fmla="*/ 13820 w 956275"/>
                <a:gd name="connsiteY2" fmla="*/ 496784 h 578637"/>
                <a:gd name="connsiteX3" fmla="*/ 51019 w 956275"/>
                <a:gd name="connsiteY3" fmla="*/ 493776 h 578637"/>
                <a:gd name="connsiteX4" fmla="*/ 151603 w 956275"/>
                <a:gd name="connsiteY4" fmla="*/ 466344 h 578637"/>
                <a:gd name="connsiteX5" fmla="*/ 252187 w 956275"/>
                <a:gd name="connsiteY5" fmla="*/ 384048 h 578637"/>
                <a:gd name="connsiteX6" fmla="*/ 444211 w 956275"/>
                <a:gd name="connsiteY6" fmla="*/ 301752 h 578637"/>
                <a:gd name="connsiteX7" fmla="*/ 526507 w 956275"/>
                <a:gd name="connsiteY7" fmla="*/ 192024 h 578637"/>
                <a:gd name="connsiteX8" fmla="*/ 672811 w 956275"/>
                <a:gd name="connsiteY8" fmla="*/ 155448 h 578637"/>
                <a:gd name="connsiteX9" fmla="*/ 718531 w 956275"/>
                <a:gd name="connsiteY9" fmla="*/ 155448 h 578637"/>
                <a:gd name="connsiteX10" fmla="*/ 755107 w 956275"/>
                <a:gd name="connsiteY10" fmla="*/ 137160 h 578637"/>
                <a:gd name="connsiteX11" fmla="*/ 709387 w 956275"/>
                <a:gd name="connsiteY11" fmla="*/ 137160 h 578637"/>
                <a:gd name="connsiteX12" fmla="*/ 617947 w 956275"/>
                <a:gd name="connsiteY12" fmla="*/ 137160 h 578637"/>
                <a:gd name="connsiteX13" fmla="*/ 563083 w 956275"/>
                <a:gd name="connsiteY13" fmla="*/ 146304 h 578637"/>
                <a:gd name="connsiteX14" fmla="*/ 553939 w 956275"/>
                <a:gd name="connsiteY14" fmla="*/ 155448 h 578637"/>
                <a:gd name="connsiteX15" fmla="*/ 535651 w 956275"/>
                <a:gd name="connsiteY15" fmla="*/ 146304 h 578637"/>
                <a:gd name="connsiteX16" fmla="*/ 663667 w 956275"/>
                <a:gd name="connsiteY16" fmla="*/ 91440 h 578637"/>
                <a:gd name="connsiteX17" fmla="*/ 718531 w 956275"/>
                <a:gd name="connsiteY17" fmla="*/ 91440 h 578637"/>
                <a:gd name="connsiteX18" fmla="*/ 809971 w 956275"/>
                <a:gd name="connsiteY18" fmla="*/ 82296 h 578637"/>
                <a:gd name="connsiteX19" fmla="*/ 937987 w 956275"/>
                <a:gd name="connsiteY19" fmla="*/ 27432 h 578637"/>
                <a:gd name="connsiteX20" fmla="*/ 919699 w 956275"/>
                <a:gd name="connsiteY20" fmla="*/ 0 h 578637"/>
                <a:gd name="connsiteX21" fmla="*/ 883123 w 956275"/>
                <a:gd name="connsiteY21" fmla="*/ 27432 h 578637"/>
                <a:gd name="connsiteX22" fmla="*/ 846547 w 956275"/>
                <a:gd name="connsiteY22" fmla="*/ 36576 h 578637"/>
                <a:gd name="connsiteX23" fmla="*/ 773395 w 956275"/>
                <a:gd name="connsiteY23" fmla="*/ 64008 h 578637"/>
                <a:gd name="connsiteX24" fmla="*/ 718531 w 956275"/>
                <a:gd name="connsiteY24" fmla="*/ 64008 h 578637"/>
                <a:gd name="connsiteX25" fmla="*/ 608803 w 956275"/>
                <a:gd name="connsiteY25" fmla="*/ 64008 h 578637"/>
                <a:gd name="connsiteX26" fmla="*/ 553939 w 956275"/>
                <a:gd name="connsiteY26" fmla="*/ 100584 h 578637"/>
                <a:gd name="connsiteX27" fmla="*/ 517363 w 956275"/>
                <a:gd name="connsiteY27" fmla="*/ 146304 h 578637"/>
                <a:gd name="connsiteX28" fmla="*/ 471643 w 956275"/>
                <a:gd name="connsiteY28" fmla="*/ 182880 h 578637"/>
                <a:gd name="connsiteX29" fmla="*/ 425923 w 956275"/>
                <a:gd name="connsiteY29" fmla="*/ 256032 h 578637"/>
                <a:gd name="connsiteX30" fmla="*/ 352771 w 956275"/>
                <a:gd name="connsiteY30" fmla="*/ 301752 h 578637"/>
                <a:gd name="connsiteX31" fmla="*/ 252187 w 956275"/>
                <a:gd name="connsiteY31" fmla="*/ 347472 h 578637"/>
                <a:gd name="connsiteX32" fmla="*/ 215611 w 956275"/>
                <a:gd name="connsiteY32" fmla="*/ 374904 h 578637"/>
                <a:gd name="connsiteX33" fmla="*/ 169891 w 956275"/>
                <a:gd name="connsiteY33" fmla="*/ 402336 h 578637"/>
                <a:gd name="connsiteX34" fmla="*/ 151603 w 956275"/>
                <a:gd name="connsiteY34" fmla="*/ 402336 h 578637"/>
                <a:gd name="connsiteX35" fmla="*/ 169891 w 956275"/>
                <a:gd name="connsiteY35" fmla="*/ 365760 h 578637"/>
                <a:gd name="connsiteX36" fmla="*/ 224755 w 956275"/>
                <a:gd name="connsiteY36" fmla="*/ 301752 h 578637"/>
                <a:gd name="connsiteX37" fmla="*/ 316195 w 956275"/>
                <a:gd name="connsiteY37" fmla="*/ 219456 h 578637"/>
                <a:gd name="connsiteX38" fmla="*/ 361915 w 956275"/>
                <a:gd name="connsiteY38" fmla="*/ 146304 h 578637"/>
                <a:gd name="connsiteX39" fmla="*/ 361915 w 956275"/>
                <a:gd name="connsiteY39" fmla="*/ 64008 h 578637"/>
                <a:gd name="connsiteX40" fmla="*/ 352771 w 956275"/>
                <a:gd name="connsiteY40" fmla="*/ 54864 h 578637"/>
                <a:gd name="connsiteX41" fmla="*/ 343627 w 956275"/>
                <a:gd name="connsiteY41" fmla="*/ 128016 h 578637"/>
                <a:gd name="connsiteX42" fmla="*/ 316195 w 956275"/>
                <a:gd name="connsiteY42" fmla="*/ 173736 h 578637"/>
                <a:gd name="connsiteX43" fmla="*/ 243043 w 956275"/>
                <a:gd name="connsiteY43" fmla="*/ 237744 h 578637"/>
                <a:gd name="connsiteX44" fmla="*/ 215611 w 956275"/>
                <a:gd name="connsiteY44" fmla="*/ 256032 h 578637"/>
                <a:gd name="connsiteX45" fmla="*/ 142459 w 956275"/>
                <a:gd name="connsiteY45" fmla="*/ 347472 h 578637"/>
                <a:gd name="connsiteX46" fmla="*/ 133315 w 956275"/>
                <a:gd name="connsiteY46" fmla="*/ 374904 h 578637"/>
                <a:gd name="connsiteX47" fmla="*/ 124171 w 956275"/>
                <a:gd name="connsiteY47" fmla="*/ 411480 h 578637"/>
                <a:gd name="connsiteX48" fmla="*/ 142459 w 956275"/>
                <a:gd name="connsiteY48" fmla="*/ 429768 h 578637"/>
                <a:gd name="connsiteX49" fmla="*/ 96739 w 956275"/>
                <a:gd name="connsiteY49" fmla="*/ 457200 h 578637"/>
                <a:gd name="connsiteX50" fmla="*/ 13820 w 956275"/>
                <a:gd name="connsiteY50" fmla="*/ 496783 h 578637"/>
                <a:gd name="connsiteX51" fmla="*/ 13820 w 956275"/>
                <a:gd name="connsiteY51" fmla="*/ 496784 h 578637"/>
                <a:gd name="connsiteX52" fmla="*/ 132458 w 956275"/>
                <a:gd name="connsiteY52" fmla="*/ 430387 h 578637"/>
                <a:gd name="connsiteX53" fmla="*/ 132458 w 956275"/>
                <a:gd name="connsiteY53" fmla="*/ 430387 h 578637"/>
                <a:gd name="connsiteX54" fmla="*/ 97137 w 956275"/>
                <a:gd name="connsiteY54" fmla="*/ 578637 h 578637"/>
                <a:gd name="connsiteX55" fmla="*/ 97137 w 956275"/>
                <a:gd name="connsiteY55" fmla="*/ 578637 h 578637"/>
                <a:gd name="connsiteX0" fmla="*/ 89270 w 948408"/>
                <a:gd name="connsiteY0" fmla="*/ 578637 h 578637"/>
                <a:gd name="connsiteX1" fmla="*/ 5953 w 948408"/>
                <a:gd name="connsiteY1" fmla="*/ 496784 h 578637"/>
                <a:gd name="connsiteX2" fmla="*/ 5953 w 948408"/>
                <a:gd name="connsiteY2" fmla="*/ 496784 h 578637"/>
                <a:gd name="connsiteX3" fmla="*/ 43152 w 948408"/>
                <a:gd name="connsiteY3" fmla="*/ 493776 h 578637"/>
                <a:gd name="connsiteX4" fmla="*/ 143736 w 948408"/>
                <a:gd name="connsiteY4" fmla="*/ 466344 h 578637"/>
                <a:gd name="connsiteX5" fmla="*/ 244320 w 948408"/>
                <a:gd name="connsiteY5" fmla="*/ 384048 h 578637"/>
                <a:gd name="connsiteX6" fmla="*/ 436344 w 948408"/>
                <a:gd name="connsiteY6" fmla="*/ 301752 h 578637"/>
                <a:gd name="connsiteX7" fmla="*/ 518640 w 948408"/>
                <a:gd name="connsiteY7" fmla="*/ 192024 h 578637"/>
                <a:gd name="connsiteX8" fmla="*/ 664944 w 948408"/>
                <a:gd name="connsiteY8" fmla="*/ 155448 h 578637"/>
                <a:gd name="connsiteX9" fmla="*/ 710664 w 948408"/>
                <a:gd name="connsiteY9" fmla="*/ 155448 h 578637"/>
                <a:gd name="connsiteX10" fmla="*/ 747240 w 948408"/>
                <a:gd name="connsiteY10" fmla="*/ 137160 h 578637"/>
                <a:gd name="connsiteX11" fmla="*/ 701520 w 948408"/>
                <a:gd name="connsiteY11" fmla="*/ 137160 h 578637"/>
                <a:gd name="connsiteX12" fmla="*/ 610080 w 948408"/>
                <a:gd name="connsiteY12" fmla="*/ 137160 h 578637"/>
                <a:gd name="connsiteX13" fmla="*/ 555216 w 948408"/>
                <a:gd name="connsiteY13" fmla="*/ 146304 h 578637"/>
                <a:gd name="connsiteX14" fmla="*/ 546072 w 948408"/>
                <a:gd name="connsiteY14" fmla="*/ 155448 h 578637"/>
                <a:gd name="connsiteX15" fmla="*/ 527784 w 948408"/>
                <a:gd name="connsiteY15" fmla="*/ 146304 h 578637"/>
                <a:gd name="connsiteX16" fmla="*/ 655800 w 948408"/>
                <a:gd name="connsiteY16" fmla="*/ 91440 h 578637"/>
                <a:gd name="connsiteX17" fmla="*/ 710664 w 948408"/>
                <a:gd name="connsiteY17" fmla="*/ 91440 h 578637"/>
                <a:gd name="connsiteX18" fmla="*/ 802104 w 948408"/>
                <a:gd name="connsiteY18" fmla="*/ 82296 h 578637"/>
                <a:gd name="connsiteX19" fmla="*/ 930120 w 948408"/>
                <a:gd name="connsiteY19" fmla="*/ 27432 h 578637"/>
                <a:gd name="connsiteX20" fmla="*/ 911832 w 948408"/>
                <a:gd name="connsiteY20" fmla="*/ 0 h 578637"/>
                <a:gd name="connsiteX21" fmla="*/ 875256 w 948408"/>
                <a:gd name="connsiteY21" fmla="*/ 27432 h 578637"/>
                <a:gd name="connsiteX22" fmla="*/ 838680 w 948408"/>
                <a:gd name="connsiteY22" fmla="*/ 36576 h 578637"/>
                <a:gd name="connsiteX23" fmla="*/ 765528 w 948408"/>
                <a:gd name="connsiteY23" fmla="*/ 64008 h 578637"/>
                <a:gd name="connsiteX24" fmla="*/ 710664 w 948408"/>
                <a:gd name="connsiteY24" fmla="*/ 64008 h 578637"/>
                <a:gd name="connsiteX25" fmla="*/ 600936 w 948408"/>
                <a:gd name="connsiteY25" fmla="*/ 64008 h 578637"/>
                <a:gd name="connsiteX26" fmla="*/ 546072 w 948408"/>
                <a:gd name="connsiteY26" fmla="*/ 100584 h 578637"/>
                <a:gd name="connsiteX27" fmla="*/ 509496 w 948408"/>
                <a:gd name="connsiteY27" fmla="*/ 146304 h 578637"/>
                <a:gd name="connsiteX28" fmla="*/ 463776 w 948408"/>
                <a:gd name="connsiteY28" fmla="*/ 182880 h 578637"/>
                <a:gd name="connsiteX29" fmla="*/ 418056 w 948408"/>
                <a:gd name="connsiteY29" fmla="*/ 256032 h 578637"/>
                <a:gd name="connsiteX30" fmla="*/ 344904 w 948408"/>
                <a:gd name="connsiteY30" fmla="*/ 301752 h 578637"/>
                <a:gd name="connsiteX31" fmla="*/ 244320 w 948408"/>
                <a:gd name="connsiteY31" fmla="*/ 347472 h 578637"/>
                <a:gd name="connsiteX32" fmla="*/ 207744 w 948408"/>
                <a:gd name="connsiteY32" fmla="*/ 374904 h 578637"/>
                <a:gd name="connsiteX33" fmla="*/ 162024 w 948408"/>
                <a:gd name="connsiteY33" fmla="*/ 402336 h 578637"/>
                <a:gd name="connsiteX34" fmla="*/ 143736 w 948408"/>
                <a:gd name="connsiteY34" fmla="*/ 402336 h 578637"/>
                <a:gd name="connsiteX35" fmla="*/ 162024 w 948408"/>
                <a:gd name="connsiteY35" fmla="*/ 365760 h 578637"/>
                <a:gd name="connsiteX36" fmla="*/ 216888 w 948408"/>
                <a:gd name="connsiteY36" fmla="*/ 301752 h 578637"/>
                <a:gd name="connsiteX37" fmla="*/ 308328 w 948408"/>
                <a:gd name="connsiteY37" fmla="*/ 219456 h 578637"/>
                <a:gd name="connsiteX38" fmla="*/ 354048 w 948408"/>
                <a:gd name="connsiteY38" fmla="*/ 146304 h 578637"/>
                <a:gd name="connsiteX39" fmla="*/ 354048 w 948408"/>
                <a:gd name="connsiteY39" fmla="*/ 64008 h 578637"/>
                <a:gd name="connsiteX40" fmla="*/ 344904 w 948408"/>
                <a:gd name="connsiteY40" fmla="*/ 54864 h 578637"/>
                <a:gd name="connsiteX41" fmla="*/ 335760 w 948408"/>
                <a:gd name="connsiteY41" fmla="*/ 128016 h 578637"/>
                <a:gd name="connsiteX42" fmla="*/ 308328 w 948408"/>
                <a:gd name="connsiteY42" fmla="*/ 173736 h 578637"/>
                <a:gd name="connsiteX43" fmla="*/ 235176 w 948408"/>
                <a:gd name="connsiteY43" fmla="*/ 237744 h 578637"/>
                <a:gd name="connsiteX44" fmla="*/ 207744 w 948408"/>
                <a:gd name="connsiteY44" fmla="*/ 256032 h 578637"/>
                <a:gd name="connsiteX45" fmla="*/ 134592 w 948408"/>
                <a:gd name="connsiteY45" fmla="*/ 347472 h 578637"/>
                <a:gd name="connsiteX46" fmla="*/ 125448 w 948408"/>
                <a:gd name="connsiteY46" fmla="*/ 374904 h 578637"/>
                <a:gd name="connsiteX47" fmla="*/ 116304 w 948408"/>
                <a:gd name="connsiteY47" fmla="*/ 411480 h 578637"/>
                <a:gd name="connsiteX48" fmla="*/ 134592 w 948408"/>
                <a:gd name="connsiteY48" fmla="*/ 429768 h 578637"/>
                <a:gd name="connsiteX49" fmla="*/ 88872 w 948408"/>
                <a:gd name="connsiteY49" fmla="*/ 457200 h 578637"/>
                <a:gd name="connsiteX50" fmla="*/ 5953 w 948408"/>
                <a:gd name="connsiteY50" fmla="*/ 496783 h 578637"/>
                <a:gd name="connsiteX51" fmla="*/ 124591 w 948408"/>
                <a:gd name="connsiteY51" fmla="*/ 430387 h 578637"/>
                <a:gd name="connsiteX52" fmla="*/ 124591 w 948408"/>
                <a:gd name="connsiteY52" fmla="*/ 430387 h 578637"/>
                <a:gd name="connsiteX53" fmla="*/ 124591 w 948408"/>
                <a:gd name="connsiteY53" fmla="*/ 430387 h 578637"/>
                <a:gd name="connsiteX54" fmla="*/ 89270 w 948408"/>
                <a:gd name="connsiteY54" fmla="*/ 578637 h 578637"/>
                <a:gd name="connsiteX55" fmla="*/ 89270 w 948408"/>
                <a:gd name="connsiteY55" fmla="*/ 578637 h 578637"/>
                <a:gd name="connsiteX0" fmla="*/ 83317 w 942455"/>
                <a:gd name="connsiteY0" fmla="*/ 578637 h 578637"/>
                <a:gd name="connsiteX1" fmla="*/ 0 w 942455"/>
                <a:gd name="connsiteY1" fmla="*/ 496784 h 578637"/>
                <a:gd name="connsiteX2" fmla="*/ 0 w 942455"/>
                <a:gd name="connsiteY2" fmla="*/ 496784 h 578637"/>
                <a:gd name="connsiteX3" fmla="*/ 37199 w 942455"/>
                <a:gd name="connsiteY3" fmla="*/ 493776 h 578637"/>
                <a:gd name="connsiteX4" fmla="*/ 137783 w 942455"/>
                <a:gd name="connsiteY4" fmla="*/ 466344 h 578637"/>
                <a:gd name="connsiteX5" fmla="*/ 238367 w 942455"/>
                <a:gd name="connsiteY5" fmla="*/ 384048 h 578637"/>
                <a:gd name="connsiteX6" fmla="*/ 430391 w 942455"/>
                <a:gd name="connsiteY6" fmla="*/ 301752 h 578637"/>
                <a:gd name="connsiteX7" fmla="*/ 512687 w 942455"/>
                <a:gd name="connsiteY7" fmla="*/ 192024 h 578637"/>
                <a:gd name="connsiteX8" fmla="*/ 658991 w 942455"/>
                <a:gd name="connsiteY8" fmla="*/ 155448 h 578637"/>
                <a:gd name="connsiteX9" fmla="*/ 704711 w 942455"/>
                <a:gd name="connsiteY9" fmla="*/ 155448 h 578637"/>
                <a:gd name="connsiteX10" fmla="*/ 741287 w 942455"/>
                <a:gd name="connsiteY10" fmla="*/ 137160 h 578637"/>
                <a:gd name="connsiteX11" fmla="*/ 695567 w 942455"/>
                <a:gd name="connsiteY11" fmla="*/ 137160 h 578637"/>
                <a:gd name="connsiteX12" fmla="*/ 604127 w 942455"/>
                <a:gd name="connsiteY12" fmla="*/ 137160 h 578637"/>
                <a:gd name="connsiteX13" fmla="*/ 549263 w 942455"/>
                <a:gd name="connsiteY13" fmla="*/ 146304 h 578637"/>
                <a:gd name="connsiteX14" fmla="*/ 540119 w 942455"/>
                <a:gd name="connsiteY14" fmla="*/ 155448 h 578637"/>
                <a:gd name="connsiteX15" fmla="*/ 521831 w 942455"/>
                <a:gd name="connsiteY15" fmla="*/ 146304 h 578637"/>
                <a:gd name="connsiteX16" fmla="*/ 649847 w 942455"/>
                <a:gd name="connsiteY16" fmla="*/ 91440 h 578637"/>
                <a:gd name="connsiteX17" fmla="*/ 704711 w 942455"/>
                <a:gd name="connsiteY17" fmla="*/ 91440 h 578637"/>
                <a:gd name="connsiteX18" fmla="*/ 796151 w 942455"/>
                <a:gd name="connsiteY18" fmla="*/ 82296 h 578637"/>
                <a:gd name="connsiteX19" fmla="*/ 924167 w 942455"/>
                <a:gd name="connsiteY19" fmla="*/ 27432 h 578637"/>
                <a:gd name="connsiteX20" fmla="*/ 905879 w 942455"/>
                <a:gd name="connsiteY20" fmla="*/ 0 h 578637"/>
                <a:gd name="connsiteX21" fmla="*/ 869303 w 942455"/>
                <a:gd name="connsiteY21" fmla="*/ 27432 h 578637"/>
                <a:gd name="connsiteX22" fmla="*/ 832727 w 942455"/>
                <a:gd name="connsiteY22" fmla="*/ 36576 h 578637"/>
                <a:gd name="connsiteX23" fmla="*/ 759575 w 942455"/>
                <a:gd name="connsiteY23" fmla="*/ 64008 h 578637"/>
                <a:gd name="connsiteX24" fmla="*/ 704711 w 942455"/>
                <a:gd name="connsiteY24" fmla="*/ 64008 h 578637"/>
                <a:gd name="connsiteX25" fmla="*/ 594983 w 942455"/>
                <a:gd name="connsiteY25" fmla="*/ 64008 h 578637"/>
                <a:gd name="connsiteX26" fmla="*/ 540119 w 942455"/>
                <a:gd name="connsiteY26" fmla="*/ 100584 h 578637"/>
                <a:gd name="connsiteX27" fmla="*/ 503543 w 942455"/>
                <a:gd name="connsiteY27" fmla="*/ 146304 h 578637"/>
                <a:gd name="connsiteX28" fmla="*/ 457823 w 942455"/>
                <a:gd name="connsiteY28" fmla="*/ 182880 h 578637"/>
                <a:gd name="connsiteX29" fmla="*/ 412103 w 942455"/>
                <a:gd name="connsiteY29" fmla="*/ 256032 h 578637"/>
                <a:gd name="connsiteX30" fmla="*/ 338951 w 942455"/>
                <a:gd name="connsiteY30" fmla="*/ 301752 h 578637"/>
                <a:gd name="connsiteX31" fmla="*/ 238367 w 942455"/>
                <a:gd name="connsiteY31" fmla="*/ 347472 h 578637"/>
                <a:gd name="connsiteX32" fmla="*/ 201791 w 942455"/>
                <a:gd name="connsiteY32" fmla="*/ 374904 h 578637"/>
                <a:gd name="connsiteX33" fmla="*/ 156071 w 942455"/>
                <a:gd name="connsiteY33" fmla="*/ 402336 h 578637"/>
                <a:gd name="connsiteX34" fmla="*/ 137783 w 942455"/>
                <a:gd name="connsiteY34" fmla="*/ 402336 h 578637"/>
                <a:gd name="connsiteX35" fmla="*/ 156071 w 942455"/>
                <a:gd name="connsiteY35" fmla="*/ 365760 h 578637"/>
                <a:gd name="connsiteX36" fmla="*/ 210935 w 942455"/>
                <a:gd name="connsiteY36" fmla="*/ 301752 h 578637"/>
                <a:gd name="connsiteX37" fmla="*/ 302375 w 942455"/>
                <a:gd name="connsiteY37" fmla="*/ 219456 h 578637"/>
                <a:gd name="connsiteX38" fmla="*/ 348095 w 942455"/>
                <a:gd name="connsiteY38" fmla="*/ 146304 h 578637"/>
                <a:gd name="connsiteX39" fmla="*/ 348095 w 942455"/>
                <a:gd name="connsiteY39" fmla="*/ 64008 h 578637"/>
                <a:gd name="connsiteX40" fmla="*/ 338951 w 942455"/>
                <a:gd name="connsiteY40" fmla="*/ 54864 h 578637"/>
                <a:gd name="connsiteX41" fmla="*/ 329807 w 942455"/>
                <a:gd name="connsiteY41" fmla="*/ 128016 h 578637"/>
                <a:gd name="connsiteX42" fmla="*/ 302375 w 942455"/>
                <a:gd name="connsiteY42" fmla="*/ 173736 h 578637"/>
                <a:gd name="connsiteX43" fmla="*/ 229223 w 942455"/>
                <a:gd name="connsiteY43" fmla="*/ 237744 h 578637"/>
                <a:gd name="connsiteX44" fmla="*/ 201791 w 942455"/>
                <a:gd name="connsiteY44" fmla="*/ 256032 h 578637"/>
                <a:gd name="connsiteX45" fmla="*/ 128639 w 942455"/>
                <a:gd name="connsiteY45" fmla="*/ 347472 h 578637"/>
                <a:gd name="connsiteX46" fmla="*/ 119495 w 942455"/>
                <a:gd name="connsiteY46" fmla="*/ 374904 h 578637"/>
                <a:gd name="connsiteX47" fmla="*/ 110351 w 942455"/>
                <a:gd name="connsiteY47" fmla="*/ 411480 h 578637"/>
                <a:gd name="connsiteX48" fmla="*/ 128639 w 942455"/>
                <a:gd name="connsiteY48" fmla="*/ 429768 h 578637"/>
                <a:gd name="connsiteX49" fmla="*/ 82919 w 942455"/>
                <a:gd name="connsiteY49" fmla="*/ 457200 h 578637"/>
                <a:gd name="connsiteX50" fmla="*/ 118640 w 942455"/>
                <a:gd name="connsiteY50" fmla="*/ 430387 h 578637"/>
                <a:gd name="connsiteX51" fmla="*/ 118638 w 942455"/>
                <a:gd name="connsiteY51" fmla="*/ 430387 h 578637"/>
                <a:gd name="connsiteX52" fmla="*/ 118638 w 942455"/>
                <a:gd name="connsiteY52" fmla="*/ 430387 h 578637"/>
                <a:gd name="connsiteX53" fmla="*/ 118638 w 942455"/>
                <a:gd name="connsiteY53" fmla="*/ 430387 h 578637"/>
                <a:gd name="connsiteX54" fmla="*/ 83317 w 942455"/>
                <a:gd name="connsiteY54" fmla="*/ 578637 h 578637"/>
                <a:gd name="connsiteX55" fmla="*/ 83317 w 942455"/>
                <a:gd name="connsiteY55" fmla="*/ 578637 h 578637"/>
                <a:gd name="connsiteX0" fmla="*/ 118639 w 942455"/>
                <a:gd name="connsiteY0" fmla="*/ 430387 h 578637"/>
                <a:gd name="connsiteX1" fmla="*/ 0 w 942455"/>
                <a:gd name="connsiteY1" fmla="*/ 496784 h 578637"/>
                <a:gd name="connsiteX2" fmla="*/ 0 w 942455"/>
                <a:gd name="connsiteY2" fmla="*/ 496784 h 578637"/>
                <a:gd name="connsiteX3" fmla="*/ 37199 w 942455"/>
                <a:gd name="connsiteY3" fmla="*/ 493776 h 578637"/>
                <a:gd name="connsiteX4" fmla="*/ 137783 w 942455"/>
                <a:gd name="connsiteY4" fmla="*/ 466344 h 578637"/>
                <a:gd name="connsiteX5" fmla="*/ 238367 w 942455"/>
                <a:gd name="connsiteY5" fmla="*/ 384048 h 578637"/>
                <a:gd name="connsiteX6" fmla="*/ 430391 w 942455"/>
                <a:gd name="connsiteY6" fmla="*/ 301752 h 578637"/>
                <a:gd name="connsiteX7" fmla="*/ 512687 w 942455"/>
                <a:gd name="connsiteY7" fmla="*/ 192024 h 578637"/>
                <a:gd name="connsiteX8" fmla="*/ 658991 w 942455"/>
                <a:gd name="connsiteY8" fmla="*/ 155448 h 578637"/>
                <a:gd name="connsiteX9" fmla="*/ 704711 w 942455"/>
                <a:gd name="connsiteY9" fmla="*/ 155448 h 578637"/>
                <a:gd name="connsiteX10" fmla="*/ 741287 w 942455"/>
                <a:gd name="connsiteY10" fmla="*/ 137160 h 578637"/>
                <a:gd name="connsiteX11" fmla="*/ 695567 w 942455"/>
                <a:gd name="connsiteY11" fmla="*/ 137160 h 578637"/>
                <a:gd name="connsiteX12" fmla="*/ 604127 w 942455"/>
                <a:gd name="connsiteY12" fmla="*/ 137160 h 578637"/>
                <a:gd name="connsiteX13" fmla="*/ 549263 w 942455"/>
                <a:gd name="connsiteY13" fmla="*/ 146304 h 578637"/>
                <a:gd name="connsiteX14" fmla="*/ 540119 w 942455"/>
                <a:gd name="connsiteY14" fmla="*/ 155448 h 578637"/>
                <a:gd name="connsiteX15" fmla="*/ 521831 w 942455"/>
                <a:gd name="connsiteY15" fmla="*/ 146304 h 578637"/>
                <a:gd name="connsiteX16" fmla="*/ 649847 w 942455"/>
                <a:gd name="connsiteY16" fmla="*/ 91440 h 578637"/>
                <a:gd name="connsiteX17" fmla="*/ 704711 w 942455"/>
                <a:gd name="connsiteY17" fmla="*/ 91440 h 578637"/>
                <a:gd name="connsiteX18" fmla="*/ 796151 w 942455"/>
                <a:gd name="connsiteY18" fmla="*/ 82296 h 578637"/>
                <a:gd name="connsiteX19" fmla="*/ 924167 w 942455"/>
                <a:gd name="connsiteY19" fmla="*/ 27432 h 578637"/>
                <a:gd name="connsiteX20" fmla="*/ 905879 w 942455"/>
                <a:gd name="connsiteY20" fmla="*/ 0 h 578637"/>
                <a:gd name="connsiteX21" fmla="*/ 869303 w 942455"/>
                <a:gd name="connsiteY21" fmla="*/ 27432 h 578637"/>
                <a:gd name="connsiteX22" fmla="*/ 832727 w 942455"/>
                <a:gd name="connsiteY22" fmla="*/ 36576 h 578637"/>
                <a:gd name="connsiteX23" fmla="*/ 759575 w 942455"/>
                <a:gd name="connsiteY23" fmla="*/ 64008 h 578637"/>
                <a:gd name="connsiteX24" fmla="*/ 704711 w 942455"/>
                <a:gd name="connsiteY24" fmla="*/ 64008 h 578637"/>
                <a:gd name="connsiteX25" fmla="*/ 594983 w 942455"/>
                <a:gd name="connsiteY25" fmla="*/ 64008 h 578637"/>
                <a:gd name="connsiteX26" fmla="*/ 540119 w 942455"/>
                <a:gd name="connsiteY26" fmla="*/ 100584 h 578637"/>
                <a:gd name="connsiteX27" fmla="*/ 503543 w 942455"/>
                <a:gd name="connsiteY27" fmla="*/ 146304 h 578637"/>
                <a:gd name="connsiteX28" fmla="*/ 457823 w 942455"/>
                <a:gd name="connsiteY28" fmla="*/ 182880 h 578637"/>
                <a:gd name="connsiteX29" fmla="*/ 412103 w 942455"/>
                <a:gd name="connsiteY29" fmla="*/ 256032 h 578637"/>
                <a:gd name="connsiteX30" fmla="*/ 338951 w 942455"/>
                <a:gd name="connsiteY30" fmla="*/ 301752 h 578637"/>
                <a:gd name="connsiteX31" fmla="*/ 238367 w 942455"/>
                <a:gd name="connsiteY31" fmla="*/ 347472 h 578637"/>
                <a:gd name="connsiteX32" fmla="*/ 201791 w 942455"/>
                <a:gd name="connsiteY32" fmla="*/ 374904 h 578637"/>
                <a:gd name="connsiteX33" fmla="*/ 156071 w 942455"/>
                <a:gd name="connsiteY33" fmla="*/ 402336 h 578637"/>
                <a:gd name="connsiteX34" fmla="*/ 137783 w 942455"/>
                <a:gd name="connsiteY34" fmla="*/ 402336 h 578637"/>
                <a:gd name="connsiteX35" fmla="*/ 156071 w 942455"/>
                <a:gd name="connsiteY35" fmla="*/ 365760 h 578637"/>
                <a:gd name="connsiteX36" fmla="*/ 210935 w 942455"/>
                <a:gd name="connsiteY36" fmla="*/ 301752 h 578637"/>
                <a:gd name="connsiteX37" fmla="*/ 302375 w 942455"/>
                <a:gd name="connsiteY37" fmla="*/ 219456 h 578637"/>
                <a:gd name="connsiteX38" fmla="*/ 348095 w 942455"/>
                <a:gd name="connsiteY38" fmla="*/ 146304 h 578637"/>
                <a:gd name="connsiteX39" fmla="*/ 348095 w 942455"/>
                <a:gd name="connsiteY39" fmla="*/ 64008 h 578637"/>
                <a:gd name="connsiteX40" fmla="*/ 338951 w 942455"/>
                <a:gd name="connsiteY40" fmla="*/ 54864 h 578637"/>
                <a:gd name="connsiteX41" fmla="*/ 329807 w 942455"/>
                <a:gd name="connsiteY41" fmla="*/ 128016 h 578637"/>
                <a:gd name="connsiteX42" fmla="*/ 302375 w 942455"/>
                <a:gd name="connsiteY42" fmla="*/ 173736 h 578637"/>
                <a:gd name="connsiteX43" fmla="*/ 229223 w 942455"/>
                <a:gd name="connsiteY43" fmla="*/ 237744 h 578637"/>
                <a:gd name="connsiteX44" fmla="*/ 201791 w 942455"/>
                <a:gd name="connsiteY44" fmla="*/ 256032 h 578637"/>
                <a:gd name="connsiteX45" fmla="*/ 128639 w 942455"/>
                <a:gd name="connsiteY45" fmla="*/ 347472 h 578637"/>
                <a:gd name="connsiteX46" fmla="*/ 119495 w 942455"/>
                <a:gd name="connsiteY46" fmla="*/ 374904 h 578637"/>
                <a:gd name="connsiteX47" fmla="*/ 110351 w 942455"/>
                <a:gd name="connsiteY47" fmla="*/ 411480 h 578637"/>
                <a:gd name="connsiteX48" fmla="*/ 128639 w 942455"/>
                <a:gd name="connsiteY48" fmla="*/ 429768 h 578637"/>
                <a:gd name="connsiteX49" fmla="*/ 82919 w 942455"/>
                <a:gd name="connsiteY49" fmla="*/ 457200 h 578637"/>
                <a:gd name="connsiteX50" fmla="*/ 118640 w 942455"/>
                <a:gd name="connsiteY50" fmla="*/ 430387 h 578637"/>
                <a:gd name="connsiteX51" fmla="*/ 118638 w 942455"/>
                <a:gd name="connsiteY51" fmla="*/ 430387 h 578637"/>
                <a:gd name="connsiteX52" fmla="*/ 118638 w 942455"/>
                <a:gd name="connsiteY52" fmla="*/ 430387 h 578637"/>
                <a:gd name="connsiteX53" fmla="*/ 118638 w 942455"/>
                <a:gd name="connsiteY53" fmla="*/ 430387 h 578637"/>
                <a:gd name="connsiteX54" fmla="*/ 83317 w 942455"/>
                <a:gd name="connsiteY54" fmla="*/ 578637 h 578637"/>
                <a:gd name="connsiteX55" fmla="*/ 118639 w 942455"/>
                <a:gd name="connsiteY55" fmla="*/ 430387 h 578637"/>
                <a:gd name="connsiteX0" fmla="*/ 118639 w 942455"/>
                <a:gd name="connsiteY0" fmla="*/ 430387 h 578637"/>
                <a:gd name="connsiteX1" fmla="*/ 0 w 942455"/>
                <a:gd name="connsiteY1" fmla="*/ 496784 h 578637"/>
                <a:gd name="connsiteX2" fmla="*/ 0 w 942455"/>
                <a:gd name="connsiteY2" fmla="*/ 496784 h 578637"/>
                <a:gd name="connsiteX3" fmla="*/ 118639 w 942455"/>
                <a:gd name="connsiteY3" fmla="*/ 430387 h 578637"/>
                <a:gd name="connsiteX4" fmla="*/ 137783 w 942455"/>
                <a:gd name="connsiteY4" fmla="*/ 466344 h 578637"/>
                <a:gd name="connsiteX5" fmla="*/ 238367 w 942455"/>
                <a:gd name="connsiteY5" fmla="*/ 384048 h 578637"/>
                <a:gd name="connsiteX6" fmla="*/ 430391 w 942455"/>
                <a:gd name="connsiteY6" fmla="*/ 301752 h 578637"/>
                <a:gd name="connsiteX7" fmla="*/ 512687 w 942455"/>
                <a:gd name="connsiteY7" fmla="*/ 192024 h 578637"/>
                <a:gd name="connsiteX8" fmla="*/ 658991 w 942455"/>
                <a:gd name="connsiteY8" fmla="*/ 155448 h 578637"/>
                <a:gd name="connsiteX9" fmla="*/ 704711 w 942455"/>
                <a:gd name="connsiteY9" fmla="*/ 155448 h 578637"/>
                <a:gd name="connsiteX10" fmla="*/ 741287 w 942455"/>
                <a:gd name="connsiteY10" fmla="*/ 137160 h 578637"/>
                <a:gd name="connsiteX11" fmla="*/ 695567 w 942455"/>
                <a:gd name="connsiteY11" fmla="*/ 137160 h 578637"/>
                <a:gd name="connsiteX12" fmla="*/ 604127 w 942455"/>
                <a:gd name="connsiteY12" fmla="*/ 137160 h 578637"/>
                <a:gd name="connsiteX13" fmla="*/ 549263 w 942455"/>
                <a:gd name="connsiteY13" fmla="*/ 146304 h 578637"/>
                <a:gd name="connsiteX14" fmla="*/ 540119 w 942455"/>
                <a:gd name="connsiteY14" fmla="*/ 155448 h 578637"/>
                <a:gd name="connsiteX15" fmla="*/ 521831 w 942455"/>
                <a:gd name="connsiteY15" fmla="*/ 146304 h 578637"/>
                <a:gd name="connsiteX16" fmla="*/ 649847 w 942455"/>
                <a:gd name="connsiteY16" fmla="*/ 91440 h 578637"/>
                <a:gd name="connsiteX17" fmla="*/ 704711 w 942455"/>
                <a:gd name="connsiteY17" fmla="*/ 91440 h 578637"/>
                <a:gd name="connsiteX18" fmla="*/ 796151 w 942455"/>
                <a:gd name="connsiteY18" fmla="*/ 82296 h 578637"/>
                <a:gd name="connsiteX19" fmla="*/ 924167 w 942455"/>
                <a:gd name="connsiteY19" fmla="*/ 27432 h 578637"/>
                <a:gd name="connsiteX20" fmla="*/ 905879 w 942455"/>
                <a:gd name="connsiteY20" fmla="*/ 0 h 578637"/>
                <a:gd name="connsiteX21" fmla="*/ 869303 w 942455"/>
                <a:gd name="connsiteY21" fmla="*/ 27432 h 578637"/>
                <a:gd name="connsiteX22" fmla="*/ 832727 w 942455"/>
                <a:gd name="connsiteY22" fmla="*/ 36576 h 578637"/>
                <a:gd name="connsiteX23" fmla="*/ 759575 w 942455"/>
                <a:gd name="connsiteY23" fmla="*/ 64008 h 578637"/>
                <a:gd name="connsiteX24" fmla="*/ 704711 w 942455"/>
                <a:gd name="connsiteY24" fmla="*/ 64008 h 578637"/>
                <a:gd name="connsiteX25" fmla="*/ 594983 w 942455"/>
                <a:gd name="connsiteY25" fmla="*/ 64008 h 578637"/>
                <a:gd name="connsiteX26" fmla="*/ 540119 w 942455"/>
                <a:gd name="connsiteY26" fmla="*/ 100584 h 578637"/>
                <a:gd name="connsiteX27" fmla="*/ 503543 w 942455"/>
                <a:gd name="connsiteY27" fmla="*/ 146304 h 578637"/>
                <a:gd name="connsiteX28" fmla="*/ 457823 w 942455"/>
                <a:gd name="connsiteY28" fmla="*/ 182880 h 578637"/>
                <a:gd name="connsiteX29" fmla="*/ 412103 w 942455"/>
                <a:gd name="connsiteY29" fmla="*/ 256032 h 578637"/>
                <a:gd name="connsiteX30" fmla="*/ 338951 w 942455"/>
                <a:gd name="connsiteY30" fmla="*/ 301752 h 578637"/>
                <a:gd name="connsiteX31" fmla="*/ 238367 w 942455"/>
                <a:gd name="connsiteY31" fmla="*/ 347472 h 578637"/>
                <a:gd name="connsiteX32" fmla="*/ 201791 w 942455"/>
                <a:gd name="connsiteY32" fmla="*/ 374904 h 578637"/>
                <a:gd name="connsiteX33" fmla="*/ 156071 w 942455"/>
                <a:gd name="connsiteY33" fmla="*/ 402336 h 578637"/>
                <a:gd name="connsiteX34" fmla="*/ 137783 w 942455"/>
                <a:gd name="connsiteY34" fmla="*/ 402336 h 578637"/>
                <a:gd name="connsiteX35" fmla="*/ 156071 w 942455"/>
                <a:gd name="connsiteY35" fmla="*/ 365760 h 578637"/>
                <a:gd name="connsiteX36" fmla="*/ 210935 w 942455"/>
                <a:gd name="connsiteY36" fmla="*/ 301752 h 578637"/>
                <a:gd name="connsiteX37" fmla="*/ 302375 w 942455"/>
                <a:gd name="connsiteY37" fmla="*/ 219456 h 578637"/>
                <a:gd name="connsiteX38" fmla="*/ 348095 w 942455"/>
                <a:gd name="connsiteY38" fmla="*/ 146304 h 578637"/>
                <a:gd name="connsiteX39" fmla="*/ 348095 w 942455"/>
                <a:gd name="connsiteY39" fmla="*/ 64008 h 578637"/>
                <a:gd name="connsiteX40" fmla="*/ 338951 w 942455"/>
                <a:gd name="connsiteY40" fmla="*/ 54864 h 578637"/>
                <a:gd name="connsiteX41" fmla="*/ 329807 w 942455"/>
                <a:gd name="connsiteY41" fmla="*/ 128016 h 578637"/>
                <a:gd name="connsiteX42" fmla="*/ 302375 w 942455"/>
                <a:gd name="connsiteY42" fmla="*/ 173736 h 578637"/>
                <a:gd name="connsiteX43" fmla="*/ 229223 w 942455"/>
                <a:gd name="connsiteY43" fmla="*/ 237744 h 578637"/>
                <a:gd name="connsiteX44" fmla="*/ 201791 w 942455"/>
                <a:gd name="connsiteY44" fmla="*/ 256032 h 578637"/>
                <a:gd name="connsiteX45" fmla="*/ 128639 w 942455"/>
                <a:gd name="connsiteY45" fmla="*/ 347472 h 578637"/>
                <a:gd name="connsiteX46" fmla="*/ 119495 w 942455"/>
                <a:gd name="connsiteY46" fmla="*/ 374904 h 578637"/>
                <a:gd name="connsiteX47" fmla="*/ 110351 w 942455"/>
                <a:gd name="connsiteY47" fmla="*/ 411480 h 578637"/>
                <a:gd name="connsiteX48" fmla="*/ 128639 w 942455"/>
                <a:gd name="connsiteY48" fmla="*/ 429768 h 578637"/>
                <a:gd name="connsiteX49" fmla="*/ 82919 w 942455"/>
                <a:gd name="connsiteY49" fmla="*/ 457200 h 578637"/>
                <a:gd name="connsiteX50" fmla="*/ 118640 w 942455"/>
                <a:gd name="connsiteY50" fmla="*/ 430387 h 578637"/>
                <a:gd name="connsiteX51" fmla="*/ 118638 w 942455"/>
                <a:gd name="connsiteY51" fmla="*/ 430387 h 578637"/>
                <a:gd name="connsiteX52" fmla="*/ 118638 w 942455"/>
                <a:gd name="connsiteY52" fmla="*/ 430387 h 578637"/>
                <a:gd name="connsiteX53" fmla="*/ 118638 w 942455"/>
                <a:gd name="connsiteY53" fmla="*/ 430387 h 578637"/>
                <a:gd name="connsiteX54" fmla="*/ 83317 w 942455"/>
                <a:gd name="connsiteY54" fmla="*/ 578637 h 578637"/>
                <a:gd name="connsiteX55" fmla="*/ 118639 w 942455"/>
                <a:gd name="connsiteY55" fmla="*/ 430387 h 578637"/>
                <a:gd name="connsiteX0" fmla="*/ 118639 w 942455"/>
                <a:gd name="connsiteY0" fmla="*/ 430387 h 578637"/>
                <a:gd name="connsiteX1" fmla="*/ 0 w 942455"/>
                <a:gd name="connsiteY1" fmla="*/ 496784 h 578637"/>
                <a:gd name="connsiteX2" fmla="*/ 118639 w 942455"/>
                <a:gd name="connsiteY2" fmla="*/ 430387 h 578637"/>
                <a:gd name="connsiteX3" fmla="*/ 118639 w 942455"/>
                <a:gd name="connsiteY3" fmla="*/ 430387 h 578637"/>
                <a:gd name="connsiteX4" fmla="*/ 137783 w 942455"/>
                <a:gd name="connsiteY4" fmla="*/ 466344 h 578637"/>
                <a:gd name="connsiteX5" fmla="*/ 238367 w 942455"/>
                <a:gd name="connsiteY5" fmla="*/ 384048 h 578637"/>
                <a:gd name="connsiteX6" fmla="*/ 430391 w 942455"/>
                <a:gd name="connsiteY6" fmla="*/ 301752 h 578637"/>
                <a:gd name="connsiteX7" fmla="*/ 512687 w 942455"/>
                <a:gd name="connsiteY7" fmla="*/ 192024 h 578637"/>
                <a:gd name="connsiteX8" fmla="*/ 658991 w 942455"/>
                <a:gd name="connsiteY8" fmla="*/ 155448 h 578637"/>
                <a:gd name="connsiteX9" fmla="*/ 704711 w 942455"/>
                <a:gd name="connsiteY9" fmla="*/ 155448 h 578637"/>
                <a:gd name="connsiteX10" fmla="*/ 741287 w 942455"/>
                <a:gd name="connsiteY10" fmla="*/ 137160 h 578637"/>
                <a:gd name="connsiteX11" fmla="*/ 695567 w 942455"/>
                <a:gd name="connsiteY11" fmla="*/ 137160 h 578637"/>
                <a:gd name="connsiteX12" fmla="*/ 604127 w 942455"/>
                <a:gd name="connsiteY12" fmla="*/ 137160 h 578637"/>
                <a:gd name="connsiteX13" fmla="*/ 549263 w 942455"/>
                <a:gd name="connsiteY13" fmla="*/ 146304 h 578637"/>
                <a:gd name="connsiteX14" fmla="*/ 540119 w 942455"/>
                <a:gd name="connsiteY14" fmla="*/ 155448 h 578637"/>
                <a:gd name="connsiteX15" fmla="*/ 521831 w 942455"/>
                <a:gd name="connsiteY15" fmla="*/ 146304 h 578637"/>
                <a:gd name="connsiteX16" fmla="*/ 649847 w 942455"/>
                <a:gd name="connsiteY16" fmla="*/ 91440 h 578637"/>
                <a:gd name="connsiteX17" fmla="*/ 704711 w 942455"/>
                <a:gd name="connsiteY17" fmla="*/ 91440 h 578637"/>
                <a:gd name="connsiteX18" fmla="*/ 796151 w 942455"/>
                <a:gd name="connsiteY18" fmla="*/ 82296 h 578637"/>
                <a:gd name="connsiteX19" fmla="*/ 924167 w 942455"/>
                <a:gd name="connsiteY19" fmla="*/ 27432 h 578637"/>
                <a:gd name="connsiteX20" fmla="*/ 905879 w 942455"/>
                <a:gd name="connsiteY20" fmla="*/ 0 h 578637"/>
                <a:gd name="connsiteX21" fmla="*/ 869303 w 942455"/>
                <a:gd name="connsiteY21" fmla="*/ 27432 h 578637"/>
                <a:gd name="connsiteX22" fmla="*/ 832727 w 942455"/>
                <a:gd name="connsiteY22" fmla="*/ 36576 h 578637"/>
                <a:gd name="connsiteX23" fmla="*/ 759575 w 942455"/>
                <a:gd name="connsiteY23" fmla="*/ 64008 h 578637"/>
                <a:gd name="connsiteX24" fmla="*/ 704711 w 942455"/>
                <a:gd name="connsiteY24" fmla="*/ 64008 h 578637"/>
                <a:gd name="connsiteX25" fmla="*/ 594983 w 942455"/>
                <a:gd name="connsiteY25" fmla="*/ 64008 h 578637"/>
                <a:gd name="connsiteX26" fmla="*/ 540119 w 942455"/>
                <a:gd name="connsiteY26" fmla="*/ 100584 h 578637"/>
                <a:gd name="connsiteX27" fmla="*/ 503543 w 942455"/>
                <a:gd name="connsiteY27" fmla="*/ 146304 h 578637"/>
                <a:gd name="connsiteX28" fmla="*/ 457823 w 942455"/>
                <a:gd name="connsiteY28" fmla="*/ 182880 h 578637"/>
                <a:gd name="connsiteX29" fmla="*/ 412103 w 942455"/>
                <a:gd name="connsiteY29" fmla="*/ 256032 h 578637"/>
                <a:gd name="connsiteX30" fmla="*/ 338951 w 942455"/>
                <a:gd name="connsiteY30" fmla="*/ 301752 h 578637"/>
                <a:gd name="connsiteX31" fmla="*/ 238367 w 942455"/>
                <a:gd name="connsiteY31" fmla="*/ 347472 h 578637"/>
                <a:gd name="connsiteX32" fmla="*/ 201791 w 942455"/>
                <a:gd name="connsiteY32" fmla="*/ 374904 h 578637"/>
                <a:gd name="connsiteX33" fmla="*/ 156071 w 942455"/>
                <a:gd name="connsiteY33" fmla="*/ 402336 h 578637"/>
                <a:gd name="connsiteX34" fmla="*/ 137783 w 942455"/>
                <a:gd name="connsiteY34" fmla="*/ 402336 h 578637"/>
                <a:gd name="connsiteX35" fmla="*/ 156071 w 942455"/>
                <a:gd name="connsiteY35" fmla="*/ 365760 h 578637"/>
                <a:gd name="connsiteX36" fmla="*/ 210935 w 942455"/>
                <a:gd name="connsiteY36" fmla="*/ 301752 h 578637"/>
                <a:gd name="connsiteX37" fmla="*/ 302375 w 942455"/>
                <a:gd name="connsiteY37" fmla="*/ 219456 h 578637"/>
                <a:gd name="connsiteX38" fmla="*/ 348095 w 942455"/>
                <a:gd name="connsiteY38" fmla="*/ 146304 h 578637"/>
                <a:gd name="connsiteX39" fmla="*/ 348095 w 942455"/>
                <a:gd name="connsiteY39" fmla="*/ 64008 h 578637"/>
                <a:gd name="connsiteX40" fmla="*/ 338951 w 942455"/>
                <a:gd name="connsiteY40" fmla="*/ 54864 h 578637"/>
                <a:gd name="connsiteX41" fmla="*/ 329807 w 942455"/>
                <a:gd name="connsiteY41" fmla="*/ 128016 h 578637"/>
                <a:gd name="connsiteX42" fmla="*/ 302375 w 942455"/>
                <a:gd name="connsiteY42" fmla="*/ 173736 h 578637"/>
                <a:gd name="connsiteX43" fmla="*/ 229223 w 942455"/>
                <a:gd name="connsiteY43" fmla="*/ 237744 h 578637"/>
                <a:gd name="connsiteX44" fmla="*/ 201791 w 942455"/>
                <a:gd name="connsiteY44" fmla="*/ 256032 h 578637"/>
                <a:gd name="connsiteX45" fmla="*/ 128639 w 942455"/>
                <a:gd name="connsiteY45" fmla="*/ 347472 h 578637"/>
                <a:gd name="connsiteX46" fmla="*/ 119495 w 942455"/>
                <a:gd name="connsiteY46" fmla="*/ 374904 h 578637"/>
                <a:gd name="connsiteX47" fmla="*/ 110351 w 942455"/>
                <a:gd name="connsiteY47" fmla="*/ 411480 h 578637"/>
                <a:gd name="connsiteX48" fmla="*/ 128639 w 942455"/>
                <a:gd name="connsiteY48" fmla="*/ 429768 h 578637"/>
                <a:gd name="connsiteX49" fmla="*/ 82919 w 942455"/>
                <a:gd name="connsiteY49" fmla="*/ 457200 h 578637"/>
                <a:gd name="connsiteX50" fmla="*/ 118640 w 942455"/>
                <a:gd name="connsiteY50" fmla="*/ 430387 h 578637"/>
                <a:gd name="connsiteX51" fmla="*/ 118638 w 942455"/>
                <a:gd name="connsiteY51" fmla="*/ 430387 h 578637"/>
                <a:gd name="connsiteX52" fmla="*/ 118638 w 942455"/>
                <a:gd name="connsiteY52" fmla="*/ 430387 h 578637"/>
                <a:gd name="connsiteX53" fmla="*/ 118638 w 942455"/>
                <a:gd name="connsiteY53" fmla="*/ 430387 h 578637"/>
                <a:gd name="connsiteX54" fmla="*/ 83317 w 942455"/>
                <a:gd name="connsiteY54" fmla="*/ 578637 h 578637"/>
                <a:gd name="connsiteX55" fmla="*/ 118639 w 942455"/>
                <a:gd name="connsiteY55" fmla="*/ 430387 h 578637"/>
                <a:gd name="connsiteX0" fmla="*/ 118639 w 942455"/>
                <a:gd name="connsiteY0" fmla="*/ 430387 h 496784"/>
                <a:gd name="connsiteX1" fmla="*/ 0 w 942455"/>
                <a:gd name="connsiteY1" fmla="*/ 496784 h 496784"/>
                <a:gd name="connsiteX2" fmla="*/ 118639 w 942455"/>
                <a:gd name="connsiteY2" fmla="*/ 430387 h 496784"/>
                <a:gd name="connsiteX3" fmla="*/ 118639 w 942455"/>
                <a:gd name="connsiteY3" fmla="*/ 430387 h 496784"/>
                <a:gd name="connsiteX4" fmla="*/ 137783 w 942455"/>
                <a:gd name="connsiteY4" fmla="*/ 466344 h 496784"/>
                <a:gd name="connsiteX5" fmla="*/ 238367 w 942455"/>
                <a:gd name="connsiteY5" fmla="*/ 384048 h 496784"/>
                <a:gd name="connsiteX6" fmla="*/ 430391 w 942455"/>
                <a:gd name="connsiteY6" fmla="*/ 301752 h 496784"/>
                <a:gd name="connsiteX7" fmla="*/ 512687 w 942455"/>
                <a:gd name="connsiteY7" fmla="*/ 192024 h 496784"/>
                <a:gd name="connsiteX8" fmla="*/ 658991 w 942455"/>
                <a:gd name="connsiteY8" fmla="*/ 155448 h 496784"/>
                <a:gd name="connsiteX9" fmla="*/ 704711 w 942455"/>
                <a:gd name="connsiteY9" fmla="*/ 155448 h 496784"/>
                <a:gd name="connsiteX10" fmla="*/ 741287 w 942455"/>
                <a:gd name="connsiteY10" fmla="*/ 137160 h 496784"/>
                <a:gd name="connsiteX11" fmla="*/ 695567 w 942455"/>
                <a:gd name="connsiteY11" fmla="*/ 137160 h 496784"/>
                <a:gd name="connsiteX12" fmla="*/ 604127 w 942455"/>
                <a:gd name="connsiteY12" fmla="*/ 137160 h 496784"/>
                <a:gd name="connsiteX13" fmla="*/ 549263 w 942455"/>
                <a:gd name="connsiteY13" fmla="*/ 146304 h 496784"/>
                <a:gd name="connsiteX14" fmla="*/ 540119 w 942455"/>
                <a:gd name="connsiteY14" fmla="*/ 155448 h 496784"/>
                <a:gd name="connsiteX15" fmla="*/ 521831 w 942455"/>
                <a:gd name="connsiteY15" fmla="*/ 146304 h 496784"/>
                <a:gd name="connsiteX16" fmla="*/ 649847 w 942455"/>
                <a:gd name="connsiteY16" fmla="*/ 91440 h 496784"/>
                <a:gd name="connsiteX17" fmla="*/ 704711 w 942455"/>
                <a:gd name="connsiteY17" fmla="*/ 91440 h 496784"/>
                <a:gd name="connsiteX18" fmla="*/ 796151 w 942455"/>
                <a:gd name="connsiteY18" fmla="*/ 82296 h 496784"/>
                <a:gd name="connsiteX19" fmla="*/ 924167 w 942455"/>
                <a:gd name="connsiteY19" fmla="*/ 27432 h 496784"/>
                <a:gd name="connsiteX20" fmla="*/ 905879 w 942455"/>
                <a:gd name="connsiteY20" fmla="*/ 0 h 496784"/>
                <a:gd name="connsiteX21" fmla="*/ 869303 w 942455"/>
                <a:gd name="connsiteY21" fmla="*/ 27432 h 496784"/>
                <a:gd name="connsiteX22" fmla="*/ 832727 w 942455"/>
                <a:gd name="connsiteY22" fmla="*/ 36576 h 496784"/>
                <a:gd name="connsiteX23" fmla="*/ 759575 w 942455"/>
                <a:gd name="connsiteY23" fmla="*/ 64008 h 496784"/>
                <a:gd name="connsiteX24" fmla="*/ 704711 w 942455"/>
                <a:gd name="connsiteY24" fmla="*/ 64008 h 496784"/>
                <a:gd name="connsiteX25" fmla="*/ 594983 w 942455"/>
                <a:gd name="connsiteY25" fmla="*/ 64008 h 496784"/>
                <a:gd name="connsiteX26" fmla="*/ 540119 w 942455"/>
                <a:gd name="connsiteY26" fmla="*/ 100584 h 496784"/>
                <a:gd name="connsiteX27" fmla="*/ 503543 w 942455"/>
                <a:gd name="connsiteY27" fmla="*/ 146304 h 496784"/>
                <a:gd name="connsiteX28" fmla="*/ 457823 w 942455"/>
                <a:gd name="connsiteY28" fmla="*/ 182880 h 496784"/>
                <a:gd name="connsiteX29" fmla="*/ 412103 w 942455"/>
                <a:gd name="connsiteY29" fmla="*/ 256032 h 496784"/>
                <a:gd name="connsiteX30" fmla="*/ 338951 w 942455"/>
                <a:gd name="connsiteY30" fmla="*/ 301752 h 496784"/>
                <a:gd name="connsiteX31" fmla="*/ 238367 w 942455"/>
                <a:gd name="connsiteY31" fmla="*/ 347472 h 496784"/>
                <a:gd name="connsiteX32" fmla="*/ 201791 w 942455"/>
                <a:gd name="connsiteY32" fmla="*/ 374904 h 496784"/>
                <a:gd name="connsiteX33" fmla="*/ 156071 w 942455"/>
                <a:gd name="connsiteY33" fmla="*/ 402336 h 496784"/>
                <a:gd name="connsiteX34" fmla="*/ 137783 w 942455"/>
                <a:gd name="connsiteY34" fmla="*/ 402336 h 496784"/>
                <a:gd name="connsiteX35" fmla="*/ 156071 w 942455"/>
                <a:gd name="connsiteY35" fmla="*/ 365760 h 496784"/>
                <a:gd name="connsiteX36" fmla="*/ 210935 w 942455"/>
                <a:gd name="connsiteY36" fmla="*/ 301752 h 496784"/>
                <a:gd name="connsiteX37" fmla="*/ 302375 w 942455"/>
                <a:gd name="connsiteY37" fmla="*/ 219456 h 496784"/>
                <a:gd name="connsiteX38" fmla="*/ 348095 w 942455"/>
                <a:gd name="connsiteY38" fmla="*/ 146304 h 496784"/>
                <a:gd name="connsiteX39" fmla="*/ 348095 w 942455"/>
                <a:gd name="connsiteY39" fmla="*/ 64008 h 496784"/>
                <a:gd name="connsiteX40" fmla="*/ 338951 w 942455"/>
                <a:gd name="connsiteY40" fmla="*/ 54864 h 496784"/>
                <a:gd name="connsiteX41" fmla="*/ 329807 w 942455"/>
                <a:gd name="connsiteY41" fmla="*/ 128016 h 496784"/>
                <a:gd name="connsiteX42" fmla="*/ 302375 w 942455"/>
                <a:gd name="connsiteY42" fmla="*/ 173736 h 496784"/>
                <a:gd name="connsiteX43" fmla="*/ 229223 w 942455"/>
                <a:gd name="connsiteY43" fmla="*/ 237744 h 496784"/>
                <a:gd name="connsiteX44" fmla="*/ 201791 w 942455"/>
                <a:gd name="connsiteY44" fmla="*/ 256032 h 496784"/>
                <a:gd name="connsiteX45" fmla="*/ 128639 w 942455"/>
                <a:gd name="connsiteY45" fmla="*/ 347472 h 496784"/>
                <a:gd name="connsiteX46" fmla="*/ 119495 w 942455"/>
                <a:gd name="connsiteY46" fmla="*/ 374904 h 496784"/>
                <a:gd name="connsiteX47" fmla="*/ 110351 w 942455"/>
                <a:gd name="connsiteY47" fmla="*/ 411480 h 496784"/>
                <a:gd name="connsiteX48" fmla="*/ 128639 w 942455"/>
                <a:gd name="connsiteY48" fmla="*/ 429768 h 496784"/>
                <a:gd name="connsiteX49" fmla="*/ 82919 w 942455"/>
                <a:gd name="connsiteY49" fmla="*/ 457200 h 496784"/>
                <a:gd name="connsiteX50" fmla="*/ 118640 w 942455"/>
                <a:gd name="connsiteY50" fmla="*/ 430387 h 496784"/>
                <a:gd name="connsiteX51" fmla="*/ 118638 w 942455"/>
                <a:gd name="connsiteY51" fmla="*/ 430387 h 496784"/>
                <a:gd name="connsiteX52" fmla="*/ 118638 w 942455"/>
                <a:gd name="connsiteY52" fmla="*/ 430387 h 496784"/>
                <a:gd name="connsiteX53" fmla="*/ 118638 w 942455"/>
                <a:gd name="connsiteY53" fmla="*/ 430387 h 496784"/>
                <a:gd name="connsiteX54" fmla="*/ 118639 w 942455"/>
                <a:gd name="connsiteY54" fmla="*/ 430387 h 496784"/>
                <a:gd name="connsiteX55" fmla="*/ 118639 w 942455"/>
                <a:gd name="connsiteY55" fmla="*/ 430387 h 496784"/>
                <a:gd name="connsiteX0" fmla="*/ 37386 w 861202"/>
                <a:gd name="connsiteY0" fmla="*/ 430387 h 474067"/>
                <a:gd name="connsiteX1" fmla="*/ 37385 w 861202"/>
                <a:gd name="connsiteY1" fmla="*/ 430387 h 474067"/>
                <a:gd name="connsiteX2" fmla="*/ 37386 w 861202"/>
                <a:gd name="connsiteY2" fmla="*/ 430387 h 474067"/>
                <a:gd name="connsiteX3" fmla="*/ 37386 w 861202"/>
                <a:gd name="connsiteY3" fmla="*/ 430387 h 474067"/>
                <a:gd name="connsiteX4" fmla="*/ 56530 w 861202"/>
                <a:gd name="connsiteY4" fmla="*/ 466344 h 474067"/>
                <a:gd name="connsiteX5" fmla="*/ 157114 w 861202"/>
                <a:gd name="connsiteY5" fmla="*/ 384048 h 474067"/>
                <a:gd name="connsiteX6" fmla="*/ 349138 w 861202"/>
                <a:gd name="connsiteY6" fmla="*/ 301752 h 474067"/>
                <a:gd name="connsiteX7" fmla="*/ 431434 w 861202"/>
                <a:gd name="connsiteY7" fmla="*/ 192024 h 474067"/>
                <a:gd name="connsiteX8" fmla="*/ 577738 w 861202"/>
                <a:gd name="connsiteY8" fmla="*/ 155448 h 474067"/>
                <a:gd name="connsiteX9" fmla="*/ 623458 w 861202"/>
                <a:gd name="connsiteY9" fmla="*/ 155448 h 474067"/>
                <a:gd name="connsiteX10" fmla="*/ 660034 w 861202"/>
                <a:gd name="connsiteY10" fmla="*/ 137160 h 474067"/>
                <a:gd name="connsiteX11" fmla="*/ 614314 w 861202"/>
                <a:gd name="connsiteY11" fmla="*/ 137160 h 474067"/>
                <a:gd name="connsiteX12" fmla="*/ 522874 w 861202"/>
                <a:gd name="connsiteY12" fmla="*/ 137160 h 474067"/>
                <a:gd name="connsiteX13" fmla="*/ 468010 w 861202"/>
                <a:gd name="connsiteY13" fmla="*/ 146304 h 474067"/>
                <a:gd name="connsiteX14" fmla="*/ 458866 w 861202"/>
                <a:gd name="connsiteY14" fmla="*/ 155448 h 474067"/>
                <a:gd name="connsiteX15" fmla="*/ 440578 w 861202"/>
                <a:gd name="connsiteY15" fmla="*/ 146304 h 474067"/>
                <a:gd name="connsiteX16" fmla="*/ 568594 w 861202"/>
                <a:gd name="connsiteY16" fmla="*/ 91440 h 474067"/>
                <a:gd name="connsiteX17" fmla="*/ 623458 w 861202"/>
                <a:gd name="connsiteY17" fmla="*/ 91440 h 474067"/>
                <a:gd name="connsiteX18" fmla="*/ 714898 w 861202"/>
                <a:gd name="connsiteY18" fmla="*/ 82296 h 474067"/>
                <a:gd name="connsiteX19" fmla="*/ 842914 w 861202"/>
                <a:gd name="connsiteY19" fmla="*/ 27432 h 474067"/>
                <a:gd name="connsiteX20" fmla="*/ 824626 w 861202"/>
                <a:gd name="connsiteY20" fmla="*/ 0 h 474067"/>
                <a:gd name="connsiteX21" fmla="*/ 788050 w 861202"/>
                <a:gd name="connsiteY21" fmla="*/ 27432 h 474067"/>
                <a:gd name="connsiteX22" fmla="*/ 751474 w 861202"/>
                <a:gd name="connsiteY22" fmla="*/ 36576 h 474067"/>
                <a:gd name="connsiteX23" fmla="*/ 678322 w 861202"/>
                <a:gd name="connsiteY23" fmla="*/ 64008 h 474067"/>
                <a:gd name="connsiteX24" fmla="*/ 623458 w 861202"/>
                <a:gd name="connsiteY24" fmla="*/ 64008 h 474067"/>
                <a:gd name="connsiteX25" fmla="*/ 513730 w 861202"/>
                <a:gd name="connsiteY25" fmla="*/ 64008 h 474067"/>
                <a:gd name="connsiteX26" fmla="*/ 458866 w 861202"/>
                <a:gd name="connsiteY26" fmla="*/ 100584 h 474067"/>
                <a:gd name="connsiteX27" fmla="*/ 422290 w 861202"/>
                <a:gd name="connsiteY27" fmla="*/ 146304 h 474067"/>
                <a:gd name="connsiteX28" fmla="*/ 376570 w 861202"/>
                <a:gd name="connsiteY28" fmla="*/ 182880 h 474067"/>
                <a:gd name="connsiteX29" fmla="*/ 330850 w 861202"/>
                <a:gd name="connsiteY29" fmla="*/ 256032 h 474067"/>
                <a:gd name="connsiteX30" fmla="*/ 257698 w 861202"/>
                <a:gd name="connsiteY30" fmla="*/ 301752 h 474067"/>
                <a:gd name="connsiteX31" fmla="*/ 157114 w 861202"/>
                <a:gd name="connsiteY31" fmla="*/ 347472 h 474067"/>
                <a:gd name="connsiteX32" fmla="*/ 120538 w 861202"/>
                <a:gd name="connsiteY32" fmla="*/ 374904 h 474067"/>
                <a:gd name="connsiteX33" fmla="*/ 74818 w 861202"/>
                <a:gd name="connsiteY33" fmla="*/ 402336 h 474067"/>
                <a:gd name="connsiteX34" fmla="*/ 56530 w 861202"/>
                <a:gd name="connsiteY34" fmla="*/ 402336 h 474067"/>
                <a:gd name="connsiteX35" fmla="*/ 74818 w 861202"/>
                <a:gd name="connsiteY35" fmla="*/ 365760 h 474067"/>
                <a:gd name="connsiteX36" fmla="*/ 129682 w 861202"/>
                <a:gd name="connsiteY36" fmla="*/ 301752 h 474067"/>
                <a:gd name="connsiteX37" fmla="*/ 221122 w 861202"/>
                <a:gd name="connsiteY37" fmla="*/ 219456 h 474067"/>
                <a:gd name="connsiteX38" fmla="*/ 266842 w 861202"/>
                <a:gd name="connsiteY38" fmla="*/ 146304 h 474067"/>
                <a:gd name="connsiteX39" fmla="*/ 266842 w 861202"/>
                <a:gd name="connsiteY39" fmla="*/ 64008 h 474067"/>
                <a:gd name="connsiteX40" fmla="*/ 257698 w 861202"/>
                <a:gd name="connsiteY40" fmla="*/ 54864 h 474067"/>
                <a:gd name="connsiteX41" fmla="*/ 248554 w 861202"/>
                <a:gd name="connsiteY41" fmla="*/ 128016 h 474067"/>
                <a:gd name="connsiteX42" fmla="*/ 221122 w 861202"/>
                <a:gd name="connsiteY42" fmla="*/ 173736 h 474067"/>
                <a:gd name="connsiteX43" fmla="*/ 147970 w 861202"/>
                <a:gd name="connsiteY43" fmla="*/ 237744 h 474067"/>
                <a:gd name="connsiteX44" fmla="*/ 120538 w 861202"/>
                <a:gd name="connsiteY44" fmla="*/ 256032 h 474067"/>
                <a:gd name="connsiteX45" fmla="*/ 47386 w 861202"/>
                <a:gd name="connsiteY45" fmla="*/ 347472 h 474067"/>
                <a:gd name="connsiteX46" fmla="*/ 38242 w 861202"/>
                <a:gd name="connsiteY46" fmla="*/ 374904 h 474067"/>
                <a:gd name="connsiteX47" fmla="*/ 29098 w 861202"/>
                <a:gd name="connsiteY47" fmla="*/ 411480 h 474067"/>
                <a:gd name="connsiteX48" fmla="*/ 47386 w 861202"/>
                <a:gd name="connsiteY48" fmla="*/ 429768 h 474067"/>
                <a:gd name="connsiteX49" fmla="*/ 1666 w 861202"/>
                <a:gd name="connsiteY49" fmla="*/ 457200 h 474067"/>
                <a:gd name="connsiteX50" fmla="*/ 37387 w 861202"/>
                <a:gd name="connsiteY50" fmla="*/ 430387 h 474067"/>
                <a:gd name="connsiteX51" fmla="*/ 37385 w 861202"/>
                <a:gd name="connsiteY51" fmla="*/ 430387 h 474067"/>
                <a:gd name="connsiteX52" fmla="*/ 37385 w 861202"/>
                <a:gd name="connsiteY52" fmla="*/ 430387 h 474067"/>
                <a:gd name="connsiteX53" fmla="*/ 37385 w 861202"/>
                <a:gd name="connsiteY53" fmla="*/ 430387 h 474067"/>
                <a:gd name="connsiteX54" fmla="*/ 37386 w 861202"/>
                <a:gd name="connsiteY54" fmla="*/ 430387 h 474067"/>
                <a:gd name="connsiteX55" fmla="*/ 37386 w 861202"/>
                <a:gd name="connsiteY55" fmla="*/ 430387 h 474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861202" h="474067">
                  <a:moveTo>
                    <a:pt x="37386" y="430387"/>
                  </a:moveTo>
                  <a:lnTo>
                    <a:pt x="37385" y="430387"/>
                  </a:lnTo>
                  <a:lnTo>
                    <a:pt x="37386" y="430387"/>
                  </a:lnTo>
                  <a:lnTo>
                    <a:pt x="37386" y="430387"/>
                  </a:lnTo>
                  <a:cubicBezTo>
                    <a:pt x="40577" y="436380"/>
                    <a:pt x="36575" y="474067"/>
                    <a:pt x="56530" y="466344"/>
                  </a:cubicBezTo>
                  <a:cubicBezTo>
                    <a:pt x="76485" y="458621"/>
                    <a:pt x="108346" y="411480"/>
                    <a:pt x="157114" y="384048"/>
                  </a:cubicBezTo>
                  <a:cubicBezTo>
                    <a:pt x="205882" y="356616"/>
                    <a:pt x="303418" y="333756"/>
                    <a:pt x="349138" y="301752"/>
                  </a:cubicBezTo>
                  <a:cubicBezTo>
                    <a:pt x="394858" y="269748"/>
                    <a:pt x="393334" y="216408"/>
                    <a:pt x="431434" y="192024"/>
                  </a:cubicBezTo>
                  <a:cubicBezTo>
                    <a:pt x="469534" y="167640"/>
                    <a:pt x="545734" y="161544"/>
                    <a:pt x="577738" y="155448"/>
                  </a:cubicBezTo>
                  <a:cubicBezTo>
                    <a:pt x="609742" y="149352"/>
                    <a:pt x="609742" y="158496"/>
                    <a:pt x="623458" y="155448"/>
                  </a:cubicBezTo>
                  <a:cubicBezTo>
                    <a:pt x="637174" y="152400"/>
                    <a:pt x="661558" y="140208"/>
                    <a:pt x="660034" y="137160"/>
                  </a:cubicBezTo>
                  <a:cubicBezTo>
                    <a:pt x="658510" y="134112"/>
                    <a:pt x="614314" y="137160"/>
                    <a:pt x="614314" y="137160"/>
                  </a:cubicBezTo>
                  <a:cubicBezTo>
                    <a:pt x="591454" y="137160"/>
                    <a:pt x="547258" y="135636"/>
                    <a:pt x="522874" y="137160"/>
                  </a:cubicBezTo>
                  <a:cubicBezTo>
                    <a:pt x="498490" y="138684"/>
                    <a:pt x="478678" y="143256"/>
                    <a:pt x="468010" y="146304"/>
                  </a:cubicBezTo>
                  <a:cubicBezTo>
                    <a:pt x="457342" y="149352"/>
                    <a:pt x="463438" y="155448"/>
                    <a:pt x="458866" y="155448"/>
                  </a:cubicBezTo>
                  <a:cubicBezTo>
                    <a:pt x="454294" y="155448"/>
                    <a:pt x="422290" y="156972"/>
                    <a:pt x="440578" y="146304"/>
                  </a:cubicBezTo>
                  <a:cubicBezTo>
                    <a:pt x="458866" y="135636"/>
                    <a:pt x="538114" y="100584"/>
                    <a:pt x="568594" y="91440"/>
                  </a:cubicBezTo>
                  <a:cubicBezTo>
                    <a:pt x="599074" y="82296"/>
                    <a:pt x="599074" y="92964"/>
                    <a:pt x="623458" y="91440"/>
                  </a:cubicBezTo>
                  <a:cubicBezTo>
                    <a:pt x="647842" y="89916"/>
                    <a:pt x="678322" y="92964"/>
                    <a:pt x="714898" y="82296"/>
                  </a:cubicBezTo>
                  <a:cubicBezTo>
                    <a:pt x="751474" y="71628"/>
                    <a:pt x="824626" y="41148"/>
                    <a:pt x="842914" y="27432"/>
                  </a:cubicBezTo>
                  <a:cubicBezTo>
                    <a:pt x="861202" y="13716"/>
                    <a:pt x="833770" y="0"/>
                    <a:pt x="824626" y="0"/>
                  </a:cubicBezTo>
                  <a:cubicBezTo>
                    <a:pt x="815482" y="0"/>
                    <a:pt x="800242" y="21336"/>
                    <a:pt x="788050" y="27432"/>
                  </a:cubicBezTo>
                  <a:cubicBezTo>
                    <a:pt x="775858" y="33528"/>
                    <a:pt x="769762" y="30480"/>
                    <a:pt x="751474" y="36576"/>
                  </a:cubicBezTo>
                  <a:cubicBezTo>
                    <a:pt x="733186" y="42672"/>
                    <a:pt x="699658" y="59436"/>
                    <a:pt x="678322" y="64008"/>
                  </a:cubicBezTo>
                  <a:cubicBezTo>
                    <a:pt x="656986" y="68580"/>
                    <a:pt x="623458" y="64008"/>
                    <a:pt x="623458" y="64008"/>
                  </a:cubicBezTo>
                  <a:cubicBezTo>
                    <a:pt x="596026" y="64008"/>
                    <a:pt x="541162" y="57912"/>
                    <a:pt x="513730" y="64008"/>
                  </a:cubicBezTo>
                  <a:cubicBezTo>
                    <a:pt x="486298" y="70104"/>
                    <a:pt x="474106" y="86868"/>
                    <a:pt x="458866" y="100584"/>
                  </a:cubicBezTo>
                  <a:cubicBezTo>
                    <a:pt x="443626" y="114300"/>
                    <a:pt x="436006" y="132588"/>
                    <a:pt x="422290" y="146304"/>
                  </a:cubicBezTo>
                  <a:cubicBezTo>
                    <a:pt x="408574" y="160020"/>
                    <a:pt x="391810" y="164592"/>
                    <a:pt x="376570" y="182880"/>
                  </a:cubicBezTo>
                  <a:cubicBezTo>
                    <a:pt x="361330" y="201168"/>
                    <a:pt x="350662" y="236220"/>
                    <a:pt x="330850" y="256032"/>
                  </a:cubicBezTo>
                  <a:cubicBezTo>
                    <a:pt x="311038" y="275844"/>
                    <a:pt x="286654" y="286512"/>
                    <a:pt x="257698" y="301752"/>
                  </a:cubicBezTo>
                  <a:cubicBezTo>
                    <a:pt x="228742" y="316992"/>
                    <a:pt x="179974" y="335280"/>
                    <a:pt x="157114" y="347472"/>
                  </a:cubicBezTo>
                  <a:cubicBezTo>
                    <a:pt x="134254" y="359664"/>
                    <a:pt x="134254" y="365760"/>
                    <a:pt x="120538" y="374904"/>
                  </a:cubicBezTo>
                  <a:cubicBezTo>
                    <a:pt x="106822" y="384048"/>
                    <a:pt x="85486" y="397764"/>
                    <a:pt x="74818" y="402336"/>
                  </a:cubicBezTo>
                  <a:cubicBezTo>
                    <a:pt x="64150" y="406908"/>
                    <a:pt x="56530" y="408432"/>
                    <a:pt x="56530" y="402336"/>
                  </a:cubicBezTo>
                  <a:cubicBezTo>
                    <a:pt x="56530" y="396240"/>
                    <a:pt x="62626" y="382524"/>
                    <a:pt x="74818" y="365760"/>
                  </a:cubicBezTo>
                  <a:cubicBezTo>
                    <a:pt x="87010" y="348996"/>
                    <a:pt x="105298" y="326136"/>
                    <a:pt x="129682" y="301752"/>
                  </a:cubicBezTo>
                  <a:cubicBezTo>
                    <a:pt x="154066" y="277368"/>
                    <a:pt x="198262" y="245364"/>
                    <a:pt x="221122" y="219456"/>
                  </a:cubicBezTo>
                  <a:cubicBezTo>
                    <a:pt x="243982" y="193548"/>
                    <a:pt x="259222" y="172212"/>
                    <a:pt x="266842" y="146304"/>
                  </a:cubicBezTo>
                  <a:cubicBezTo>
                    <a:pt x="274462" y="120396"/>
                    <a:pt x="268366" y="79248"/>
                    <a:pt x="266842" y="64008"/>
                  </a:cubicBezTo>
                  <a:cubicBezTo>
                    <a:pt x="265318" y="48768"/>
                    <a:pt x="260746" y="44196"/>
                    <a:pt x="257698" y="54864"/>
                  </a:cubicBezTo>
                  <a:cubicBezTo>
                    <a:pt x="254650" y="65532"/>
                    <a:pt x="254650" y="108204"/>
                    <a:pt x="248554" y="128016"/>
                  </a:cubicBezTo>
                  <a:cubicBezTo>
                    <a:pt x="242458" y="147828"/>
                    <a:pt x="237886" y="155448"/>
                    <a:pt x="221122" y="173736"/>
                  </a:cubicBezTo>
                  <a:cubicBezTo>
                    <a:pt x="204358" y="192024"/>
                    <a:pt x="164734" y="224028"/>
                    <a:pt x="147970" y="237744"/>
                  </a:cubicBezTo>
                  <a:cubicBezTo>
                    <a:pt x="131206" y="251460"/>
                    <a:pt x="137302" y="237744"/>
                    <a:pt x="120538" y="256032"/>
                  </a:cubicBezTo>
                  <a:cubicBezTo>
                    <a:pt x="103774" y="274320"/>
                    <a:pt x="61102" y="327660"/>
                    <a:pt x="47386" y="347472"/>
                  </a:cubicBezTo>
                  <a:cubicBezTo>
                    <a:pt x="33670" y="367284"/>
                    <a:pt x="41290" y="364236"/>
                    <a:pt x="38242" y="374904"/>
                  </a:cubicBezTo>
                  <a:cubicBezTo>
                    <a:pt x="35194" y="385572"/>
                    <a:pt x="27574" y="402336"/>
                    <a:pt x="29098" y="411480"/>
                  </a:cubicBezTo>
                  <a:cubicBezTo>
                    <a:pt x="30622" y="420624"/>
                    <a:pt x="51958" y="422148"/>
                    <a:pt x="47386" y="429768"/>
                  </a:cubicBezTo>
                  <a:cubicBezTo>
                    <a:pt x="42814" y="437388"/>
                    <a:pt x="3332" y="457097"/>
                    <a:pt x="1666" y="457200"/>
                  </a:cubicBezTo>
                  <a:cubicBezTo>
                    <a:pt x="0" y="457303"/>
                    <a:pt x="31434" y="434856"/>
                    <a:pt x="37387" y="430387"/>
                  </a:cubicBezTo>
                  <a:cubicBezTo>
                    <a:pt x="43340" y="425918"/>
                    <a:pt x="26821" y="429886"/>
                    <a:pt x="37385" y="430387"/>
                  </a:cubicBezTo>
                  <a:lnTo>
                    <a:pt x="37385" y="430387"/>
                  </a:lnTo>
                  <a:lnTo>
                    <a:pt x="37385" y="430387"/>
                  </a:lnTo>
                  <a:lnTo>
                    <a:pt x="37386" y="430387"/>
                  </a:lnTo>
                  <a:lnTo>
                    <a:pt x="37386" y="430387"/>
                  </a:lnTo>
                  <a:close/>
                </a:path>
              </a:pathLst>
            </a:custGeom>
            <a:solidFill>
              <a:srgbClr val="8DAA44"/>
            </a:solidFill>
            <a:ln w="6350" cap="flat" cmpd="sng" algn="ctr">
              <a:solidFill>
                <a:srgbClr val="663300"/>
              </a:solidFill>
              <a:prstDash val="solid"/>
            </a:ln>
            <a:effectLst/>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0" cap="none" spc="0" normalizeH="0" baseline="0" noProof="0" dirty="0">
                <a:ln>
                  <a:noFill/>
                </a:ln>
                <a:solidFill>
                  <a:prstClr val="white"/>
                </a:solidFill>
                <a:effectLst/>
                <a:uLnTx/>
                <a:uFillTx/>
                <a:latin typeface="News Gothic MT" panose="020B0503020103020203" pitchFamily="34" charset="0"/>
                <a:ea typeface="MS PGothic" charset="0"/>
                <a:cs typeface="+mn-cs"/>
              </a:endParaRPr>
            </a:p>
          </p:txBody>
        </p:sp>
        <p:sp>
          <p:nvSpPr>
            <p:cNvPr id="13" name="Freeform 208">
              <a:extLst>
                <a:ext uri="{FF2B5EF4-FFF2-40B4-BE49-F238E27FC236}">
                  <a16:creationId xmlns:a16="http://schemas.microsoft.com/office/drawing/2014/main" id="{74027D35-D412-445C-A078-0BD064CFD534}"/>
                </a:ext>
              </a:extLst>
            </p:cNvPr>
            <p:cNvSpPr/>
            <p:nvPr/>
          </p:nvSpPr>
          <p:spPr>
            <a:xfrm rot="7957673" flipH="1" flipV="1">
              <a:off x="5376408" y="2156619"/>
              <a:ext cx="230365" cy="362461"/>
            </a:xfrm>
            <a:custGeom>
              <a:avLst/>
              <a:gdLst>
                <a:gd name="connsiteX0" fmla="*/ 19812 w 1226820"/>
                <a:gd name="connsiteY0" fmla="*/ 841248 h 864108"/>
                <a:gd name="connsiteX1" fmla="*/ 92964 w 1226820"/>
                <a:gd name="connsiteY1" fmla="*/ 649224 h 864108"/>
                <a:gd name="connsiteX2" fmla="*/ 193548 w 1226820"/>
                <a:gd name="connsiteY2" fmla="*/ 548640 h 864108"/>
                <a:gd name="connsiteX3" fmla="*/ 321564 w 1226820"/>
                <a:gd name="connsiteY3" fmla="*/ 493776 h 864108"/>
                <a:gd name="connsiteX4" fmla="*/ 422148 w 1226820"/>
                <a:gd name="connsiteY4" fmla="*/ 466344 h 864108"/>
                <a:gd name="connsiteX5" fmla="*/ 522732 w 1226820"/>
                <a:gd name="connsiteY5" fmla="*/ 384048 h 864108"/>
                <a:gd name="connsiteX6" fmla="*/ 714756 w 1226820"/>
                <a:gd name="connsiteY6" fmla="*/ 301752 h 864108"/>
                <a:gd name="connsiteX7" fmla="*/ 797052 w 1226820"/>
                <a:gd name="connsiteY7" fmla="*/ 192024 h 864108"/>
                <a:gd name="connsiteX8" fmla="*/ 943356 w 1226820"/>
                <a:gd name="connsiteY8" fmla="*/ 155448 h 864108"/>
                <a:gd name="connsiteX9" fmla="*/ 989076 w 1226820"/>
                <a:gd name="connsiteY9" fmla="*/ 155448 h 864108"/>
                <a:gd name="connsiteX10" fmla="*/ 1025652 w 1226820"/>
                <a:gd name="connsiteY10" fmla="*/ 137160 h 864108"/>
                <a:gd name="connsiteX11" fmla="*/ 979932 w 1226820"/>
                <a:gd name="connsiteY11" fmla="*/ 137160 h 864108"/>
                <a:gd name="connsiteX12" fmla="*/ 888492 w 1226820"/>
                <a:gd name="connsiteY12" fmla="*/ 137160 h 864108"/>
                <a:gd name="connsiteX13" fmla="*/ 833628 w 1226820"/>
                <a:gd name="connsiteY13" fmla="*/ 146304 h 864108"/>
                <a:gd name="connsiteX14" fmla="*/ 824484 w 1226820"/>
                <a:gd name="connsiteY14" fmla="*/ 155448 h 864108"/>
                <a:gd name="connsiteX15" fmla="*/ 806196 w 1226820"/>
                <a:gd name="connsiteY15" fmla="*/ 146304 h 864108"/>
                <a:gd name="connsiteX16" fmla="*/ 934212 w 1226820"/>
                <a:gd name="connsiteY16" fmla="*/ 91440 h 864108"/>
                <a:gd name="connsiteX17" fmla="*/ 989076 w 1226820"/>
                <a:gd name="connsiteY17" fmla="*/ 91440 h 864108"/>
                <a:gd name="connsiteX18" fmla="*/ 1080516 w 1226820"/>
                <a:gd name="connsiteY18" fmla="*/ 82296 h 864108"/>
                <a:gd name="connsiteX19" fmla="*/ 1208532 w 1226820"/>
                <a:gd name="connsiteY19" fmla="*/ 27432 h 864108"/>
                <a:gd name="connsiteX20" fmla="*/ 1190244 w 1226820"/>
                <a:gd name="connsiteY20" fmla="*/ 0 h 864108"/>
                <a:gd name="connsiteX21" fmla="*/ 1153668 w 1226820"/>
                <a:gd name="connsiteY21" fmla="*/ 27432 h 864108"/>
                <a:gd name="connsiteX22" fmla="*/ 1117092 w 1226820"/>
                <a:gd name="connsiteY22" fmla="*/ 36576 h 864108"/>
                <a:gd name="connsiteX23" fmla="*/ 1043940 w 1226820"/>
                <a:gd name="connsiteY23" fmla="*/ 64008 h 864108"/>
                <a:gd name="connsiteX24" fmla="*/ 989076 w 1226820"/>
                <a:gd name="connsiteY24" fmla="*/ 64008 h 864108"/>
                <a:gd name="connsiteX25" fmla="*/ 879348 w 1226820"/>
                <a:gd name="connsiteY25" fmla="*/ 64008 h 864108"/>
                <a:gd name="connsiteX26" fmla="*/ 824484 w 1226820"/>
                <a:gd name="connsiteY26" fmla="*/ 100584 h 864108"/>
                <a:gd name="connsiteX27" fmla="*/ 787908 w 1226820"/>
                <a:gd name="connsiteY27" fmla="*/ 146304 h 864108"/>
                <a:gd name="connsiteX28" fmla="*/ 742188 w 1226820"/>
                <a:gd name="connsiteY28" fmla="*/ 182880 h 864108"/>
                <a:gd name="connsiteX29" fmla="*/ 696468 w 1226820"/>
                <a:gd name="connsiteY29" fmla="*/ 256032 h 864108"/>
                <a:gd name="connsiteX30" fmla="*/ 623316 w 1226820"/>
                <a:gd name="connsiteY30" fmla="*/ 301752 h 864108"/>
                <a:gd name="connsiteX31" fmla="*/ 522732 w 1226820"/>
                <a:gd name="connsiteY31" fmla="*/ 347472 h 864108"/>
                <a:gd name="connsiteX32" fmla="*/ 486156 w 1226820"/>
                <a:gd name="connsiteY32" fmla="*/ 374904 h 864108"/>
                <a:gd name="connsiteX33" fmla="*/ 440436 w 1226820"/>
                <a:gd name="connsiteY33" fmla="*/ 402336 h 864108"/>
                <a:gd name="connsiteX34" fmla="*/ 422148 w 1226820"/>
                <a:gd name="connsiteY34" fmla="*/ 402336 h 864108"/>
                <a:gd name="connsiteX35" fmla="*/ 440436 w 1226820"/>
                <a:gd name="connsiteY35" fmla="*/ 365760 h 864108"/>
                <a:gd name="connsiteX36" fmla="*/ 495300 w 1226820"/>
                <a:gd name="connsiteY36" fmla="*/ 301752 h 864108"/>
                <a:gd name="connsiteX37" fmla="*/ 586740 w 1226820"/>
                <a:gd name="connsiteY37" fmla="*/ 219456 h 864108"/>
                <a:gd name="connsiteX38" fmla="*/ 632460 w 1226820"/>
                <a:gd name="connsiteY38" fmla="*/ 146304 h 864108"/>
                <a:gd name="connsiteX39" fmla="*/ 632460 w 1226820"/>
                <a:gd name="connsiteY39" fmla="*/ 64008 h 864108"/>
                <a:gd name="connsiteX40" fmla="*/ 623316 w 1226820"/>
                <a:gd name="connsiteY40" fmla="*/ 54864 h 864108"/>
                <a:gd name="connsiteX41" fmla="*/ 614172 w 1226820"/>
                <a:gd name="connsiteY41" fmla="*/ 128016 h 864108"/>
                <a:gd name="connsiteX42" fmla="*/ 586740 w 1226820"/>
                <a:gd name="connsiteY42" fmla="*/ 173736 h 864108"/>
                <a:gd name="connsiteX43" fmla="*/ 513588 w 1226820"/>
                <a:gd name="connsiteY43" fmla="*/ 237744 h 864108"/>
                <a:gd name="connsiteX44" fmla="*/ 486156 w 1226820"/>
                <a:gd name="connsiteY44" fmla="*/ 256032 h 864108"/>
                <a:gd name="connsiteX45" fmla="*/ 413004 w 1226820"/>
                <a:gd name="connsiteY45" fmla="*/ 347472 h 864108"/>
                <a:gd name="connsiteX46" fmla="*/ 403860 w 1226820"/>
                <a:gd name="connsiteY46" fmla="*/ 374904 h 864108"/>
                <a:gd name="connsiteX47" fmla="*/ 394716 w 1226820"/>
                <a:gd name="connsiteY47" fmla="*/ 411480 h 864108"/>
                <a:gd name="connsiteX48" fmla="*/ 413004 w 1226820"/>
                <a:gd name="connsiteY48" fmla="*/ 429768 h 864108"/>
                <a:gd name="connsiteX49" fmla="*/ 367284 w 1226820"/>
                <a:gd name="connsiteY49" fmla="*/ 457200 h 864108"/>
                <a:gd name="connsiteX50" fmla="*/ 220980 w 1226820"/>
                <a:gd name="connsiteY50" fmla="*/ 493776 h 864108"/>
                <a:gd name="connsiteX51" fmla="*/ 175260 w 1226820"/>
                <a:gd name="connsiteY51" fmla="*/ 530352 h 864108"/>
                <a:gd name="connsiteX52" fmla="*/ 92964 w 1226820"/>
                <a:gd name="connsiteY52" fmla="*/ 585216 h 864108"/>
                <a:gd name="connsiteX53" fmla="*/ 19812 w 1226820"/>
                <a:gd name="connsiteY53" fmla="*/ 704088 h 864108"/>
                <a:gd name="connsiteX54" fmla="*/ 1524 w 1226820"/>
                <a:gd name="connsiteY54" fmla="*/ 786384 h 864108"/>
                <a:gd name="connsiteX55" fmla="*/ 19812 w 1226820"/>
                <a:gd name="connsiteY55" fmla="*/ 841248 h 864108"/>
                <a:gd name="connsiteX0" fmla="*/ 218332 w 1253874"/>
                <a:gd name="connsiteY0" fmla="*/ 554512 h 811313"/>
                <a:gd name="connsiteX1" fmla="*/ 120018 w 1253874"/>
                <a:gd name="connsiteY1" fmla="*/ 649224 h 811313"/>
                <a:gd name="connsiteX2" fmla="*/ 220602 w 1253874"/>
                <a:gd name="connsiteY2" fmla="*/ 548640 h 811313"/>
                <a:gd name="connsiteX3" fmla="*/ 348618 w 1253874"/>
                <a:gd name="connsiteY3" fmla="*/ 493776 h 811313"/>
                <a:gd name="connsiteX4" fmla="*/ 449202 w 1253874"/>
                <a:gd name="connsiteY4" fmla="*/ 466344 h 811313"/>
                <a:gd name="connsiteX5" fmla="*/ 549786 w 1253874"/>
                <a:gd name="connsiteY5" fmla="*/ 384048 h 811313"/>
                <a:gd name="connsiteX6" fmla="*/ 741810 w 1253874"/>
                <a:gd name="connsiteY6" fmla="*/ 301752 h 811313"/>
                <a:gd name="connsiteX7" fmla="*/ 824106 w 1253874"/>
                <a:gd name="connsiteY7" fmla="*/ 192024 h 811313"/>
                <a:gd name="connsiteX8" fmla="*/ 970410 w 1253874"/>
                <a:gd name="connsiteY8" fmla="*/ 155448 h 811313"/>
                <a:gd name="connsiteX9" fmla="*/ 1016130 w 1253874"/>
                <a:gd name="connsiteY9" fmla="*/ 155448 h 811313"/>
                <a:gd name="connsiteX10" fmla="*/ 1052706 w 1253874"/>
                <a:gd name="connsiteY10" fmla="*/ 137160 h 811313"/>
                <a:gd name="connsiteX11" fmla="*/ 1006986 w 1253874"/>
                <a:gd name="connsiteY11" fmla="*/ 137160 h 811313"/>
                <a:gd name="connsiteX12" fmla="*/ 915546 w 1253874"/>
                <a:gd name="connsiteY12" fmla="*/ 137160 h 811313"/>
                <a:gd name="connsiteX13" fmla="*/ 860682 w 1253874"/>
                <a:gd name="connsiteY13" fmla="*/ 146304 h 811313"/>
                <a:gd name="connsiteX14" fmla="*/ 851538 w 1253874"/>
                <a:gd name="connsiteY14" fmla="*/ 155448 h 811313"/>
                <a:gd name="connsiteX15" fmla="*/ 833250 w 1253874"/>
                <a:gd name="connsiteY15" fmla="*/ 146304 h 811313"/>
                <a:gd name="connsiteX16" fmla="*/ 961266 w 1253874"/>
                <a:gd name="connsiteY16" fmla="*/ 91440 h 811313"/>
                <a:gd name="connsiteX17" fmla="*/ 1016130 w 1253874"/>
                <a:gd name="connsiteY17" fmla="*/ 91440 h 811313"/>
                <a:gd name="connsiteX18" fmla="*/ 1107570 w 1253874"/>
                <a:gd name="connsiteY18" fmla="*/ 82296 h 811313"/>
                <a:gd name="connsiteX19" fmla="*/ 1235586 w 1253874"/>
                <a:gd name="connsiteY19" fmla="*/ 27432 h 811313"/>
                <a:gd name="connsiteX20" fmla="*/ 1217298 w 1253874"/>
                <a:gd name="connsiteY20" fmla="*/ 0 h 811313"/>
                <a:gd name="connsiteX21" fmla="*/ 1180722 w 1253874"/>
                <a:gd name="connsiteY21" fmla="*/ 27432 h 811313"/>
                <a:gd name="connsiteX22" fmla="*/ 1144146 w 1253874"/>
                <a:gd name="connsiteY22" fmla="*/ 36576 h 811313"/>
                <a:gd name="connsiteX23" fmla="*/ 1070994 w 1253874"/>
                <a:gd name="connsiteY23" fmla="*/ 64008 h 811313"/>
                <a:gd name="connsiteX24" fmla="*/ 1016130 w 1253874"/>
                <a:gd name="connsiteY24" fmla="*/ 64008 h 811313"/>
                <a:gd name="connsiteX25" fmla="*/ 906402 w 1253874"/>
                <a:gd name="connsiteY25" fmla="*/ 64008 h 811313"/>
                <a:gd name="connsiteX26" fmla="*/ 851538 w 1253874"/>
                <a:gd name="connsiteY26" fmla="*/ 100584 h 811313"/>
                <a:gd name="connsiteX27" fmla="*/ 814962 w 1253874"/>
                <a:gd name="connsiteY27" fmla="*/ 146304 h 811313"/>
                <a:gd name="connsiteX28" fmla="*/ 769242 w 1253874"/>
                <a:gd name="connsiteY28" fmla="*/ 182880 h 811313"/>
                <a:gd name="connsiteX29" fmla="*/ 723522 w 1253874"/>
                <a:gd name="connsiteY29" fmla="*/ 256032 h 811313"/>
                <a:gd name="connsiteX30" fmla="*/ 650370 w 1253874"/>
                <a:gd name="connsiteY30" fmla="*/ 301752 h 811313"/>
                <a:gd name="connsiteX31" fmla="*/ 549786 w 1253874"/>
                <a:gd name="connsiteY31" fmla="*/ 347472 h 811313"/>
                <a:gd name="connsiteX32" fmla="*/ 513210 w 1253874"/>
                <a:gd name="connsiteY32" fmla="*/ 374904 h 811313"/>
                <a:gd name="connsiteX33" fmla="*/ 467490 w 1253874"/>
                <a:gd name="connsiteY33" fmla="*/ 402336 h 811313"/>
                <a:gd name="connsiteX34" fmla="*/ 449202 w 1253874"/>
                <a:gd name="connsiteY34" fmla="*/ 402336 h 811313"/>
                <a:gd name="connsiteX35" fmla="*/ 467490 w 1253874"/>
                <a:gd name="connsiteY35" fmla="*/ 365760 h 811313"/>
                <a:gd name="connsiteX36" fmla="*/ 522354 w 1253874"/>
                <a:gd name="connsiteY36" fmla="*/ 301752 h 811313"/>
                <a:gd name="connsiteX37" fmla="*/ 613794 w 1253874"/>
                <a:gd name="connsiteY37" fmla="*/ 219456 h 811313"/>
                <a:gd name="connsiteX38" fmla="*/ 659514 w 1253874"/>
                <a:gd name="connsiteY38" fmla="*/ 146304 h 811313"/>
                <a:gd name="connsiteX39" fmla="*/ 659514 w 1253874"/>
                <a:gd name="connsiteY39" fmla="*/ 64008 h 811313"/>
                <a:gd name="connsiteX40" fmla="*/ 650370 w 1253874"/>
                <a:gd name="connsiteY40" fmla="*/ 54864 h 811313"/>
                <a:gd name="connsiteX41" fmla="*/ 641226 w 1253874"/>
                <a:gd name="connsiteY41" fmla="*/ 128016 h 811313"/>
                <a:gd name="connsiteX42" fmla="*/ 613794 w 1253874"/>
                <a:gd name="connsiteY42" fmla="*/ 173736 h 811313"/>
                <a:gd name="connsiteX43" fmla="*/ 540642 w 1253874"/>
                <a:gd name="connsiteY43" fmla="*/ 237744 h 811313"/>
                <a:gd name="connsiteX44" fmla="*/ 513210 w 1253874"/>
                <a:gd name="connsiteY44" fmla="*/ 256032 h 811313"/>
                <a:gd name="connsiteX45" fmla="*/ 440058 w 1253874"/>
                <a:gd name="connsiteY45" fmla="*/ 347472 h 811313"/>
                <a:gd name="connsiteX46" fmla="*/ 430914 w 1253874"/>
                <a:gd name="connsiteY46" fmla="*/ 374904 h 811313"/>
                <a:gd name="connsiteX47" fmla="*/ 421770 w 1253874"/>
                <a:gd name="connsiteY47" fmla="*/ 411480 h 811313"/>
                <a:gd name="connsiteX48" fmla="*/ 440058 w 1253874"/>
                <a:gd name="connsiteY48" fmla="*/ 429768 h 811313"/>
                <a:gd name="connsiteX49" fmla="*/ 394338 w 1253874"/>
                <a:gd name="connsiteY49" fmla="*/ 457200 h 811313"/>
                <a:gd name="connsiteX50" fmla="*/ 248034 w 1253874"/>
                <a:gd name="connsiteY50" fmla="*/ 493776 h 811313"/>
                <a:gd name="connsiteX51" fmla="*/ 202314 w 1253874"/>
                <a:gd name="connsiteY51" fmla="*/ 530352 h 811313"/>
                <a:gd name="connsiteX52" fmla="*/ 120018 w 1253874"/>
                <a:gd name="connsiteY52" fmla="*/ 585216 h 811313"/>
                <a:gd name="connsiteX53" fmla="*/ 46866 w 1253874"/>
                <a:gd name="connsiteY53" fmla="*/ 704088 h 811313"/>
                <a:gd name="connsiteX54" fmla="*/ 28578 w 1253874"/>
                <a:gd name="connsiteY54" fmla="*/ 786384 h 811313"/>
                <a:gd name="connsiteX55" fmla="*/ 218332 w 1253874"/>
                <a:gd name="connsiteY55" fmla="*/ 554512 h 811313"/>
                <a:gd name="connsiteX0" fmla="*/ 187852 w 1223394"/>
                <a:gd name="connsiteY0" fmla="*/ 554512 h 709205"/>
                <a:gd name="connsiteX1" fmla="*/ 89538 w 1223394"/>
                <a:gd name="connsiteY1" fmla="*/ 649224 h 709205"/>
                <a:gd name="connsiteX2" fmla="*/ 190122 w 1223394"/>
                <a:gd name="connsiteY2" fmla="*/ 548640 h 709205"/>
                <a:gd name="connsiteX3" fmla="*/ 318138 w 1223394"/>
                <a:gd name="connsiteY3" fmla="*/ 493776 h 709205"/>
                <a:gd name="connsiteX4" fmla="*/ 418722 w 1223394"/>
                <a:gd name="connsiteY4" fmla="*/ 466344 h 709205"/>
                <a:gd name="connsiteX5" fmla="*/ 519306 w 1223394"/>
                <a:gd name="connsiteY5" fmla="*/ 384048 h 709205"/>
                <a:gd name="connsiteX6" fmla="*/ 711330 w 1223394"/>
                <a:gd name="connsiteY6" fmla="*/ 301752 h 709205"/>
                <a:gd name="connsiteX7" fmla="*/ 793626 w 1223394"/>
                <a:gd name="connsiteY7" fmla="*/ 192024 h 709205"/>
                <a:gd name="connsiteX8" fmla="*/ 939930 w 1223394"/>
                <a:gd name="connsiteY8" fmla="*/ 155448 h 709205"/>
                <a:gd name="connsiteX9" fmla="*/ 985650 w 1223394"/>
                <a:gd name="connsiteY9" fmla="*/ 155448 h 709205"/>
                <a:gd name="connsiteX10" fmla="*/ 1022226 w 1223394"/>
                <a:gd name="connsiteY10" fmla="*/ 137160 h 709205"/>
                <a:gd name="connsiteX11" fmla="*/ 976506 w 1223394"/>
                <a:gd name="connsiteY11" fmla="*/ 137160 h 709205"/>
                <a:gd name="connsiteX12" fmla="*/ 885066 w 1223394"/>
                <a:gd name="connsiteY12" fmla="*/ 137160 h 709205"/>
                <a:gd name="connsiteX13" fmla="*/ 830202 w 1223394"/>
                <a:gd name="connsiteY13" fmla="*/ 146304 h 709205"/>
                <a:gd name="connsiteX14" fmla="*/ 821058 w 1223394"/>
                <a:gd name="connsiteY14" fmla="*/ 155448 h 709205"/>
                <a:gd name="connsiteX15" fmla="*/ 802770 w 1223394"/>
                <a:gd name="connsiteY15" fmla="*/ 146304 h 709205"/>
                <a:gd name="connsiteX16" fmla="*/ 930786 w 1223394"/>
                <a:gd name="connsiteY16" fmla="*/ 91440 h 709205"/>
                <a:gd name="connsiteX17" fmla="*/ 985650 w 1223394"/>
                <a:gd name="connsiteY17" fmla="*/ 91440 h 709205"/>
                <a:gd name="connsiteX18" fmla="*/ 1077090 w 1223394"/>
                <a:gd name="connsiteY18" fmla="*/ 82296 h 709205"/>
                <a:gd name="connsiteX19" fmla="*/ 1205106 w 1223394"/>
                <a:gd name="connsiteY19" fmla="*/ 27432 h 709205"/>
                <a:gd name="connsiteX20" fmla="*/ 1186818 w 1223394"/>
                <a:gd name="connsiteY20" fmla="*/ 0 h 709205"/>
                <a:gd name="connsiteX21" fmla="*/ 1150242 w 1223394"/>
                <a:gd name="connsiteY21" fmla="*/ 27432 h 709205"/>
                <a:gd name="connsiteX22" fmla="*/ 1113666 w 1223394"/>
                <a:gd name="connsiteY22" fmla="*/ 36576 h 709205"/>
                <a:gd name="connsiteX23" fmla="*/ 1040514 w 1223394"/>
                <a:gd name="connsiteY23" fmla="*/ 64008 h 709205"/>
                <a:gd name="connsiteX24" fmla="*/ 985650 w 1223394"/>
                <a:gd name="connsiteY24" fmla="*/ 64008 h 709205"/>
                <a:gd name="connsiteX25" fmla="*/ 875922 w 1223394"/>
                <a:gd name="connsiteY25" fmla="*/ 64008 h 709205"/>
                <a:gd name="connsiteX26" fmla="*/ 821058 w 1223394"/>
                <a:gd name="connsiteY26" fmla="*/ 100584 h 709205"/>
                <a:gd name="connsiteX27" fmla="*/ 784482 w 1223394"/>
                <a:gd name="connsiteY27" fmla="*/ 146304 h 709205"/>
                <a:gd name="connsiteX28" fmla="*/ 738762 w 1223394"/>
                <a:gd name="connsiteY28" fmla="*/ 182880 h 709205"/>
                <a:gd name="connsiteX29" fmla="*/ 693042 w 1223394"/>
                <a:gd name="connsiteY29" fmla="*/ 256032 h 709205"/>
                <a:gd name="connsiteX30" fmla="*/ 619890 w 1223394"/>
                <a:gd name="connsiteY30" fmla="*/ 301752 h 709205"/>
                <a:gd name="connsiteX31" fmla="*/ 519306 w 1223394"/>
                <a:gd name="connsiteY31" fmla="*/ 347472 h 709205"/>
                <a:gd name="connsiteX32" fmla="*/ 482730 w 1223394"/>
                <a:gd name="connsiteY32" fmla="*/ 374904 h 709205"/>
                <a:gd name="connsiteX33" fmla="*/ 437010 w 1223394"/>
                <a:gd name="connsiteY33" fmla="*/ 402336 h 709205"/>
                <a:gd name="connsiteX34" fmla="*/ 418722 w 1223394"/>
                <a:gd name="connsiteY34" fmla="*/ 402336 h 709205"/>
                <a:gd name="connsiteX35" fmla="*/ 437010 w 1223394"/>
                <a:gd name="connsiteY35" fmla="*/ 365760 h 709205"/>
                <a:gd name="connsiteX36" fmla="*/ 491874 w 1223394"/>
                <a:gd name="connsiteY36" fmla="*/ 301752 h 709205"/>
                <a:gd name="connsiteX37" fmla="*/ 583314 w 1223394"/>
                <a:gd name="connsiteY37" fmla="*/ 219456 h 709205"/>
                <a:gd name="connsiteX38" fmla="*/ 629034 w 1223394"/>
                <a:gd name="connsiteY38" fmla="*/ 146304 h 709205"/>
                <a:gd name="connsiteX39" fmla="*/ 629034 w 1223394"/>
                <a:gd name="connsiteY39" fmla="*/ 64008 h 709205"/>
                <a:gd name="connsiteX40" fmla="*/ 619890 w 1223394"/>
                <a:gd name="connsiteY40" fmla="*/ 54864 h 709205"/>
                <a:gd name="connsiteX41" fmla="*/ 610746 w 1223394"/>
                <a:gd name="connsiteY41" fmla="*/ 128016 h 709205"/>
                <a:gd name="connsiteX42" fmla="*/ 583314 w 1223394"/>
                <a:gd name="connsiteY42" fmla="*/ 173736 h 709205"/>
                <a:gd name="connsiteX43" fmla="*/ 510162 w 1223394"/>
                <a:gd name="connsiteY43" fmla="*/ 237744 h 709205"/>
                <a:gd name="connsiteX44" fmla="*/ 482730 w 1223394"/>
                <a:gd name="connsiteY44" fmla="*/ 256032 h 709205"/>
                <a:gd name="connsiteX45" fmla="*/ 409578 w 1223394"/>
                <a:gd name="connsiteY45" fmla="*/ 347472 h 709205"/>
                <a:gd name="connsiteX46" fmla="*/ 400434 w 1223394"/>
                <a:gd name="connsiteY46" fmla="*/ 374904 h 709205"/>
                <a:gd name="connsiteX47" fmla="*/ 391290 w 1223394"/>
                <a:gd name="connsiteY47" fmla="*/ 411480 h 709205"/>
                <a:gd name="connsiteX48" fmla="*/ 409578 w 1223394"/>
                <a:gd name="connsiteY48" fmla="*/ 429768 h 709205"/>
                <a:gd name="connsiteX49" fmla="*/ 363858 w 1223394"/>
                <a:gd name="connsiteY49" fmla="*/ 457200 h 709205"/>
                <a:gd name="connsiteX50" fmla="*/ 217554 w 1223394"/>
                <a:gd name="connsiteY50" fmla="*/ 493776 h 709205"/>
                <a:gd name="connsiteX51" fmla="*/ 171834 w 1223394"/>
                <a:gd name="connsiteY51" fmla="*/ 530352 h 709205"/>
                <a:gd name="connsiteX52" fmla="*/ 89538 w 1223394"/>
                <a:gd name="connsiteY52" fmla="*/ 585216 h 709205"/>
                <a:gd name="connsiteX53" fmla="*/ 16386 w 1223394"/>
                <a:gd name="connsiteY53" fmla="*/ 704088 h 709205"/>
                <a:gd name="connsiteX54" fmla="*/ 187853 w 1223394"/>
                <a:gd name="connsiteY54" fmla="*/ 554512 h 709205"/>
                <a:gd name="connsiteX55" fmla="*/ 187852 w 1223394"/>
                <a:gd name="connsiteY55" fmla="*/ 554512 h 709205"/>
                <a:gd name="connsiteX0" fmla="*/ 110754 w 1146296"/>
                <a:gd name="connsiteY0" fmla="*/ 554512 h 649224"/>
                <a:gd name="connsiteX1" fmla="*/ 12440 w 1146296"/>
                <a:gd name="connsiteY1" fmla="*/ 649224 h 649224"/>
                <a:gd name="connsiteX2" fmla="*/ 113024 w 1146296"/>
                <a:gd name="connsiteY2" fmla="*/ 548640 h 649224"/>
                <a:gd name="connsiteX3" fmla="*/ 241040 w 1146296"/>
                <a:gd name="connsiteY3" fmla="*/ 493776 h 649224"/>
                <a:gd name="connsiteX4" fmla="*/ 341624 w 1146296"/>
                <a:gd name="connsiteY4" fmla="*/ 466344 h 649224"/>
                <a:gd name="connsiteX5" fmla="*/ 442208 w 1146296"/>
                <a:gd name="connsiteY5" fmla="*/ 384048 h 649224"/>
                <a:gd name="connsiteX6" fmla="*/ 634232 w 1146296"/>
                <a:gd name="connsiteY6" fmla="*/ 301752 h 649224"/>
                <a:gd name="connsiteX7" fmla="*/ 716528 w 1146296"/>
                <a:gd name="connsiteY7" fmla="*/ 192024 h 649224"/>
                <a:gd name="connsiteX8" fmla="*/ 862832 w 1146296"/>
                <a:gd name="connsiteY8" fmla="*/ 155448 h 649224"/>
                <a:gd name="connsiteX9" fmla="*/ 908552 w 1146296"/>
                <a:gd name="connsiteY9" fmla="*/ 155448 h 649224"/>
                <a:gd name="connsiteX10" fmla="*/ 945128 w 1146296"/>
                <a:gd name="connsiteY10" fmla="*/ 137160 h 649224"/>
                <a:gd name="connsiteX11" fmla="*/ 899408 w 1146296"/>
                <a:gd name="connsiteY11" fmla="*/ 137160 h 649224"/>
                <a:gd name="connsiteX12" fmla="*/ 807968 w 1146296"/>
                <a:gd name="connsiteY12" fmla="*/ 137160 h 649224"/>
                <a:gd name="connsiteX13" fmla="*/ 753104 w 1146296"/>
                <a:gd name="connsiteY13" fmla="*/ 146304 h 649224"/>
                <a:gd name="connsiteX14" fmla="*/ 743960 w 1146296"/>
                <a:gd name="connsiteY14" fmla="*/ 155448 h 649224"/>
                <a:gd name="connsiteX15" fmla="*/ 725672 w 1146296"/>
                <a:gd name="connsiteY15" fmla="*/ 146304 h 649224"/>
                <a:gd name="connsiteX16" fmla="*/ 853688 w 1146296"/>
                <a:gd name="connsiteY16" fmla="*/ 91440 h 649224"/>
                <a:gd name="connsiteX17" fmla="*/ 908552 w 1146296"/>
                <a:gd name="connsiteY17" fmla="*/ 91440 h 649224"/>
                <a:gd name="connsiteX18" fmla="*/ 999992 w 1146296"/>
                <a:gd name="connsiteY18" fmla="*/ 82296 h 649224"/>
                <a:gd name="connsiteX19" fmla="*/ 1128008 w 1146296"/>
                <a:gd name="connsiteY19" fmla="*/ 27432 h 649224"/>
                <a:gd name="connsiteX20" fmla="*/ 1109720 w 1146296"/>
                <a:gd name="connsiteY20" fmla="*/ 0 h 649224"/>
                <a:gd name="connsiteX21" fmla="*/ 1073144 w 1146296"/>
                <a:gd name="connsiteY21" fmla="*/ 27432 h 649224"/>
                <a:gd name="connsiteX22" fmla="*/ 1036568 w 1146296"/>
                <a:gd name="connsiteY22" fmla="*/ 36576 h 649224"/>
                <a:gd name="connsiteX23" fmla="*/ 963416 w 1146296"/>
                <a:gd name="connsiteY23" fmla="*/ 64008 h 649224"/>
                <a:gd name="connsiteX24" fmla="*/ 908552 w 1146296"/>
                <a:gd name="connsiteY24" fmla="*/ 64008 h 649224"/>
                <a:gd name="connsiteX25" fmla="*/ 798824 w 1146296"/>
                <a:gd name="connsiteY25" fmla="*/ 64008 h 649224"/>
                <a:gd name="connsiteX26" fmla="*/ 743960 w 1146296"/>
                <a:gd name="connsiteY26" fmla="*/ 100584 h 649224"/>
                <a:gd name="connsiteX27" fmla="*/ 707384 w 1146296"/>
                <a:gd name="connsiteY27" fmla="*/ 146304 h 649224"/>
                <a:gd name="connsiteX28" fmla="*/ 661664 w 1146296"/>
                <a:gd name="connsiteY28" fmla="*/ 182880 h 649224"/>
                <a:gd name="connsiteX29" fmla="*/ 615944 w 1146296"/>
                <a:gd name="connsiteY29" fmla="*/ 256032 h 649224"/>
                <a:gd name="connsiteX30" fmla="*/ 542792 w 1146296"/>
                <a:gd name="connsiteY30" fmla="*/ 301752 h 649224"/>
                <a:gd name="connsiteX31" fmla="*/ 442208 w 1146296"/>
                <a:gd name="connsiteY31" fmla="*/ 347472 h 649224"/>
                <a:gd name="connsiteX32" fmla="*/ 405632 w 1146296"/>
                <a:gd name="connsiteY32" fmla="*/ 374904 h 649224"/>
                <a:gd name="connsiteX33" fmla="*/ 359912 w 1146296"/>
                <a:gd name="connsiteY33" fmla="*/ 402336 h 649224"/>
                <a:gd name="connsiteX34" fmla="*/ 341624 w 1146296"/>
                <a:gd name="connsiteY34" fmla="*/ 402336 h 649224"/>
                <a:gd name="connsiteX35" fmla="*/ 359912 w 1146296"/>
                <a:gd name="connsiteY35" fmla="*/ 365760 h 649224"/>
                <a:gd name="connsiteX36" fmla="*/ 414776 w 1146296"/>
                <a:gd name="connsiteY36" fmla="*/ 301752 h 649224"/>
                <a:gd name="connsiteX37" fmla="*/ 506216 w 1146296"/>
                <a:gd name="connsiteY37" fmla="*/ 219456 h 649224"/>
                <a:gd name="connsiteX38" fmla="*/ 551936 w 1146296"/>
                <a:gd name="connsiteY38" fmla="*/ 146304 h 649224"/>
                <a:gd name="connsiteX39" fmla="*/ 551936 w 1146296"/>
                <a:gd name="connsiteY39" fmla="*/ 64008 h 649224"/>
                <a:gd name="connsiteX40" fmla="*/ 542792 w 1146296"/>
                <a:gd name="connsiteY40" fmla="*/ 54864 h 649224"/>
                <a:gd name="connsiteX41" fmla="*/ 533648 w 1146296"/>
                <a:gd name="connsiteY41" fmla="*/ 128016 h 649224"/>
                <a:gd name="connsiteX42" fmla="*/ 506216 w 1146296"/>
                <a:gd name="connsiteY42" fmla="*/ 173736 h 649224"/>
                <a:gd name="connsiteX43" fmla="*/ 433064 w 1146296"/>
                <a:gd name="connsiteY43" fmla="*/ 237744 h 649224"/>
                <a:gd name="connsiteX44" fmla="*/ 405632 w 1146296"/>
                <a:gd name="connsiteY44" fmla="*/ 256032 h 649224"/>
                <a:gd name="connsiteX45" fmla="*/ 332480 w 1146296"/>
                <a:gd name="connsiteY45" fmla="*/ 347472 h 649224"/>
                <a:gd name="connsiteX46" fmla="*/ 323336 w 1146296"/>
                <a:gd name="connsiteY46" fmla="*/ 374904 h 649224"/>
                <a:gd name="connsiteX47" fmla="*/ 314192 w 1146296"/>
                <a:gd name="connsiteY47" fmla="*/ 411480 h 649224"/>
                <a:gd name="connsiteX48" fmla="*/ 332480 w 1146296"/>
                <a:gd name="connsiteY48" fmla="*/ 429768 h 649224"/>
                <a:gd name="connsiteX49" fmla="*/ 286760 w 1146296"/>
                <a:gd name="connsiteY49" fmla="*/ 457200 h 649224"/>
                <a:gd name="connsiteX50" fmla="*/ 140456 w 1146296"/>
                <a:gd name="connsiteY50" fmla="*/ 493776 h 649224"/>
                <a:gd name="connsiteX51" fmla="*/ 94736 w 1146296"/>
                <a:gd name="connsiteY51" fmla="*/ 530352 h 649224"/>
                <a:gd name="connsiteX52" fmla="*/ 12440 w 1146296"/>
                <a:gd name="connsiteY52" fmla="*/ 585216 h 649224"/>
                <a:gd name="connsiteX53" fmla="*/ 20096 w 1146296"/>
                <a:gd name="connsiteY53" fmla="*/ 612769 h 649224"/>
                <a:gd name="connsiteX54" fmla="*/ 110755 w 1146296"/>
                <a:gd name="connsiteY54" fmla="*/ 554512 h 649224"/>
                <a:gd name="connsiteX55" fmla="*/ 110754 w 1146296"/>
                <a:gd name="connsiteY55" fmla="*/ 554512 h 649224"/>
                <a:gd name="connsiteX0" fmla="*/ 101388 w 1136930"/>
                <a:gd name="connsiteY0" fmla="*/ 554512 h 649224"/>
                <a:gd name="connsiteX1" fmla="*/ 3074 w 1136930"/>
                <a:gd name="connsiteY1" fmla="*/ 649224 h 649224"/>
                <a:gd name="connsiteX2" fmla="*/ 103658 w 1136930"/>
                <a:gd name="connsiteY2" fmla="*/ 548640 h 649224"/>
                <a:gd name="connsiteX3" fmla="*/ 231674 w 1136930"/>
                <a:gd name="connsiteY3" fmla="*/ 493776 h 649224"/>
                <a:gd name="connsiteX4" fmla="*/ 332258 w 1136930"/>
                <a:gd name="connsiteY4" fmla="*/ 466344 h 649224"/>
                <a:gd name="connsiteX5" fmla="*/ 432842 w 1136930"/>
                <a:gd name="connsiteY5" fmla="*/ 384048 h 649224"/>
                <a:gd name="connsiteX6" fmla="*/ 624866 w 1136930"/>
                <a:gd name="connsiteY6" fmla="*/ 301752 h 649224"/>
                <a:gd name="connsiteX7" fmla="*/ 707162 w 1136930"/>
                <a:gd name="connsiteY7" fmla="*/ 192024 h 649224"/>
                <a:gd name="connsiteX8" fmla="*/ 853466 w 1136930"/>
                <a:gd name="connsiteY8" fmla="*/ 155448 h 649224"/>
                <a:gd name="connsiteX9" fmla="*/ 899186 w 1136930"/>
                <a:gd name="connsiteY9" fmla="*/ 155448 h 649224"/>
                <a:gd name="connsiteX10" fmla="*/ 935762 w 1136930"/>
                <a:gd name="connsiteY10" fmla="*/ 137160 h 649224"/>
                <a:gd name="connsiteX11" fmla="*/ 890042 w 1136930"/>
                <a:gd name="connsiteY11" fmla="*/ 137160 h 649224"/>
                <a:gd name="connsiteX12" fmla="*/ 798602 w 1136930"/>
                <a:gd name="connsiteY12" fmla="*/ 137160 h 649224"/>
                <a:gd name="connsiteX13" fmla="*/ 743738 w 1136930"/>
                <a:gd name="connsiteY13" fmla="*/ 146304 h 649224"/>
                <a:gd name="connsiteX14" fmla="*/ 734594 w 1136930"/>
                <a:gd name="connsiteY14" fmla="*/ 155448 h 649224"/>
                <a:gd name="connsiteX15" fmla="*/ 716306 w 1136930"/>
                <a:gd name="connsiteY15" fmla="*/ 146304 h 649224"/>
                <a:gd name="connsiteX16" fmla="*/ 844322 w 1136930"/>
                <a:gd name="connsiteY16" fmla="*/ 91440 h 649224"/>
                <a:gd name="connsiteX17" fmla="*/ 899186 w 1136930"/>
                <a:gd name="connsiteY17" fmla="*/ 91440 h 649224"/>
                <a:gd name="connsiteX18" fmla="*/ 990626 w 1136930"/>
                <a:gd name="connsiteY18" fmla="*/ 82296 h 649224"/>
                <a:gd name="connsiteX19" fmla="*/ 1118642 w 1136930"/>
                <a:gd name="connsiteY19" fmla="*/ 27432 h 649224"/>
                <a:gd name="connsiteX20" fmla="*/ 1100354 w 1136930"/>
                <a:gd name="connsiteY20" fmla="*/ 0 h 649224"/>
                <a:gd name="connsiteX21" fmla="*/ 1063778 w 1136930"/>
                <a:gd name="connsiteY21" fmla="*/ 27432 h 649224"/>
                <a:gd name="connsiteX22" fmla="*/ 1027202 w 1136930"/>
                <a:gd name="connsiteY22" fmla="*/ 36576 h 649224"/>
                <a:gd name="connsiteX23" fmla="*/ 954050 w 1136930"/>
                <a:gd name="connsiteY23" fmla="*/ 64008 h 649224"/>
                <a:gd name="connsiteX24" fmla="*/ 899186 w 1136930"/>
                <a:gd name="connsiteY24" fmla="*/ 64008 h 649224"/>
                <a:gd name="connsiteX25" fmla="*/ 789458 w 1136930"/>
                <a:gd name="connsiteY25" fmla="*/ 64008 h 649224"/>
                <a:gd name="connsiteX26" fmla="*/ 734594 w 1136930"/>
                <a:gd name="connsiteY26" fmla="*/ 100584 h 649224"/>
                <a:gd name="connsiteX27" fmla="*/ 698018 w 1136930"/>
                <a:gd name="connsiteY27" fmla="*/ 146304 h 649224"/>
                <a:gd name="connsiteX28" fmla="*/ 652298 w 1136930"/>
                <a:gd name="connsiteY28" fmla="*/ 182880 h 649224"/>
                <a:gd name="connsiteX29" fmla="*/ 606578 w 1136930"/>
                <a:gd name="connsiteY29" fmla="*/ 256032 h 649224"/>
                <a:gd name="connsiteX30" fmla="*/ 533426 w 1136930"/>
                <a:gd name="connsiteY30" fmla="*/ 301752 h 649224"/>
                <a:gd name="connsiteX31" fmla="*/ 432842 w 1136930"/>
                <a:gd name="connsiteY31" fmla="*/ 347472 h 649224"/>
                <a:gd name="connsiteX32" fmla="*/ 396266 w 1136930"/>
                <a:gd name="connsiteY32" fmla="*/ 374904 h 649224"/>
                <a:gd name="connsiteX33" fmla="*/ 350546 w 1136930"/>
                <a:gd name="connsiteY33" fmla="*/ 402336 h 649224"/>
                <a:gd name="connsiteX34" fmla="*/ 332258 w 1136930"/>
                <a:gd name="connsiteY34" fmla="*/ 402336 h 649224"/>
                <a:gd name="connsiteX35" fmla="*/ 350546 w 1136930"/>
                <a:gd name="connsiteY35" fmla="*/ 365760 h 649224"/>
                <a:gd name="connsiteX36" fmla="*/ 405410 w 1136930"/>
                <a:gd name="connsiteY36" fmla="*/ 301752 h 649224"/>
                <a:gd name="connsiteX37" fmla="*/ 496850 w 1136930"/>
                <a:gd name="connsiteY37" fmla="*/ 219456 h 649224"/>
                <a:gd name="connsiteX38" fmla="*/ 542570 w 1136930"/>
                <a:gd name="connsiteY38" fmla="*/ 146304 h 649224"/>
                <a:gd name="connsiteX39" fmla="*/ 542570 w 1136930"/>
                <a:gd name="connsiteY39" fmla="*/ 64008 h 649224"/>
                <a:gd name="connsiteX40" fmla="*/ 533426 w 1136930"/>
                <a:gd name="connsiteY40" fmla="*/ 54864 h 649224"/>
                <a:gd name="connsiteX41" fmla="*/ 524282 w 1136930"/>
                <a:gd name="connsiteY41" fmla="*/ 128016 h 649224"/>
                <a:gd name="connsiteX42" fmla="*/ 496850 w 1136930"/>
                <a:gd name="connsiteY42" fmla="*/ 173736 h 649224"/>
                <a:gd name="connsiteX43" fmla="*/ 423698 w 1136930"/>
                <a:gd name="connsiteY43" fmla="*/ 237744 h 649224"/>
                <a:gd name="connsiteX44" fmla="*/ 396266 w 1136930"/>
                <a:gd name="connsiteY44" fmla="*/ 256032 h 649224"/>
                <a:gd name="connsiteX45" fmla="*/ 323114 w 1136930"/>
                <a:gd name="connsiteY45" fmla="*/ 347472 h 649224"/>
                <a:gd name="connsiteX46" fmla="*/ 313970 w 1136930"/>
                <a:gd name="connsiteY46" fmla="*/ 374904 h 649224"/>
                <a:gd name="connsiteX47" fmla="*/ 304826 w 1136930"/>
                <a:gd name="connsiteY47" fmla="*/ 411480 h 649224"/>
                <a:gd name="connsiteX48" fmla="*/ 323114 w 1136930"/>
                <a:gd name="connsiteY48" fmla="*/ 429768 h 649224"/>
                <a:gd name="connsiteX49" fmla="*/ 277394 w 1136930"/>
                <a:gd name="connsiteY49" fmla="*/ 457200 h 649224"/>
                <a:gd name="connsiteX50" fmla="*/ 131090 w 1136930"/>
                <a:gd name="connsiteY50" fmla="*/ 493776 h 649224"/>
                <a:gd name="connsiteX51" fmla="*/ 85370 w 1136930"/>
                <a:gd name="connsiteY51" fmla="*/ 530352 h 649224"/>
                <a:gd name="connsiteX52" fmla="*/ 3074 w 1136930"/>
                <a:gd name="connsiteY52" fmla="*/ 585216 h 649224"/>
                <a:gd name="connsiteX53" fmla="*/ 103816 w 1136930"/>
                <a:gd name="connsiteY53" fmla="*/ 555040 h 649224"/>
                <a:gd name="connsiteX54" fmla="*/ 101389 w 1136930"/>
                <a:gd name="connsiteY54" fmla="*/ 554512 h 649224"/>
                <a:gd name="connsiteX55" fmla="*/ 101388 w 1136930"/>
                <a:gd name="connsiteY55" fmla="*/ 554512 h 649224"/>
                <a:gd name="connsiteX0" fmla="*/ 101388 w 1136930"/>
                <a:gd name="connsiteY0" fmla="*/ 554512 h 589331"/>
                <a:gd name="connsiteX1" fmla="*/ 103816 w 1136930"/>
                <a:gd name="connsiteY1" fmla="*/ 555041 h 589331"/>
                <a:gd name="connsiteX2" fmla="*/ 103658 w 1136930"/>
                <a:gd name="connsiteY2" fmla="*/ 548640 h 589331"/>
                <a:gd name="connsiteX3" fmla="*/ 231674 w 1136930"/>
                <a:gd name="connsiteY3" fmla="*/ 493776 h 589331"/>
                <a:gd name="connsiteX4" fmla="*/ 332258 w 1136930"/>
                <a:gd name="connsiteY4" fmla="*/ 466344 h 589331"/>
                <a:gd name="connsiteX5" fmla="*/ 432842 w 1136930"/>
                <a:gd name="connsiteY5" fmla="*/ 384048 h 589331"/>
                <a:gd name="connsiteX6" fmla="*/ 624866 w 1136930"/>
                <a:gd name="connsiteY6" fmla="*/ 301752 h 589331"/>
                <a:gd name="connsiteX7" fmla="*/ 707162 w 1136930"/>
                <a:gd name="connsiteY7" fmla="*/ 192024 h 589331"/>
                <a:gd name="connsiteX8" fmla="*/ 853466 w 1136930"/>
                <a:gd name="connsiteY8" fmla="*/ 155448 h 589331"/>
                <a:gd name="connsiteX9" fmla="*/ 899186 w 1136930"/>
                <a:gd name="connsiteY9" fmla="*/ 155448 h 589331"/>
                <a:gd name="connsiteX10" fmla="*/ 935762 w 1136930"/>
                <a:gd name="connsiteY10" fmla="*/ 137160 h 589331"/>
                <a:gd name="connsiteX11" fmla="*/ 890042 w 1136930"/>
                <a:gd name="connsiteY11" fmla="*/ 137160 h 589331"/>
                <a:gd name="connsiteX12" fmla="*/ 798602 w 1136930"/>
                <a:gd name="connsiteY12" fmla="*/ 137160 h 589331"/>
                <a:gd name="connsiteX13" fmla="*/ 743738 w 1136930"/>
                <a:gd name="connsiteY13" fmla="*/ 146304 h 589331"/>
                <a:gd name="connsiteX14" fmla="*/ 734594 w 1136930"/>
                <a:gd name="connsiteY14" fmla="*/ 155448 h 589331"/>
                <a:gd name="connsiteX15" fmla="*/ 716306 w 1136930"/>
                <a:gd name="connsiteY15" fmla="*/ 146304 h 589331"/>
                <a:gd name="connsiteX16" fmla="*/ 844322 w 1136930"/>
                <a:gd name="connsiteY16" fmla="*/ 91440 h 589331"/>
                <a:gd name="connsiteX17" fmla="*/ 899186 w 1136930"/>
                <a:gd name="connsiteY17" fmla="*/ 91440 h 589331"/>
                <a:gd name="connsiteX18" fmla="*/ 990626 w 1136930"/>
                <a:gd name="connsiteY18" fmla="*/ 82296 h 589331"/>
                <a:gd name="connsiteX19" fmla="*/ 1118642 w 1136930"/>
                <a:gd name="connsiteY19" fmla="*/ 27432 h 589331"/>
                <a:gd name="connsiteX20" fmla="*/ 1100354 w 1136930"/>
                <a:gd name="connsiteY20" fmla="*/ 0 h 589331"/>
                <a:gd name="connsiteX21" fmla="*/ 1063778 w 1136930"/>
                <a:gd name="connsiteY21" fmla="*/ 27432 h 589331"/>
                <a:gd name="connsiteX22" fmla="*/ 1027202 w 1136930"/>
                <a:gd name="connsiteY22" fmla="*/ 36576 h 589331"/>
                <a:gd name="connsiteX23" fmla="*/ 954050 w 1136930"/>
                <a:gd name="connsiteY23" fmla="*/ 64008 h 589331"/>
                <a:gd name="connsiteX24" fmla="*/ 899186 w 1136930"/>
                <a:gd name="connsiteY24" fmla="*/ 64008 h 589331"/>
                <a:gd name="connsiteX25" fmla="*/ 789458 w 1136930"/>
                <a:gd name="connsiteY25" fmla="*/ 64008 h 589331"/>
                <a:gd name="connsiteX26" fmla="*/ 734594 w 1136930"/>
                <a:gd name="connsiteY26" fmla="*/ 100584 h 589331"/>
                <a:gd name="connsiteX27" fmla="*/ 698018 w 1136930"/>
                <a:gd name="connsiteY27" fmla="*/ 146304 h 589331"/>
                <a:gd name="connsiteX28" fmla="*/ 652298 w 1136930"/>
                <a:gd name="connsiteY28" fmla="*/ 182880 h 589331"/>
                <a:gd name="connsiteX29" fmla="*/ 606578 w 1136930"/>
                <a:gd name="connsiteY29" fmla="*/ 256032 h 589331"/>
                <a:gd name="connsiteX30" fmla="*/ 533426 w 1136930"/>
                <a:gd name="connsiteY30" fmla="*/ 301752 h 589331"/>
                <a:gd name="connsiteX31" fmla="*/ 432842 w 1136930"/>
                <a:gd name="connsiteY31" fmla="*/ 347472 h 589331"/>
                <a:gd name="connsiteX32" fmla="*/ 396266 w 1136930"/>
                <a:gd name="connsiteY32" fmla="*/ 374904 h 589331"/>
                <a:gd name="connsiteX33" fmla="*/ 350546 w 1136930"/>
                <a:gd name="connsiteY33" fmla="*/ 402336 h 589331"/>
                <a:gd name="connsiteX34" fmla="*/ 332258 w 1136930"/>
                <a:gd name="connsiteY34" fmla="*/ 402336 h 589331"/>
                <a:gd name="connsiteX35" fmla="*/ 350546 w 1136930"/>
                <a:gd name="connsiteY35" fmla="*/ 365760 h 589331"/>
                <a:gd name="connsiteX36" fmla="*/ 405410 w 1136930"/>
                <a:gd name="connsiteY36" fmla="*/ 301752 h 589331"/>
                <a:gd name="connsiteX37" fmla="*/ 496850 w 1136930"/>
                <a:gd name="connsiteY37" fmla="*/ 219456 h 589331"/>
                <a:gd name="connsiteX38" fmla="*/ 542570 w 1136930"/>
                <a:gd name="connsiteY38" fmla="*/ 146304 h 589331"/>
                <a:gd name="connsiteX39" fmla="*/ 542570 w 1136930"/>
                <a:gd name="connsiteY39" fmla="*/ 64008 h 589331"/>
                <a:gd name="connsiteX40" fmla="*/ 533426 w 1136930"/>
                <a:gd name="connsiteY40" fmla="*/ 54864 h 589331"/>
                <a:gd name="connsiteX41" fmla="*/ 524282 w 1136930"/>
                <a:gd name="connsiteY41" fmla="*/ 128016 h 589331"/>
                <a:gd name="connsiteX42" fmla="*/ 496850 w 1136930"/>
                <a:gd name="connsiteY42" fmla="*/ 173736 h 589331"/>
                <a:gd name="connsiteX43" fmla="*/ 423698 w 1136930"/>
                <a:gd name="connsiteY43" fmla="*/ 237744 h 589331"/>
                <a:gd name="connsiteX44" fmla="*/ 396266 w 1136930"/>
                <a:gd name="connsiteY44" fmla="*/ 256032 h 589331"/>
                <a:gd name="connsiteX45" fmla="*/ 323114 w 1136930"/>
                <a:gd name="connsiteY45" fmla="*/ 347472 h 589331"/>
                <a:gd name="connsiteX46" fmla="*/ 313970 w 1136930"/>
                <a:gd name="connsiteY46" fmla="*/ 374904 h 589331"/>
                <a:gd name="connsiteX47" fmla="*/ 304826 w 1136930"/>
                <a:gd name="connsiteY47" fmla="*/ 411480 h 589331"/>
                <a:gd name="connsiteX48" fmla="*/ 323114 w 1136930"/>
                <a:gd name="connsiteY48" fmla="*/ 429768 h 589331"/>
                <a:gd name="connsiteX49" fmla="*/ 277394 w 1136930"/>
                <a:gd name="connsiteY49" fmla="*/ 457200 h 589331"/>
                <a:gd name="connsiteX50" fmla="*/ 131090 w 1136930"/>
                <a:gd name="connsiteY50" fmla="*/ 493776 h 589331"/>
                <a:gd name="connsiteX51" fmla="*/ 85370 w 1136930"/>
                <a:gd name="connsiteY51" fmla="*/ 530352 h 589331"/>
                <a:gd name="connsiteX52" fmla="*/ 3074 w 1136930"/>
                <a:gd name="connsiteY52" fmla="*/ 585216 h 589331"/>
                <a:gd name="connsiteX53" fmla="*/ 103816 w 1136930"/>
                <a:gd name="connsiteY53" fmla="*/ 555040 h 589331"/>
                <a:gd name="connsiteX54" fmla="*/ 101389 w 1136930"/>
                <a:gd name="connsiteY54" fmla="*/ 554512 h 589331"/>
                <a:gd name="connsiteX55" fmla="*/ 101388 w 1136930"/>
                <a:gd name="connsiteY55" fmla="*/ 554512 h 589331"/>
                <a:gd name="connsiteX0" fmla="*/ 19040 w 1054582"/>
                <a:gd name="connsiteY0" fmla="*/ 554512 h 567361"/>
                <a:gd name="connsiteX1" fmla="*/ 21468 w 1054582"/>
                <a:gd name="connsiteY1" fmla="*/ 555041 h 567361"/>
                <a:gd name="connsiteX2" fmla="*/ 21310 w 1054582"/>
                <a:gd name="connsiteY2" fmla="*/ 548640 h 567361"/>
                <a:gd name="connsiteX3" fmla="*/ 149326 w 1054582"/>
                <a:gd name="connsiteY3" fmla="*/ 493776 h 567361"/>
                <a:gd name="connsiteX4" fmla="*/ 249910 w 1054582"/>
                <a:gd name="connsiteY4" fmla="*/ 466344 h 567361"/>
                <a:gd name="connsiteX5" fmla="*/ 350494 w 1054582"/>
                <a:gd name="connsiteY5" fmla="*/ 384048 h 567361"/>
                <a:gd name="connsiteX6" fmla="*/ 542518 w 1054582"/>
                <a:gd name="connsiteY6" fmla="*/ 301752 h 567361"/>
                <a:gd name="connsiteX7" fmla="*/ 624814 w 1054582"/>
                <a:gd name="connsiteY7" fmla="*/ 192024 h 567361"/>
                <a:gd name="connsiteX8" fmla="*/ 771118 w 1054582"/>
                <a:gd name="connsiteY8" fmla="*/ 155448 h 567361"/>
                <a:gd name="connsiteX9" fmla="*/ 816838 w 1054582"/>
                <a:gd name="connsiteY9" fmla="*/ 155448 h 567361"/>
                <a:gd name="connsiteX10" fmla="*/ 853414 w 1054582"/>
                <a:gd name="connsiteY10" fmla="*/ 137160 h 567361"/>
                <a:gd name="connsiteX11" fmla="*/ 807694 w 1054582"/>
                <a:gd name="connsiteY11" fmla="*/ 137160 h 567361"/>
                <a:gd name="connsiteX12" fmla="*/ 716254 w 1054582"/>
                <a:gd name="connsiteY12" fmla="*/ 137160 h 567361"/>
                <a:gd name="connsiteX13" fmla="*/ 661390 w 1054582"/>
                <a:gd name="connsiteY13" fmla="*/ 146304 h 567361"/>
                <a:gd name="connsiteX14" fmla="*/ 652246 w 1054582"/>
                <a:gd name="connsiteY14" fmla="*/ 155448 h 567361"/>
                <a:gd name="connsiteX15" fmla="*/ 633958 w 1054582"/>
                <a:gd name="connsiteY15" fmla="*/ 146304 h 567361"/>
                <a:gd name="connsiteX16" fmla="*/ 761974 w 1054582"/>
                <a:gd name="connsiteY16" fmla="*/ 91440 h 567361"/>
                <a:gd name="connsiteX17" fmla="*/ 816838 w 1054582"/>
                <a:gd name="connsiteY17" fmla="*/ 91440 h 567361"/>
                <a:gd name="connsiteX18" fmla="*/ 908278 w 1054582"/>
                <a:gd name="connsiteY18" fmla="*/ 82296 h 567361"/>
                <a:gd name="connsiteX19" fmla="*/ 1036294 w 1054582"/>
                <a:gd name="connsiteY19" fmla="*/ 27432 h 567361"/>
                <a:gd name="connsiteX20" fmla="*/ 1018006 w 1054582"/>
                <a:gd name="connsiteY20" fmla="*/ 0 h 567361"/>
                <a:gd name="connsiteX21" fmla="*/ 981430 w 1054582"/>
                <a:gd name="connsiteY21" fmla="*/ 27432 h 567361"/>
                <a:gd name="connsiteX22" fmla="*/ 944854 w 1054582"/>
                <a:gd name="connsiteY22" fmla="*/ 36576 h 567361"/>
                <a:gd name="connsiteX23" fmla="*/ 871702 w 1054582"/>
                <a:gd name="connsiteY23" fmla="*/ 64008 h 567361"/>
                <a:gd name="connsiteX24" fmla="*/ 816838 w 1054582"/>
                <a:gd name="connsiteY24" fmla="*/ 64008 h 567361"/>
                <a:gd name="connsiteX25" fmla="*/ 707110 w 1054582"/>
                <a:gd name="connsiteY25" fmla="*/ 64008 h 567361"/>
                <a:gd name="connsiteX26" fmla="*/ 652246 w 1054582"/>
                <a:gd name="connsiteY26" fmla="*/ 100584 h 567361"/>
                <a:gd name="connsiteX27" fmla="*/ 615670 w 1054582"/>
                <a:gd name="connsiteY27" fmla="*/ 146304 h 567361"/>
                <a:gd name="connsiteX28" fmla="*/ 569950 w 1054582"/>
                <a:gd name="connsiteY28" fmla="*/ 182880 h 567361"/>
                <a:gd name="connsiteX29" fmla="*/ 524230 w 1054582"/>
                <a:gd name="connsiteY29" fmla="*/ 256032 h 567361"/>
                <a:gd name="connsiteX30" fmla="*/ 451078 w 1054582"/>
                <a:gd name="connsiteY30" fmla="*/ 301752 h 567361"/>
                <a:gd name="connsiteX31" fmla="*/ 350494 w 1054582"/>
                <a:gd name="connsiteY31" fmla="*/ 347472 h 567361"/>
                <a:gd name="connsiteX32" fmla="*/ 313918 w 1054582"/>
                <a:gd name="connsiteY32" fmla="*/ 374904 h 567361"/>
                <a:gd name="connsiteX33" fmla="*/ 268198 w 1054582"/>
                <a:gd name="connsiteY33" fmla="*/ 402336 h 567361"/>
                <a:gd name="connsiteX34" fmla="*/ 249910 w 1054582"/>
                <a:gd name="connsiteY34" fmla="*/ 402336 h 567361"/>
                <a:gd name="connsiteX35" fmla="*/ 268198 w 1054582"/>
                <a:gd name="connsiteY35" fmla="*/ 365760 h 567361"/>
                <a:gd name="connsiteX36" fmla="*/ 323062 w 1054582"/>
                <a:gd name="connsiteY36" fmla="*/ 301752 h 567361"/>
                <a:gd name="connsiteX37" fmla="*/ 414502 w 1054582"/>
                <a:gd name="connsiteY37" fmla="*/ 219456 h 567361"/>
                <a:gd name="connsiteX38" fmla="*/ 460222 w 1054582"/>
                <a:gd name="connsiteY38" fmla="*/ 146304 h 567361"/>
                <a:gd name="connsiteX39" fmla="*/ 460222 w 1054582"/>
                <a:gd name="connsiteY39" fmla="*/ 64008 h 567361"/>
                <a:gd name="connsiteX40" fmla="*/ 451078 w 1054582"/>
                <a:gd name="connsiteY40" fmla="*/ 54864 h 567361"/>
                <a:gd name="connsiteX41" fmla="*/ 441934 w 1054582"/>
                <a:gd name="connsiteY41" fmla="*/ 128016 h 567361"/>
                <a:gd name="connsiteX42" fmla="*/ 414502 w 1054582"/>
                <a:gd name="connsiteY42" fmla="*/ 173736 h 567361"/>
                <a:gd name="connsiteX43" fmla="*/ 341350 w 1054582"/>
                <a:gd name="connsiteY43" fmla="*/ 237744 h 567361"/>
                <a:gd name="connsiteX44" fmla="*/ 313918 w 1054582"/>
                <a:gd name="connsiteY44" fmla="*/ 256032 h 567361"/>
                <a:gd name="connsiteX45" fmla="*/ 240766 w 1054582"/>
                <a:gd name="connsiteY45" fmla="*/ 347472 h 567361"/>
                <a:gd name="connsiteX46" fmla="*/ 231622 w 1054582"/>
                <a:gd name="connsiteY46" fmla="*/ 374904 h 567361"/>
                <a:gd name="connsiteX47" fmla="*/ 222478 w 1054582"/>
                <a:gd name="connsiteY47" fmla="*/ 411480 h 567361"/>
                <a:gd name="connsiteX48" fmla="*/ 240766 w 1054582"/>
                <a:gd name="connsiteY48" fmla="*/ 429768 h 567361"/>
                <a:gd name="connsiteX49" fmla="*/ 195046 w 1054582"/>
                <a:gd name="connsiteY49" fmla="*/ 457200 h 567361"/>
                <a:gd name="connsiteX50" fmla="*/ 48742 w 1054582"/>
                <a:gd name="connsiteY50" fmla="*/ 493776 h 567361"/>
                <a:gd name="connsiteX51" fmla="*/ 3022 w 1054582"/>
                <a:gd name="connsiteY51" fmla="*/ 530352 h 567361"/>
                <a:gd name="connsiteX52" fmla="*/ 37669 w 1054582"/>
                <a:gd name="connsiteY52" fmla="*/ 480583 h 567361"/>
                <a:gd name="connsiteX53" fmla="*/ 21468 w 1054582"/>
                <a:gd name="connsiteY53" fmla="*/ 555040 h 567361"/>
                <a:gd name="connsiteX54" fmla="*/ 19041 w 1054582"/>
                <a:gd name="connsiteY54" fmla="*/ 554512 h 567361"/>
                <a:gd name="connsiteX55" fmla="*/ 19040 w 1054582"/>
                <a:gd name="connsiteY55" fmla="*/ 554512 h 567361"/>
                <a:gd name="connsiteX0" fmla="*/ 112127 w 1054582"/>
                <a:gd name="connsiteY0" fmla="*/ 496784 h 567361"/>
                <a:gd name="connsiteX1" fmla="*/ 21468 w 1054582"/>
                <a:gd name="connsiteY1" fmla="*/ 555041 h 567361"/>
                <a:gd name="connsiteX2" fmla="*/ 21310 w 1054582"/>
                <a:gd name="connsiteY2" fmla="*/ 548640 h 567361"/>
                <a:gd name="connsiteX3" fmla="*/ 149326 w 1054582"/>
                <a:gd name="connsiteY3" fmla="*/ 493776 h 567361"/>
                <a:gd name="connsiteX4" fmla="*/ 249910 w 1054582"/>
                <a:gd name="connsiteY4" fmla="*/ 466344 h 567361"/>
                <a:gd name="connsiteX5" fmla="*/ 350494 w 1054582"/>
                <a:gd name="connsiteY5" fmla="*/ 384048 h 567361"/>
                <a:gd name="connsiteX6" fmla="*/ 542518 w 1054582"/>
                <a:gd name="connsiteY6" fmla="*/ 301752 h 567361"/>
                <a:gd name="connsiteX7" fmla="*/ 624814 w 1054582"/>
                <a:gd name="connsiteY7" fmla="*/ 192024 h 567361"/>
                <a:gd name="connsiteX8" fmla="*/ 771118 w 1054582"/>
                <a:gd name="connsiteY8" fmla="*/ 155448 h 567361"/>
                <a:gd name="connsiteX9" fmla="*/ 816838 w 1054582"/>
                <a:gd name="connsiteY9" fmla="*/ 155448 h 567361"/>
                <a:gd name="connsiteX10" fmla="*/ 853414 w 1054582"/>
                <a:gd name="connsiteY10" fmla="*/ 137160 h 567361"/>
                <a:gd name="connsiteX11" fmla="*/ 807694 w 1054582"/>
                <a:gd name="connsiteY11" fmla="*/ 137160 h 567361"/>
                <a:gd name="connsiteX12" fmla="*/ 716254 w 1054582"/>
                <a:gd name="connsiteY12" fmla="*/ 137160 h 567361"/>
                <a:gd name="connsiteX13" fmla="*/ 661390 w 1054582"/>
                <a:gd name="connsiteY13" fmla="*/ 146304 h 567361"/>
                <a:gd name="connsiteX14" fmla="*/ 652246 w 1054582"/>
                <a:gd name="connsiteY14" fmla="*/ 155448 h 567361"/>
                <a:gd name="connsiteX15" fmla="*/ 633958 w 1054582"/>
                <a:gd name="connsiteY15" fmla="*/ 146304 h 567361"/>
                <a:gd name="connsiteX16" fmla="*/ 761974 w 1054582"/>
                <a:gd name="connsiteY16" fmla="*/ 91440 h 567361"/>
                <a:gd name="connsiteX17" fmla="*/ 816838 w 1054582"/>
                <a:gd name="connsiteY17" fmla="*/ 91440 h 567361"/>
                <a:gd name="connsiteX18" fmla="*/ 908278 w 1054582"/>
                <a:gd name="connsiteY18" fmla="*/ 82296 h 567361"/>
                <a:gd name="connsiteX19" fmla="*/ 1036294 w 1054582"/>
                <a:gd name="connsiteY19" fmla="*/ 27432 h 567361"/>
                <a:gd name="connsiteX20" fmla="*/ 1018006 w 1054582"/>
                <a:gd name="connsiteY20" fmla="*/ 0 h 567361"/>
                <a:gd name="connsiteX21" fmla="*/ 981430 w 1054582"/>
                <a:gd name="connsiteY21" fmla="*/ 27432 h 567361"/>
                <a:gd name="connsiteX22" fmla="*/ 944854 w 1054582"/>
                <a:gd name="connsiteY22" fmla="*/ 36576 h 567361"/>
                <a:gd name="connsiteX23" fmla="*/ 871702 w 1054582"/>
                <a:gd name="connsiteY23" fmla="*/ 64008 h 567361"/>
                <a:gd name="connsiteX24" fmla="*/ 816838 w 1054582"/>
                <a:gd name="connsiteY24" fmla="*/ 64008 h 567361"/>
                <a:gd name="connsiteX25" fmla="*/ 707110 w 1054582"/>
                <a:gd name="connsiteY25" fmla="*/ 64008 h 567361"/>
                <a:gd name="connsiteX26" fmla="*/ 652246 w 1054582"/>
                <a:gd name="connsiteY26" fmla="*/ 100584 h 567361"/>
                <a:gd name="connsiteX27" fmla="*/ 615670 w 1054582"/>
                <a:gd name="connsiteY27" fmla="*/ 146304 h 567361"/>
                <a:gd name="connsiteX28" fmla="*/ 569950 w 1054582"/>
                <a:gd name="connsiteY28" fmla="*/ 182880 h 567361"/>
                <a:gd name="connsiteX29" fmla="*/ 524230 w 1054582"/>
                <a:gd name="connsiteY29" fmla="*/ 256032 h 567361"/>
                <a:gd name="connsiteX30" fmla="*/ 451078 w 1054582"/>
                <a:gd name="connsiteY30" fmla="*/ 301752 h 567361"/>
                <a:gd name="connsiteX31" fmla="*/ 350494 w 1054582"/>
                <a:gd name="connsiteY31" fmla="*/ 347472 h 567361"/>
                <a:gd name="connsiteX32" fmla="*/ 313918 w 1054582"/>
                <a:gd name="connsiteY32" fmla="*/ 374904 h 567361"/>
                <a:gd name="connsiteX33" fmla="*/ 268198 w 1054582"/>
                <a:gd name="connsiteY33" fmla="*/ 402336 h 567361"/>
                <a:gd name="connsiteX34" fmla="*/ 249910 w 1054582"/>
                <a:gd name="connsiteY34" fmla="*/ 402336 h 567361"/>
                <a:gd name="connsiteX35" fmla="*/ 268198 w 1054582"/>
                <a:gd name="connsiteY35" fmla="*/ 365760 h 567361"/>
                <a:gd name="connsiteX36" fmla="*/ 323062 w 1054582"/>
                <a:gd name="connsiteY36" fmla="*/ 301752 h 567361"/>
                <a:gd name="connsiteX37" fmla="*/ 414502 w 1054582"/>
                <a:gd name="connsiteY37" fmla="*/ 219456 h 567361"/>
                <a:gd name="connsiteX38" fmla="*/ 460222 w 1054582"/>
                <a:gd name="connsiteY38" fmla="*/ 146304 h 567361"/>
                <a:gd name="connsiteX39" fmla="*/ 460222 w 1054582"/>
                <a:gd name="connsiteY39" fmla="*/ 64008 h 567361"/>
                <a:gd name="connsiteX40" fmla="*/ 451078 w 1054582"/>
                <a:gd name="connsiteY40" fmla="*/ 54864 h 567361"/>
                <a:gd name="connsiteX41" fmla="*/ 441934 w 1054582"/>
                <a:gd name="connsiteY41" fmla="*/ 128016 h 567361"/>
                <a:gd name="connsiteX42" fmla="*/ 414502 w 1054582"/>
                <a:gd name="connsiteY42" fmla="*/ 173736 h 567361"/>
                <a:gd name="connsiteX43" fmla="*/ 341350 w 1054582"/>
                <a:gd name="connsiteY43" fmla="*/ 237744 h 567361"/>
                <a:gd name="connsiteX44" fmla="*/ 313918 w 1054582"/>
                <a:gd name="connsiteY44" fmla="*/ 256032 h 567361"/>
                <a:gd name="connsiteX45" fmla="*/ 240766 w 1054582"/>
                <a:gd name="connsiteY45" fmla="*/ 347472 h 567361"/>
                <a:gd name="connsiteX46" fmla="*/ 231622 w 1054582"/>
                <a:gd name="connsiteY46" fmla="*/ 374904 h 567361"/>
                <a:gd name="connsiteX47" fmla="*/ 222478 w 1054582"/>
                <a:gd name="connsiteY47" fmla="*/ 411480 h 567361"/>
                <a:gd name="connsiteX48" fmla="*/ 240766 w 1054582"/>
                <a:gd name="connsiteY48" fmla="*/ 429768 h 567361"/>
                <a:gd name="connsiteX49" fmla="*/ 195046 w 1054582"/>
                <a:gd name="connsiteY49" fmla="*/ 457200 h 567361"/>
                <a:gd name="connsiteX50" fmla="*/ 48742 w 1054582"/>
                <a:gd name="connsiteY50" fmla="*/ 493776 h 567361"/>
                <a:gd name="connsiteX51" fmla="*/ 3022 w 1054582"/>
                <a:gd name="connsiteY51" fmla="*/ 530352 h 567361"/>
                <a:gd name="connsiteX52" fmla="*/ 37669 w 1054582"/>
                <a:gd name="connsiteY52" fmla="*/ 480583 h 567361"/>
                <a:gd name="connsiteX53" fmla="*/ 21468 w 1054582"/>
                <a:gd name="connsiteY53" fmla="*/ 555040 h 567361"/>
                <a:gd name="connsiteX54" fmla="*/ 19041 w 1054582"/>
                <a:gd name="connsiteY54" fmla="*/ 554512 h 567361"/>
                <a:gd name="connsiteX55" fmla="*/ 112127 w 1054582"/>
                <a:gd name="connsiteY55" fmla="*/ 496784 h 567361"/>
                <a:gd name="connsiteX0" fmla="*/ 112127 w 1054582"/>
                <a:gd name="connsiteY0" fmla="*/ 496784 h 558851"/>
                <a:gd name="connsiteX1" fmla="*/ 21468 w 1054582"/>
                <a:gd name="connsiteY1" fmla="*/ 555041 h 558851"/>
                <a:gd name="connsiteX2" fmla="*/ 21310 w 1054582"/>
                <a:gd name="connsiteY2" fmla="*/ 548640 h 558851"/>
                <a:gd name="connsiteX3" fmla="*/ 149326 w 1054582"/>
                <a:gd name="connsiteY3" fmla="*/ 493776 h 558851"/>
                <a:gd name="connsiteX4" fmla="*/ 249910 w 1054582"/>
                <a:gd name="connsiteY4" fmla="*/ 466344 h 558851"/>
                <a:gd name="connsiteX5" fmla="*/ 350494 w 1054582"/>
                <a:gd name="connsiteY5" fmla="*/ 384048 h 558851"/>
                <a:gd name="connsiteX6" fmla="*/ 542518 w 1054582"/>
                <a:gd name="connsiteY6" fmla="*/ 301752 h 558851"/>
                <a:gd name="connsiteX7" fmla="*/ 624814 w 1054582"/>
                <a:gd name="connsiteY7" fmla="*/ 192024 h 558851"/>
                <a:gd name="connsiteX8" fmla="*/ 771118 w 1054582"/>
                <a:gd name="connsiteY8" fmla="*/ 155448 h 558851"/>
                <a:gd name="connsiteX9" fmla="*/ 816838 w 1054582"/>
                <a:gd name="connsiteY9" fmla="*/ 155448 h 558851"/>
                <a:gd name="connsiteX10" fmla="*/ 853414 w 1054582"/>
                <a:gd name="connsiteY10" fmla="*/ 137160 h 558851"/>
                <a:gd name="connsiteX11" fmla="*/ 807694 w 1054582"/>
                <a:gd name="connsiteY11" fmla="*/ 137160 h 558851"/>
                <a:gd name="connsiteX12" fmla="*/ 716254 w 1054582"/>
                <a:gd name="connsiteY12" fmla="*/ 137160 h 558851"/>
                <a:gd name="connsiteX13" fmla="*/ 661390 w 1054582"/>
                <a:gd name="connsiteY13" fmla="*/ 146304 h 558851"/>
                <a:gd name="connsiteX14" fmla="*/ 652246 w 1054582"/>
                <a:gd name="connsiteY14" fmla="*/ 155448 h 558851"/>
                <a:gd name="connsiteX15" fmla="*/ 633958 w 1054582"/>
                <a:gd name="connsiteY15" fmla="*/ 146304 h 558851"/>
                <a:gd name="connsiteX16" fmla="*/ 761974 w 1054582"/>
                <a:gd name="connsiteY16" fmla="*/ 91440 h 558851"/>
                <a:gd name="connsiteX17" fmla="*/ 816838 w 1054582"/>
                <a:gd name="connsiteY17" fmla="*/ 91440 h 558851"/>
                <a:gd name="connsiteX18" fmla="*/ 908278 w 1054582"/>
                <a:gd name="connsiteY18" fmla="*/ 82296 h 558851"/>
                <a:gd name="connsiteX19" fmla="*/ 1036294 w 1054582"/>
                <a:gd name="connsiteY19" fmla="*/ 27432 h 558851"/>
                <a:gd name="connsiteX20" fmla="*/ 1018006 w 1054582"/>
                <a:gd name="connsiteY20" fmla="*/ 0 h 558851"/>
                <a:gd name="connsiteX21" fmla="*/ 981430 w 1054582"/>
                <a:gd name="connsiteY21" fmla="*/ 27432 h 558851"/>
                <a:gd name="connsiteX22" fmla="*/ 944854 w 1054582"/>
                <a:gd name="connsiteY22" fmla="*/ 36576 h 558851"/>
                <a:gd name="connsiteX23" fmla="*/ 871702 w 1054582"/>
                <a:gd name="connsiteY23" fmla="*/ 64008 h 558851"/>
                <a:gd name="connsiteX24" fmla="*/ 816838 w 1054582"/>
                <a:gd name="connsiteY24" fmla="*/ 64008 h 558851"/>
                <a:gd name="connsiteX25" fmla="*/ 707110 w 1054582"/>
                <a:gd name="connsiteY25" fmla="*/ 64008 h 558851"/>
                <a:gd name="connsiteX26" fmla="*/ 652246 w 1054582"/>
                <a:gd name="connsiteY26" fmla="*/ 100584 h 558851"/>
                <a:gd name="connsiteX27" fmla="*/ 615670 w 1054582"/>
                <a:gd name="connsiteY27" fmla="*/ 146304 h 558851"/>
                <a:gd name="connsiteX28" fmla="*/ 569950 w 1054582"/>
                <a:gd name="connsiteY28" fmla="*/ 182880 h 558851"/>
                <a:gd name="connsiteX29" fmla="*/ 524230 w 1054582"/>
                <a:gd name="connsiteY29" fmla="*/ 256032 h 558851"/>
                <a:gd name="connsiteX30" fmla="*/ 451078 w 1054582"/>
                <a:gd name="connsiteY30" fmla="*/ 301752 h 558851"/>
                <a:gd name="connsiteX31" fmla="*/ 350494 w 1054582"/>
                <a:gd name="connsiteY31" fmla="*/ 347472 h 558851"/>
                <a:gd name="connsiteX32" fmla="*/ 313918 w 1054582"/>
                <a:gd name="connsiteY32" fmla="*/ 374904 h 558851"/>
                <a:gd name="connsiteX33" fmla="*/ 268198 w 1054582"/>
                <a:gd name="connsiteY33" fmla="*/ 402336 h 558851"/>
                <a:gd name="connsiteX34" fmla="*/ 249910 w 1054582"/>
                <a:gd name="connsiteY34" fmla="*/ 402336 h 558851"/>
                <a:gd name="connsiteX35" fmla="*/ 268198 w 1054582"/>
                <a:gd name="connsiteY35" fmla="*/ 365760 h 558851"/>
                <a:gd name="connsiteX36" fmla="*/ 323062 w 1054582"/>
                <a:gd name="connsiteY36" fmla="*/ 301752 h 558851"/>
                <a:gd name="connsiteX37" fmla="*/ 414502 w 1054582"/>
                <a:gd name="connsiteY37" fmla="*/ 219456 h 558851"/>
                <a:gd name="connsiteX38" fmla="*/ 460222 w 1054582"/>
                <a:gd name="connsiteY38" fmla="*/ 146304 h 558851"/>
                <a:gd name="connsiteX39" fmla="*/ 460222 w 1054582"/>
                <a:gd name="connsiteY39" fmla="*/ 64008 h 558851"/>
                <a:gd name="connsiteX40" fmla="*/ 451078 w 1054582"/>
                <a:gd name="connsiteY40" fmla="*/ 54864 h 558851"/>
                <a:gd name="connsiteX41" fmla="*/ 441934 w 1054582"/>
                <a:gd name="connsiteY41" fmla="*/ 128016 h 558851"/>
                <a:gd name="connsiteX42" fmla="*/ 414502 w 1054582"/>
                <a:gd name="connsiteY42" fmla="*/ 173736 h 558851"/>
                <a:gd name="connsiteX43" fmla="*/ 341350 w 1054582"/>
                <a:gd name="connsiteY43" fmla="*/ 237744 h 558851"/>
                <a:gd name="connsiteX44" fmla="*/ 313918 w 1054582"/>
                <a:gd name="connsiteY44" fmla="*/ 256032 h 558851"/>
                <a:gd name="connsiteX45" fmla="*/ 240766 w 1054582"/>
                <a:gd name="connsiteY45" fmla="*/ 347472 h 558851"/>
                <a:gd name="connsiteX46" fmla="*/ 231622 w 1054582"/>
                <a:gd name="connsiteY46" fmla="*/ 374904 h 558851"/>
                <a:gd name="connsiteX47" fmla="*/ 222478 w 1054582"/>
                <a:gd name="connsiteY47" fmla="*/ 411480 h 558851"/>
                <a:gd name="connsiteX48" fmla="*/ 240766 w 1054582"/>
                <a:gd name="connsiteY48" fmla="*/ 429768 h 558851"/>
                <a:gd name="connsiteX49" fmla="*/ 195046 w 1054582"/>
                <a:gd name="connsiteY49" fmla="*/ 457200 h 558851"/>
                <a:gd name="connsiteX50" fmla="*/ 48742 w 1054582"/>
                <a:gd name="connsiteY50" fmla="*/ 493776 h 558851"/>
                <a:gd name="connsiteX51" fmla="*/ 3022 w 1054582"/>
                <a:gd name="connsiteY51" fmla="*/ 530352 h 558851"/>
                <a:gd name="connsiteX52" fmla="*/ 37669 w 1054582"/>
                <a:gd name="connsiteY52" fmla="*/ 480583 h 558851"/>
                <a:gd name="connsiteX53" fmla="*/ 21468 w 1054582"/>
                <a:gd name="connsiteY53" fmla="*/ 555040 h 558851"/>
                <a:gd name="connsiteX54" fmla="*/ 37669 w 1054582"/>
                <a:gd name="connsiteY54" fmla="*/ 480583 h 558851"/>
                <a:gd name="connsiteX55" fmla="*/ 112127 w 1054582"/>
                <a:gd name="connsiteY55" fmla="*/ 496784 h 558851"/>
                <a:gd name="connsiteX0" fmla="*/ 112127 w 1054582"/>
                <a:gd name="connsiteY0" fmla="*/ 496784 h 558851"/>
                <a:gd name="connsiteX1" fmla="*/ 21468 w 1054582"/>
                <a:gd name="connsiteY1" fmla="*/ 555041 h 558851"/>
                <a:gd name="connsiteX2" fmla="*/ 21310 w 1054582"/>
                <a:gd name="connsiteY2" fmla="*/ 548640 h 558851"/>
                <a:gd name="connsiteX3" fmla="*/ 149326 w 1054582"/>
                <a:gd name="connsiteY3" fmla="*/ 493776 h 558851"/>
                <a:gd name="connsiteX4" fmla="*/ 249910 w 1054582"/>
                <a:gd name="connsiteY4" fmla="*/ 466344 h 558851"/>
                <a:gd name="connsiteX5" fmla="*/ 350494 w 1054582"/>
                <a:gd name="connsiteY5" fmla="*/ 384048 h 558851"/>
                <a:gd name="connsiteX6" fmla="*/ 542518 w 1054582"/>
                <a:gd name="connsiteY6" fmla="*/ 301752 h 558851"/>
                <a:gd name="connsiteX7" fmla="*/ 624814 w 1054582"/>
                <a:gd name="connsiteY7" fmla="*/ 192024 h 558851"/>
                <a:gd name="connsiteX8" fmla="*/ 771118 w 1054582"/>
                <a:gd name="connsiteY8" fmla="*/ 155448 h 558851"/>
                <a:gd name="connsiteX9" fmla="*/ 816838 w 1054582"/>
                <a:gd name="connsiteY9" fmla="*/ 155448 h 558851"/>
                <a:gd name="connsiteX10" fmla="*/ 853414 w 1054582"/>
                <a:gd name="connsiteY10" fmla="*/ 137160 h 558851"/>
                <a:gd name="connsiteX11" fmla="*/ 807694 w 1054582"/>
                <a:gd name="connsiteY11" fmla="*/ 137160 h 558851"/>
                <a:gd name="connsiteX12" fmla="*/ 716254 w 1054582"/>
                <a:gd name="connsiteY12" fmla="*/ 137160 h 558851"/>
                <a:gd name="connsiteX13" fmla="*/ 661390 w 1054582"/>
                <a:gd name="connsiteY13" fmla="*/ 146304 h 558851"/>
                <a:gd name="connsiteX14" fmla="*/ 652246 w 1054582"/>
                <a:gd name="connsiteY14" fmla="*/ 155448 h 558851"/>
                <a:gd name="connsiteX15" fmla="*/ 633958 w 1054582"/>
                <a:gd name="connsiteY15" fmla="*/ 146304 h 558851"/>
                <a:gd name="connsiteX16" fmla="*/ 761974 w 1054582"/>
                <a:gd name="connsiteY16" fmla="*/ 91440 h 558851"/>
                <a:gd name="connsiteX17" fmla="*/ 816838 w 1054582"/>
                <a:gd name="connsiteY17" fmla="*/ 91440 h 558851"/>
                <a:gd name="connsiteX18" fmla="*/ 908278 w 1054582"/>
                <a:gd name="connsiteY18" fmla="*/ 82296 h 558851"/>
                <a:gd name="connsiteX19" fmla="*/ 1036294 w 1054582"/>
                <a:gd name="connsiteY19" fmla="*/ 27432 h 558851"/>
                <a:gd name="connsiteX20" fmla="*/ 1018006 w 1054582"/>
                <a:gd name="connsiteY20" fmla="*/ 0 h 558851"/>
                <a:gd name="connsiteX21" fmla="*/ 981430 w 1054582"/>
                <a:gd name="connsiteY21" fmla="*/ 27432 h 558851"/>
                <a:gd name="connsiteX22" fmla="*/ 944854 w 1054582"/>
                <a:gd name="connsiteY22" fmla="*/ 36576 h 558851"/>
                <a:gd name="connsiteX23" fmla="*/ 871702 w 1054582"/>
                <a:gd name="connsiteY23" fmla="*/ 64008 h 558851"/>
                <a:gd name="connsiteX24" fmla="*/ 816838 w 1054582"/>
                <a:gd name="connsiteY24" fmla="*/ 64008 h 558851"/>
                <a:gd name="connsiteX25" fmla="*/ 707110 w 1054582"/>
                <a:gd name="connsiteY25" fmla="*/ 64008 h 558851"/>
                <a:gd name="connsiteX26" fmla="*/ 652246 w 1054582"/>
                <a:gd name="connsiteY26" fmla="*/ 100584 h 558851"/>
                <a:gd name="connsiteX27" fmla="*/ 615670 w 1054582"/>
                <a:gd name="connsiteY27" fmla="*/ 146304 h 558851"/>
                <a:gd name="connsiteX28" fmla="*/ 569950 w 1054582"/>
                <a:gd name="connsiteY28" fmla="*/ 182880 h 558851"/>
                <a:gd name="connsiteX29" fmla="*/ 524230 w 1054582"/>
                <a:gd name="connsiteY29" fmla="*/ 256032 h 558851"/>
                <a:gd name="connsiteX30" fmla="*/ 451078 w 1054582"/>
                <a:gd name="connsiteY30" fmla="*/ 301752 h 558851"/>
                <a:gd name="connsiteX31" fmla="*/ 350494 w 1054582"/>
                <a:gd name="connsiteY31" fmla="*/ 347472 h 558851"/>
                <a:gd name="connsiteX32" fmla="*/ 313918 w 1054582"/>
                <a:gd name="connsiteY32" fmla="*/ 374904 h 558851"/>
                <a:gd name="connsiteX33" fmla="*/ 268198 w 1054582"/>
                <a:gd name="connsiteY33" fmla="*/ 402336 h 558851"/>
                <a:gd name="connsiteX34" fmla="*/ 249910 w 1054582"/>
                <a:gd name="connsiteY34" fmla="*/ 402336 h 558851"/>
                <a:gd name="connsiteX35" fmla="*/ 268198 w 1054582"/>
                <a:gd name="connsiteY35" fmla="*/ 365760 h 558851"/>
                <a:gd name="connsiteX36" fmla="*/ 323062 w 1054582"/>
                <a:gd name="connsiteY36" fmla="*/ 301752 h 558851"/>
                <a:gd name="connsiteX37" fmla="*/ 414502 w 1054582"/>
                <a:gd name="connsiteY37" fmla="*/ 219456 h 558851"/>
                <a:gd name="connsiteX38" fmla="*/ 460222 w 1054582"/>
                <a:gd name="connsiteY38" fmla="*/ 146304 h 558851"/>
                <a:gd name="connsiteX39" fmla="*/ 460222 w 1054582"/>
                <a:gd name="connsiteY39" fmla="*/ 64008 h 558851"/>
                <a:gd name="connsiteX40" fmla="*/ 451078 w 1054582"/>
                <a:gd name="connsiteY40" fmla="*/ 54864 h 558851"/>
                <a:gd name="connsiteX41" fmla="*/ 441934 w 1054582"/>
                <a:gd name="connsiteY41" fmla="*/ 128016 h 558851"/>
                <a:gd name="connsiteX42" fmla="*/ 414502 w 1054582"/>
                <a:gd name="connsiteY42" fmla="*/ 173736 h 558851"/>
                <a:gd name="connsiteX43" fmla="*/ 341350 w 1054582"/>
                <a:gd name="connsiteY43" fmla="*/ 237744 h 558851"/>
                <a:gd name="connsiteX44" fmla="*/ 313918 w 1054582"/>
                <a:gd name="connsiteY44" fmla="*/ 256032 h 558851"/>
                <a:gd name="connsiteX45" fmla="*/ 240766 w 1054582"/>
                <a:gd name="connsiteY45" fmla="*/ 347472 h 558851"/>
                <a:gd name="connsiteX46" fmla="*/ 231622 w 1054582"/>
                <a:gd name="connsiteY46" fmla="*/ 374904 h 558851"/>
                <a:gd name="connsiteX47" fmla="*/ 222478 w 1054582"/>
                <a:gd name="connsiteY47" fmla="*/ 411480 h 558851"/>
                <a:gd name="connsiteX48" fmla="*/ 240766 w 1054582"/>
                <a:gd name="connsiteY48" fmla="*/ 429768 h 558851"/>
                <a:gd name="connsiteX49" fmla="*/ 195046 w 1054582"/>
                <a:gd name="connsiteY49" fmla="*/ 457200 h 558851"/>
                <a:gd name="connsiteX50" fmla="*/ 48742 w 1054582"/>
                <a:gd name="connsiteY50" fmla="*/ 493776 h 558851"/>
                <a:gd name="connsiteX51" fmla="*/ 3022 w 1054582"/>
                <a:gd name="connsiteY51" fmla="*/ 530352 h 558851"/>
                <a:gd name="connsiteX52" fmla="*/ 37669 w 1054582"/>
                <a:gd name="connsiteY52" fmla="*/ 480583 h 558851"/>
                <a:gd name="connsiteX53" fmla="*/ 21468 w 1054582"/>
                <a:gd name="connsiteY53" fmla="*/ 555040 h 558851"/>
                <a:gd name="connsiteX54" fmla="*/ 112127 w 1054582"/>
                <a:gd name="connsiteY54" fmla="*/ 496784 h 558851"/>
                <a:gd name="connsiteX55" fmla="*/ 112127 w 1054582"/>
                <a:gd name="connsiteY55" fmla="*/ 496784 h 558851"/>
                <a:gd name="connsiteX0" fmla="*/ 112127 w 1054582"/>
                <a:gd name="connsiteY0" fmla="*/ 496784 h 558851"/>
                <a:gd name="connsiteX1" fmla="*/ 21468 w 1054582"/>
                <a:gd name="connsiteY1" fmla="*/ 555041 h 558851"/>
                <a:gd name="connsiteX2" fmla="*/ 21310 w 1054582"/>
                <a:gd name="connsiteY2" fmla="*/ 548640 h 558851"/>
                <a:gd name="connsiteX3" fmla="*/ 149326 w 1054582"/>
                <a:gd name="connsiteY3" fmla="*/ 493776 h 558851"/>
                <a:gd name="connsiteX4" fmla="*/ 249910 w 1054582"/>
                <a:gd name="connsiteY4" fmla="*/ 466344 h 558851"/>
                <a:gd name="connsiteX5" fmla="*/ 350494 w 1054582"/>
                <a:gd name="connsiteY5" fmla="*/ 384048 h 558851"/>
                <a:gd name="connsiteX6" fmla="*/ 542518 w 1054582"/>
                <a:gd name="connsiteY6" fmla="*/ 301752 h 558851"/>
                <a:gd name="connsiteX7" fmla="*/ 624814 w 1054582"/>
                <a:gd name="connsiteY7" fmla="*/ 192024 h 558851"/>
                <a:gd name="connsiteX8" fmla="*/ 771118 w 1054582"/>
                <a:gd name="connsiteY8" fmla="*/ 155448 h 558851"/>
                <a:gd name="connsiteX9" fmla="*/ 816838 w 1054582"/>
                <a:gd name="connsiteY9" fmla="*/ 155448 h 558851"/>
                <a:gd name="connsiteX10" fmla="*/ 853414 w 1054582"/>
                <a:gd name="connsiteY10" fmla="*/ 137160 h 558851"/>
                <a:gd name="connsiteX11" fmla="*/ 807694 w 1054582"/>
                <a:gd name="connsiteY11" fmla="*/ 137160 h 558851"/>
                <a:gd name="connsiteX12" fmla="*/ 716254 w 1054582"/>
                <a:gd name="connsiteY12" fmla="*/ 137160 h 558851"/>
                <a:gd name="connsiteX13" fmla="*/ 661390 w 1054582"/>
                <a:gd name="connsiteY13" fmla="*/ 146304 h 558851"/>
                <a:gd name="connsiteX14" fmla="*/ 652246 w 1054582"/>
                <a:gd name="connsiteY14" fmla="*/ 155448 h 558851"/>
                <a:gd name="connsiteX15" fmla="*/ 633958 w 1054582"/>
                <a:gd name="connsiteY15" fmla="*/ 146304 h 558851"/>
                <a:gd name="connsiteX16" fmla="*/ 761974 w 1054582"/>
                <a:gd name="connsiteY16" fmla="*/ 91440 h 558851"/>
                <a:gd name="connsiteX17" fmla="*/ 816838 w 1054582"/>
                <a:gd name="connsiteY17" fmla="*/ 91440 h 558851"/>
                <a:gd name="connsiteX18" fmla="*/ 908278 w 1054582"/>
                <a:gd name="connsiteY18" fmla="*/ 82296 h 558851"/>
                <a:gd name="connsiteX19" fmla="*/ 1036294 w 1054582"/>
                <a:gd name="connsiteY19" fmla="*/ 27432 h 558851"/>
                <a:gd name="connsiteX20" fmla="*/ 1018006 w 1054582"/>
                <a:gd name="connsiteY20" fmla="*/ 0 h 558851"/>
                <a:gd name="connsiteX21" fmla="*/ 981430 w 1054582"/>
                <a:gd name="connsiteY21" fmla="*/ 27432 h 558851"/>
                <a:gd name="connsiteX22" fmla="*/ 944854 w 1054582"/>
                <a:gd name="connsiteY22" fmla="*/ 36576 h 558851"/>
                <a:gd name="connsiteX23" fmla="*/ 871702 w 1054582"/>
                <a:gd name="connsiteY23" fmla="*/ 64008 h 558851"/>
                <a:gd name="connsiteX24" fmla="*/ 816838 w 1054582"/>
                <a:gd name="connsiteY24" fmla="*/ 64008 h 558851"/>
                <a:gd name="connsiteX25" fmla="*/ 707110 w 1054582"/>
                <a:gd name="connsiteY25" fmla="*/ 64008 h 558851"/>
                <a:gd name="connsiteX26" fmla="*/ 652246 w 1054582"/>
                <a:gd name="connsiteY26" fmla="*/ 100584 h 558851"/>
                <a:gd name="connsiteX27" fmla="*/ 615670 w 1054582"/>
                <a:gd name="connsiteY27" fmla="*/ 146304 h 558851"/>
                <a:gd name="connsiteX28" fmla="*/ 569950 w 1054582"/>
                <a:gd name="connsiteY28" fmla="*/ 182880 h 558851"/>
                <a:gd name="connsiteX29" fmla="*/ 524230 w 1054582"/>
                <a:gd name="connsiteY29" fmla="*/ 256032 h 558851"/>
                <a:gd name="connsiteX30" fmla="*/ 451078 w 1054582"/>
                <a:gd name="connsiteY30" fmla="*/ 301752 h 558851"/>
                <a:gd name="connsiteX31" fmla="*/ 350494 w 1054582"/>
                <a:gd name="connsiteY31" fmla="*/ 347472 h 558851"/>
                <a:gd name="connsiteX32" fmla="*/ 313918 w 1054582"/>
                <a:gd name="connsiteY32" fmla="*/ 374904 h 558851"/>
                <a:gd name="connsiteX33" fmla="*/ 268198 w 1054582"/>
                <a:gd name="connsiteY33" fmla="*/ 402336 h 558851"/>
                <a:gd name="connsiteX34" fmla="*/ 249910 w 1054582"/>
                <a:gd name="connsiteY34" fmla="*/ 402336 h 558851"/>
                <a:gd name="connsiteX35" fmla="*/ 268198 w 1054582"/>
                <a:gd name="connsiteY35" fmla="*/ 365760 h 558851"/>
                <a:gd name="connsiteX36" fmla="*/ 323062 w 1054582"/>
                <a:gd name="connsiteY36" fmla="*/ 301752 h 558851"/>
                <a:gd name="connsiteX37" fmla="*/ 414502 w 1054582"/>
                <a:gd name="connsiteY37" fmla="*/ 219456 h 558851"/>
                <a:gd name="connsiteX38" fmla="*/ 460222 w 1054582"/>
                <a:gd name="connsiteY38" fmla="*/ 146304 h 558851"/>
                <a:gd name="connsiteX39" fmla="*/ 460222 w 1054582"/>
                <a:gd name="connsiteY39" fmla="*/ 64008 h 558851"/>
                <a:gd name="connsiteX40" fmla="*/ 451078 w 1054582"/>
                <a:gd name="connsiteY40" fmla="*/ 54864 h 558851"/>
                <a:gd name="connsiteX41" fmla="*/ 441934 w 1054582"/>
                <a:gd name="connsiteY41" fmla="*/ 128016 h 558851"/>
                <a:gd name="connsiteX42" fmla="*/ 414502 w 1054582"/>
                <a:gd name="connsiteY42" fmla="*/ 173736 h 558851"/>
                <a:gd name="connsiteX43" fmla="*/ 341350 w 1054582"/>
                <a:gd name="connsiteY43" fmla="*/ 237744 h 558851"/>
                <a:gd name="connsiteX44" fmla="*/ 313918 w 1054582"/>
                <a:gd name="connsiteY44" fmla="*/ 256032 h 558851"/>
                <a:gd name="connsiteX45" fmla="*/ 240766 w 1054582"/>
                <a:gd name="connsiteY45" fmla="*/ 347472 h 558851"/>
                <a:gd name="connsiteX46" fmla="*/ 231622 w 1054582"/>
                <a:gd name="connsiteY46" fmla="*/ 374904 h 558851"/>
                <a:gd name="connsiteX47" fmla="*/ 222478 w 1054582"/>
                <a:gd name="connsiteY47" fmla="*/ 411480 h 558851"/>
                <a:gd name="connsiteX48" fmla="*/ 240766 w 1054582"/>
                <a:gd name="connsiteY48" fmla="*/ 429768 h 558851"/>
                <a:gd name="connsiteX49" fmla="*/ 195046 w 1054582"/>
                <a:gd name="connsiteY49" fmla="*/ 457200 h 558851"/>
                <a:gd name="connsiteX50" fmla="*/ 48742 w 1054582"/>
                <a:gd name="connsiteY50" fmla="*/ 493776 h 558851"/>
                <a:gd name="connsiteX51" fmla="*/ 3022 w 1054582"/>
                <a:gd name="connsiteY51" fmla="*/ 530352 h 558851"/>
                <a:gd name="connsiteX52" fmla="*/ 37669 w 1054582"/>
                <a:gd name="connsiteY52" fmla="*/ 480583 h 558851"/>
                <a:gd name="connsiteX53" fmla="*/ 112127 w 1054582"/>
                <a:gd name="connsiteY53" fmla="*/ 496784 h 558851"/>
                <a:gd name="connsiteX54" fmla="*/ 112127 w 1054582"/>
                <a:gd name="connsiteY54" fmla="*/ 496784 h 558851"/>
                <a:gd name="connsiteX55" fmla="*/ 112127 w 1054582"/>
                <a:gd name="connsiteY55" fmla="*/ 496784 h 558851"/>
                <a:gd name="connsiteX0" fmla="*/ 112127 w 1054582"/>
                <a:gd name="connsiteY0" fmla="*/ 496784 h 558851"/>
                <a:gd name="connsiteX1" fmla="*/ 21468 w 1054582"/>
                <a:gd name="connsiteY1" fmla="*/ 555041 h 558851"/>
                <a:gd name="connsiteX2" fmla="*/ 21310 w 1054582"/>
                <a:gd name="connsiteY2" fmla="*/ 548640 h 558851"/>
                <a:gd name="connsiteX3" fmla="*/ 149326 w 1054582"/>
                <a:gd name="connsiteY3" fmla="*/ 493776 h 558851"/>
                <a:gd name="connsiteX4" fmla="*/ 249910 w 1054582"/>
                <a:gd name="connsiteY4" fmla="*/ 466344 h 558851"/>
                <a:gd name="connsiteX5" fmla="*/ 350494 w 1054582"/>
                <a:gd name="connsiteY5" fmla="*/ 384048 h 558851"/>
                <a:gd name="connsiteX6" fmla="*/ 542518 w 1054582"/>
                <a:gd name="connsiteY6" fmla="*/ 301752 h 558851"/>
                <a:gd name="connsiteX7" fmla="*/ 624814 w 1054582"/>
                <a:gd name="connsiteY7" fmla="*/ 192024 h 558851"/>
                <a:gd name="connsiteX8" fmla="*/ 771118 w 1054582"/>
                <a:gd name="connsiteY8" fmla="*/ 155448 h 558851"/>
                <a:gd name="connsiteX9" fmla="*/ 816838 w 1054582"/>
                <a:gd name="connsiteY9" fmla="*/ 155448 h 558851"/>
                <a:gd name="connsiteX10" fmla="*/ 853414 w 1054582"/>
                <a:gd name="connsiteY10" fmla="*/ 137160 h 558851"/>
                <a:gd name="connsiteX11" fmla="*/ 807694 w 1054582"/>
                <a:gd name="connsiteY11" fmla="*/ 137160 h 558851"/>
                <a:gd name="connsiteX12" fmla="*/ 716254 w 1054582"/>
                <a:gd name="connsiteY12" fmla="*/ 137160 h 558851"/>
                <a:gd name="connsiteX13" fmla="*/ 661390 w 1054582"/>
                <a:gd name="connsiteY13" fmla="*/ 146304 h 558851"/>
                <a:gd name="connsiteX14" fmla="*/ 652246 w 1054582"/>
                <a:gd name="connsiteY14" fmla="*/ 155448 h 558851"/>
                <a:gd name="connsiteX15" fmla="*/ 633958 w 1054582"/>
                <a:gd name="connsiteY15" fmla="*/ 146304 h 558851"/>
                <a:gd name="connsiteX16" fmla="*/ 761974 w 1054582"/>
                <a:gd name="connsiteY16" fmla="*/ 91440 h 558851"/>
                <a:gd name="connsiteX17" fmla="*/ 816838 w 1054582"/>
                <a:gd name="connsiteY17" fmla="*/ 91440 h 558851"/>
                <a:gd name="connsiteX18" fmla="*/ 908278 w 1054582"/>
                <a:gd name="connsiteY18" fmla="*/ 82296 h 558851"/>
                <a:gd name="connsiteX19" fmla="*/ 1036294 w 1054582"/>
                <a:gd name="connsiteY19" fmla="*/ 27432 h 558851"/>
                <a:gd name="connsiteX20" fmla="*/ 1018006 w 1054582"/>
                <a:gd name="connsiteY20" fmla="*/ 0 h 558851"/>
                <a:gd name="connsiteX21" fmla="*/ 981430 w 1054582"/>
                <a:gd name="connsiteY21" fmla="*/ 27432 h 558851"/>
                <a:gd name="connsiteX22" fmla="*/ 944854 w 1054582"/>
                <a:gd name="connsiteY22" fmla="*/ 36576 h 558851"/>
                <a:gd name="connsiteX23" fmla="*/ 871702 w 1054582"/>
                <a:gd name="connsiteY23" fmla="*/ 64008 h 558851"/>
                <a:gd name="connsiteX24" fmla="*/ 816838 w 1054582"/>
                <a:gd name="connsiteY24" fmla="*/ 64008 h 558851"/>
                <a:gd name="connsiteX25" fmla="*/ 707110 w 1054582"/>
                <a:gd name="connsiteY25" fmla="*/ 64008 h 558851"/>
                <a:gd name="connsiteX26" fmla="*/ 652246 w 1054582"/>
                <a:gd name="connsiteY26" fmla="*/ 100584 h 558851"/>
                <a:gd name="connsiteX27" fmla="*/ 615670 w 1054582"/>
                <a:gd name="connsiteY27" fmla="*/ 146304 h 558851"/>
                <a:gd name="connsiteX28" fmla="*/ 569950 w 1054582"/>
                <a:gd name="connsiteY28" fmla="*/ 182880 h 558851"/>
                <a:gd name="connsiteX29" fmla="*/ 524230 w 1054582"/>
                <a:gd name="connsiteY29" fmla="*/ 256032 h 558851"/>
                <a:gd name="connsiteX30" fmla="*/ 451078 w 1054582"/>
                <a:gd name="connsiteY30" fmla="*/ 301752 h 558851"/>
                <a:gd name="connsiteX31" fmla="*/ 350494 w 1054582"/>
                <a:gd name="connsiteY31" fmla="*/ 347472 h 558851"/>
                <a:gd name="connsiteX32" fmla="*/ 313918 w 1054582"/>
                <a:gd name="connsiteY32" fmla="*/ 374904 h 558851"/>
                <a:gd name="connsiteX33" fmla="*/ 268198 w 1054582"/>
                <a:gd name="connsiteY33" fmla="*/ 402336 h 558851"/>
                <a:gd name="connsiteX34" fmla="*/ 249910 w 1054582"/>
                <a:gd name="connsiteY34" fmla="*/ 402336 h 558851"/>
                <a:gd name="connsiteX35" fmla="*/ 268198 w 1054582"/>
                <a:gd name="connsiteY35" fmla="*/ 365760 h 558851"/>
                <a:gd name="connsiteX36" fmla="*/ 323062 w 1054582"/>
                <a:gd name="connsiteY36" fmla="*/ 301752 h 558851"/>
                <a:gd name="connsiteX37" fmla="*/ 414502 w 1054582"/>
                <a:gd name="connsiteY37" fmla="*/ 219456 h 558851"/>
                <a:gd name="connsiteX38" fmla="*/ 460222 w 1054582"/>
                <a:gd name="connsiteY38" fmla="*/ 146304 h 558851"/>
                <a:gd name="connsiteX39" fmla="*/ 460222 w 1054582"/>
                <a:gd name="connsiteY39" fmla="*/ 64008 h 558851"/>
                <a:gd name="connsiteX40" fmla="*/ 451078 w 1054582"/>
                <a:gd name="connsiteY40" fmla="*/ 54864 h 558851"/>
                <a:gd name="connsiteX41" fmla="*/ 441934 w 1054582"/>
                <a:gd name="connsiteY41" fmla="*/ 128016 h 558851"/>
                <a:gd name="connsiteX42" fmla="*/ 414502 w 1054582"/>
                <a:gd name="connsiteY42" fmla="*/ 173736 h 558851"/>
                <a:gd name="connsiteX43" fmla="*/ 341350 w 1054582"/>
                <a:gd name="connsiteY43" fmla="*/ 237744 h 558851"/>
                <a:gd name="connsiteX44" fmla="*/ 313918 w 1054582"/>
                <a:gd name="connsiteY44" fmla="*/ 256032 h 558851"/>
                <a:gd name="connsiteX45" fmla="*/ 240766 w 1054582"/>
                <a:gd name="connsiteY45" fmla="*/ 347472 h 558851"/>
                <a:gd name="connsiteX46" fmla="*/ 231622 w 1054582"/>
                <a:gd name="connsiteY46" fmla="*/ 374904 h 558851"/>
                <a:gd name="connsiteX47" fmla="*/ 222478 w 1054582"/>
                <a:gd name="connsiteY47" fmla="*/ 411480 h 558851"/>
                <a:gd name="connsiteX48" fmla="*/ 240766 w 1054582"/>
                <a:gd name="connsiteY48" fmla="*/ 429768 h 558851"/>
                <a:gd name="connsiteX49" fmla="*/ 195046 w 1054582"/>
                <a:gd name="connsiteY49" fmla="*/ 457200 h 558851"/>
                <a:gd name="connsiteX50" fmla="*/ 48742 w 1054582"/>
                <a:gd name="connsiteY50" fmla="*/ 493776 h 558851"/>
                <a:gd name="connsiteX51" fmla="*/ 37668 w 1054582"/>
                <a:gd name="connsiteY51" fmla="*/ 480583 h 558851"/>
                <a:gd name="connsiteX52" fmla="*/ 37669 w 1054582"/>
                <a:gd name="connsiteY52" fmla="*/ 480583 h 558851"/>
                <a:gd name="connsiteX53" fmla="*/ 112127 w 1054582"/>
                <a:gd name="connsiteY53" fmla="*/ 496784 h 558851"/>
                <a:gd name="connsiteX54" fmla="*/ 112127 w 1054582"/>
                <a:gd name="connsiteY54" fmla="*/ 496784 h 558851"/>
                <a:gd name="connsiteX55" fmla="*/ 112127 w 1054582"/>
                <a:gd name="connsiteY55" fmla="*/ 496784 h 558851"/>
                <a:gd name="connsiteX0" fmla="*/ 90659 w 1033114"/>
                <a:gd name="connsiteY0" fmla="*/ 496784 h 555041"/>
                <a:gd name="connsiteX1" fmla="*/ 0 w 1033114"/>
                <a:gd name="connsiteY1" fmla="*/ 555041 h 555041"/>
                <a:gd name="connsiteX2" fmla="*/ 90659 w 1033114"/>
                <a:gd name="connsiteY2" fmla="*/ 496784 h 555041"/>
                <a:gd name="connsiteX3" fmla="*/ 127858 w 1033114"/>
                <a:gd name="connsiteY3" fmla="*/ 493776 h 555041"/>
                <a:gd name="connsiteX4" fmla="*/ 228442 w 1033114"/>
                <a:gd name="connsiteY4" fmla="*/ 466344 h 555041"/>
                <a:gd name="connsiteX5" fmla="*/ 329026 w 1033114"/>
                <a:gd name="connsiteY5" fmla="*/ 384048 h 555041"/>
                <a:gd name="connsiteX6" fmla="*/ 521050 w 1033114"/>
                <a:gd name="connsiteY6" fmla="*/ 301752 h 555041"/>
                <a:gd name="connsiteX7" fmla="*/ 603346 w 1033114"/>
                <a:gd name="connsiteY7" fmla="*/ 192024 h 555041"/>
                <a:gd name="connsiteX8" fmla="*/ 749650 w 1033114"/>
                <a:gd name="connsiteY8" fmla="*/ 155448 h 555041"/>
                <a:gd name="connsiteX9" fmla="*/ 795370 w 1033114"/>
                <a:gd name="connsiteY9" fmla="*/ 155448 h 555041"/>
                <a:gd name="connsiteX10" fmla="*/ 831946 w 1033114"/>
                <a:gd name="connsiteY10" fmla="*/ 137160 h 555041"/>
                <a:gd name="connsiteX11" fmla="*/ 786226 w 1033114"/>
                <a:gd name="connsiteY11" fmla="*/ 137160 h 555041"/>
                <a:gd name="connsiteX12" fmla="*/ 694786 w 1033114"/>
                <a:gd name="connsiteY12" fmla="*/ 137160 h 555041"/>
                <a:gd name="connsiteX13" fmla="*/ 639922 w 1033114"/>
                <a:gd name="connsiteY13" fmla="*/ 146304 h 555041"/>
                <a:gd name="connsiteX14" fmla="*/ 630778 w 1033114"/>
                <a:gd name="connsiteY14" fmla="*/ 155448 h 555041"/>
                <a:gd name="connsiteX15" fmla="*/ 612490 w 1033114"/>
                <a:gd name="connsiteY15" fmla="*/ 146304 h 555041"/>
                <a:gd name="connsiteX16" fmla="*/ 740506 w 1033114"/>
                <a:gd name="connsiteY16" fmla="*/ 91440 h 555041"/>
                <a:gd name="connsiteX17" fmla="*/ 795370 w 1033114"/>
                <a:gd name="connsiteY17" fmla="*/ 91440 h 555041"/>
                <a:gd name="connsiteX18" fmla="*/ 886810 w 1033114"/>
                <a:gd name="connsiteY18" fmla="*/ 82296 h 555041"/>
                <a:gd name="connsiteX19" fmla="*/ 1014826 w 1033114"/>
                <a:gd name="connsiteY19" fmla="*/ 27432 h 555041"/>
                <a:gd name="connsiteX20" fmla="*/ 996538 w 1033114"/>
                <a:gd name="connsiteY20" fmla="*/ 0 h 555041"/>
                <a:gd name="connsiteX21" fmla="*/ 959962 w 1033114"/>
                <a:gd name="connsiteY21" fmla="*/ 27432 h 555041"/>
                <a:gd name="connsiteX22" fmla="*/ 923386 w 1033114"/>
                <a:gd name="connsiteY22" fmla="*/ 36576 h 555041"/>
                <a:gd name="connsiteX23" fmla="*/ 850234 w 1033114"/>
                <a:gd name="connsiteY23" fmla="*/ 64008 h 555041"/>
                <a:gd name="connsiteX24" fmla="*/ 795370 w 1033114"/>
                <a:gd name="connsiteY24" fmla="*/ 64008 h 555041"/>
                <a:gd name="connsiteX25" fmla="*/ 685642 w 1033114"/>
                <a:gd name="connsiteY25" fmla="*/ 64008 h 555041"/>
                <a:gd name="connsiteX26" fmla="*/ 630778 w 1033114"/>
                <a:gd name="connsiteY26" fmla="*/ 100584 h 555041"/>
                <a:gd name="connsiteX27" fmla="*/ 594202 w 1033114"/>
                <a:gd name="connsiteY27" fmla="*/ 146304 h 555041"/>
                <a:gd name="connsiteX28" fmla="*/ 548482 w 1033114"/>
                <a:gd name="connsiteY28" fmla="*/ 182880 h 555041"/>
                <a:gd name="connsiteX29" fmla="*/ 502762 w 1033114"/>
                <a:gd name="connsiteY29" fmla="*/ 256032 h 555041"/>
                <a:gd name="connsiteX30" fmla="*/ 429610 w 1033114"/>
                <a:gd name="connsiteY30" fmla="*/ 301752 h 555041"/>
                <a:gd name="connsiteX31" fmla="*/ 329026 w 1033114"/>
                <a:gd name="connsiteY31" fmla="*/ 347472 h 555041"/>
                <a:gd name="connsiteX32" fmla="*/ 292450 w 1033114"/>
                <a:gd name="connsiteY32" fmla="*/ 374904 h 555041"/>
                <a:gd name="connsiteX33" fmla="*/ 246730 w 1033114"/>
                <a:gd name="connsiteY33" fmla="*/ 402336 h 555041"/>
                <a:gd name="connsiteX34" fmla="*/ 228442 w 1033114"/>
                <a:gd name="connsiteY34" fmla="*/ 402336 h 555041"/>
                <a:gd name="connsiteX35" fmla="*/ 246730 w 1033114"/>
                <a:gd name="connsiteY35" fmla="*/ 365760 h 555041"/>
                <a:gd name="connsiteX36" fmla="*/ 301594 w 1033114"/>
                <a:gd name="connsiteY36" fmla="*/ 301752 h 555041"/>
                <a:gd name="connsiteX37" fmla="*/ 393034 w 1033114"/>
                <a:gd name="connsiteY37" fmla="*/ 219456 h 555041"/>
                <a:gd name="connsiteX38" fmla="*/ 438754 w 1033114"/>
                <a:gd name="connsiteY38" fmla="*/ 146304 h 555041"/>
                <a:gd name="connsiteX39" fmla="*/ 438754 w 1033114"/>
                <a:gd name="connsiteY39" fmla="*/ 64008 h 555041"/>
                <a:gd name="connsiteX40" fmla="*/ 429610 w 1033114"/>
                <a:gd name="connsiteY40" fmla="*/ 54864 h 555041"/>
                <a:gd name="connsiteX41" fmla="*/ 420466 w 1033114"/>
                <a:gd name="connsiteY41" fmla="*/ 128016 h 555041"/>
                <a:gd name="connsiteX42" fmla="*/ 393034 w 1033114"/>
                <a:gd name="connsiteY42" fmla="*/ 173736 h 555041"/>
                <a:gd name="connsiteX43" fmla="*/ 319882 w 1033114"/>
                <a:gd name="connsiteY43" fmla="*/ 237744 h 555041"/>
                <a:gd name="connsiteX44" fmla="*/ 292450 w 1033114"/>
                <a:gd name="connsiteY44" fmla="*/ 256032 h 555041"/>
                <a:gd name="connsiteX45" fmla="*/ 219298 w 1033114"/>
                <a:gd name="connsiteY45" fmla="*/ 347472 h 555041"/>
                <a:gd name="connsiteX46" fmla="*/ 210154 w 1033114"/>
                <a:gd name="connsiteY46" fmla="*/ 374904 h 555041"/>
                <a:gd name="connsiteX47" fmla="*/ 201010 w 1033114"/>
                <a:gd name="connsiteY47" fmla="*/ 411480 h 555041"/>
                <a:gd name="connsiteX48" fmla="*/ 219298 w 1033114"/>
                <a:gd name="connsiteY48" fmla="*/ 429768 h 555041"/>
                <a:gd name="connsiteX49" fmla="*/ 173578 w 1033114"/>
                <a:gd name="connsiteY49" fmla="*/ 457200 h 555041"/>
                <a:gd name="connsiteX50" fmla="*/ 27274 w 1033114"/>
                <a:gd name="connsiteY50" fmla="*/ 493776 h 555041"/>
                <a:gd name="connsiteX51" fmla="*/ 16200 w 1033114"/>
                <a:gd name="connsiteY51" fmla="*/ 480583 h 555041"/>
                <a:gd name="connsiteX52" fmla="*/ 16201 w 1033114"/>
                <a:gd name="connsiteY52" fmla="*/ 480583 h 555041"/>
                <a:gd name="connsiteX53" fmla="*/ 90659 w 1033114"/>
                <a:gd name="connsiteY53" fmla="*/ 496784 h 555041"/>
                <a:gd name="connsiteX54" fmla="*/ 90659 w 1033114"/>
                <a:gd name="connsiteY54" fmla="*/ 496784 h 555041"/>
                <a:gd name="connsiteX55" fmla="*/ 90659 w 1033114"/>
                <a:gd name="connsiteY55" fmla="*/ 496784 h 555041"/>
                <a:gd name="connsiteX0" fmla="*/ 89615 w 1032070"/>
                <a:gd name="connsiteY0" fmla="*/ 496784 h 498849"/>
                <a:gd name="connsiteX1" fmla="*/ 89615 w 1032070"/>
                <a:gd name="connsiteY1" fmla="*/ 496784 h 498849"/>
                <a:gd name="connsiteX2" fmla="*/ 89615 w 1032070"/>
                <a:gd name="connsiteY2" fmla="*/ 496784 h 498849"/>
                <a:gd name="connsiteX3" fmla="*/ 126814 w 1032070"/>
                <a:gd name="connsiteY3" fmla="*/ 493776 h 498849"/>
                <a:gd name="connsiteX4" fmla="*/ 227398 w 1032070"/>
                <a:gd name="connsiteY4" fmla="*/ 466344 h 498849"/>
                <a:gd name="connsiteX5" fmla="*/ 327982 w 1032070"/>
                <a:gd name="connsiteY5" fmla="*/ 384048 h 498849"/>
                <a:gd name="connsiteX6" fmla="*/ 520006 w 1032070"/>
                <a:gd name="connsiteY6" fmla="*/ 301752 h 498849"/>
                <a:gd name="connsiteX7" fmla="*/ 602302 w 1032070"/>
                <a:gd name="connsiteY7" fmla="*/ 192024 h 498849"/>
                <a:gd name="connsiteX8" fmla="*/ 748606 w 1032070"/>
                <a:gd name="connsiteY8" fmla="*/ 155448 h 498849"/>
                <a:gd name="connsiteX9" fmla="*/ 794326 w 1032070"/>
                <a:gd name="connsiteY9" fmla="*/ 155448 h 498849"/>
                <a:gd name="connsiteX10" fmla="*/ 830902 w 1032070"/>
                <a:gd name="connsiteY10" fmla="*/ 137160 h 498849"/>
                <a:gd name="connsiteX11" fmla="*/ 785182 w 1032070"/>
                <a:gd name="connsiteY11" fmla="*/ 137160 h 498849"/>
                <a:gd name="connsiteX12" fmla="*/ 693742 w 1032070"/>
                <a:gd name="connsiteY12" fmla="*/ 137160 h 498849"/>
                <a:gd name="connsiteX13" fmla="*/ 638878 w 1032070"/>
                <a:gd name="connsiteY13" fmla="*/ 146304 h 498849"/>
                <a:gd name="connsiteX14" fmla="*/ 629734 w 1032070"/>
                <a:gd name="connsiteY14" fmla="*/ 155448 h 498849"/>
                <a:gd name="connsiteX15" fmla="*/ 611446 w 1032070"/>
                <a:gd name="connsiteY15" fmla="*/ 146304 h 498849"/>
                <a:gd name="connsiteX16" fmla="*/ 739462 w 1032070"/>
                <a:gd name="connsiteY16" fmla="*/ 91440 h 498849"/>
                <a:gd name="connsiteX17" fmla="*/ 794326 w 1032070"/>
                <a:gd name="connsiteY17" fmla="*/ 91440 h 498849"/>
                <a:gd name="connsiteX18" fmla="*/ 885766 w 1032070"/>
                <a:gd name="connsiteY18" fmla="*/ 82296 h 498849"/>
                <a:gd name="connsiteX19" fmla="*/ 1013782 w 1032070"/>
                <a:gd name="connsiteY19" fmla="*/ 27432 h 498849"/>
                <a:gd name="connsiteX20" fmla="*/ 995494 w 1032070"/>
                <a:gd name="connsiteY20" fmla="*/ 0 h 498849"/>
                <a:gd name="connsiteX21" fmla="*/ 958918 w 1032070"/>
                <a:gd name="connsiteY21" fmla="*/ 27432 h 498849"/>
                <a:gd name="connsiteX22" fmla="*/ 922342 w 1032070"/>
                <a:gd name="connsiteY22" fmla="*/ 36576 h 498849"/>
                <a:gd name="connsiteX23" fmla="*/ 849190 w 1032070"/>
                <a:gd name="connsiteY23" fmla="*/ 64008 h 498849"/>
                <a:gd name="connsiteX24" fmla="*/ 794326 w 1032070"/>
                <a:gd name="connsiteY24" fmla="*/ 64008 h 498849"/>
                <a:gd name="connsiteX25" fmla="*/ 684598 w 1032070"/>
                <a:gd name="connsiteY25" fmla="*/ 64008 h 498849"/>
                <a:gd name="connsiteX26" fmla="*/ 629734 w 1032070"/>
                <a:gd name="connsiteY26" fmla="*/ 100584 h 498849"/>
                <a:gd name="connsiteX27" fmla="*/ 593158 w 1032070"/>
                <a:gd name="connsiteY27" fmla="*/ 146304 h 498849"/>
                <a:gd name="connsiteX28" fmla="*/ 547438 w 1032070"/>
                <a:gd name="connsiteY28" fmla="*/ 182880 h 498849"/>
                <a:gd name="connsiteX29" fmla="*/ 501718 w 1032070"/>
                <a:gd name="connsiteY29" fmla="*/ 256032 h 498849"/>
                <a:gd name="connsiteX30" fmla="*/ 428566 w 1032070"/>
                <a:gd name="connsiteY30" fmla="*/ 301752 h 498849"/>
                <a:gd name="connsiteX31" fmla="*/ 327982 w 1032070"/>
                <a:gd name="connsiteY31" fmla="*/ 347472 h 498849"/>
                <a:gd name="connsiteX32" fmla="*/ 291406 w 1032070"/>
                <a:gd name="connsiteY32" fmla="*/ 374904 h 498849"/>
                <a:gd name="connsiteX33" fmla="*/ 245686 w 1032070"/>
                <a:gd name="connsiteY33" fmla="*/ 402336 h 498849"/>
                <a:gd name="connsiteX34" fmla="*/ 227398 w 1032070"/>
                <a:gd name="connsiteY34" fmla="*/ 402336 h 498849"/>
                <a:gd name="connsiteX35" fmla="*/ 245686 w 1032070"/>
                <a:gd name="connsiteY35" fmla="*/ 365760 h 498849"/>
                <a:gd name="connsiteX36" fmla="*/ 300550 w 1032070"/>
                <a:gd name="connsiteY36" fmla="*/ 301752 h 498849"/>
                <a:gd name="connsiteX37" fmla="*/ 391990 w 1032070"/>
                <a:gd name="connsiteY37" fmla="*/ 219456 h 498849"/>
                <a:gd name="connsiteX38" fmla="*/ 437710 w 1032070"/>
                <a:gd name="connsiteY38" fmla="*/ 146304 h 498849"/>
                <a:gd name="connsiteX39" fmla="*/ 437710 w 1032070"/>
                <a:gd name="connsiteY39" fmla="*/ 64008 h 498849"/>
                <a:gd name="connsiteX40" fmla="*/ 428566 w 1032070"/>
                <a:gd name="connsiteY40" fmla="*/ 54864 h 498849"/>
                <a:gd name="connsiteX41" fmla="*/ 419422 w 1032070"/>
                <a:gd name="connsiteY41" fmla="*/ 128016 h 498849"/>
                <a:gd name="connsiteX42" fmla="*/ 391990 w 1032070"/>
                <a:gd name="connsiteY42" fmla="*/ 173736 h 498849"/>
                <a:gd name="connsiteX43" fmla="*/ 318838 w 1032070"/>
                <a:gd name="connsiteY43" fmla="*/ 237744 h 498849"/>
                <a:gd name="connsiteX44" fmla="*/ 291406 w 1032070"/>
                <a:gd name="connsiteY44" fmla="*/ 256032 h 498849"/>
                <a:gd name="connsiteX45" fmla="*/ 218254 w 1032070"/>
                <a:gd name="connsiteY45" fmla="*/ 347472 h 498849"/>
                <a:gd name="connsiteX46" fmla="*/ 209110 w 1032070"/>
                <a:gd name="connsiteY46" fmla="*/ 374904 h 498849"/>
                <a:gd name="connsiteX47" fmla="*/ 199966 w 1032070"/>
                <a:gd name="connsiteY47" fmla="*/ 411480 h 498849"/>
                <a:gd name="connsiteX48" fmla="*/ 218254 w 1032070"/>
                <a:gd name="connsiteY48" fmla="*/ 429768 h 498849"/>
                <a:gd name="connsiteX49" fmla="*/ 172534 w 1032070"/>
                <a:gd name="connsiteY49" fmla="*/ 457200 h 498849"/>
                <a:gd name="connsiteX50" fmla="*/ 26230 w 1032070"/>
                <a:gd name="connsiteY50" fmla="*/ 493776 h 498849"/>
                <a:gd name="connsiteX51" fmla="*/ 15156 w 1032070"/>
                <a:gd name="connsiteY51" fmla="*/ 480583 h 498849"/>
                <a:gd name="connsiteX52" fmla="*/ 15157 w 1032070"/>
                <a:gd name="connsiteY52" fmla="*/ 480583 h 498849"/>
                <a:gd name="connsiteX53" fmla="*/ 89615 w 1032070"/>
                <a:gd name="connsiteY53" fmla="*/ 496784 h 498849"/>
                <a:gd name="connsiteX54" fmla="*/ 89615 w 1032070"/>
                <a:gd name="connsiteY54" fmla="*/ 496784 h 498849"/>
                <a:gd name="connsiteX55" fmla="*/ 89615 w 1032070"/>
                <a:gd name="connsiteY55" fmla="*/ 496784 h 498849"/>
                <a:gd name="connsiteX0" fmla="*/ 89615 w 1032070"/>
                <a:gd name="connsiteY0" fmla="*/ 496784 h 498849"/>
                <a:gd name="connsiteX1" fmla="*/ 89615 w 1032070"/>
                <a:gd name="connsiteY1" fmla="*/ 496784 h 498849"/>
                <a:gd name="connsiteX2" fmla="*/ 89615 w 1032070"/>
                <a:gd name="connsiteY2" fmla="*/ 496784 h 498849"/>
                <a:gd name="connsiteX3" fmla="*/ 126814 w 1032070"/>
                <a:gd name="connsiteY3" fmla="*/ 493776 h 498849"/>
                <a:gd name="connsiteX4" fmla="*/ 227398 w 1032070"/>
                <a:gd name="connsiteY4" fmla="*/ 466344 h 498849"/>
                <a:gd name="connsiteX5" fmla="*/ 327982 w 1032070"/>
                <a:gd name="connsiteY5" fmla="*/ 384048 h 498849"/>
                <a:gd name="connsiteX6" fmla="*/ 520006 w 1032070"/>
                <a:gd name="connsiteY6" fmla="*/ 301752 h 498849"/>
                <a:gd name="connsiteX7" fmla="*/ 602302 w 1032070"/>
                <a:gd name="connsiteY7" fmla="*/ 192024 h 498849"/>
                <a:gd name="connsiteX8" fmla="*/ 748606 w 1032070"/>
                <a:gd name="connsiteY8" fmla="*/ 155448 h 498849"/>
                <a:gd name="connsiteX9" fmla="*/ 794326 w 1032070"/>
                <a:gd name="connsiteY9" fmla="*/ 155448 h 498849"/>
                <a:gd name="connsiteX10" fmla="*/ 830902 w 1032070"/>
                <a:gd name="connsiteY10" fmla="*/ 137160 h 498849"/>
                <a:gd name="connsiteX11" fmla="*/ 785182 w 1032070"/>
                <a:gd name="connsiteY11" fmla="*/ 137160 h 498849"/>
                <a:gd name="connsiteX12" fmla="*/ 693742 w 1032070"/>
                <a:gd name="connsiteY12" fmla="*/ 137160 h 498849"/>
                <a:gd name="connsiteX13" fmla="*/ 638878 w 1032070"/>
                <a:gd name="connsiteY13" fmla="*/ 146304 h 498849"/>
                <a:gd name="connsiteX14" fmla="*/ 629734 w 1032070"/>
                <a:gd name="connsiteY14" fmla="*/ 155448 h 498849"/>
                <a:gd name="connsiteX15" fmla="*/ 611446 w 1032070"/>
                <a:gd name="connsiteY15" fmla="*/ 146304 h 498849"/>
                <a:gd name="connsiteX16" fmla="*/ 739462 w 1032070"/>
                <a:gd name="connsiteY16" fmla="*/ 91440 h 498849"/>
                <a:gd name="connsiteX17" fmla="*/ 794326 w 1032070"/>
                <a:gd name="connsiteY17" fmla="*/ 91440 h 498849"/>
                <a:gd name="connsiteX18" fmla="*/ 885766 w 1032070"/>
                <a:gd name="connsiteY18" fmla="*/ 82296 h 498849"/>
                <a:gd name="connsiteX19" fmla="*/ 1013782 w 1032070"/>
                <a:gd name="connsiteY19" fmla="*/ 27432 h 498849"/>
                <a:gd name="connsiteX20" fmla="*/ 995494 w 1032070"/>
                <a:gd name="connsiteY20" fmla="*/ 0 h 498849"/>
                <a:gd name="connsiteX21" fmla="*/ 958918 w 1032070"/>
                <a:gd name="connsiteY21" fmla="*/ 27432 h 498849"/>
                <a:gd name="connsiteX22" fmla="*/ 922342 w 1032070"/>
                <a:gd name="connsiteY22" fmla="*/ 36576 h 498849"/>
                <a:gd name="connsiteX23" fmla="*/ 849190 w 1032070"/>
                <a:gd name="connsiteY23" fmla="*/ 64008 h 498849"/>
                <a:gd name="connsiteX24" fmla="*/ 794326 w 1032070"/>
                <a:gd name="connsiteY24" fmla="*/ 64008 h 498849"/>
                <a:gd name="connsiteX25" fmla="*/ 684598 w 1032070"/>
                <a:gd name="connsiteY25" fmla="*/ 64008 h 498849"/>
                <a:gd name="connsiteX26" fmla="*/ 629734 w 1032070"/>
                <a:gd name="connsiteY26" fmla="*/ 100584 h 498849"/>
                <a:gd name="connsiteX27" fmla="*/ 593158 w 1032070"/>
                <a:gd name="connsiteY27" fmla="*/ 146304 h 498849"/>
                <a:gd name="connsiteX28" fmla="*/ 547438 w 1032070"/>
                <a:gd name="connsiteY28" fmla="*/ 182880 h 498849"/>
                <a:gd name="connsiteX29" fmla="*/ 501718 w 1032070"/>
                <a:gd name="connsiteY29" fmla="*/ 256032 h 498849"/>
                <a:gd name="connsiteX30" fmla="*/ 428566 w 1032070"/>
                <a:gd name="connsiteY30" fmla="*/ 301752 h 498849"/>
                <a:gd name="connsiteX31" fmla="*/ 327982 w 1032070"/>
                <a:gd name="connsiteY31" fmla="*/ 347472 h 498849"/>
                <a:gd name="connsiteX32" fmla="*/ 291406 w 1032070"/>
                <a:gd name="connsiteY32" fmla="*/ 374904 h 498849"/>
                <a:gd name="connsiteX33" fmla="*/ 245686 w 1032070"/>
                <a:gd name="connsiteY33" fmla="*/ 402336 h 498849"/>
                <a:gd name="connsiteX34" fmla="*/ 227398 w 1032070"/>
                <a:gd name="connsiteY34" fmla="*/ 402336 h 498849"/>
                <a:gd name="connsiteX35" fmla="*/ 245686 w 1032070"/>
                <a:gd name="connsiteY35" fmla="*/ 365760 h 498849"/>
                <a:gd name="connsiteX36" fmla="*/ 300550 w 1032070"/>
                <a:gd name="connsiteY36" fmla="*/ 301752 h 498849"/>
                <a:gd name="connsiteX37" fmla="*/ 391990 w 1032070"/>
                <a:gd name="connsiteY37" fmla="*/ 219456 h 498849"/>
                <a:gd name="connsiteX38" fmla="*/ 437710 w 1032070"/>
                <a:gd name="connsiteY38" fmla="*/ 146304 h 498849"/>
                <a:gd name="connsiteX39" fmla="*/ 437710 w 1032070"/>
                <a:gd name="connsiteY39" fmla="*/ 64008 h 498849"/>
                <a:gd name="connsiteX40" fmla="*/ 428566 w 1032070"/>
                <a:gd name="connsiteY40" fmla="*/ 54864 h 498849"/>
                <a:gd name="connsiteX41" fmla="*/ 419422 w 1032070"/>
                <a:gd name="connsiteY41" fmla="*/ 128016 h 498849"/>
                <a:gd name="connsiteX42" fmla="*/ 391990 w 1032070"/>
                <a:gd name="connsiteY42" fmla="*/ 173736 h 498849"/>
                <a:gd name="connsiteX43" fmla="*/ 318838 w 1032070"/>
                <a:gd name="connsiteY43" fmla="*/ 237744 h 498849"/>
                <a:gd name="connsiteX44" fmla="*/ 291406 w 1032070"/>
                <a:gd name="connsiteY44" fmla="*/ 256032 h 498849"/>
                <a:gd name="connsiteX45" fmla="*/ 218254 w 1032070"/>
                <a:gd name="connsiteY45" fmla="*/ 347472 h 498849"/>
                <a:gd name="connsiteX46" fmla="*/ 209110 w 1032070"/>
                <a:gd name="connsiteY46" fmla="*/ 374904 h 498849"/>
                <a:gd name="connsiteX47" fmla="*/ 199966 w 1032070"/>
                <a:gd name="connsiteY47" fmla="*/ 411480 h 498849"/>
                <a:gd name="connsiteX48" fmla="*/ 218254 w 1032070"/>
                <a:gd name="connsiteY48" fmla="*/ 429768 h 498849"/>
                <a:gd name="connsiteX49" fmla="*/ 172534 w 1032070"/>
                <a:gd name="connsiteY49" fmla="*/ 457200 h 498849"/>
                <a:gd name="connsiteX50" fmla="*/ 26230 w 1032070"/>
                <a:gd name="connsiteY50" fmla="*/ 493776 h 498849"/>
                <a:gd name="connsiteX51" fmla="*/ 15156 w 1032070"/>
                <a:gd name="connsiteY51" fmla="*/ 480583 h 498849"/>
                <a:gd name="connsiteX52" fmla="*/ 89615 w 1032070"/>
                <a:gd name="connsiteY52" fmla="*/ 496784 h 498849"/>
                <a:gd name="connsiteX53" fmla="*/ 89615 w 1032070"/>
                <a:gd name="connsiteY53" fmla="*/ 496784 h 498849"/>
                <a:gd name="connsiteX54" fmla="*/ 89615 w 1032070"/>
                <a:gd name="connsiteY54" fmla="*/ 496784 h 498849"/>
                <a:gd name="connsiteX55" fmla="*/ 89615 w 1032070"/>
                <a:gd name="connsiteY55" fmla="*/ 496784 h 498849"/>
                <a:gd name="connsiteX0" fmla="*/ 77205 w 1019660"/>
                <a:gd name="connsiteY0" fmla="*/ 496784 h 500373"/>
                <a:gd name="connsiteX1" fmla="*/ 77205 w 1019660"/>
                <a:gd name="connsiteY1" fmla="*/ 496784 h 500373"/>
                <a:gd name="connsiteX2" fmla="*/ 77205 w 1019660"/>
                <a:gd name="connsiteY2" fmla="*/ 496784 h 500373"/>
                <a:gd name="connsiteX3" fmla="*/ 114404 w 1019660"/>
                <a:gd name="connsiteY3" fmla="*/ 493776 h 500373"/>
                <a:gd name="connsiteX4" fmla="*/ 214988 w 1019660"/>
                <a:gd name="connsiteY4" fmla="*/ 466344 h 500373"/>
                <a:gd name="connsiteX5" fmla="*/ 315572 w 1019660"/>
                <a:gd name="connsiteY5" fmla="*/ 384048 h 500373"/>
                <a:gd name="connsiteX6" fmla="*/ 507596 w 1019660"/>
                <a:gd name="connsiteY6" fmla="*/ 301752 h 500373"/>
                <a:gd name="connsiteX7" fmla="*/ 589892 w 1019660"/>
                <a:gd name="connsiteY7" fmla="*/ 192024 h 500373"/>
                <a:gd name="connsiteX8" fmla="*/ 736196 w 1019660"/>
                <a:gd name="connsiteY8" fmla="*/ 155448 h 500373"/>
                <a:gd name="connsiteX9" fmla="*/ 781916 w 1019660"/>
                <a:gd name="connsiteY9" fmla="*/ 155448 h 500373"/>
                <a:gd name="connsiteX10" fmla="*/ 818492 w 1019660"/>
                <a:gd name="connsiteY10" fmla="*/ 137160 h 500373"/>
                <a:gd name="connsiteX11" fmla="*/ 772772 w 1019660"/>
                <a:gd name="connsiteY11" fmla="*/ 137160 h 500373"/>
                <a:gd name="connsiteX12" fmla="*/ 681332 w 1019660"/>
                <a:gd name="connsiteY12" fmla="*/ 137160 h 500373"/>
                <a:gd name="connsiteX13" fmla="*/ 626468 w 1019660"/>
                <a:gd name="connsiteY13" fmla="*/ 146304 h 500373"/>
                <a:gd name="connsiteX14" fmla="*/ 617324 w 1019660"/>
                <a:gd name="connsiteY14" fmla="*/ 155448 h 500373"/>
                <a:gd name="connsiteX15" fmla="*/ 599036 w 1019660"/>
                <a:gd name="connsiteY15" fmla="*/ 146304 h 500373"/>
                <a:gd name="connsiteX16" fmla="*/ 727052 w 1019660"/>
                <a:gd name="connsiteY16" fmla="*/ 91440 h 500373"/>
                <a:gd name="connsiteX17" fmla="*/ 781916 w 1019660"/>
                <a:gd name="connsiteY17" fmla="*/ 91440 h 500373"/>
                <a:gd name="connsiteX18" fmla="*/ 873356 w 1019660"/>
                <a:gd name="connsiteY18" fmla="*/ 82296 h 500373"/>
                <a:gd name="connsiteX19" fmla="*/ 1001372 w 1019660"/>
                <a:gd name="connsiteY19" fmla="*/ 27432 h 500373"/>
                <a:gd name="connsiteX20" fmla="*/ 983084 w 1019660"/>
                <a:gd name="connsiteY20" fmla="*/ 0 h 500373"/>
                <a:gd name="connsiteX21" fmla="*/ 946508 w 1019660"/>
                <a:gd name="connsiteY21" fmla="*/ 27432 h 500373"/>
                <a:gd name="connsiteX22" fmla="*/ 909932 w 1019660"/>
                <a:gd name="connsiteY22" fmla="*/ 36576 h 500373"/>
                <a:gd name="connsiteX23" fmla="*/ 836780 w 1019660"/>
                <a:gd name="connsiteY23" fmla="*/ 64008 h 500373"/>
                <a:gd name="connsiteX24" fmla="*/ 781916 w 1019660"/>
                <a:gd name="connsiteY24" fmla="*/ 64008 h 500373"/>
                <a:gd name="connsiteX25" fmla="*/ 672188 w 1019660"/>
                <a:gd name="connsiteY25" fmla="*/ 64008 h 500373"/>
                <a:gd name="connsiteX26" fmla="*/ 617324 w 1019660"/>
                <a:gd name="connsiteY26" fmla="*/ 100584 h 500373"/>
                <a:gd name="connsiteX27" fmla="*/ 580748 w 1019660"/>
                <a:gd name="connsiteY27" fmla="*/ 146304 h 500373"/>
                <a:gd name="connsiteX28" fmla="*/ 535028 w 1019660"/>
                <a:gd name="connsiteY28" fmla="*/ 182880 h 500373"/>
                <a:gd name="connsiteX29" fmla="*/ 489308 w 1019660"/>
                <a:gd name="connsiteY29" fmla="*/ 256032 h 500373"/>
                <a:gd name="connsiteX30" fmla="*/ 416156 w 1019660"/>
                <a:gd name="connsiteY30" fmla="*/ 301752 h 500373"/>
                <a:gd name="connsiteX31" fmla="*/ 315572 w 1019660"/>
                <a:gd name="connsiteY31" fmla="*/ 347472 h 500373"/>
                <a:gd name="connsiteX32" fmla="*/ 278996 w 1019660"/>
                <a:gd name="connsiteY32" fmla="*/ 374904 h 500373"/>
                <a:gd name="connsiteX33" fmla="*/ 233276 w 1019660"/>
                <a:gd name="connsiteY33" fmla="*/ 402336 h 500373"/>
                <a:gd name="connsiteX34" fmla="*/ 214988 w 1019660"/>
                <a:gd name="connsiteY34" fmla="*/ 402336 h 500373"/>
                <a:gd name="connsiteX35" fmla="*/ 233276 w 1019660"/>
                <a:gd name="connsiteY35" fmla="*/ 365760 h 500373"/>
                <a:gd name="connsiteX36" fmla="*/ 288140 w 1019660"/>
                <a:gd name="connsiteY36" fmla="*/ 301752 h 500373"/>
                <a:gd name="connsiteX37" fmla="*/ 379580 w 1019660"/>
                <a:gd name="connsiteY37" fmla="*/ 219456 h 500373"/>
                <a:gd name="connsiteX38" fmla="*/ 425300 w 1019660"/>
                <a:gd name="connsiteY38" fmla="*/ 146304 h 500373"/>
                <a:gd name="connsiteX39" fmla="*/ 425300 w 1019660"/>
                <a:gd name="connsiteY39" fmla="*/ 64008 h 500373"/>
                <a:gd name="connsiteX40" fmla="*/ 416156 w 1019660"/>
                <a:gd name="connsiteY40" fmla="*/ 54864 h 500373"/>
                <a:gd name="connsiteX41" fmla="*/ 407012 w 1019660"/>
                <a:gd name="connsiteY41" fmla="*/ 128016 h 500373"/>
                <a:gd name="connsiteX42" fmla="*/ 379580 w 1019660"/>
                <a:gd name="connsiteY42" fmla="*/ 173736 h 500373"/>
                <a:gd name="connsiteX43" fmla="*/ 306428 w 1019660"/>
                <a:gd name="connsiteY43" fmla="*/ 237744 h 500373"/>
                <a:gd name="connsiteX44" fmla="*/ 278996 w 1019660"/>
                <a:gd name="connsiteY44" fmla="*/ 256032 h 500373"/>
                <a:gd name="connsiteX45" fmla="*/ 205844 w 1019660"/>
                <a:gd name="connsiteY45" fmla="*/ 347472 h 500373"/>
                <a:gd name="connsiteX46" fmla="*/ 196700 w 1019660"/>
                <a:gd name="connsiteY46" fmla="*/ 374904 h 500373"/>
                <a:gd name="connsiteX47" fmla="*/ 187556 w 1019660"/>
                <a:gd name="connsiteY47" fmla="*/ 411480 h 500373"/>
                <a:gd name="connsiteX48" fmla="*/ 205844 w 1019660"/>
                <a:gd name="connsiteY48" fmla="*/ 429768 h 500373"/>
                <a:gd name="connsiteX49" fmla="*/ 160124 w 1019660"/>
                <a:gd name="connsiteY49" fmla="*/ 457200 h 500373"/>
                <a:gd name="connsiteX50" fmla="*/ 13820 w 1019660"/>
                <a:gd name="connsiteY50" fmla="*/ 493776 h 500373"/>
                <a:gd name="connsiteX51" fmla="*/ 77205 w 1019660"/>
                <a:gd name="connsiteY51" fmla="*/ 496784 h 500373"/>
                <a:gd name="connsiteX52" fmla="*/ 77205 w 1019660"/>
                <a:gd name="connsiteY52" fmla="*/ 496784 h 500373"/>
                <a:gd name="connsiteX53" fmla="*/ 77205 w 1019660"/>
                <a:gd name="connsiteY53" fmla="*/ 496784 h 500373"/>
                <a:gd name="connsiteX54" fmla="*/ 77205 w 1019660"/>
                <a:gd name="connsiteY54" fmla="*/ 496784 h 500373"/>
                <a:gd name="connsiteX55" fmla="*/ 77205 w 1019660"/>
                <a:gd name="connsiteY55" fmla="*/ 496784 h 500373"/>
                <a:gd name="connsiteX0" fmla="*/ 13820 w 956275"/>
                <a:gd name="connsiteY0" fmla="*/ 496784 h 503380"/>
                <a:gd name="connsiteX1" fmla="*/ 13820 w 956275"/>
                <a:gd name="connsiteY1" fmla="*/ 496784 h 503380"/>
                <a:gd name="connsiteX2" fmla="*/ 13820 w 956275"/>
                <a:gd name="connsiteY2" fmla="*/ 496784 h 503380"/>
                <a:gd name="connsiteX3" fmla="*/ 51019 w 956275"/>
                <a:gd name="connsiteY3" fmla="*/ 493776 h 503380"/>
                <a:gd name="connsiteX4" fmla="*/ 151603 w 956275"/>
                <a:gd name="connsiteY4" fmla="*/ 466344 h 503380"/>
                <a:gd name="connsiteX5" fmla="*/ 252187 w 956275"/>
                <a:gd name="connsiteY5" fmla="*/ 384048 h 503380"/>
                <a:gd name="connsiteX6" fmla="*/ 444211 w 956275"/>
                <a:gd name="connsiteY6" fmla="*/ 301752 h 503380"/>
                <a:gd name="connsiteX7" fmla="*/ 526507 w 956275"/>
                <a:gd name="connsiteY7" fmla="*/ 192024 h 503380"/>
                <a:gd name="connsiteX8" fmla="*/ 672811 w 956275"/>
                <a:gd name="connsiteY8" fmla="*/ 155448 h 503380"/>
                <a:gd name="connsiteX9" fmla="*/ 718531 w 956275"/>
                <a:gd name="connsiteY9" fmla="*/ 155448 h 503380"/>
                <a:gd name="connsiteX10" fmla="*/ 755107 w 956275"/>
                <a:gd name="connsiteY10" fmla="*/ 137160 h 503380"/>
                <a:gd name="connsiteX11" fmla="*/ 709387 w 956275"/>
                <a:gd name="connsiteY11" fmla="*/ 137160 h 503380"/>
                <a:gd name="connsiteX12" fmla="*/ 617947 w 956275"/>
                <a:gd name="connsiteY12" fmla="*/ 137160 h 503380"/>
                <a:gd name="connsiteX13" fmla="*/ 563083 w 956275"/>
                <a:gd name="connsiteY13" fmla="*/ 146304 h 503380"/>
                <a:gd name="connsiteX14" fmla="*/ 553939 w 956275"/>
                <a:gd name="connsiteY14" fmla="*/ 155448 h 503380"/>
                <a:gd name="connsiteX15" fmla="*/ 535651 w 956275"/>
                <a:gd name="connsiteY15" fmla="*/ 146304 h 503380"/>
                <a:gd name="connsiteX16" fmla="*/ 663667 w 956275"/>
                <a:gd name="connsiteY16" fmla="*/ 91440 h 503380"/>
                <a:gd name="connsiteX17" fmla="*/ 718531 w 956275"/>
                <a:gd name="connsiteY17" fmla="*/ 91440 h 503380"/>
                <a:gd name="connsiteX18" fmla="*/ 809971 w 956275"/>
                <a:gd name="connsiteY18" fmla="*/ 82296 h 503380"/>
                <a:gd name="connsiteX19" fmla="*/ 937987 w 956275"/>
                <a:gd name="connsiteY19" fmla="*/ 27432 h 503380"/>
                <a:gd name="connsiteX20" fmla="*/ 919699 w 956275"/>
                <a:gd name="connsiteY20" fmla="*/ 0 h 503380"/>
                <a:gd name="connsiteX21" fmla="*/ 883123 w 956275"/>
                <a:gd name="connsiteY21" fmla="*/ 27432 h 503380"/>
                <a:gd name="connsiteX22" fmla="*/ 846547 w 956275"/>
                <a:gd name="connsiteY22" fmla="*/ 36576 h 503380"/>
                <a:gd name="connsiteX23" fmla="*/ 773395 w 956275"/>
                <a:gd name="connsiteY23" fmla="*/ 64008 h 503380"/>
                <a:gd name="connsiteX24" fmla="*/ 718531 w 956275"/>
                <a:gd name="connsiteY24" fmla="*/ 64008 h 503380"/>
                <a:gd name="connsiteX25" fmla="*/ 608803 w 956275"/>
                <a:gd name="connsiteY25" fmla="*/ 64008 h 503380"/>
                <a:gd name="connsiteX26" fmla="*/ 553939 w 956275"/>
                <a:gd name="connsiteY26" fmla="*/ 100584 h 503380"/>
                <a:gd name="connsiteX27" fmla="*/ 517363 w 956275"/>
                <a:gd name="connsiteY27" fmla="*/ 146304 h 503380"/>
                <a:gd name="connsiteX28" fmla="*/ 471643 w 956275"/>
                <a:gd name="connsiteY28" fmla="*/ 182880 h 503380"/>
                <a:gd name="connsiteX29" fmla="*/ 425923 w 956275"/>
                <a:gd name="connsiteY29" fmla="*/ 256032 h 503380"/>
                <a:gd name="connsiteX30" fmla="*/ 352771 w 956275"/>
                <a:gd name="connsiteY30" fmla="*/ 301752 h 503380"/>
                <a:gd name="connsiteX31" fmla="*/ 252187 w 956275"/>
                <a:gd name="connsiteY31" fmla="*/ 347472 h 503380"/>
                <a:gd name="connsiteX32" fmla="*/ 215611 w 956275"/>
                <a:gd name="connsiteY32" fmla="*/ 374904 h 503380"/>
                <a:gd name="connsiteX33" fmla="*/ 169891 w 956275"/>
                <a:gd name="connsiteY33" fmla="*/ 402336 h 503380"/>
                <a:gd name="connsiteX34" fmla="*/ 151603 w 956275"/>
                <a:gd name="connsiteY34" fmla="*/ 402336 h 503380"/>
                <a:gd name="connsiteX35" fmla="*/ 169891 w 956275"/>
                <a:gd name="connsiteY35" fmla="*/ 365760 h 503380"/>
                <a:gd name="connsiteX36" fmla="*/ 224755 w 956275"/>
                <a:gd name="connsiteY36" fmla="*/ 301752 h 503380"/>
                <a:gd name="connsiteX37" fmla="*/ 316195 w 956275"/>
                <a:gd name="connsiteY37" fmla="*/ 219456 h 503380"/>
                <a:gd name="connsiteX38" fmla="*/ 361915 w 956275"/>
                <a:gd name="connsiteY38" fmla="*/ 146304 h 503380"/>
                <a:gd name="connsiteX39" fmla="*/ 361915 w 956275"/>
                <a:gd name="connsiteY39" fmla="*/ 64008 h 503380"/>
                <a:gd name="connsiteX40" fmla="*/ 352771 w 956275"/>
                <a:gd name="connsiteY40" fmla="*/ 54864 h 503380"/>
                <a:gd name="connsiteX41" fmla="*/ 343627 w 956275"/>
                <a:gd name="connsiteY41" fmla="*/ 128016 h 503380"/>
                <a:gd name="connsiteX42" fmla="*/ 316195 w 956275"/>
                <a:gd name="connsiteY42" fmla="*/ 173736 h 503380"/>
                <a:gd name="connsiteX43" fmla="*/ 243043 w 956275"/>
                <a:gd name="connsiteY43" fmla="*/ 237744 h 503380"/>
                <a:gd name="connsiteX44" fmla="*/ 215611 w 956275"/>
                <a:gd name="connsiteY44" fmla="*/ 256032 h 503380"/>
                <a:gd name="connsiteX45" fmla="*/ 142459 w 956275"/>
                <a:gd name="connsiteY45" fmla="*/ 347472 h 503380"/>
                <a:gd name="connsiteX46" fmla="*/ 133315 w 956275"/>
                <a:gd name="connsiteY46" fmla="*/ 374904 h 503380"/>
                <a:gd name="connsiteX47" fmla="*/ 124171 w 956275"/>
                <a:gd name="connsiteY47" fmla="*/ 411480 h 503380"/>
                <a:gd name="connsiteX48" fmla="*/ 142459 w 956275"/>
                <a:gd name="connsiteY48" fmla="*/ 429768 h 503380"/>
                <a:gd name="connsiteX49" fmla="*/ 96739 w 956275"/>
                <a:gd name="connsiteY49" fmla="*/ 457200 h 503380"/>
                <a:gd name="connsiteX50" fmla="*/ 13820 w 956275"/>
                <a:gd name="connsiteY50" fmla="*/ 496783 h 503380"/>
                <a:gd name="connsiteX51" fmla="*/ 13820 w 956275"/>
                <a:gd name="connsiteY51" fmla="*/ 496784 h 503380"/>
                <a:gd name="connsiteX52" fmla="*/ 13820 w 956275"/>
                <a:gd name="connsiteY52" fmla="*/ 496784 h 503380"/>
                <a:gd name="connsiteX53" fmla="*/ 13820 w 956275"/>
                <a:gd name="connsiteY53" fmla="*/ 496784 h 503380"/>
                <a:gd name="connsiteX54" fmla="*/ 13820 w 956275"/>
                <a:gd name="connsiteY54" fmla="*/ 496784 h 503380"/>
                <a:gd name="connsiteX55" fmla="*/ 13820 w 956275"/>
                <a:gd name="connsiteY55" fmla="*/ 496784 h 503380"/>
                <a:gd name="connsiteX0" fmla="*/ 40672 w 956275"/>
                <a:gd name="connsiteY0" fmla="*/ 486851 h 503380"/>
                <a:gd name="connsiteX1" fmla="*/ 13820 w 956275"/>
                <a:gd name="connsiteY1" fmla="*/ 496784 h 503380"/>
                <a:gd name="connsiteX2" fmla="*/ 13820 w 956275"/>
                <a:gd name="connsiteY2" fmla="*/ 496784 h 503380"/>
                <a:gd name="connsiteX3" fmla="*/ 51019 w 956275"/>
                <a:gd name="connsiteY3" fmla="*/ 493776 h 503380"/>
                <a:gd name="connsiteX4" fmla="*/ 151603 w 956275"/>
                <a:gd name="connsiteY4" fmla="*/ 466344 h 503380"/>
                <a:gd name="connsiteX5" fmla="*/ 252187 w 956275"/>
                <a:gd name="connsiteY5" fmla="*/ 384048 h 503380"/>
                <a:gd name="connsiteX6" fmla="*/ 444211 w 956275"/>
                <a:gd name="connsiteY6" fmla="*/ 301752 h 503380"/>
                <a:gd name="connsiteX7" fmla="*/ 526507 w 956275"/>
                <a:gd name="connsiteY7" fmla="*/ 192024 h 503380"/>
                <a:gd name="connsiteX8" fmla="*/ 672811 w 956275"/>
                <a:gd name="connsiteY8" fmla="*/ 155448 h 503380"/>
                <a:gd name="connsiteX9" fmla="*/ 718531 w 956275"/>
                <a:gd name="connsiteY9" fmla="*/ 155448 h 503380"/>
                <a:gd name="connsiteX10" fmla="*/ 755107 w 956275"/>
                <a:gd name="connsiteY10" fmla="*/ 137160 h 503380"/>
                <a:gd name="connsiteX11" fmla="*/ 709387 w 956275"/>
                <a:gd name="connsiteY11" fmla="*/ 137160 h 503380"/>
                <a:gd name="connsiteX12" fmla="*/ 617947 w 956275"/>
                <a:gd name="connsiteY12" fmla="*/ 137160 h 503380"/>
                <a:gd name="connsiteX13" fmla="*/ 563083 w 956275"/>
                <a:gd name="connsiteY13" fmla="*/ 146304 h 503380"/>
                <a:gd name="connsiteX14" fmla="*/ 553939 w 956275"/>
                <a:gd name="connsiteY14" fmla="*/ 155448 h 503380"/>
                <a:gd name="connsiteX15" fmla="*/ 535651 w 956275"/>
                <a:gd name="connsiteY15" fmla="*/ 146304 h 503380"/>
                <a:gd name="connsiteX16" fmla="*/ 663667 w 956275"/>
                <a:gd name="connsiteY16" fmla="*/ 91440 h 503380"/>
                <a:gd name="connsiteX17" fmla="*/ 718531 w 956275"/>
                <a:gd name="connsiteY17" fmla="*/ 91440 h 503380"/>
                <a:gd name="connsiteX18" fmla="*/ 809971 w 956275"/>
                <a:gd name="connsiteY18" fmla="*/ 82296 h 503380"/>
                <a:gd name="connsiteX19" fmla="*/ 937987 w 956275"/>
                <a:gd name="connsiteY19" fmla="*/ 27432 h 503380"/>
                <a:gd name="connsiteX20" fmla="*/ 919699 w 956275"/>
                <a:gd name="connsiteY20" fmla="*/ 0 h 503380"/>
                <a:gd name="connsiteX21" fmla="*/ 883123 w 956275"/>
                <a:gd name="connsiteY21" fmla="*/ 27432 h 503380"/>
                <a:gd name="connsiteX22" fmla="*/ 846547 w 956275"/>
                <a:gd name="connsiteY22" fmla="*/ 36576 h 503380"/>
                <a:gd name="connsiteX23" fmla="*/ 773395 w 956275"/>
                <a:gd name="connsiteY23" fmla="*/ 64008 h 503380"/>
                <a:gd name="connsiteX24" fmla="*/ 718531 w 956275"/>
                <a:gd name="connsiteY24" fmla="*/ 64008 h 503380"/>
                <a:gd name="connsiteX25" fmla="*/ 608803 w 956275"/>
                <a:gd name="connsiteY25" fmla="*/ 64008 h 503380"/>
                <a:gd name="connsiteX26" fmla="*/ 553939 w 956275"/>
                <a:gd name="connsiteY26" fmla="*/ 100584 h 503380"/>
                <a:gd name="connsiteX27" fmla="*/ 517363 w 956275"/>
                <a:gd name="connsiteY27" fmla="*/ 146304 h 503380"/>
                <a:gd name="connsiteX28" fmla="*/ 471643 w 956275"/>
                <a:gd name="connsiteY28" fmla="*/ 182880 h 503380"/>
                <a:gd name="connsiteX29" fmla="*/ 425923 w 956275"/>
                <a:gd name="connsiteY29" fmla="*/ 256032 h 503380"/>
                <a:gd name="connsiteX30" fmla="*/ 352771 w 956275"/>
                <a:gd name="connsiteY30" fmla="*/ 301752 h 503380"/>
                <a:gd name="connsiteX31" fmla="*/ 252187 w 956275"/>
                <a:gd name="connsiteY31" fmla="*/ 347472 h 503380"/>
                <a:gd name="connsiteX32" fmla="*/ 215611 w 956275"/>
                <a:gd name="connsiteY32" fmla="*/ 374904 h 503380"/>
                <a:gd name="connsiteX33" fmla="*/ 169891 w 956275"/>
                <a:gd name="connsiteY33" fmla="*/ 402336 h 503380"/>
                <a:gd name="connsiteX34" fmla="*/ 151603 w 956275"/>
                <a:gd name="connsiteY34" fmla="*/ 402336 h 503380"/>
                <a:gd name="connsiteX35" fmla="*/ 169891 w 956275"/>
                <a:gd name="connsiteY35" fmla="*/ 365760 h 503380"/>
                <a:gd name="connsiteX36" fmla="*/ 224755 w 956275"/>
                <a:gd name="connsiteY36" fmla="*/ 301752 h 503380"/>
                <a:gd name="connsiteX37" fmla="*/ 316195 w 956275"/>
                <a:gd name="connsiteY37" fmla="*/ 219456 h 503380"/>
                <a:gd name="connsiteX38" fmla="*/ 361915 w 956275"/>
                <a:gd name="connsiteY38" fmla="*/ 146304 h 503380"/>
                <a:gd name="connsiteX39" fmla="*/ 361915 w 956275"/>
                <a:gd name="connsiteY39" fmla="*/ 64008 h 503380"/>
                <a:gd name="connsiteX40" fmla="*/ 352771 w 956275"/>
                <a:gd name="connsiteY40" fmla="*/ 54864 h 503380"/>
                <a:gd name="connsiteX41" fmla="*/ 343627 w 956275"/>
                <a:gd name="connsiteY41" fmla="*/ 128016 h 503380"/>
                <a:gd name="connsiteX42" fmla="*/ 316195 w 956275"/>
                <a:gd name="connsiteY42" fmla="*/ 173736 h 503380"/>
                <a:gd name="connsiteX43" fmla="*/ 243043 w 956275"/>
                <a:gd name="connsiteY43" fmla="*/ 237744 h 503380"/>
                <a:gd name="connsiteX44" fmla="*/ 215611 w 956275"/>
                <a:gd name="connsiteY44" fmla="*/ 256032 h 503380"/>
                <a:gd name="connsiteX45" fmla="*/ 142459 w 956275"/>
                <a:gd name="connsiteY45" fmla="*/ 347472 h 503380"/>
                <a:gd name="connsiteX46" fmla="*/ 133315 w 956275"/>
                <a:gd name="connsiteY46" fmla="*/ 374904 h 503380"/>
                <a:gd name="connsiteX47" fmla="*/ 124171 w 956275"/>
                <a:gd name="connsiteY47" fmla="*/ 411480 h 503380"/>
                <a:gd name="connsiteX48" fmla="*/ 142459 w 956275"/>
                <a:gd name="connsiteY48" fmla="*/ 429768 h 503380"/>
                <a:gd name="connsiteX49" fmla="*/ 96739 w 956275"/>
                <a:gd name="connsiteY49" fmla="*/ 457200 h 503380"/>
                <a:gd name="connsiteX50" fmla="*/ 13820 w 956275"/>
                <a:gd name="connsiteY50" fmla="*/ 496783 h 503380"/>
                <a:gd name="connsiteX51" fmla="*/ 13820 w 956275"/>
                <a:gd name="connsiteY51" fmla="*/ 496784 h 503380"/>
                <a:gd name="connsiteX52" fmla="*/ 13820 w 956275"/>
                <a:gd name="connsiteY52" fmla="*/ 496784 h 503380"/>
                <a:gd name="connsiteX53" fmla="*/ 13820 w 956275"/>
                <a:gd name="connsiteY53" fmla="*/ 496784 h 503380"/>
                <a:gd name="connsiteX54" fmla="*/ 13820 w 956275"/>
                <a:gd name="connsiteY54" fmla="*/ 496784 h 503380"/>
                <a:gd name="connsiteX55" fmla="*/ 40672 w 956275"/>
                <a:gd name="connsiteY55" fmla="*/ 486851 h 503380"/>
                <a:gd name="connsiteX0" fmla="*/ 40672 w 956275"/>
                <a:gd name="connsiteY0" fmla="*/ 486851 h 503380"/>
                <a:gd name="connsiteX1" fmla="*/ 13820 w 956275"/>
                <a:gd name="connsiteY1" fmla="*/ 496784 h 503380"/>
                <a:gd name="connsiteX2" fmla="*/ 13820 w 956275"/>
                <a:gd name="connsiteY2" fmla="*/ 496784 h 503380"/>
                <a:gd name="connsiteX3" fmla="*/ 51019 w 956275"/>
                <a:gd name="connsiteY3" fmla="*/ 493776 h 503380"/>
                <a:gd name="connsiteX4" fmla="*/ 151603 w 956275"/>
                <a:gd name="connsiteY4" fmla="*/ 466344 h 503380"/>
                <a:gd name="connsiteX5" fmla="*/ 252187 w 956275"/>
                <a:gd name="connsiteY5" fmla="*/ 384048 h 503380"/>
                <a:gd name="connsiteX6" fmla="*/ 444211 w 956275"/>
                <a:gd name="connsiteY6" fmla="*/ 301752 h 503380"/>
                <a:gd name="connsiteX7" fmla="*/ 526507 w 956275"/>
                <a:gd name="connsiteY7" fmla="*/ 192024 h 503380"/>
                <a:gd name="connsiteX8" fmla="*/ 672811 w 956275"/>
                <a:gd name="connsiteY8" fmla="*/ 155448 h 503380"/>
                <a:gd name="connsiteX9" fmla="*/ 718531 w 956275"/>
                <a:gd name="connsiteY9" fmla="*/ 155448 h 503380"/>
                <a:gd name="connsiteX10" fmla="*/ 755107 w 956275"/>
                <a:gd name="connsiteY10" fmla="*/ 137160 h 503380"/>
                <a:gd name="connsiteX11" fmla="*/ 709387 w 956275"/>
                <a:gd name="connsiteY11" fmla="*/ 137160 h 503380"/>
                <a:gd name="connsiteX12" fmla="*/ 617947 w 956275"/>
                <a:gd name="connsiteY12" fmla="*/ 137160 h 503380"/>
                <a:gd name="connsiteX13" fmla="*/ 563083 w 956275"/>
                <a:gd name="connsiteY13" fmla="*/ 146304 h 503380"/>
                <a:gd name="connsiteX14" fmla="*/ 553939 w 956275"/>
                <a:gd name="connsiteY14" fmla="*/ 155448 h 503380"/>
                <a:gd name="connsiteX15" fmla="*/ 535651 w 956275"/>
                <a:gd name="connsiteY15" fmla="*/ 146304 h 503380"/>
                <a:gd name="connsiteX16" fmla="*/ 663667 w 956275"/>
                <a:gd name="connsiteY16" fmla="*/ 91440 h 503380"/>
                <a:gd name="connsiteX17" fmla="*/ 718531 w 956275"/>
                <a:gd name="connsiteY17" fmla="*/ 91440 h 503380"/>
                <a:gd name="connsiteX18" fmla="*/ 809971 w 956275"/>
                <a:gd name="connsiteY18" fmla="*/ 82296 h 503380"/>
                <a:gd name="connsiteX19" fmla="*/ 937987 w 956275"/>
                <a:gd name="connsiteY19" fmla="*/ 27432 h 503380"/>
                <a:gd name="connsiteX20" fmla="*/ 919699 w 956275"/>
                <a:gd name="connsiteY20" fmla="*/ 0 h 503380"/>
                <a:gd name="connsiteX21" fmla="*/ 883123 w 956275"/>
                <a:gd name="connsiteY21" fmla="*/ 27432 h 503380"/>
                <a:gd name="connsiteX22" fmla="*/ 846547 w 956275"/>
                <a:gd name="connsiteY22" fmla="*/ 36576 h 503380"/>
                <a:gd name="connsiteX23" fmla="*/ 773395 w 956275"/>
                <a:gd name="connsiteY23" fmla="*/ 64008 h 503380"/>
                <a:gd name="connsiteX24" fmla="*/ 718531 w 956275"/>
                <a:gd name="connsiteY24" fmla="*/ 64008 h 503380"/>
                <a:gd name="connsiteX25" fmla="*/ 608803 w 956275"/>
                <a:gd name="connsiteY25" fmla="*/ 64008 h 503380"/>
                <a:gd name="connsiteX26" fmla="*/ 553939 w 956275"/>
                <a:gd name="connsiteY26" fmla="*/ 100584 h 503380"/>
                <a:gd name="connsiteX27" fmla="*/ 517363 w 956275"/>
                <a:gd name="connsiteY27" fmla="*/ 146304 h 503380"/>
                <a:gd name="connsiteX28" fmla="*/ 471643 w 956275"/>
                <a:gd name="connsiteY28" fmla="*/ 182880 h 503380"/>
                <a:gd name="connsiteX29" fmla="*/ 425923 w 956275"/>
                <a:gd name="connsiteY29" fmla="*/ 256032 h 503380"/>
                <a:gd name="connsiteX30" fmla="*/ 352771 w 956275"/>
                <a:gd name="connsiteY30" fmla="*/ 301752 h 503380"/>
                <a:gd name="connsiteX31" fmla="*/ 252187 w 956275"/>
                <a:gd name="connsiteY31" fmla="*/ 347472 h 503380"/>
                <a:gd name="connsiteX32" fmla="*/ 215611 w 956275"/>
                <a:gd name="connsiteY32" fmla="*/ 374904 h 503380"/>
                <a:gd name="connsiteX33" fmla="*/ 169891 w 956275"/>
                <a:gd name="connsiteY33" fmla="*/ 402336 h 503380"/>
                <a:gd name="connsiteX34" fmla="*/ 151603 w 956275"/>
                <a:gd name="connsiteY34" fmla="*/ 402336 h 503380"/>
                <a:gd name="connsiteX35" fmla="*/ 169891 w 956275"/>
                <a:gd name="connsiteY35" fmla="*/ 365760 h 503380"/>
                <a:gd name="connsiteX36" fmla="*/ 224755 w 956275"/>
                <a:gd name="connsiteY36" fmla="*/ 301752 h 503380"/>
                <a:gd name="connsiteX37" fmla="*/ 316195 w 956275"/>
                <a:gd name="connsiteY37" fmla="*/ 219456 h 503380"/>
                <a:gd name="connsiteX38" fmla="*/ 361915 w 956275"/>
                <a:gd name="connsiteY38" fmla="*/ 146304 h 503380"/>
                <a:gd name="connsiteX39" fmla="*/ 361915 w 956275"/>
                <a:gd name="connsiteY39" fmla="*/ 64008 h 503380"/>
                <a:gd name="connsiteX40" fmla="*/ 352771 w 956275"/>
                <a:gd name="connsiteY40" fmla="*/ 54864 h 503380"/>
                <a:gd name="connsiteX41" fmla="*/ 343627 w 956275"/>
                <a:gd name="connsiteY41" fmla="*/ 128016 h 503380"/>
                <a:gd name="connsiteX42" fmla="*/ 316195 w 956275"/>
                <a:gd name="connsiteY42" fmla="*/ 173736 h 503380"/>
                <a:gd name="connsiteX43" fmla="*/ 243043 w 956275"/>
                <a:gd name="connsiteY43" fmla="*/ 237744 h 503380"/>
                <a:gd name="connsiteX44" fmla="*/ 215611 w 956275"/>
                <a:gd name="connsiteY44" fmla="*/ 256032 h 503380"/>
                <a:gd name="connsiteX45" fmla="*/ 142459 w 956275"/>
                <a:gd name="connsiteY45" fmla="*/ 347472 h 503380"/>
                <a:gd name="connsiteX46" fmla="*/ 133315 w 956275"/>
                <a:gd name="connsiteY46" fmla="*/ 374904 h 503380"/>
                <a:gd name="connsiteX47" fmla="*/ 124171 w 956275"/>
                <a:gd name="connsiteY47" fmla="*/ 411480 h 503380"/>
                <a:gd name="connsiteX48" fmla="*/ 142459 w 956275"/>
                <a:gd name="connsiteY48" fmla="*/ 429768 h 503380"/>
                <a:gd name="connsiteX49" fmla="*/ 96739 w 956275"/>
                <a:gd name="connsiteY49" fmla="*/ 457200 h 503380"/>
                <a:gd name="connsiteX50" fmla="*/ 13820 w 956275"/>
                <a:gd name="connsiteY50" fmla="*/ 496783 h 503380"/>
                <a:gd name="connsiteX51" fmla="*/ 13820 w 956275"/>
                <a:gd name="connsiteY51" fmla="*/ 496784 h 503380"/>
                <a:gd name="connsiteX52" fmla="*/ 13820 w 956275"/>
                <a:gd name="connsiteY52" fmla="*/ 496784 h 503380"/>
                <a:gd name="connsiteX53" fmla="*/ 13820 w 956275"/>
                <a:gd name="connsiteY53" fmla="*/ 496784 h 503380"/>
                <a:gd name="connsiteX54" fmla="*/ 13820 w 956275"/>
                <a:gd name="connsiteY54" fmla="*/ 496784 h 503380"/>
                <a:gd name="connsiteX55" fmla="*/ 40672 w 956275"/>
                <a:gd name="connsiteY55" fmla="*/ 486851 h 503380"/>
                <a:gd name="connsiteX0" fmla="*/ 114797 w 956275"/>
                <a:gd name="connsiteY0" fmla="*/ 504512 h 504512"/>
                <a:gd name="connsiteX1" fmla="*/ 13820 w 956275"/>
                <a:gd name="connsiteY1" fmla="*/ 496784 h 504512"/>
                <a:gd name="connsiteX2" fmla="*/ 13820 w 956275"/>
                <a:gd name="connsiteY2" fmla="*/ 496784 h 504512"/>
                <a:gd name="connsiteX3" fmla="*/ 51019 w 956275"/>
                <a:gd name="connsiteY3" fmla="*/ 493776 h 504512"/>
                <a:gd name="connsiteX4" fmla="*/ 151603 w 956275"/>
                <a:gd name="connsiteY4" fmla="*/ 466344 h 504512"/>
                <a:gd name="connsiteX5" fmla="*/ 252187 w 956275"/>
                <a:gd name="connsiteY5" fmla="*/ 384048 h 504512"/>
                <a:gd name="connsiteX6" fmla="*/ 444211 w 956275"/>
                <a:gd name="connsiteY6" fmla="*/ 301752 h 504512"/>
                <a:gd name="connsiteX7" fmla="*/ 526507 w 956275"/>
                <a:gd name="connsiteY7" fmla="*/ 192024 h 504512"/>
                <a:gd name="connsiteX8" fmla="*/ 672811 w 956275"/>
                <a:gd name="connsiteY8" fmla="*/ 155448 h 504512"/>
                <a:gd name="connsiteX9" fmla="*/ 718531 w 956275"/>
                <a:gd name="connsiteY9" fmla="*/ 155448 h 504512"/>
                <a:gd name="connsiteX10" fmla="*/ 755107 w 956275"/>
                <a:gd name="connsiteY10" fmla="*/ 137160 h 504512"/>
                <a:gd name="connsiteX11" fmla="*/ 709387 w 956275"/>
                <a:gd name="connsiteY11" fmla="*/ 137160 h 504512"/>
                <a:gd name="connsiteX12" fmla="*/ 617947 w 956275"/>
                <a:gd name="connsiteY12" fmla="*/ 137160 h 504512"/>
                <a:gd name="connsiteX13" fmla="*/ 563083 w 956275"/>
                <a:gd name="connsiteY13" fmla="*/ 146304 h 504512"/>
                <a:gd name="connsiteX14" fmla="*/ 553939 w 956275"/>
                <a:gd name="connsiteY14" fmla="*/ 155448 h 504512"/>
                <a:gd name="connsiteX15" fmla="*/ 535651 w 956275"/>
                <a:gd name="connsiteY15" fmla="*/ 146304 h 504512"/>
                <a:gd name="connsiteX16" fmla="*/ 663667 w 956275"/>
                <a:gd name="connsiteY16" fmla="*/ 91440 h 504512"/>
                <a:gd name="connsiteX17" fmla="*/ 718531 w 956275"/>
                <a:gd name="connsiteY17" fmla="*/ 91440 h 504512"/>
                <a:gd name="connsiteX18" fmla="*/ 809971 w 956275"/>
                <a:gd name="connsiteY18" fmla="*/ 82296 h 504512"/>
                <a:gd name="connsiteX19" fmla="*/ 937987 w 956275"/>
                <a:gd name="connsiteY19" fmla="*/ 27432 h 504512"/>
                <a:gd name="connsiteX20" fmla="*/ 919699 w 956275"/>
                <a:gd name="connsiteY20" fmla="*/ 0 h 504512"/>
                <a:gd name="connsiteX21" fmla="*/ 883123 w 956275"/>
                <a:gd name="connsiteY21" fmla="*/ 27432 h 504512"/>
                <a:gd name="connsiteX22" fmla="*/ 846547 w 956275"/>
                <a:gd name="connsiteY22" fmla="*/ 36576 h 504512"/>
                <a:gd name="connsiteX23" fmla="*/ 773395 w 956275"/>
                <a:gd name="connsiteY23" fmla="*/ 64008 h 504512"/>
                <a:gd name="connsiteX24" fmla="*/ 718531 w 956275"/>
                <a:gd name="connsiteY24" fmla="*/ 64008 h 504512"/>
                <a:gd name="connsiteX25" fmla="*/ 608803 w 956275"/>
                <a:gd name="connsiteY25" fmla="*/ 64008 h 504512"/>
                <a:gd name="connsiteX26" fmla="*/ 553939 w 956275"/>
                <a:gd name="connsiteY26" fmla="*/ 100584 h 504512"/>
                <a:gd name="connsiteX27" fmla="*/ 517363 w 956275"/>
                <a:gd name="connsiteY27" fmla="*/ 146304 h 504512"/>
                <a:gd name="connsiteX28" fmla="*/ 471643 w 956275"/>
                <a:gd name="connsiteY28" fmla="*/ 182880 h 504512"/>
                <a:gd name="connsiteX29" fmla="*/ 425923 w 956275"/>
                <a:gd name="connsiteY29" fmla="*/ 256032 h 504512"/>
                <a:gd name="connsiteX30" fmla="*/ 352771 w 956275"/>
                <a:gd name="connsiteY30" fmla="*/ 301752 h 504512"/>
                <a:gd name="connsiteX31" fmla="*/ 252187 w 956275"/>
                <a:gd name="connsiteY31" fmla="*/ 347472 h 504512"/>
                <a:gd name="connsiteX32" fmla="*/ 215611 w 956275"/>
                <a:gd name="connsiteY32" fmla="*/ 374904 h 504512"/>
                <a:gd name="connsiteX33" fmla="*/ 169891 w 956275"/>
                <a:gd name="connsiteY33" fmla="*/ 402336 h 504512"/>
                <a:gd name="connsiteX34" fmla="*/ 151603 w 956275"/>
                <a:gd name="connsiteY34" fmla="*/ 402336 h 504512"/>
                <a:gd name="connsiteX35" fmla="*/ 169891 w 956275"/>
                <a:gd name="connsiteY35" fmla="*/ 365760 h 504512"/>
                <a:gd name="connsiteX36" fmla="*/ 224755 w 956275"/>
                <a:gd name="connsiteY36" fmla="*/ 301752 h 504512"/>
                <a:gd name="connsiteX37" fmla="*/ 316195 w 956275"/>
                <a:gd name="connsiteY37" fmla="*/ 219456 h 504512"/>
                <a:gd name="connsiteX38" fmla="*/ 361915 w 956275"/>
                <a:gd name="connsiteY38" fmla="*/ 146304 h 504512"/>
                <a:gd name="connsiteX39" fmla="*/ 361915 w 956275"/>
                <a:gd name="connsiteY39" fmla="*/ 64008 h 504512"/>
                <a:gd name="connsiteX40" fmla="*/ 352771 w 956275"/>
                <a:gd name="connsiteY40" fmla="*/ 54864 h 504512"/>
                <a:gd name="connsiteX41" fmla="*/ 343627 w 956275"/>
                <a:gd name="connsiteY41" fmla="*/ 128016 h 504512"/>
                <a:gd name="connsiteX42" fmla="*/ 316195 w 956275"/>
                <a:gd name="connsiteY42" fmla="*/ 173736 h 504512"/>
                <a:gd name="connsiteX43" fmla="*/ 243043 w 956275"/>
                <a:gd name="connsiteY43" fmla="*/ 237744 h 504512"/>
                <a:gd name="connsiteX44" fmla="*/ 215611 w 956275"/>
                <a:gd name="connsiteY44" fmla="*/ 256032 h 504512"/>
                <a:gd name="connsiteX45" fmla="*/ 142459 w 956275"/>
                <a:gd name="connsiteY45" fmla="*/ 347472 h 504512"/>
                <a:gd name="connsiteX46" fmla="*/ 133315 w 956275"/>
                <a:gd name="connsiteY46" fmla="*/ 374904 h 504512"/>
                <a:gd name="connsiteX47" fmla="*/ 124171 w 956275"/>
                <a:gd name="connsiteY47" fmla="*/ 411480 h 504512"/>
                <a:gd name="connsiteX48" fmla="*/ 142459 w 956275"/>
                <a:gd name="connsiteY48" fmla="*/ 429768 h 504512"/>
                <a:gd name="connsiteX49" fmla="*/ 96739 w 956275"/>
                <a:gd name="connsiteY49" fmla="*/ 457200 h 504512"/>
                <a:gd name="connsiteX50" fmla="*/ 13820 w 956275"/>
                <a:gd name="connsiteY50" fmla="*/ 496783 h 504512"/>
                <a:gd name="connsiteX51" fmla="*/ 13820 w 956275"/>
                <a:gd name="connsiteY51" fmla="*/ 496784 h 504512"/>
                <a:gd name="connsiteX52" fmla="*/ 13820 w 956275"/>
                <a:gd name="connsiteY52" fmla="*/ 496784 h 504512"/>
                <a:gd name="connsiteX53" fmla="*/ 13820 w 956275"/>
                <a:gd name="connsiteY53" fmla="*/ 496784 h 504512"/>
                <a:gd name="connsiteX54" fmla="*/ 13820 w 956275"/>
                <a:gd name="connsiteY54" fmla="*/ 496784 h 504512"/>
                <a:gd name="connsiteX55" fmla="*/ 114797 w 956275"/>
                <a:gd name="connsiteY55" fmla="*/ 504512 h 504512"/>
                <a:gd name="connsiteX0" fmla="*/ 114797 w 956275"/>
                <a:gd name="connsiteY0" fmla="*/ 504512 h 505800"/>
                <a:gd name="connsiteX1" fmla="*/ 13820 w 956275"/>
                <a:gd name="connsiteY1" fmla="*/ 496784 h 505800"/>
                <a:gd name="connsiteX2" fmla="*/ 13820 w 956275"/>
                <a:gd name="connsiteY2" fmla="*/ 496784 h 505800"/>
                <a:gd name="connsiteX3" fmla="*/ 51019 w 956275"/>
                <a:gd name="connsiteY3" fmla="*/ 493776 h 505800"/>
                <a:gd name="connsiteX4" fmla="*/ 151603 w 956275"/>
                <a:gd name="connsiteY4" fmla="*/ 466344 h 505800"/>
                <a:gd name="connsiteX5" fmla="*/ 252187 w 956275"/>
                <a:gd name="connsiteY5" fmla="*/ 384048 h 505800"/>
                <a:gd name="connsiteX6" fmla="*/ 444211 w 956275"/>
                <a:gd name="connsiteY6" fmla="*/ 301752 h 505800"/>
                <a:gd name="connsiteX7" fmla="*/ 526507 w 956275"/>
                <a:gd name="connsiteY7" fmla="*/ 192024 h 505800"/>
                <a:gd name="connsiteX8" fmla="*/ 672811 w 956275"/>
                <a:gd name="connsiteY8" fmla="*/ 155448 h 505800"/>
                <a:gd name="connsiteX9" fmla="*/ 718531 w 956275"/>
                <a:gd name="connsiteY9" fmla="*/ 155448 h 505800"/>
                <a:gd name="connsiteX10" fmla="*/ 755107 w 956275"/>
                <a:gd name="connsiteY10" fmla="*/ 137160 h 505800"/>
                <a:gd name="connsiteX11" fmla="*/ 709387 w 956275"/>
                <a:gd name="connsiteY11" fmla="*/ 137160 h 505800"/>
                <a:gd name="connsiteX12" fmla="*/ 617947 w 956275"/>
                <a:gd name="connsiteY12" fmla="*/ 137160 h 505800"/>
                <a:gd name="connsiteX13" fmla="*/ 563083 w 956275"/>
                <a:gd name="connsiteY13" fmla="*/ 146304 h 505800"/>
                <a:gd name="connsiteX14" fmla="*/ 553939 w 956275"/>
                <a:gd name="connsiteY14" fmla="*/ 155448 h 505800"/>
                <a:gd name="connsiteX15" fmla="*/ 535651 w 956275"/>
                <a:gd name="connsiteY15" fmla="*/ 146304 h 505800"/>
                <a:gd name="connsiteX16" fmla="*/ 663667 w 956275"/>
                <a:gd name="connsiteY16" fmla="*/ 91440 h 505800"/>
                <a:gd name="connsiteX17" fmla="*/ 718531 w 956275"/>
                <a:gd name="connsiteY17" fmla="*/ 91440 h 505800"/>
                <a:gd name="connsiteX18" fmla="*/ 809971 w 956275"/>
                <a:gd name="connsiteY18" fmla="*/ 82296 h 505800"/>
                <a:gd name="connsiteX19" fmla="*/ 937987 w 956275"/>
                <a:gd name="connsiteY19" fmla="*/ 27432 h 505800"/>
                <a:gd name="connsiteX20" fmla="*/ 919699 w 956275"/>
                <a:gd name="connsiteY20" fmla="*/ 0 h 505800"/>
                <a:gd name="connsiteX21" fmla="*/ 883123 w 956275"/>
                <a:gd name="connsiteY21" fmla="*/ 27432 h 505800"/>
                <a:gd name="connsiteX22" fmla="*/ 846547 w 956275"/>
                <a:gd name="connsiteY22" fmla="*/ 36576 h 505800"/>
                <a:gd name="connsiteX23" fmla="*/ 773395 w 956275"/>
                <a:gd name="connsiteY23" fmla="*/ 64008 h 505800"/>
                <a:gd name="connsiteX24" fmla="*/ 718531 w 956275"/>
                <a:gd name="connsiteY24" fmla="*/ 64008 h 505800"/>
                <a:gd name="connsiteX25" fmla="*/ 608803 w 956275"/>
                <a:gd name="connsiteY25" fmla="*/ 64008 h 505800"/>
                <a:gd name="connsiteX26" fmla="*/ 553939 w 956275"/>
                <a:gd name="connsiteY26" fmla="*/ 100584 h 505800"/>
                <a:gd name="connsiteX27" fmla="*/ 517363 w 956275"/>
                <a:gd name="connsiteY27" fmla="*/ 146304 h 505800"/>
                <a:gd name="connsiteX28" fmla="*/ 471643 w 956275"/>
                <a:gd name="connsiteY28" fmla="*/ 182880 h 505800"/>
                <a:gd name="connsiteX29" fmla="*/ 425923 w 956275"/>
                <a:gd name="connsiteY29" fmla="*/ 256032 h 505800"/>
                <a:gd name="connsiteX30" fmla="*/ 352771 w 956275"/>
                <a:gd name="connsiteY30" fmla="*/ 301752 h 505800"/>
                <a:gd name="connsiteX31" fmla="*/ 252187 w 956275"/>
                <a:gd name="connsiteY31" fmla="*/ 347472 h 505800"/>
                <a:gd name="connsiteX32" fmla="*/ 215611 w 956275"/>
                <a:gd name="connsiteY32" fmla="*/ 374904 h 505800"/>
                <a:gd name="connsiteX33" fmla="*/ 169891 w 956275"/>
                <a:gd name="connsiteY33" fmla="*/ 402336 h 505800"/>
                <a:gd name="connsiteX34" fmla="*/ 151603 w 956275"/>
                <a:gd name="connsiteY34" fmla="*/ 402336 h 505800"/>
                <a:gd name="connsiteX35" fmla="*/ 169891 w 956275"/>
                <a:gd name="connsiteY35" fmla="*/ 365760 h 505800"/>
                <a:gd name="connsiteX36" fmla="*/ 224755 w 956275"/>
                <a:gd name="connsiteY36" fmla="*/ 301752 h 505800"/>
                <a:gd name="connsiteX37" fmla="*/ 316195 w 956275"/>
                <a:gd name="connsiteY37" fmla="*/ 219456 h 505800"/>
                <a:gd name="connsiteX38" fmla="*/ 361915 w 956275"/>
                <a:gd name="connsiteY38" fmla="*/ 146304 h 505800"/>
                <a:gd name="connsiteX39" fmla="*/ 361915 w 956275"/>
                <a:gd name="connsiteY39" fmla="*/ 64008 h 505800"/>
                <a:gd name="connsiteX40" fmla="*/ 352771 w 956275"/>
                <a:gd name="connsiteY40" fmla="*/ 54864 h 505800"/>
                <a:gd name="connsiteX41" fmla="*/ 343627 w 956275"/>
                <a:gd name="connsiteY41" fmla="*/ 128016 h 505800"/>
                <a:gd name="connsiteX42" fmla="*/ 316195 w 956275"/>
                <a:gd name="connsiteY42" fmla="*/ 173736 h 505800"/>
                <a:gd name="connsiteX43" fmla="*/ 243043 w 956275"/>
                <a:gd name="connsiteY43" fmla="*/ 237744 h 505800"/>
                <a:gd name="connsiteX44" fmla="*/ 215611 w 956275"/>
                <a:gd name="connsiteY44" fmla="*/ 256032 h 505800"/>
                <a:gd name="connsiteX45" fmla="*/ 142459 w 956275"/>
                <a:gd name="connsiteY45" fmla="*/ 347472 h 505800"/>
                <a:gd name="connsiteX46" fmla="*/ 133315 w 956275"/>
                <a:gd name="connsiteY46" fmla="*/ 374904 h 505800"/>
                <a:gd name="connsiteX47" fmla="*/ 124171 w 956275"/>
                <a:gd name="connsiteY47" fmla="*/ 411480 h 505800"/>
                <a:gd name="connsiteX48" fmla="*/ 142459 w 956275"/>
                <a:gd name="connsiteY48" fmla="*/ 429768 h 505800"/>
                <a:gd name="connsiteX49" fmla="*/ 96739 w 956275"/>
                <a:gd name="connsiteY49" fmla="*/ 457200 h 505800"/>
                <a:gd name="connsiteX50" fmla="*/ 13820 w 956275"/>
                <a:gd name="connsiteY50" fmla="*/ 496783 h 505800"/>
                <a:gd name="connsiteX51" fmla="*/ 13820 w 956275"/>
                <a:gd name="connsiteY51" fmla="*/ 496784 h 505800"/>
                <a:gd name="connsiteX52" fmla="*/ 13820 w 956275"/>
                <a:gd name="connsiteY52" fmla="*/ 496784 h 505800"/>
                <a:gd name="connsiteX53" fmla="*/ 13820 w 956275"/>
                <a:gd name="connsiteY53" fmla="*/ 496784 h 505800"/>
                <a:gd name="connsiteX54" fmla="*/ 114796 w 956275"/>
                <a:gd name="connsiteY54" fmla="*/ 504511 h 505800"/>
                <a:gd name="connsiteX55" fmla="*/ 114797 w 956275"/>
                <a:gd name="connsiteY55" fmla="*/ 504512 h 505800"/>
                <a:gd name="connsiteX0" fmla="*/ 114797 w 956275"/>
                <a:gd name="connsiteY0" fmla="*/ 504512 h 505800"/>
                <a:gd name="connsiteX1" fmla="*/ 13820 w 956275"/>
                <a:gd name="connsiteY1" fmla="*/ 496784 h 505800"/>
                <a:gd name="connsiteX2" fmla="*/ 13820 w 956275"/>
                <a:gd name="connsiteY2" fmla="*/ 496784 h 505800"/>
                <a:gd name="connsiteX3" fmla="*/ 51019 w 956275"/>
                <a:gd name="connsiteY3" fmla="*/ 493776 h 505800"/>
                <a:gd name="connsiteX4" fmla="*/ 151603 w 956275"/>
                <a:gd name="connsiteY4" fmla="*/ 466344 h 505800"/>
                <a:gd name="connsiteX5" fmla="*/ 252187 w 956275"/>
                <a:gd name="connsiteY5" fmla="*/ 384048 h 505800"/>
                <a:gd name="connsiteX6" fmla="*/ 444211 w 956275"/>
                <a:gd name="connsiteY6" fmla="*/ 301752 h 505800"/>
                <a:gd name="connsiteX7" fmla="*/ 526507 w 956275"/>
                <a:gd name="connsiteY7" fmla="*/ 192024 h 505800"/>
                <a:gd name="connsiteX8" fmla="*/ 672811 w 956275"/>
                <a:gd name="connsiteY8" fmla="*/ 155448 h 505800"/>
                <a:gd name="connsiteX9" fmla="*/ 718531 w 956275"/>
                <a:gd name="connsiteY9" fmla="*/ 155448 h 505800"/>
                <a:gd name="connsiteX10" fmla="*/ 755107 w 956275"/>
                <a:gd name="connsiteY10" fmla="*/ 137160 h 505800"/>
                <a:gd name="connsiteX11" fmla="*/ 709387 w 956275"/>
                <a:gd name="connsiteY11" fmla="*/ 137160 h 505800"/>
                <a:gd name="connsiteX12" fmla="*/ 617947 w 956275"/>
                <a:gd name="connsiteY12" fmla="*/ 137160 h 505800"/>
                <a:gd name="connsiteX13" fmla="*/ 563083 w 956275"/>
                <a:gd name="connsiteY13" fmla="*/ 146304 h 505800"/>
                <a:gd name="connsiteX14" fmla="*/ 553939 w 956275"/>
                <a:gd name="connsiteY14" fmla="*/ 155448 h 505800"/>
                <a:gd name="connsiteX15" fmla="*/ 535651 w 956275"/>
                <a:gd name="connsiteY15" fmla="*/ 146304 h 505800"/>
                <a:gd name="connsiteX16" fmla="*/ 663667 w 956275"/>
                <a:gd name="connsiteY16" fmla="*/ 91440 h 505800"/>
                <a:gd name="connsiteX17" fmla="*/ 718531 w 956275"/>
                <a:gd name="connsiteY17" fmla="*/ 91440 h 505800"/>
                <a:gd name="connsiteX18" fmla="*/ 809971 w 956275"/>
                <a:gd name="connsiteY18" fmla="*/ 82296 h 505800"/>
                <a:gd name="connsiteX19" fmla="*/ 937987 w 956275"/>
                <a:gd name="connsiteY19" fmla="*/ 27432 h 505800"/>
                <a:gd name="connsiteX20" fmla="*/ 919699 w 956275"/>
                <a:gd name="connsiteY20" fmla="*/ 0 h 505800"/>
                <a:gd name="connsiteX21" fmla="*/ 883123 w 956275"/>
                <a:gd name="connsiteY21" fmla="*/ 27432 h 505800"/>
                <a:gd name="connsiteX22" fmla="*/ 846547 w 956275"/>
                <a:gd name="connsiteY22" fmla="*/ 36576 h 505800"/>
                <a:gd name="connsiteX23" fmla="*/ 773395 w 956275"/>
                <a:gd name="connsiteY23" fmla="*/ 64008 h 505800"/>
                <a:gd name="connsiteX24" fmla="*/ 718531 w 956275"/>
                <a:gd name="connsiteY24" fmla="*/ 64008 h 505800"/>
                <a:gd name="connsiteX25" fmla="*/ 608803 w 956275"/>
                <a:gd name="connsiteY25" fmla="*/ 64008 h 505800"/>
                <a:gd name="connsiteX26" fmla="*/ 553939 w 956275"/>
                <a:gd name="connsiteY26" fmla="*/ 100584 h 505800"/>
                <a:gd name="connsiteX27" fmla="*/ 517363 w 956275"/>
                <a:gd name="connsiteY27" fmla="*/ 146304 h 505800"/>
                <a:gd name="connsiteX28" fmla="*/ 471643 w 956275"/>
                <a:gd name="connsiteY28" fmla="*/ 182880 h 505800"/>
                <a:gd name="connsiteX29" fmla="*/ 425923 w 956275"/>
                <a:gd name="connsiteY29" fmla="*/ 256032 h 505800"/>
                <a:gd name="connsiteX30" fmla="*/ 352771 w 956275"/>
                <a:gd name="connsiteY30" fmla="*/ 301752 h 505800"/>
                <a:gd name="connsiteX31" fmla="*/ 252187 w 956275"/>
                <a:gd name="connsiteY31" fmla="*/ 347472 h 505800"/>
                <a:gd name="connsiteX32" fmla="*/ 215611 w 956275"/>
                <a:gd name="connsiteY32" fmla="*/ 374904 h 505800"/>
                <a:gd name="connsiteX33" fmla="*/ 169891 w 956275"/>
                <a:gd name="connsiteY33" fmla="*/ 402336 h 505800"/>
                <a:gd name="connsiteX34" fmla="*/ 151603 w 956275"/>
                <a:gd name="connsiteY34" fmla="*/ 402336 h 505800"/>
                <a:gd name="connsiteX35" fmla="*/ 169891 w 956275"/>
                <a:gd name="connsiteY35" fmla="*/ 365760 h 505800"/>
                <a:gd name="connsiteX36" fmla="*/ 224755 w 956275"/>
                <a:gd name="connsiteY36" fmla="*/ 301752 h 505800"/>
                <a:gd name="connsiteX37" fmla="*/ 316195 w 956275"/>
                <a:gd name="connsiteY37" fmla="*/ 219456 h 505800"/>
                <a:gd name="connsiteX38" fmla="*/ 361915 w 956275"/>
                <a:gd name="connsiteY38" fmla="*/ 146304 h 505800"/>
                <a:gd name="connsiteX39" fmla="*/ 361915 w 956275"/>
                <a:gd name="connsiteY39" fmla="*/ 64008 h 505800"/>
                <a:gd name="connsiteX40" fmla="*/ 352771 w 956275"/>
                <a:gd name="connsiteY40" fmla="*/ 54864 h 505800"/>
                <a:gd name="connsiteX41" fmla="*/ 343627 w 956275"/>
                <a:gd name="connsiteY41" fmla="*/ 128016 h 505800"/>
                <a:gd name="connsiteX42" fmla="*/ 316195 w 956275"/>
                <a:gd name="connsiteY42" fmla="*/ 173736 h 505800"/>
                <a:gd name="connsiteX43" fmla="*/ 243043 w 956275"/>
                <a:gd name="connsiteY43" fmla="*/ 237744 h 505800"/>
                <a:gd name="connsiteX44" fmla="*/ 215611 w 956275"/>
                <a:gd name="connsiteY44" fmla="*/ 256032 h 505800"/>
                <a:gd name="connsiteX45" fmla="*/ 142459 w 956275"/>
                <a:gd name="connsiteY45" fmla="*/ 347472 h 505800"/>
                <a:gd name="connsiteX46" fmla="*/ 133315 w 956275"/>
                <a:gd name="connsiteY46" fmla="*/ 374904 h 505800"/>
                <a:gd name="connsiteX47" fmla="*/ 124171 w 956275"/>
                <a:gd name="connsiteY47" fmla="*/ 411480 h 505800"/>
                <a:gd name="connsiteX48" fmla="*/ 142459 w 956275"/>
                <a:gd name="connsiteY48" fmla="*/ 429768 h 505800"/>
                <a:gd name="connsiteX49" fmla="*/ 96739 w 956275"/>
                <a:gd name="connsiteY49" fmla="*/ 457200 h 505800"/>
                <a:gd name="connsiteX50" fmla="*/ 13820 w 956275"/>
                <a:gd name="connsiteY50" fmla="*/ 496783 h 505800"/>
                <a:gd name="connsiteX51" fmla="*/ 13820 w 956275"/>
                <a:gd name="connsiteY51" fmla="*/ 496784 h 505800"/>
                <a:gd name="connsiteX52" fmla="*/ 13820 w 956275"/>
                <a:gd name="connsiteY52" fmla="*/ 496784 h 505800"/>
                <a:gd name="connsiteX53" fmla="*/ 132458 w 956275"/>
                <a:gd name="connsiteY53" fmla="*/ 430387 h 505800"/>
                <a:gd name="connsiteX54" fmla="*/ 114796 w 956275"/>
                <a:gd name="connsiteY54" fmla="*/ 504511 h 505800"/>
                <a:gd name="connsiteX55" fmla="*/ 114797 w 956275"/>
                <a:gd name="connsiteY55" fmla="*/ 504512 h 505800"/>
                <a:gd name="connsiteX0" fmla="*/ 114798 w 956275"/>
                <a:gd name="connsiteY0" fmla="*/ 504512 h 505800"/>
                <a:gd name="connsiteX1" fmla="*/ 13820 w 956275"/>
                <a:gd name="connsiteY1" fmla="*/ 496784 h 505800"/>
                <a:gd name="connsiteX2" fmla="*/ 13820 w 956275"/>
                <a:gd name="connsiteY2" fmla="*/ 496784 h 505800"/>
                <a:gd name="connsiteX3" fmla="*/ 51019 w 956275"/>
                <a:gd name="connsiteY3" fmla="*/ 493776 h 505800"/>
                <a:gd name="connsiteX4" fmla="*/ 151603 w 956275"/>
                <a:gd name="connsiteY4" fmla="*/ 466344 h 505800"/>
                <a:gd name="connsiteX5" fmla="*/ 252187 w 956275"/>
                <a:gd name="connsiteY5" fmla="*/ 384048 h 505800"/>
                <a:gd name="connsiteX6" fmla="*/ 444211 w 956275"/>
                <a:gd name="connsiteY6" fmla="*/ 301752 h 505800"/>
                <a:gd name="connsiteX7" fmla="*/ 526507 w 956275"/>
                <a:gd name="connsiteY7" fmla="*/ 192024 h 505800"/>
                <a:gd name="connsiteX8" fmla="*/ 672811 w 956275"/>
                <a:gd name="connsiteY8" fmla="*/ 155448 h 505800"/>
                <a:gd name="connsiteX9" fmla="*/ 718531 w 956275"/>
                <a:gd name="connsiteY9" fmla="*/ 155448 h 505800"/>
                <a:gd name="connsiteX10" fmla="*/ 755107 w 956275"/>
                <a:gd name="connsiteY10" fmla="*/ 137160 h 505800"/>
                <a:gd name="connsiteX11" fmla="*/ 709387 w 956275"/>
                <a:gd name="connsiteY11" fmla="*/ 137160 h 505800"/>
                <a:gd name="connsiteX12" fmla="*/ 617947 w 956275"/>
                <a:gd name="connsiteY12" fmla="*/ 137160 h 505800"/>
                <a:gd name="connsiteX13" fmla="*/ 563083 w 956275"/>
                <a:gd name="connsiteY13" fmla="*/ 146304 h 505800"/>
                <a:gd name="connsiteX14" fmla="*/ 553939 w 956275"/>
                <a:gd name="connsiteY14" fmla="*/ 155448 h 505800"/>
                <a:gd name="connsiteX15" fmla="*/ 535651 w 956275"/>
                <a:gd name="connsiteY15" fmla="*/ 146304 h 505800"/>
                <a:gd name="connsiteX16" fmla="*/ 663667 w 956275"/>
                <a:gd name="connsiteY16" fmla="*/ 91440 h 505800"/>
                <a:gd name="connsiteX17" fmla="*/ 718531 w 956275"/>
                <a:gd name="connsiteY17" fmla="*/ 91440 h 505800"/>
                <a:gd name="connsiteX18" fmla="*/ 809971 w 956275"/>
                <a:gd name="connsiteY18" fmla="*/ 82296 h 505800"/>
                <a:gd name="connsiteX19" fmla="*/ 937987 w 956275"/>
                <a:gd name="connsiteY19" fmla="*/ 27432 h 505800"/>
                <a:gd name="connsiteX20" fmla="*/ 919699 w 956275"/>
                <a:gd name="connsiteY20" fmla="*/ 0 h 505800"/>
                <a:gd name="connsiteX21" fmla="*/ 883123 w 956275"/>
                <a:gd name="connsiteY21" fmla="*/ 27432 h 505800"/>
                <a:gd name="connsiteX22" fmla="*/ 846547 w 956275"/>
                <a:gd name="connsiteY22" fmla="*/ 36576 h 505800"/>
                <a:gd name="connsiteX23" fmla="*/ 773395 w 956275"/>
                <a:gd name="connsiteY23" fmla="*/ 64008 h 505800"/>
                <a:gd name="connsiteX24" fmla="*/ 718531 w 956275"/>
                <a:gd name="connsiteY24" fmla="*/ 64008 h 505800"/>
                <a:gd name="connsiteX25" fmla="*/ 608803 w 956275"/>
                <a:gd name="connsiteY25" fmla="*/ 64008 h 505800"/>
                <a:gd name="connsiteX26" fmla="*/ 553939 w 956275"/>
                <a:gd name="connsiteY26" fmla="*/ 100584 h 505800"/>
                <a:gd name="connsiteX27" fmla="*/ 517363 w 956275"/>
                <a:gd name="connsiteY27" fmla="*/ 146304 h 505800"/>
                <a:gd name="connsiteX28" fmla="*/ 471643 w 956275"/>
                <a:gd name="connsiteY28" fmla="*/ 182880 h 505800"/>
                <a:gd name="connsiteX29" fmla="*/ 425923 w 956275"/>
                <a:gd name="connsiteY29" fmla="*/ 256032 h 505800"/>
                <a:gd name="connsiteX30" fmla="*/ 352771 w 956275"/>
                <a:gd name="connsiteY30" fmla="*/ 301752 h 505800"/>
                <a:gd name="connsiteX31" fmla="*/ 252187 w 956275"/>
                <a:gd name="connsiteY31" fmla="*/ 347472 h 505800"/>
                <a:gd name="connsiteX32" fmla="*/ 215611 w 956275"/>
                <a:gd name="connsiteY32" fmla="*/ 374904 h 505800"/>
                <a:gd name="connsiteX33" fmla="*/ 169891 w 956275"/>
                <a:gd name="connsiteY33" fmla="*/ 402336 h 505800"/>
                <a:gd name="connsiteX34" fmla="*/ 151603 w 956275"/>
                <a:gd name="connsiteY34" fmla="*/ 402336 h 505800"/>
                <a:gd name="connsiteX35" fmla="*/ 169891 w 956275"/>
                <a:gd name="connsiteY35" fmla="*/ 365760 h 505800"/>
                <a:gd name="connsiteX36" fmla="*/ 224755 w 956275"/>
                <a:gd name="connsiteY36" fmla="*/ 301752 h 505800"/>
                <a:gd name="connsiteX37" fmla="*/ 316195 w 956275"/>
                <a:gd name="connsiteY37" fmla="*/ 219456 h 505800"/>
                <a:gd name="connsiteX38" fmla="*/ 361915 w 956275"/>
                <a:gd name="connsiteY38" fmla="*/ 146304 h 505800"/>
                <a:gd name="connsiteX39" fmla="*/ 361915 w 956275"/>
                <a:gd name="connsiteY39" fmla="*/ 64008 h 505800"/>
                <a:gd name="connsiteX40" fmla="*/ 352771 w 956275"/>
                <a:gd name="connsiteY40" fmla="*/ 54864 h 505800"/>
                <a:gd name="connsiteX41" fmla="*/ 343627 w 956275"/>
                <a:gd name="connsiteY41" fmla="*/ 128016 h 505800"/>
                <a:gd name="connsiteX42" fmla="*/ 316195 w 956275"/>
                <a:gd name="connsiteY42" fmla="*/ 173736 h 505800"/>
                <a:gd name="connsiteX43" fmla="*/ 243043 w 956275"/>
                <a:gd name="connsiteY43" fmla="*/ 237744 h 505800"/>
                <a:gd name="connsiteX44" fmla="*/ 215611 w 956275"/>
                <a:gd name="connsiteY44" fmla="*/ 256032 h 505800"/>
                <a:gd name="connsiteX45" fmla="*/ 142459 w 956275"/>
                <a:gd name="connsiteY45" fmla="*/ 347472 h 505800"/>
                <a:gd name="connsiteX46" fmla="*/ 133315 w 956275"/>
                <a:gd name="connsiteY46" fmla="*/ 374904 h 505800"/>
                <a:gd name="connsiteX47" fmla="*/ 124171 w 956275"/>
                <a:gd name="connsiteY47" fmla="*/ 411480 h 505800"/>
                <a:gd name="connsiteX48" fmla="*/ 142459 w 956275"/>
                <a:gd name="connsiteY48" fmla="*/ 429768 h 505800"/>
                <a:gd name="connsiteX49" fmla="*/ 96739 w 956275"/>
                <a:gd name="connsiteY49" fmla="*/ 457200 h 505800"/>
                <a:gd name="connsiteX50" fmla="*/ 13820 w 956275"/>
                <a:gd name="connsiteY50" fmla="*/ 496783 h 505800"/>
                <a:gd name="connsiteX51" fmla="*/ 13820 w 956275"/>
                <a:gd name="connsiteY51" fmla="*/ 496784 h 505800"/>
                <a:gd name="connsiteX52" fmla="*/ 13820 w 956275"/>
                <a:gd name="connsiteY52" fmla="*/ 496784 h 505800"/>
                <a:gd name="connsiteX53" fmla="*/ 132458 w 956275"/>
                <a:gd name="connsiteY53" fmla="*/ 430387 h 505800"/>
                <a:gd name="connsiteX54" fmla="*/ 114796 w 956275"/>
                <a:gd name="connsiteY54" fmla="*/ 504511 h 505800"/>
                <a:gd name="connsiteX55" fmla="*/ 114798 w 956275"/>
                <a:gd name="connsiteY55" fmla="*/ 504512 h 505800"/>
                <a:gd name="connsiteX0" fmla="*/ 40672 w 956275"/>
                <a:gd name="connsiteY0" fmla="*/ 486852 h 504511"/>
                <a:gd name="connsiteX1" fmla="*/ 13820 w 956275"/>
                <a:gd name="connsiteY1" fmla="*/ 496784 h 504511"/>
                <a:gd name="connsiteX2" fmla="*/ 13820 w 956275"/>
                <a:gd name="connsiteY2" fmla="*/ 496784 h 504511"/>
                <a:gd name="connsiteX3" fmla="*/ 51019 w 956275"/>
                <a:gd name="connsiteY3" fmla="*/ 493776 h 504511"/>
                <a:gd name="connsiteX4" fmla="*/ 151603 w 956275"/>
                <a:gd name="connsiteY4" fmla="*/ 466344 h 504511"/>
                <a:gd name="connsiteX5" fmla="*/ 252187 w 956275"/>
                <a:gd name="connsiteY5" fmla="*/ 384048 h 504511"/>
                <a:gd name="connsiteX6" fmla="*/ 444211 w 956275"/>
                <a:gd name="connsiteY6" fmla="*/ 301752 h 504511"/>
                <a:gd name="connsiteX7" fmla="*/ 526507 w 956275"/>
                <a:gd name="connsiteY7" fmla="*/ 192024 h 504511"/>
                <a:gd name="connsiteX8" fmla="*/ 672811 w 956275"/>
                <a:gd name="connsiteY8" fmla="*/ 155448 h 504511"/>
                <a:gd name="connsiteX9" fmla="*/ 718531 w 956275"/>
                <a:gd name="connsiteY9" fmla="*/ 155448 h 504511"/>
                <a:gd name="connsiteX10" fmla="*/ 755107 w 956275"/>
                <a:gd name="connsiteY10" fmla="*/ 137160 h 504511"/>
                <a:gd name="connsiteX11" fmla="*/ 709387 w 956275"/>
                <a:gd name="connsiteY11" fmla="*/ 137160 h 504511"/>
                <a:gd name="connsiteX12" fmla="*/ 617947 w 956275"/>
                <a:gd name="connsiteY12" fmla="*/ 137160 h 504511"/>
                <a:gd name="connsiteX13" fmla="*/ 563083 w 956275"/>
                <a:gd name="connsiteY13" fmla="*/ 146304 h 504511"/>
                <a:gd name="connsiteX14" fmla="*/ 553939 w 956275"/>
                <a:gd name="connsiteY14" fmla="*/ 155448 h 504511"/>
                <a:gd name="connsiteX15" fmla="*/ 535651 w 956275"/>
                <a:gd name="connsiteY15" fmla="*/ 146304 h 504511"/>
                <a:gd name="connsiteX16" fmla="*/ 663667 w 956275"/>
                <a:gd name="connsiteY16" fmla="*/ 91440 h 504511"/>
                <a:gd name="connsiteX17" fmla="*/ 718531 w 956275"/>
                <a:gd name="connsiteY17" fmla="*/ 91440 h 504511"/>
                <a:gd name="connsiteX18" fmla="*/ 809971 w 956275"/>
                <a:gd name="connsiteY18" fmla="*/ 82296 h 504511"/>
                <a:gd name="connsiteX19" fmla="*/ 937987 w 956275"/>
                <a:gd name="connsiteY19" fmla="*/ 27432 h 504511"/>
                <a:gd name="connsiteX20" fmla="*/ 919699 w 956275"/>
                <a:gd name="connsiteY20" fmla="*/ 0 h 504511"/>
                <a:gd name="connsiteX21" fmla="*/ 883123 w 956275"/>
                <a:gd name="connsiteY21" fmla="*/ 27432 h 504511"/>
                <a:gd name="connsiteX22" fmla="*/ 846547 w 956275"/>
                <a:gd name="connsiteY22" fmla="*/ 36576 h 504511"/>
                <a:gd name="connsiteX23" fmla="*/ 773395 w 956275"/>
                <a:gd name="connsiteY23" fmla="*/ 64008 h 504511"/>
                <a:gd name="connsiteX24" fmla="*/ 718531 w 956275"/>
                <a:gd name="connsiteY24" fmla="*/ 64008 h 504511"/>
                <a:gd name="connsiteX25" fmla="*/ 608803 w 956275"/>
                <a:gd name="connsiteY25" fmla="*/ 64008 h 504511"/>
                <a:gd name="connsiteX26" fmla="*/ 553939 w 956275"/>
                <a:gd name="connsiteY26" fmla="*/ 100584 h 504511"/>
                <a:gd name="connsiteX27" fmla="*/ 517363 w 956275"/>
                <a:gd name="connsiteY27" fmla="*/ 146304 h 504511"/>
                <a:gd name="connsiteX28" fmla="*/ 471643 w 956275"/>
                <a:gd name="connsiteY28" fmla="*/ 182880 h 504511"/>
                <a:gd name="connsiteX29" fmla="*/ 425923 w 956275"/>
                <a:gd name="connsiteY29" fmla="*/ 256032 h 504511"/>
                <a:gd name="connsiteX30" fmla="*/ 352771 w 956275"/>
                <a:gd name="connsiteY30" fmla="*/ 301752 h 504511"/>
                <a:gd name="connsiteX31" fmla="*/ 252187 w 956275"/>
                <a:gd name="connsiteY31" fmla="*/ 347472 h 504511"/>
                <a:gd name="connsiteX32" fmla="*/ 215611 w 956275"/>
                <a:gd name="connsiteY32" fmla="*/ 374904 h 504511"/>
                <a:gd name="connsiteX33" fmla="*/ 169891 w 956275"/>
                <a:gd name="connsiteY33" fmla="*/ 402336 h 504511"/>
                <a:gd name="connsiteX34" fmla="*/ 151603 w 956275"/>
                <a:gd name="connsiteY34" fmla="*/ 402336 h 504511"/>
                <a:gd name="connsiteX35" fmla="*/ 169891 w 956275"/>
                <a:gd name="connsiteY35" fmla="*/ 365760 h 504511"/>
                <a:gd name="connsiteX36" fmla="*/ 224755 w 956275"/>
                <a:gd name="connsiteY36" fmla="*/ 301752 h 504511"/>
                <a:gd name="connsiteX37" fmla="*/ 316195 w 956275"/>
                <a:gd name="connsiteY37" fmla="*/ 219456 h 504511"/>
                <a:gd name="connsiteX38" fmla="*/ 361915 w 956275"/>
                <a:gd name="connsiteY38" fmla="*/ 146304 h 504511"/>
                <a:gd name="connsiteX39" fmla="*/ 361915 w 956275"/>
                <a:gd name="connsiteY39" fmla="*/ 64008 h 504511"/>
                <a:gd name="connsiteX40" fmla="*/ 352771 w 956275"/>
                <a:gd name="connsiteY40" fmla="*/ 54864 h 504511"/>
                <a:gd name="connsiteX41" fmla="*/ 343627 w 956275"/>
                <a:gd name="connsiteY41" fmla="*/ 128016 h 504511"/>
                <a:gd name="connsiteX42" fmla="*/ 316195 w 956275"/>
                <a:gd name="connsiteY42" fmla="*/ 173736 h 504511"/>
                <a:gd name="connsiteX43" fmla="*/ 243043 w 956275"/>
                <a:gd name="connsiteY43" fmla="*/ 237744 h 504511"/>
                <a:gd name="connsiteX44" fmla="*/ 215611 w 956275"/>
                <a:gd name="connsiteY44" fmla="*/ 256032 h 504511"/>
                <a:gd name="connsiteX45" fmla="*/ 142459 w 956275"/>
                <a:gd name="connsiteY45" fmla="*/ 347472 h 504511"/>
                <a:gd name="connsiteX46" fmla="*/ 133315 w 956275"/>
                <a:gd name="connsiteY46" fmla="*/ 374904 h 504511"/>
                <a:gd name="connsiteX47" fmla="*/ 124171 w 956275"/>
                <a:gd name="connsiteY47" fmla="*/ 411480 h 504511"/>
                <a:gd name="connsiteX48" fmla="*/ 142459 w 956275"/>
                <a:gd name="connsiteY48" fmla="*/ 429768 h 504511"/>
                <a:gd name="connsiteX49" fmla="*/ 96739 w 956275"/>
                <a:gd name="connsiteY49" fmla="*/ 457200 h 504511"/>
                <a:gd name="connsiteX50" fmla="*/ 13820 w 956275"/>
                <a:gd name="connsiteY50" fmla="*/ 496783 h 504511"/>
                <a:gd name="connsiteX51" fmla="*/ 13820 w 956275"/>
                <a:gd name="connsiteY51" fmla="*/ 496784 h 504511"/>
                <a:gd name="connsiteX52" fmla="*/ 13820 w 956275"/>
                <a:gd name="connsiteY52" fmla="*/ 496784 h 504511"/>
                <a:gd name="connsiteX53" fmla="*/ 132458 w 956275"/>
                <a:gd name="connsiteY53" fmla="*/ 430387 h 504511"/>
                <a:gd name="connsiteX54" fmla="*/ 114796 w 956275"/>
                <a:gd name="connsiteY54" fmla="*/ 504511 h 504511"/>
                <a:gd name="connsiteX55" fmla="*/ 40672 w 956275"/>
                <a:gd name="connsiteY55" fmla="*/ 486852 h 504511"/>
                <a:gd name="connsiteX0" fmla="*/ 40672 w 956275"/>
                <a:gd name="connsiteY0" fmla="*/ 486852 h 504512"/>
                <a:gd name="connsiteX1" fmla="*/ 13820 w 956275"/>
                <a:gd name="connsiteY1" fmla="*/ 496784 h 504512"/>
                <a:gd name="connsiteX2" fmla="*/ 13820 w 956275"/>
                <a:gd name="connsiteY2" fmla="*/ 496784 h 504512"/>
                <a:gd name="connsiteX3" fmla="*/ 51019 w 956275"/>
                <a:gd name="connsiteY3" fmla="*/ 493776 h 504512"/>
                <a:gd name="connsiteX4" fmla="*/ 151603 w 956275"/>
                <a:gd name="connsiteY4" fmla="*/ 466344 h 504512"/>
                <a:gd name="connsiteX5" fmla="*/ 252187 w 956275"/>
                <a:gd name="connsiteY5" fmla="*/ 384048 h 504512"/>
                <a:gd name="connsiteX6" fmla="*/ 444211 w 956275"/>
                <a:gd name="connsiteY6" fmla="*/ 301752 h 504512"/>
                <a:gd name="connsiteX7" fmla="*/ 526507 w 956275"/>
                <a:gd name="connsiteY7" fmla="*/ 192024 h 504512"/>
                <a:gd name="connsiteX8" fmla="*/ 672811 w 956275"/>
                <a:gd name="connsiteY8" fmla="*/ 155448 h 504512"/>
                <a:gd name="connsiteX9" fmla="*/ 718531 w 956275"/>
                <a:gd name="connsiteY9" fmla="*/ 155448 h 504512"/>
                <a:gd name="connsiteX10" fmla="*/ 755107 w 956275"/>
                <a:gd name="connsiteY10" fmla="*/ 137160 h 504512"/>
                <a:gd name="connsiteX11" fmla="*/ 709387 w 956275"/>
                <a:gd name="connsiteY11" fmla="*/ 137160 h 504512"/>
                <a:gd name="connsiteX12" fmla="*/ 617947 w 956275"/>
                <a:gd name="connsiteY12" fmla="*/ 137160 h 504512"/>
                <a:gd name="connsiteX13" fmla="*/ 563083 w 956275"/>
                <a:gd name="connsiteY13" fmla="*/ 146304 h 504512"/>
                <a:gd name="connsiteX14" fmla="*/ 553939 w 956275"/>
                <a:gd name="connsiteY14" fmla="*/ 155448 h 504512"/>
                <a:gd name="connsiteX15" fmla="*/ 535651 w 956275"/>
                <a:gd name="connsiteY15" fmla="*/ 146304 h 504512"/>
                <a:gd name="connsiteX16" fmla="*/ 663667 w 956275"/>
                <a:gd name="connsiteY16" fmla="*/ 91440 h 504512"/>
                <a:gd name="connsiteX17" fmla="*/ 718531 w 956275"/>
                <a:gd name="connsiteY17" fmla="*/ 91440 h 504512"/>
                <a:gd name="connsiteX18" fmla="*/ 809971 w 956275"/>
                <a:gd name="connsiteY18" fmla="*/ 82296 h 504512"/>
                <a:gd name="connsiteX19" fmla="*/ 937987 w 956275"/>
                <a:gd name="connsiteY19" fmla="*/ 27432 h 504512"/>
                <a:gd name="connsiteX20" fmla="*/ 919699 w 956275"/>
                <a:gd name="connsiteY20" fmla="*/ 0 h 504512"/>
                <a:gd name="connsiteX21" fmla="*/ 883123 w 956275"/>
                <a:gd name="connsiteY21" fmla="*/ 27432 h 504512"/>
                <a:gd name="connsiteX22" fmla="*/ 846547 w 956275"/>
                <a:gd name="connsiteY22" fmla="*/ 36576 h 504512"/>
                <a:gd name="connsiteX23" fmla="*/ 773395 w 956275"/>
                <a:gd name="connsiteY23" fmla="*/ 64008 h 504512"/>
                <a:gd name="connsiteX24" fmla="*/ 718531 w 956275"/>
                <a:gd name="connsiteY24" fmla="*/ 64008 h 504512"/>
                <a:gd name="connsiteX25" fmla="*/ 608803 w 956275"/>
                <a:gd name="connsiteY25" fmla="*/ 64008 h 504512"/>
                <a:gd name="connsiteX26" fmla="*/ 553939 w 956275"/>
                <a:gd name="connsiteY26" fmla="*/ 100584 h 504512"/>
                <a:gd name="connsiteX27" fmla="*/ 517363 w 956275"/>
                <a:gd name="connsiteY27" fmla="*/ 146304 h 504512"/>
                <a:gd name="connsiteX28" fmla="*/ 471643 w 956275"/>
                <a:gd name="connsiteY28" fmla="*/ 182880 h 504512"/>
                <a:gd name="connsiteX29" fmla="*/ 425923 w 956275"/>
                <a:gd name="connsiteY29" fmla="*/ 256032 h 504512"/>
                <a:gd name="connsiteX30" fmla="*/ 352771 w 956275"/>
                <a:gd name="connsiteY30" fmla="*/ 301752 h 504512"/>
                <a:gd name="connsiteX31" fmla="*/ 252187 w 956275"/>
                <a:gd name="connsiteY31" fmla="*/ 347472 h 504512"/>
                <a:gd name="connsiteX32" fmla="*/ 215611 w 956275"/>
                <a:gd name="connsiteY32" fmla="*/ 374904 h 504512"/>
                <a:gd name="connsiteX33" fmla="*/ 169891 w 956275"/>
                <a:gd name="connsiteY33" fmla="*/ 402336 h 504512"/>
                <a:gd name="connsiteX34" fmla="*/ 151603 w 956275"/>
                <a:gd name="connsiteY34" fmla="*/ 402336 h 504512"/>
                <a:gd name="connsiteX35" fmla="*/ 169891 w 956275"/>
                <a:gd name="connsiteY35" fmla="*/ 365760 h 504512"/>
                <a:gd name="connsiteX36" fmla="*/ 224755 w 956275"/>
                <a:gd name="connsiteY36" fmla="*/ 301752 h 504512"/>
                <a:gd name="connsiteX37" fmla="*/ 316195 w 956275"/>
                <a:gd name="connsiteY37" fmla="*/ 219456 h 504512"/>
                <a:gd name="connsiteX38" fmla="*/ 361915 w 956275"/>
                <a:gd name="connsiteY38" fmla="*/ 146304 h 504512"/>
                <a:gd name="connsiteX39" fmla="*/ 361915 w 956275"/>
                <a:gd name="connsiteY39" fmla="*/ 64008 h 504512"/>
                <a:gd name="connsiteX40" fmla="*/ 352771 w 956275"/>
                <a:gd name="connsiteY40" fmla="*/ 54864 h 504512"/>
                <a:gd name="connsiteX41" fmla="*/ 343627 w 956275"/>
                <a:gd name="connsiteY41" fmla="*/ 128016 h 504512"/>
                <a:gd name="connsiteX42" fmla="*/ 316195 w 956275"/>
                <a:gd name="connsiteY42" fmla="*/ 173736 h 504512"/>
                <a:gd name="connsiteX43" fmla="*/ 243043 w 956275"/>
                <a:gd name="connsiteY43" fmla="*/ 237744 h 504512"/>
                <a:gd name="connsiteX44" fmla="*/ 215611 w 956275"/>
                <a:gd name="connsiteY44" fmla="*/ 256032 h 504512"/>
                <a:gd name="connsiteX45" fmla="*/ 142459 w 956275"/>
                <a:gd name="connsiteY45" fmla="*/ 347472 h 504512"/>
                <a:gd name="connsiteX46" fmla="*/ 133315 w 956275"/>
                <a:gd name="connsiteY46" fmla="*/ 374904 h 504512"/>
                <a:gd name="connsiteX47" fmla="*/ 124171 w 956275"/>
                <a:gd name="connsiteY47" fmla="*/ 411480 h 504512"/>
                <a:gd name="connsiteX48" fmla="*/ 142459 w 956275"/>
                <a:gd name="connsiteY48" fmla="*/ 429768 h 504512"/>
                <a:gd name="connsiteX49" fmla="*/ 96739 w 956275"/>
                <a:gd name="connsiteY49" fmla="*/ 457200 h 504512"/>
                <a:gd name="connsiteX50" fmla="*/ 13820 w 956275"/>
                <a:gd name="connsiteY50" fmla="*/ 496783 h 504512"/>
                <a:gd name="connsiteX51" fmla="*/ 13820 w 956275"/>
                <a:gd name="connsiteY51" fmla="*/ 496784 h 504512"/>
                <a:gd name="connsiteX52" fmla="*/ 13820 w 956275"/>
                <a:gd name="connsiteY52" fmla="*/ 496784 h 504512"/>
                <a:gd name="connsiteX53" fmla="*/ 132458 w 956275"/>
                <a:gd name="connsiteY53" fmla="*/ 430387 h 504512"/>
                <a:gd name="connsiteX54" fmla="*/ 114798 w 956275"/>
                <a:gd name="connsiteY54" fmla="*/ 504512 h 504512"/>
                <a:gd name="connsiteX55" fmla="*/ 40672 w 956275"/>
                <a:gd name="connsiteY55" fmla="*/ 486852 h 504512"/>
                <a:gd name="connsiteX0" fmla="*/ 40672 w 956275"/>
                <a:gd name="connsiteY0" fmla="*/ 486852 h 504512"/>
                <a:gd name="connsiteX1" fmla="*/ 13820 w 956275"/>
                <a:gd name="connsiteY1" fmla="*/ 496784 h 504512"/>
                <a:gd name="connsiteX2" fmla="*/ 13820 w 956275"/>
                <a:gd name="connsiteY2" fmla="*/ 496784 h 504512"/>
                <a:gd name="connsiteX3" fmla="*/ 51019 w 956275"/>
                <a:gd name="connsiteY3" fmla="*/ 493776 h 504512"/>
                <a:gd name="connsiteX4" fmla="*/ 151603 w 956275"/>
                <a:gd name="connsiteY4" fmla="*/ 466344 h 504512"/>
                <a:gd name="connsiteX5" fmla="*/ 252187 w 956275"/>
                <a:gd name="connsiteY5" fmla="*/ 384048 h 504512"/>
                <a:gd name="connsiteX6" fmla="*/ 444211 w 956275"/>
                <a:gd name="connsiteY6" fmla="*/ 301752 h 504512"/>
                <a:gd name="connsiteX7" fmla="*/ 526507 w 956275"/>
                <a:gd name="connsiteY7" fmla="*/ 192024 h 504512"/>
                <a:gd name="connsiteX8" fmla="*/ 672811 w 956275"/>
                <a:gd name="connsiteY8" fmla="*/ 155448 h 504512"/>
                <a:gd name="connsiteX9" fmla="*/ 718531 w 956275"/>
                <a:gd name="connsiteY9" fmla="*/ 155448 h 504512"/>
                <a:gd name="connsiteX10" fmla="*/ 755107 w 956275"/>
                <a:gd name="connsiteY10" fmla="*/ 137160 h 504512"/>
                <a:gd name="connsiteX11" fmla="*/ 709387 w 956275"/>
                <a:gd name="connsiteY11" fmla="*/ 137160 h 504512"/>
                <a:gd name="connsiteX12" fmla="*/ 617947 w 956275"/>
                <a:gd name="connsiteY12" fmla="*/ 137160 h 504512"/>
                <a:gd name="connsiteX13" fmla="*/ 563083 w 956275"/>
                <a:gd name="connsiteY13" fmla="*/ 146304 h 504512"/>
                <a:gd name="connsiteX14" fmla="*/ 553939 w 956275"/>
                <a:gd name="connsiteY14" fmla="*/ 155448 h 504512"/>
                <a:gd name="connsiteX15" fmla="*/ 535651 w 956275"/>
                <a:gd name="connsiteY15" fmla="*/ 146304 h 504512"/>
                <a:gd name="connsiteX16" fmla="*/ 663667 w 956275"/>
                <a:gd name="connsiteY16" fmla="*/ 91440 h 504512"/>
                <a:gd name="connsiteX17" fmla="*/ 718531 w 956275"/>
                <a:gd name="connsiteY17" fmla="*/ 91440 h 504512"/>
                <a:gd name="connsiteX18" fmla="*/ 809971 w 956275"/>
                <a:gd name="connsiteY18" fmla="*/ 82296 h 504512"/>
                <a:gd name="connsiteX19" fmla="*/ 937987 w 956275"/>
                <a:gd name="connsiteY19" fmla="*/ 27432 h 504512"/>
                <a:gd name="connsiteX20" fmla="*/ 919699 w 956275"/>
                <a:gd name="connsiteY20" fmla="*/ 0 h 504512"/>
                <a:gd name="connsiteX21" fmla="*/ 883123 w 956275"/>
                <a:gd name="connsiteY21" fmla="*/ 27432 h 504512"/>
                <a:gd name="connsiteX22" fmla="*/ 846547 w 956275"/>
                <a:gd name="connsiteY22" fmla="*/ 36576 h 504512"/>
                <a:gd name="connsiteX23" fmla="*/ 773395 w 956275"/>
                <a:gd name="connsiteY23" fmla="*/ 64008 h 504512"/>
                <a:gd name="connsiteX24" fmla="*/ 718531 w 956275"/>
                <a:gd name="connsiteY24" fmla="*/ 64008 h 504512"/>
                <a:gd name="connsiteX25" fmla="*/ 608803 w 956275"/>
                <a:gd name="connsiteY25" fmla="*/ 64008 h 504512"/>
                <a:gd name="connsiteX26" fmla="*/ 553939 w 956275"/>
                <a:gd name="connsiteY26" fmla="*/ 100584 h 504512"/>
                <a:gd name="connsiteX27" fmla="*/ 517363 w 956275"/>
                <a:gd name="connsiteY27" fmla="*/ 146304 h 504512"/>
                <a:gd name="connsiteX28" fmla="*/ 471643 w 956275"/>
                <a:gd name="connsiteY28" fmla="*/ 182880 h 504512"/>
                <a:gd name="connsiteX29" fmla="*/ 425923 w 956275"/>
                <a:gd name="connsiteY29" fmla="*/ 256032 h 504512"/>
                <a:gd name="connsiteX30" fmla="*/ 352771 w 956275"/>
                <a:gd name="connsiteY30" fmla="*/ 301752 h 504512"/>
                <a:gd name="connsiteX31" fmla="*/ 252187 w 956275"/>
                <a:gd name="connsiteY31" fmla="*/ 347472 h 504512"/>
                <a:gd name="connsiteX32" fmla="*/ 215611 w 956275"/>
                <a:gd name="connsiteY32" fmla="*/ 374904 h 504512"/>
                <a:gd name="connsiteX33" fmla="*/ 169891 w 956275"/>
                <a:gd name="connsiteY33" fmla="*/ 402336 h 504512"/>
                <a:gd name="connsiteX34" fmla="*/ 151603 w 956275"/>
                <a:gd name="connsiteY34" fmla="*/ 402336 h 504512"/>
                <a:gd name="connsiteX35" fmla="*/ 169891 w 956275"/>
                <a:gd name="connsiteY35" fmla="*/ 365760 h 504512"/>
                <a:gd name="connsiteX36" fmla="*/ 224755 w 956275"/>
                <a:gd name="connsiteY36" fmla="*/ 301752 h 504512"/>
                <a:gd name="connsiteX37" fmla="*/ 316195 w 956275"/>
                <a:gd name="connsiteY37" fmla="*/ 219456 h 504512"/>
                <a:gd name="connsiteX38" fmla="*/ 361915 w 956275"/>
                <a:gd name="connsiteY38" fmla="*/ 146304 h 504512"/>
                <a:gd name="connsiteX39" fmla="*/ 361915 w 956275"/>
                <a:gd name="connsiteY39" fmla="*/ 64008 h 504512"/>
                <a:gd name="connsiteX40" fmla="*/ 352771 w 956275"/>
                <a:gd name="connsiteY40" fmla="*/ 54864 h 504512"/>
                <a:gd name="connsiteX41" fmla="*/ 343627 w 956275"/>
                <a:gd name="connsiteY41" fmla="*/ 128016 h 504512"/>
                <a:gd name="connsiteX42" fmla="*/ 316195 w 956275"/>
                <a:gd name="connsiteY42" fmla="*/ 173736 h 504512"/>
                <a:gd name="connsiteX43" fmla="*/ 243043 w 956275"/>
                <a:gd name="connsiteY43" fmla="*/ 237744 h 504512"/>
                <a:gd name="connsiteX44" fmla="*/ 215611 w 956275"/>
                <a:gd name="connsiteY44" fmla="*/ 256032 h 504512"/>
                <a:gd name="connsiteX45" fmla="*/ 142459 w 956275"/>
                <a:gd name="connsiteY45" fmla="*/ 347472 h 504512"/>
                <a:gd name="connsiteX46" fmla="*/ 133315 w 956275"/>
                <a:gd name="connsiteY46" fmla="*/ 374904 h 504512"/>
                <a:gd name="connsiteX47" fmla="*/ 124171 w 956275"/>
                <a:gd name="connsiteY47" fmla="*/ 411480 h 504512"/>
                <a:gd name="connsiteX48" fmla="*/ 142459 w 956275"/>
                <a:gd name="connsiteY48" fmla="*/ 429768 h 504512"/>
                <a:gd name="connsiteX49" fmla="*/ 96739 w 956275"/>
                <a:gd name="connsiteY49" fmla="*/ 457200 h 504512"/>
                <a:gd name="connsiteX50" fmla="*/ 13820 w 956275"/>
                <a:gd name="connsiteY50" fmla="*/ 496783 h 504512"/>
                <a:gd name="connsiteX51" fmla="*/ 13820 w 956275"/>
                <a:gd name="connsiteY51" fmla="*/ 496784 h 504512"/>
                <a:gd name="connsiteX52" fmla="*/ 13820 w 956275"/>
                <a:gd name="connsiteY52" fmla="*/ 496784 h 504512"/>
                <a:gd name="connsiteX53" fmla="*/ 132458 w 956275"/>
                <a:gd name="connsiteY53" fmla="*/ 430387 h 504512"/>
                <a:gd name="connsiteX54" fmla="*/ 114797 w 956275"/>
                <a:gd name="connsiteY54" fmla="*/ 504512 h 504512"/>
                <a:gd name="connsiteX55" fmla="*/ 40672 w 956275"/>
                <a:gd name="connsiteY55" fmla="*/ 486852 h 504512"/>
                <a:gd name="connsiteX0" fmla="*/ 40672 w 956275"/>
                <a:gd name="connsiteY0" fmla="*/ 486852 h 578638"/>
                <a:gd name="connsiteX1" fmla="*/ 13820 w 956275"/>
                <a:gd name="connsiteY1" fmla="*/ 496784 h 578638"/>
                <a:gd name="connsiteX2" fmla="*/ 13820 w 956275"/>
                <a:gd name="connsiteY2" fmla="*/ 496784 h 578638"/>
                <a:gd name="connsiteX3" fmla="*/ 51019 w 956275"/>
                <a:gd name="connsiteY3" fmla="*/ 493776 h 578638"/>
                <a:gd name="connsiteX4" fmla="*/ 151603 w 956275"/>
                <a:gd name="connsiteY4" fmla="*/ 466344 h 578638"/>
                <a:gd name="connsiteX5" fmla="*/ 252187 w 956275"/>
                <a:gd name="connsiteY5" fmla="*/ 384048 h 578638"/>
                <a:gd name="connsiteX6" fmla="*/ 444211 w 956275"/>
                <a:gd name="connsiteY6" fmla="*/ 301752 h 578638"/>
                <a:gd name="connsiteX7" fmla="*/ 526507 w 956275"/>
                <a:gd name="connsiteY7" fmla="*/ 192024 h 578638"/>
                <a:gd name="connsiteX8" fmla="*/ 672811 w 956275"/>
                <a:gd name="connsiteY8" fmla="*/ 155448 h 578638"/>
                <a:gd name="connsiteX9" fmla="*/ 718531 w 956275"/>
                <a:gd name="connsiteY9" fmla="*/ 155448 h 578638"/>
                <a:gd name="connsiteX10" fmla="*/ 755107 w 956275"/>
                <a:gd name="connsiteY10" fmla="*/ 137160 h 578638"/>
                <a:gd name="connsiteX11" fmla="*/ 709387 w 956275"/>
                <a:gd name="connsiteY11" fmla="*/ 137160 h 578638"/>
                <a:gd name="connsiteX12" fmla="*/ 617947 w 956275"/>
                <a:gd name="connsiteY12" fmla="*/ 137160 h 578638"/>
                <a:gd name="connsiteX13" fmla="*/ 563083 w 956275"/>
                <a:gd name="connsiteY13" fmla="*/ 146304 h 578638"/>
                <a:gd name="connsiteX14" fmla="*/ 553939 w 956275"/>
                <a:gd name="connsiteY14" fmla="*/ 155448 h 578638"/>
                <a:gd name="connsiteX15" fmla="*/ 535651 w 956275"/>
                <a:gd name="connsiteY15" fmla="*/ 146304 h 578638"/>
                <a:gd name="connsiteX16" fmla="*/ 663667 w 956275"/>
                <a:gd name="connsiteY16" fmla="*/ 91440 h 578638"/>
                <a:gd name="connsiteX17" fmla="*/ 718531 w 956275"/>
                <a:gd name="connsiteY17" fmla="*/ 91440 h 578638"/>
                <a:gd name="connsiteX18" fmla="*/ 809971 w 956275"/>
                <a:gd name="connsiteY18" fmla="*/ 82296 h 578638"/>
                <a:gd name="connsiteX19" fmla="*/ 937987 w 956275"/>
                <a:gd name="connsiteY19" fmla="*/ 27432 h 578638"/>
                <a:gd name="connsiteX20" fmla="*/ 919699 w 956275"/>
                <a:gd name="connsiteY20" fmla="*/ 0 h 578638"/>
                <a:gd name="connsiteX21" fmla="*/ 883123 w 956275"/>
                <a:gd name="connsiteY21" fmla="*/ 27432 h 578638"/>
                <a:gd name="connsiteX22" fmla="*/ 846547 w 956275"/>
                <a:gd name="connsiteY22" fmla="*/ 36576 h 578638"/>
                <a:gd name="connsiteX23" fmla="*/ 773395 w 956275"/>
                <a:gd name="connsiteY23" fmla="*/ 64008 h 578638"/>
                <a:gd name="connsiteX24" fmla="*/ 718531 w 956275"/>
                <a:gd name="connsiteY24" fmla="*/ 64008 h 578638"/>
                <a:gd name="connsiteX25" fmla="*/ 608803 w 956275"/>
                <a:gd name="connsiteY25" fmla="*/ 64008 h 578638"/>
                <a:gd name="connsiteX26" fmla="*/ 553939 w 956275"/>
                <a:gd name="connsiteY26" fmla="*/ 100584 h 578638"/>
                <a:gd name="connsiteX27" fmla="*/ 517363 w 956275"/>
                <a:gd name="connsiteY27" fmla="*/ 146304 h 578638"/>
                <a:gd name="connsiteX28" fmla="*/ 471643 w 956275"/>
                <a:gd name="connsiteY28" fmla="*/ 182880 h 578638"/>
                <a:gd name="connsiteX29" fmla="*/ 425923 w 956275"/>
                <a:gd name="connsiteY29" fmla="*/ 256032 h 578638"/>
                <a:gd name="connsiteX30" fmla="*/ 352771 w 956275"/>
                <a:gd name="connsiteY30" fmla="*/ 301752 h 578638"/>
                <a:gd name="connsiteX31" fmla="*/ 252187 w 956275"/>
                <a:gd name="connsiteY31" fmla="*/ 347472 h 578638"/>
                <a:gd name="connsiteX32" fmla="*/ 215611 w 956275"/>
                <a:gd name="connsiteY32" fmla="*/ 374904 h 578638"/>
                <a:gd name="connsiteX33" fmla="*/ 169891 w 956275"/>
                <a:gd name="connsiteY33" fmla="*/ 402336 h 578638"/>
                <a:gd name="connsiteX34" fmla="*/ 151603 w 956275"/>
                <a:gd name="connsiteY34" fmla="*/ 402336 h 578638"/>
                <a:gd name="connsiteX35" fmla="*/ 169891 w 956275"/>
                <a:gd name="connsiteY35" fmla="*/ 365760 h 578638"/>
                <a:gd name="connsiteX36" fmla="*/ 224755 w 956275"/>
                <a:gd name="connsiteY36" fmla="*/ 301752 h 578638"/>
                <a:gd name="connsiteX37" fmla="*/ 316195 w 956275"/>
                <a:gd name="connsiteY37" fmla="*/ 219456 h 578638"/>
                <a:gd name="connsiteX38" fmla="*/ 361915 w 956275"/>
                <a:gd name="connsiteY38" fmla="*/ 146304 h 578638"/>
                <a:gd name="connsiteX39" fmla="*/ 361915 w 956275"/>
                <a:gd name="connsiteY39" fmla="*/ 64008 h 578638"/>
                <a:gd name="connsiteX40" fmla="*/ 352771 w 956275"/>
                <a:gd name="connsiteY40" fmla="*/ 54864 h 578638"/>
                <a:gd name="connsiteX41" fmla="*/ 343627 w 956275"/>
                <a:gd name="connsiteY41" fmla="*/ 128016 h 578638"/>
                <a:gd name="connsiteX42" fmla="*/ 316195 w 956275"/>
                <a:gd name="connsiteY42" fmla="*/ 173736 h 578638"/>
                <a:gd name="connsiteX43" fmla="*/ 243043 w 956275"/>
                <a:gd name="connsiteY43" fmla="*/ 237744 h 578638"/>
                <a:gd name="connsiteX44" fmla="*/ 215611 w 956275"/>
                <a:gd name="connsiteY44" fmla="*/ 256032 h 578638"/>
                <a:gd name="connsiteX45" fmla="*/ 142459 w 956275"/>
                <a:gd name="connsiteY45" fmla="*/ 347472 h 578638"/>
                <a:gd name="connsiteX46" fmla="*/ 133315 w 956275"/>
                <a:gd name="connsiteY46" fmla="*/ 374904 h 578638"/>
                <a:gd name="connsiteX47" fmla="*/ 124171 w 956275"/>
                <a:gd name="connsiteY47" fmla="*/ 411480 h 578638"/>
                <a:gd name="connsiteX48" fmla="*/ 142459 w 956275"/>
                <a:gd name="connsiteY48" fmla="*/ 429768 h 578638"/>
                <a:gd name="connsiteX49" fmla="*/ 96739 w 956275"/>
                <a:gd name="connsiteY49" fmla="*/ 457200 h 578638"/>
                <a:gd name="connsiteX50" fmla="*/ 13820 w 956275"/>
                <a:gd name="connsiteY50" fmla="*/ 496783 h 578638"/>
                <a:gd name="connsiteX51" fmla="*/ 13820 w 956275"/>
                <a:gd name="connsiteY51" fmla="*/ 496784 h 578638"/>
                <a:gd name="connsiteX52" fmla="*/ 13820 w 956275"/>
                <a:gd name="connsiteY52" fmla="*/ 496784 h 578638"/>
                <a:gd name="connsiteX53" fmla="*/ 132458 w 956275"/>
                <a:gd name="connsiteY53" fmla="*/ 430387 h 578638"/>
                <a:gd name="connsiteX54" fmla="*/ 97137 w 956275"/>
                <a:gd name="connsiteY54" fmla="*/ 578638 h 578638"/>
                <a:gd name="connsiteX55" fmla="*/ 40672 w 956275"/>
                <a:gd name="connsiteY55" fmla="*/ 486852 h 578638"/>
                <a:gd name="connsiteX0" fmla="*/ 40672 w 956275"/>
                <a:gd name="connsiteY0" fmla="*/ 486852 h 503380"/>
                <a:gd name="connsiteX1" fmla="*/ 13820 w 956275"/>
                <a:gd name="connsiteY1" fmla="*/ 496784 h 503380"/>
                <a:gd name="connsiteX2" fmla="*/ 13820 w 956275"/>
                <a:gd name="connsiteY2" fmla="*/ 496784 h 503380"/>
                <a:gd name="connsiteX3" fmla="*/ 51019 w 956275"/>
                <a:gd name="connsiteY3" fmla="*/ 493776 h 503380"/>
                <a:gd name="connsiteX4" fmla="*/ 151603 w 956275"/>
                <a:gd name="connsiteY4" fmla="*/ 466344 h 503380"/>
                <a:gd name="connsiteX5" fmla="*/ 252187 w 956275"/>
                <a:gd name="connsiteY5" fmla="*/ 384048 h 503380"/>
                <a:gd name="connsiteX6" fmla="*/ 444211 w 956275"/>
                <a:gd name="connsiteY6" fmla="*/ 301752 h 503380"/>
                <a:gd name="connsiteX7" fmla="*/ 526507 w 956275"/>
                <a:gd name="connsiteY7" fmla="*/ 192024 h 503380"/>
                <a:gd name="connsiteX8" fmla="*/ 672811 w 956275"/>
                <a:gd name="connsiteY8" fmla="*/ 155448 h 503380"/>
                <a:gd name="connsiteX9" fmla="*/ 718531 w 956275"/>
                <a:gd name="connsiteY9" fmla="*/ 155448 h 503380"/>
                <a:gd name="connsiteX10" fmla="*/ 755107 w 956275"/>
                <a:gd name="connsiteY10" fmla="*/ 137160 h 503380"/>
                <a:gd name="connsiteX11" fmla="*/ 709387 w 956275"/>
                <a:gd name="connsiteY11" fmla="*/ 137160 h 503380"/>
                <a:gd name="connsiteX12" fmla="*/ 617947 w 956275"/>
                <a:gd name="connsiteY12" fmla="*/ 137160 h 503380"/>
                <a:gd name="connsiteX13" fmla="*/ 563083 w 956275"/>
                <a:gd name="connsiteY13" fmla="*/ 146304 h 503380"/>
                <a:gd name="connsiteX14" fmla="*/ 553939 w 956275"/>
                <a:gd name="connsiteY14" fmla="*/ 155448 h 503380"/>
                <a:gd name="connsiteX15" fmla="*/ 535651 w 956275"/>
                <a:gd name="connsiteY15" fmla="*/ 146304 h 503380"/>
                <a:gd name="connsiteX16" fmla="*/ 663667 w 956275"/>
                <a:gd name="connsiteY16" fmla="*/ 91440 h 503380"/>
                <a:gd name="connsiteX17" fmla="*/ 718531 w 956275"/>
                <a:gd name="connsiteY17" fmla="*/ 91440 h 503380"/>
                <a:gd name="connsiteX18" fmla="*/ 809971 w 956275"/>
                <a:gd name="connsiteY18" fmla="*/ 82296 h 503380"/>
                <a:gd name="connsiteX19" fmla="*/ 937987 w 956275"/>
                <a:gd name="connsiteY19" fmla="*/ 27432 h 503380"/>
                <a:gd name="connsiteX20" fmla="*/ 919699 w 956275"/>
                <a:gd name="connsiteY20" fmla="*/ 0 h 503380"/>
                <a:gd name="connsiteX21" fmla="*/ 883123 w 956275"/>
                <a:gd name="connsiteY21" fmla="*/ 27432 h 503380"/>
                <a:gd name="connsiteX22" fmla="*/ 846547 w 956275"/>
                <a:gd name="connsiteY22" fmla="*/ 36576 h 503380"/>
                <a:gd name="connsiteX23" fmla="*/ 773395 w 956275"/>
                <a:gd name="connsiteY23" fmla="*/ 64008 h 503380"/>
                <a:gd name="connsiteX24" fmla="*/ 718531 w 956275"/>
                <a:gd name="connsiteY24" fmla="*/ 64008 h 503380"/>
                <a:gd name="connsiteX25" fmla="*/ 608803 w 956275"/>
                <a:gd name="connsiteY25" fmla="*/ 64008 h 503380"/>
                <a:gd name="connsiteX26" fmla="*/ 553939 w 956275"/>
                <a:gd name="connsiteY26" fmla="*/ 100584 h 503380"/>
                <a:gd name="connsiteX27" fmla="*/ 517363 w 956275"/>
                <a:gd name="connsiteY27" fmla="*/ 146304 h 503380"/>
                <a:gd name="connsiteX28" fmla="*/ 471643 w 956275"/>
                <a:gd name="connsiteY28" fmla="*/ 182880 h 503380"/>
                <a:gd name="connsiteX29" fmla="*/ 425923 w 956275"/>
                <a:gd name="connsiteY29" fmla="*/ 256032 h 503380"/>
                <a:gd name="connsiteX30" fmla="*/ 352771 w 956275"/>
                <a:gd name="connsiteY30" fmla="*/ 301752 h 503380"/>
                <a:gd name="connsiteX31" fmla="*/ 252187 w 956275"/>
                <a:gd name="connsiteY31" fmla="*/ 347472 h 503380"/>
                <a:gd name="connsiteX32" fmla="*/ 215611 w 956275"/>
                <a:gd name="connsiteY32" fmla="*/ 374904 h 503380"/>
                <a:gd name="connsiteX33" fmla="*/ 169891 w 956275"/>
                <a:gd name="connsiteY33" fmla="*/ 402336 h 503380"/>
                <a:gd name="connsiteX34" fmla="*/ 151603 w 956275"/>
                <a:gd name="connsiteY34" fmla="*/ 402336 h 503380"/>
                <a:gd name="connsiteX35" fmla="*/ 169891 w 956275"/>
                <a:gd name="connsiteY35" fmla="*/ 365760 h 503380"/>
                <a:gd name="connsiteX36" fmla="*/ 224755 w 956275"/>
                <a:gd name="connsiteY36" fmla="*/ 301752 h 503380"/>
                <a:gd name="connsiteX37" fmla="*/ 316195 w 956275"/>
                <a:gd name="connsiteY37" fmla="*/ 219456 h 503380"/>
                <a:gd name="connsiteX38" fmla="*/ 361915 w 956275"/>
                <a:gd name="connsiteY38" fmla="*/ 146304 h 503380"/>
                <a:gd name="connsiteX39" fmla="*/ 361915 w 956275"/>
                <a:gd name="connsiteY39" fmla="*/ 64008 h 503380"/>
                <a:gd name="connsiteX40" fmla="*/ 352771 w 956275"/>
                <a:gd name="connsiteY40" fmla="*/ 54864 h 503380"/>
                <a:gd name="connsiteX41" fmla="*/ 343627 w 956275"/>
                <a:gd name="connsiteY41" fmla="*/ 128016 h 503380"/>
                <a:gd name="connsiteX42" fmla="*/ 316195 w 956275"/>
                <a:gd name="connsiteY42" fmla="*/ 173736 h 503380"/>
                <a:gd name="connsiteX43" fmla="*/ 243043 w 956275"/>
                <a:gd name="connsiteY43" fmla="*/ 237744 h 503380"/>
                <a:gd name="connsiteX44" fmla="*/ 215611 w 956275"/>
                <a:gd name="connsiteY44" fmla="*/ 256032 h 503380"/>
                <a:gd name="connsiteX45" fmla="*/ 142459 w 956275"/>
                <a:gd name="connsiteY45" fmla="*/ 347472 h 503380"/>
                <a:gd name="connsiteX46" fmla="*/ 133315 w 956275"/>
                <a:gd name="connsiteY46" fmla="*/ 374904 h 503380"/>
                <a:gd name="connsiteX47" fmla="*/ 124171 w 956275"/>
                <a:gd name="connsiteY47" fmla="*/ 411480 h 503380"/>
                <a:gd name="connsiteX48" fmla="*/ 142459 w 956275"/>
                <a:gd name="connsiteY48" fmla="*/ 429768 h 503380"/>
                <a:gd name="connsiteX49" fmla="*/ 96739 w 956275"/>
                <a:gd name="connsiteY49" fmla="*/ 457200 h 503380"/>
                <a:gd name="connsiteX50" fmla="*/ 13820 w 956275"/>
                <a:gd name="connsiteY50" fmla="*/ 496783 h 503380"/>
                <a:gd name="connsiteX51" fmla="*/ 13820 w 956275"/>
                <a:gd name="connsiteY51" fmla="*/ 496784 h 503380"/>
                <a:gd name="connsiteX52" fmla="*/ 13820 w 956275"/>
                <a:gd name="connsiteY52" fmla="*/ 496784 h 503380"/>
                <a:gd name="connsiteX53" fmla="*/ 132458 w 956275"/>
                <a:gd name="connsiteY53" fmla="*/ 430387 h 503380"/>
                <a:gd name="connsiteX54" fmla="*/ 40672 w 956275"/>
                <a:gd name="connsiteY54" fmla="*/ 486852 h 503380"/>
                <a:gd name="connsiteX55" fmla="*/ 40672 w 956275"/>
                <a:gd name="connsiteY55" fmla="*/ 486852 h 503380"/>
                <a:gd name="connsiteX0" fmla="*/ 40672 w 956275"/>
                <a:gd name="connsiteY0" fmla="*/ 486852 h 503380"/>
                <a:gd name="connsiteX1" fmla="*/ 13820 w 956275"/>
                <a:gd name="connsiteY1" fmla="*/ 496784 h 503380"/>
                <a:gd name="connsiteX2" fmla="*/ 13820 w 956275"/>
                <a:gd name="connsiteY2" fmla="*/ 496784 h 503380"/>
                <a:gd name="connsiteX3" fmla="*/ 51019 w 956275"/>
                <a:gd name="connsiteY3" fmla="*/ 493776 h 503380"/>
                <a:gd name="connsiteX4" fmla="*/ 151603 w 956275"/>
                <a:gd name="connsiteY4" fmla="*/ 466344 h 503380"/>
                <a:gd name="connsiteX5" fmla="*/ 252187 w 956275"/>
                <a:gd name="connsiteY5" fmla="*/ 384048 h 503380"/>
                <a:gd name="connsiteX6" fmla="*/ 444211 w 956275"/>
                <a:gd name="connsiteY6" fmla="*/ 301752 h 503380"/>
                <a:gd name="connsiteX7" fmla="*/ 526507 w 956275"/>
                <a:gd name="connsiteY7" fmla="*/ 192024 h 503380"/>
                <a:gd name="connsiteX8" fmla="*/ 672811 w 956275"/>
                <a:gd name="connsiteY8" fmla="*/ 155448 h 503380"/>
                <a:gd name="connsiteX9" fmla="*/ 718531 w 956275"/>
                <a:gd name="connsiteY9" fmla="*/ 155448 h 503380"/>
                <a:gd name="connsiteX10" fmla="*/ 755107 w 956275"/>
                <a:gd name="connsiteY10" fmla="*/ 137160 h 503380"/>
                <a:gd name="connsiteX11" fmla="*/ 709387 w 956275"/>
                <a:gd name="connsiteY11" fmla="*/ 137160 h 503380"/>
                <a:gd name="connsiteX12" fmla="*/ 617947 w 956275"/>
                <a:gd name="connsiteY12" fmla="*/ 137160 h 503380"/>
                <a:gd name="connsiteX13" fmla="*/ 563083 w 956275"/>
                <a:gd name="connsiteY13" fmla="*/ 146304 h 503380"/>
                <a:gd name="connsiteX14" fmla="*/ 553939 w 956275"/>
                <a:gd name="connsiteY14" fmla="*/ 155448 h 503380"/>
                <a:gd name="connsiteX15" fmla="*/ 535651 w 956275"/>
                <a:gd name="connsiteY15" fmla="*/ 146304 h 503380"/>
                <a:gd name="connsiteX16" fmla="*/ 663667 w 956275"/>
                <a:gd name="connsiteY16" fmla="*/ 91440 h 503380"/>
                <a:gd name="connsiteX17" fmla="*/ 718531 w 956275"/>
                <a:gd name="connsiteY17" fmla="*/ 91440 h 503380"/>
                <a:gd name="connsiteX18" fmla="*/ 809971 w 956275"/>
                <a:gd name="connsiteY18" fmla="*/ 82296 h 503380"/>
                <a:gd name="connsiteX19" fmla="*/ 937987 w 956275"/>
                <a:gd name="connsiteY19" fmla="*/ 27432 h 503380"/>
                <a:gd name="connsiteX20" fmla="*/ 919699 w 956275"/>
                <a:gd name="connsiteY20" fmla="*/ 0 h 503380"/>
                <a:gd name="connsiteX21" fmla="*/ 883123 w 956275"/>
                <a:gd name="connsiteY21" fmla="*/ 27432 h 503380"/>
                <a:gd name="connsiteX22" fmla="*/ 846547 w 956275"/>
                <a:gd name="connsiteY22" fmla="*/ 36576 h 503380"/>
                <a:gd name="connsiteX23" fmla="*/ 773395 w 956275"/>
                <a:gd name="connsiteY23" fmla="*/ 64008 h 503380"/>
                <a:gd name="connsiteX24" fmla="*/ 718531 w 956275"/>
                <a:gd name="connsiteY24" fmla="*/ 64008 h 503380"/>
                <a:gd name="connsiteX25" fmla="*/ 608803 w 956275"/>
                <a:gd name="connsiteY25" fmla="*/ 64008 h 503380"/>
                <a:gd name="connsiteX26" fmla="*/ 553939 w 956275"/>
                <a:gd name="connsiteY26" fmla="*/ 100584 h 503380"/>
                <a:gd name="connsiteX27" fmla="*/ 517363 w 956275"/>
                <a:gd name="connsiteY27" fmla="*/ 146304 h 503380"/>
                <a:gd name="connsiteX28" fmla="*/ 471643 w 956275"/>
                <a:gd name="connsiteY28" fmla="*/ 182880 h 503380"/>
                <a:gd name="connsiteX29" fmla="*/ 425923 w 956275"/>
                <a:gd name="connsiteY29" fmla="*/ 256032 h 503380"/>
                <a:gd name="connsiteX30" fmla="*/ 352771 w 956275"/>
                <a:gd name="connsiteY30" fmla="*/ 301752 h 503380"/>
                <a:gd name="connsiteX31" fmla="*/ 252187 w 956275"/>
                <a:gd name="connsiteY31" fmla="*/ 347472 h 503380"/>
                <a:gd name="connsiteX32" fmla="*/ 215611 w 956275"/>
                <a:gd name="connsiteY32" fmla="*/ 374904 h 503380"/>
                <a:gd name="connsiteX33" fmla="*/ 169891 w 956275"/>
                <a:gd name="connsiteY33" fmla="*/ 402336 h 503380"/>
                <a:gd name="connsiteX34" fmla="*/ 151603 w 956275"/>
                <a:gd name="connsiteY34" fmla="*/ 402336 h 503380"/>
                <a:gd name="connsiteX35" fmla="*/ 169891 w 956275"/>
                <a:gd name="connsiteY35" fmla="*/ 365760 h 503380"/>
                <a:gd name="connsiteX36" fmla="*/ 224755 w 956275"/>
                <a:gd name="connsiteY36" fmla="*/ 301752 h 503380"/>
                <a:gd name="connsiteX37" fmla="*/ 316195 w 956275"/>
                <a:gd name="connsiteY37" fmla="*/ 219456 h 503380"/>
                <a:gd name="connsiteX38" fmla="*/ 361915 w 956275"/>
                <a:gd name="connsiteY38" fmla="*/ 146304 h 503380"/>
                <a:gd name="connsiteX39" fmla="*/ 361915 w 956275"/>
                <a:gd name="connsiteY39" fmla="*/ 64008 h 503380"/>
                <a:gd name="connsiteX40" fmla="*/ 352771 w 956275"/>
                <a:gd name="connsiteY40" fmla="*/ 54864 h 503380"/>
                <a:gd name="connsiteX41" fmla="*/ 343627 w 956275"/>
                <a:gd name="connsiteY41" fmla="*/ 128016 h 503380"/>
                <a:gd name="connsiteX42" fmla="*/ 316195 w 956275"/>
                <a:gd name="connsiteY42" fmla="*/ 173736 h 503380"/>
                <a:gd name="connsiteX43" fmla="*/ 243043 w 956275"/>
                <a:gd name="connsiteY43" fmla="*/ 237744 h 503380"/>
                <a:gd name="connsiteX44" fmla="*/ 215611 w 956275"/>
                <a:gd name="connsiteY44" fmla="*/ 256032 h 503380"/>
                <a:gd name="connsiteX45" fmla="*/ 142459 w 956275"/>
                <a:gd name="connsiteY45" fmla="*/ 347472 h 503380"/>
                <a:gd name="connsiteX46" fmla="*/ 133315 w 956275"/>
                <a:gd name="connsiteY46" fmla="*/ 374904 h 503380"/>
                <a:gd name="connsiteX47" fmla="*/ 124171 w 956275"/>
                <a:gd name="connsiteY47" fmla="*/ 411480 h 503380"/>
                <a:gd name="connsiteX48" fmla="*/ 142459 w 956275"/>
                <a:gd name="connsiteY48" fmla="*/ 429768 h 503380"/>
                <a:gd name="connsiteX49" fmla="*/ 96739 w 956275"/>
                <a:gd name="connsiteY49" fmla="*/ 457200 h 503380"/>
                <a:gd name="connsiteX50" fmla="*/ 13820 w 956275"/>
                <a:gd name="connsiteY50" fmla="*/ 496783 h 503380"/>
                <a:gd name="connsiteX51" fmla="*/ 13820 w 956275"/>
                <a:gd name="connsiteY51" fmla="*/ 496784 h 503380"/>
                <a:gd name="connsiteX52" fmla="*/ 40672 w 956275"/>
                <a:gd name="connsiteY52" fmla="*/ 486851 h 503380"/>
                <a:gd name="connsiteX53" fmla="*/ 132458 w 956275"/>
                <a:gd name="connsiteY53" fmla="*/ 430387 h 503380"/>
                <a:gd name="connsiteX54" fmla="*/ 40672 w 956275"/>
                <a:gd name="connsiteY54" fmla="*/ 486852 h 503380"/>
                <a:gd name="connsiteX55" fmla="*/ 40672 w 956275"/>
                <a:gd name="connsiteY55" fmla="*/ 486852 h 503380"/>
                <a:gd name="connsiteX0" fmla="*/ 97137 w 956275"/>
                <a:gd name="connsiteY0" fmla="*/ 578637 h 578637"/>
                <a:gd name="connsiteX1" fmla="*/ 13820 w 956275"/>
                <a:gd name="connsiteY1" fmla="*/ 496784 h 578637"/>
                <a:gd name="connsiteX2" fmla="*/ 13820 w 956275"/>
                <a:gd name="connsiteY2" fmla="*/ 496784 h 578637"/>
                <a:gd name="connsiteX3" fmla="*/ 51019 w 956275"/>
                <a:gd name="connsiteY3" fmla="*/ 493776 h 578637"/>
                <a:gd name="connsiteX4" fmla="*/ 151603 w 956275"/>
                <a:gd name="connsiteY4" fmla="*/ 466344 h 578637"/>
                <a:gd name="connsiteX5" fmla="*/ 252187 w 956275"/>
                <a:gd name="connsiteY5" fmla="*/ 384048 h 578637"/>
                <a:gd name="connsiteX6" fmla="*/ 444211 w 956275"/>
                <a:gd name="connsiteY6" fmla="*/ 301752 h 578637"/>
                <a:gd name="connsiteX7" fmla="*/ 526507 w 956275"/>
                <a:gd name="connsiteY7" fmla="*/ 192024 h 578637"/>
                <a:gd name="connsiteX8" fmla="*/ 672811 w 956275"/>
                <a:gd name="connsiteY8" fmla="*/ 155448 h 578637"/>
                <a:gd name="connsiteX9" fmla="*/ 718531 w 956275"/>
                <a:gd name="connsiteY9" fmla="*/ 155448 h 578637"/>
                <a:gd name="connsiteX10" fmla="*/ 755107 w 956275"/>
                <a:gd name="connsiteY10" fmla="*/ 137160 h 578637"/>
                <a:gd name="connsiteX11" fmla="*/ 709387 w 956275"/>
                <a:gd name="connsiteY11" fmla="*/ 137160 h 578637"/>
                <a:gd name="connsiteX12" fmla="*/ 617947 w 956275"/>
                <a:gd name="connsiteY12" fmla="*/ 137160 h 578637"/>
                <a:gd name="connsiteX13" fmla="*/ 563083 w 956275"/>
                <a:gd name="connsiteY13" fmla="*/ 146304 h 578637"/>
                <a:gd name="connsiteX14" fmla="*/ 553939 w 956275"/>
                <a:gd name="connsiteY14" fmla="*/ 155448 h 578637"/>
                <a:gd name="connsiteX15" fmla="*/ 535651 w 956275"/>
                <a:gd name="connsiteY15" fmla="*/ 146304 h 578637"/>
                <a:gd name="connsiteX16" fmla="*/ 663667 w 956275"/>
                <a:gd name="connsiteY16" fmla="*/ 91440 h 578637"/>
                <a:gd name="connsiteX17" fmla="*/ 718531 w 956275"/>
                <a:gd name="connsiteY17" fmla="*/ 91440 h 578637"/>
                <a:gd name="connsiteX18" fmla="*/ 809971 w 956275"/>
                <a:gd name="connsiteY18" fmla="*/ 82296 h 578637"/>
                <a:gd name="connsiteX19" fmla="*/ 937987 w 956275"/>
                <a:gd name="connsiteY19" fmla="*/ 27432 h 578637"/>
                <a:gd name="connsiteX20" fmla="*/ 919699 w 956275"/>
                <a:gd name="connsiteY20" fmla="*/ 0 h 578637"/>
                <a:gd name="connsiteX21" fmla="*/ 883123 w 956275"/>
                <a:gd name="connsiteY21" fmla="*/ 27432 h 578637"/>
                <a:gd name="connsiteX22" fmla="*/ 846547 w 956275"/>
                <a:gd name="connsiteY22" fmla="*/ 36576 h 578637"/>
                <a:gd name="connsiteX23" fmla="*/ 773395 w 956275"/>
                <a:gd name="connsiteY23" fmla="*/ 64008 h 578637"/>
                <a:gd name="connsiteX24" fmla="*/ 718531 w 956275"/>
                <a:gd name="connsiteY24" fmla="*/ 64008 h 578637"/>
                <a:gd name="connsiteX25" fmla="*/ 608803 w 956275"/>
                <a:gd name="connsiteY25" fmla="*/ 64008 h 578637"/>
                <a:gd name="connsiteX26" fmla="*/ 553939 w 956275"/>
                <a:gd name="connsiteY26" fmla="*/ 100584 h 578637"/>
                <a:gd name="connsiteX27" fmla="*/ 517363 w 956275"/>
                <a:gd name="connsiteY27" fmla="*/ 146304 h 578637"/>
                <a:gd name="connsiteX28" fmla="*/ 471643 w 956275"/>
                <a:gd name="connsiteY28" fmla="*/ 182880 h 578637"/>
                <a:gd name="connsiteX29" fmla="*/ 425923 w 956275"/>
                <a:gd name="connsiteY29" fmla="*/ 256032 h 578637"/>
                <a:gd name="connsiteX30" fmla="*/ 352771 w 956275"/>
                <a:gd name="connsiteY30" fmla="*/ 301752 h 578637"/>
                <a:gd name="connsiteX31" fmla="*/ 252187 w 956275"/>
                <a:gd name="connsiteY31" fmla="*/ 347472 h 578637"/>
                <a:gd name="connsiteX32" fmla="*/ 215611 w 956275"/>
                <a:gd name="connsiteY32" fmla="*/ 374904 h 578637"/>
                <a:gd name="connsiteX33" fmla="*/ 169891 w 956275"/>
                <a:gd name="connsiteY33" fmla="*/ 402336 h 578637"/>
                <a:gd name="connsiteX34" fmla="*/ 151603 w 956275"/>
                <a:gd name="connsiteY34" fmla="*/ 402336 h 578637"/>
                <a:gd name="connsiteX35" fmla="*/ 169891 w 956275"/>
                <a:gd name="connsiteY35" fmla="*/ 365760 h 578637"/>
                <a:gd name="connsiteX36" fmla="*/ 224755 w 956275"/>
                <a:gd name="connsiteY36" fmla="*/ 301752 h 578637"/>
                <a:gd name="connsiteX37" fmla="*/ 316195 w 956275"/>
                <a:gd name="connsiteY37" fmla="*/ 219456 h 578637"/>
                <a:gd name="connsiteX38" fmla="*/ 361915 w 956275"/>
                <a:gd name="connsiteY38" fmla="*/ 146304 h 578637"/>
                <a:gd name="connsiteX39" fmla="*/ 361915 w 956275"/>
                <a:gd name="connsiteY39" fmla="*/ 64008 h 578637"/>
                <a:gd name="connsiteX40" fmla="*/ 352771 w 956275"/>
                <a:gd name="connsiteY40" fmla="*/ 54864 h 578637"/>
                <a:gd name="connsiteX41" fmla="*/ 343627 w 956275"/>
                <a:gd name="connsiteY41" fmla="*/ 128016 h 578637"/>
                <a:gd name="connsiteX42" fmla="*/ 316195 w 956275"/>
                <a:gd name="connsiteY42" fmla="*/ 173736 h 578637"/>
                <a:gd name="connsiteX43" fmla="*/ 243043 w 956275"/>
                <a:gd name="connsiteY43" fmla="*/ 237744 h 578637"/>
                <a:gd name="connsiteX44" fmla="*/ 215611 w 956275"/>
                <a:gd name="connsiteY44" fmla="*/ 256032 h 578637"/>
                <a:gd name="connsiteX45" fmla="*/ 142459 w 956275"/>
                <a:gd name="connsiteY45" fmla="*/ 347472 h 578637"/>
                <a:gd name="connsiteX46" fmla="*/ 133315 w 956275"/>
                <a:gd name="connsiteY46" fmla="*/ 374904 h 578637"/>
                <a:gd name="connsiteX47" fmla="*/ 124171 w 956275"/>
                <a:gd name="connsiteY47" fmla="*/ 411480 h 578637"/>
                <a:gd name="connsiteX48" fmla="*/ 142459 w 956275"/>
                <a:gd name="connsiteY48" fmla="*/ 429768 h 578637"/>
                <a:gd name="connsiteX49" fmla="*/ 96739 w 956275"/>
                <a:gd name="connsiteY49" fmla="*/ 457200 h 578637"/>
                <a:gd name="connsiteX50" fmla="*/ 13820 w 956275"/>
                <a:gd name="connsiteY50" fmla="*/ 496783 h 578637"/>
                <a:gd name="connsiteX51" fmla="*/ 13820 w 956275"/>
                <a:gd name="connsiteY51" fmla="*/ 496784 h 578637"/>
                <a:gd name="connsiteX52" fmla="*/ 40672 w 956275"/>
                <a:gd name="connsiteY52" fmla="*/ 486851 h 578637"/>
                <a:gd name="connsiteX53" fmla="*/ 132458 w 956275"/>
                <a:gd name="connsiteY53" fmla="*/ 430387 h 578637"/>
                <a:gd name="connsiteX54" fmla="*/ 40672 w 956275"/>
                <a:gd name="connsiteY54" fmla="*/ 486852 h 578637"/>
                <a:gd name="connsiteX55" fmla="*/ 97137 w 956275"/>
                <a:gd name="connsiteY55" fmla="*/ 578637 h 578637"/>
                <a:gd name="connsiteX0" fmla="*/ 97137 w 956275"/>
                <a:gd name="connsiteY0" fmla="*/ 578637 h 578637"/>
                <a:gd name="connsiteX1" fmla="*/ 13820 w 956275"/>
                <a:gd name="connsiteY1" fmla="*/ 496784 h 578637"/>
                <a:gd name="connsiteX2" fmla="*/ 13820 w 956275"/>
                <a:gd name="connsiteY2" fmla="*/ 496784 h 578637"/>
                <a:gd name="connsiteX3" fmla="*/ 51019 w 956275"/>
                <a:gd name="connsiteY3" fmla="*/ 493776 h 578637"/>
                <a:gd name="connsiteX4" fmla="*/ 151603 w 956275"/>
                <a:gd name="connsiteY4" fmla="*/ 466344 h 578637"/>
                <a:gd name="connsiteX5" fmla="*/ 252187 w 956275"/>
                <a:gd name="connsiteY5" fmla="*/ 384048 h 578637"/>
                <a:gd name="connsiteX6" fmla="*/ 444211 w 956275"/>
                <a:gd name="connsiteY6" fmla="*/ 301752 h 578637"/>
                <a:gd name="connsiteX7" fmla="*/ 526507 w 956275"/>
                <a:gd name="connsiteY7" fmla="*/ 192024 h 578637"/>
                <a:gd name="connsiteX8" fmla="*/ 672811 w 956275"/>
                <a:gd name="connsiteY8" fmla="*/ 155448 h 578637"/>
                <a:gd name="connsiteX9" fmla="*/ 718531 w 956275"/>
                <a:gd name="connsiteY9" fmla="*/ 155448 h 578637"/>
                <a:gd name="connsiteX10" fmla="*/ 755107 w 956275"/>
                <a:gd name="connsiteY10" fmla="*/ 137160 h 578637"/>
                <a:gd name="connsiteX11" fmla="*/ 709387 w 956275"/>
                <a:gd name="connsiteY11" fmla="*/ 137160 h 578637"/>
                <a:gd name="connsiteX12" fmla="*/ 617947 w 956275"/>
                <a:gd name="connsiteY12" fmla="*/ 137160 h 578637"/>
                <a:gd name="connsiteX13" fmla="*/ 563083 w 956275"/>
                <a:gd name="connsiteY13" fmla="*/ 146304 h 578637"/>
                <a:gd name="connsiteX14" fmla="*/ 553939 w 956275"/>
                <a:gd name="connsiteY14" fmla="*/ 155448 h 578637"/>
                <a:gd name="connsiteX15" fmla="*/ 535651 w 956275"/>
                <a:gd name="connsiteY15" fmla="*/ 146304 h 578637"/>
                <a:gd name="connsiteX16" fmla="*/ 663667 w 956275"/>
                <a:gd name="connsiteY16" fmla="*/ 91440 h 578637"/>
                <a:gd name="connsiteX17" fmla="*/ 718531 w 956275"/>
                <a:gd name="connsiteY17" fmla="*/ 91440 h 578637"/>
                <a:gd name="connsiteX18" fmla="*/ 809971 w 956275"/>
                <a:gd name="connsiteY18" fmla="*/ 82296 h 578637"/>
                <a:gd name="connsiteX19" fmla="*/ 937987 w 956275"/>
                <a:gd name="connsiteY19" fmla="*/ 27432 h 578637"/>
                <a:gd name="connsiteX20" fmla="*/ 919699 w 956275"/>
                <a:gd name="connsiteY20" fmla="*/ 0 h 578637"/>
                <a:gd name="connsiteX21" fmla="*/ 883123 w 956275"/>
                <a:gd name="connsiteY21" fmla="*/ 27432 h 578637"/>
                <a:gd name="connsiteX22" fmla="*/ 846547 w 956275"/>
                <a:gd name="connsiteY22" fmla="*/ 36576 h 578637"/>
                <a:gd name="connsiteX23" fmla="*/ 773395 w 956275"/>
                <a:gd name="connsiteY23" fmla="*/ 64008 h 578637"/>
                <a:gd name="connsiteX24" fmla="*/ 718531 w 956275"/>
                <a:gd name="connsiteY24" fmla="*/ 64008 h 578637"/>
                <a:gd name="connsiteX25" fmla="*/ 608803 w 956275"/>
                <a:gd name="connsiteY25" fmla="*/ 64008 h 578637"/>
                <a:gd name="connsiteX26" fmla="*/ 553939 w 956275"/>
                <a:gd name="connsiteY26" fmla="*/ 100584 h 578637"/>
                <a:gd name="connsiteX27" fmla="*/ 517363 w 956275"/>
                <a:gd name="connsiteY27" fmla="*/ 146304 h 578637"/>
                <a:gd name="connsiteX28" fmla="*/ 471643 w 956275"/>
                <a:gd name="connsiteY28" fmla="*/ 182880 h 578637"/>
                <a:gd name="connsiteX29" fmla="*/ 425923 w 956275"/>
                <a:gd name="connsiteY29" fmla="*/ 256032 h 578637"/>
                <a:gd name="connsiteX30" fmla="*/ 352771 w 956275"/>
                <a:gd name="connsiteY30" fmla="*/ 301752 h 578637"/>
                <a:gd name="connsiteX31" fmla="*/ 252187 w 956275"/>
                <a:gd name="connsiteY31" fmla="*/ 347472 h 578637"/>
                <a:gd name="connsiteX32" fmla="*/ 215611 w 956275"/>
                <a:gd name="connsiteY32" fmla="*/ 374904 h 578637"/>
                <a:gd name="connsiteX33" fmla="*/ 169891 w 956275"/>
                <a:gd name="connsiteY33" fmla="*/ 402336 h 578637"/>
                <a:gd name="connsiteX34" fmla="*/ 151603 w 956275"/>
                <a:gd name="connsiteY34" fmla="*/ 402336 h 578637"/>
                <a:gd name="connsiteX35" fmla="*/ 169891 w 956275"/>
                <a:gd name="connsiteY35" fmla="*/ 365760 h 578637"/>
                <a:gd name="connsiteX36" fmla="*/ 224755 w 956275"/>
                <a:gd name="connsiteY36" fmla="*/ 301752 h 578637"/>
                <a:gd name="connsiteX37" fmla="*/ 316195 w 956275"/>
                <a:gd name="connsiteY37" fmla="*/ 219456 h 578637"/>
                <a:gd name="connsiteX38" fmla="*/ 361915 w 956275"/>
                <a:gd name="connsiteY38" fmla="*/ 146304 h 578637"/>
                <a:gd name="connsiteX39" fmla="*/ 361915 w 956275"/>
                <a:gd name="connsiteY39" fmla="*/ 64008 h 578637"/>
                <a:gd name="connsiteX40" fmla="*/ 352771 w 956275"/>
                <a:gd name="connsiteY40" fmla="*/ 54864 h 578637"/>
                <a:gd name="connsiteX41" fmla="*/ 343627 w 956275"/>
                <a:gd name="connsiteY41" fmla="*/ 128016 h 578637"/>
                <a:gd name="connsiteX42" fmla="*/ 316195 w 956275"/>
                <a:gd name="connsiteY42" fmla="*/ 173736 h 578637"/>
                <a:gd name="connsiteX43" fmla="*/ 243043 w 956275"/>
                <a:gd name="connsiteY43" fmla="*/ 237744 h 578637"/>
                <a:gd name="connsiteX44" fmla="*/ 215611 w 956275"/>
                <a:gd name="connsiteY44" fmla="*/ 256032 h 578637"/>
                <a:gd name="connsiteX45" fmla="*/ 142459 w 956275"/>
                <a:gd name="connsiteY45" fmla="*/ 347472 h 578637"/>
                <a:gd name="connsiteX46" fmla="*/ 133315 w 956275"/>
                <a:gd name="connsiteY46" fmla="*/ 374904 h 578637"/>
                <a:gd name="connsiteX47" fmla="*/ 124171 w 956275"/>
                <a:gd name="connsiteY47" fmla="*/ 411480 h 578637"/>
                <a:gd name="connsiteX48" fmla="*/ 142459 w 956275"/>
                <a:gd name="connsiteY48" fmla="*/ 429768 h 578637"/>
                <a:gd name="connsiteX49" fmla="*/ 96739 w 956275"/>
                <a:gd name="connsiteY49" fmla="*/ 457200 h 578637"/>
                <a:gd name="connsiteX50" fmla="*/ 13820 w 956275"/>
                <a:gd name="connsiteY50" fmla="*/ 496783 h 578637"/>
                <a:gd name="connsiteX51" fmla="*/ 13820 w 956275"/>
                <a:gd name="connsiteY51" fmla="*/ 496784 h 578637"/>
                <a:gd name="connsiteX52" fmla="*/ 40672 w 956275"/>
                <a:gd name="connsiteY52" fmla="*/ 486851 h 578637"/>
                <a:gd name="connsiteX53" fmla="*/ 132458 w 956275"/>
                <a:gd name="connsiteY53" fmla="*/ 430387 h 578637"/>
                <a:gd name="connsiteX54" fmla="*/ 97137 w 956275"/>
                <a:gd name="connsiteY54" fmla="*/ 578637 h 578637"/>
                <a:gd name="connsiteX55" fmla="*/ 97137 w 956275"/>
                <a:gd name="connsiteY55" fmla="*/ 578637 h 578637"/>
                <a:gd name="connsiteX0" fmla="*/ 97137 w 956275"/>
                <a:gd name="connsiteY0" fmla="*/ 578637 h 578637"/>
                <a:gd name="connsiteX1" fmla="*/ 13820 w 956275"/>
                <a:gd name="connsiteY1" fmla="*/ 496784 h 578637"/>
                <a:gd name="connsiteX2" fmla="*/ 13820 w 956275"/>
                <a:gd name="connsiteY2" fmla="*/ 496784 h 578637"/>
                <a:gd name="connsiteX3" fmla="*/ 51019 w 956275"/>
                <a:gd name="connsiteY3" fmla="*/ 493776 h 578637"/>
                <a:gd name="connsiteX4" fmla="*/ 151603 w 956275"/>
                <a:gd name="connsiteY4" fmla="*/ 466344 h 578637"/>
                <a:gd name="connsiteX5" fmla="*/ 252187 w 956275"/>
                <a:gd name="connsiteY5" fmla="*/ 384048 h 578637"/>
                <a:gd name="connsiteX6" fmla="*/ 444211 w 956275"/>
                <a:gd name="connsiteY6" fmla="*/ 301752 h 578637"/>
                <a:gd name="connsiteX7" fmla="*/ 526507 w 956275"/>
                <a:gd name="connsiteY7" fmla="*/ 192024 h 578637"/>
                <a:gd name="connsiteX8" fmla="*/ 672811 w 956275"/>
                <a:gd name="connsiteY8" fmla="*/ 155448 h 578637"/>
                <a:gd name="connsiteX9" fmla="*/ 718531 w 956275"/>
                <a:gd name="connsiteY9" fmla="*/ 155448 h 578637"/>
                <a:gd name="connsiteX10" fmla="*/ 755107 w 956275"/>
                <a:gd name="connsiteY10" fmla="*/ 137160 h 578637"/>
                <a:gd name="connsiteX11" fmla="*/ 709387 w 956275"/>
                <a:gd name="connsiteY11" fmla="*/ 137160 h 578637"/>
                <a:gd name="connsiteX12" fmla="*/ 617947 w 956275"/>
                <a:gd name="connsiteY12" fmla="*/ 137160 h 578637"/>
                <a:gd name="connsiteX13" fmla="*/ 563083 w 956275"/>
                <a:gd name="connsiteY13" fmla="*/ 146304 h 578637"/>
                <a:gd name="connsiteX14" fmla="*/ 553939 w 956275"/>
                <a:gd name="connsiteY14" fmla="*/ 155448 h 578637"/>
                <a:gd name="connsiteX15" fmla="*/ 535651 w 956275"/>
                <a:gd name="connsiteY15" fmla="*/ 146304 h 578637"/>
                <a:gd name="connsiteX16" fmla="*/ 663667 w 956275"/>
                <a:gd name="connsiteY16" fmla="*/ 91440 h 578637"/>
                <a:gd name="connsiteX17" fmla="*/ 718531 w 956275"/>
                <a:gd name="connsiteY17" fmla="*/ 91440 h 578637"/>
                <a:gd name="connsiteX18" fmla="*/ 809971 w 956275"/>
                <a:gd name="connsiteY18" fmla="*/ 82296 h 578637"/>
                <a:gd name="connsiteX19" fmla="*/ 937987 w 956275"/>
                <a:gd name="connsiteY19" fmla="*/ 27432 h 578637"/>
                <a:gd name="connsiteX20" fmla="*/ 919699 w 956275"/>
                <a:gd name="connsiteY20" fmla="*/ 0 h 578637"/>
                <a:gd name="connsiteX21" fmla="*/ 883123 w 956275"/>
                <a:gd name="connsiteY21" fmla="*/ 27432 h 578637"/>
                <a:gd name="connsiteX22" fmla="*/ 846547 w 956275"/>
                <a:gd name="connsiteY22" fmla="*/ 36576 h 578637"/>
                <a:gd name="connsiteX23" fmla="*/ 773395 w 956275"/>
                <a:gd name="connsiteY23" fmla="*/ 64008 h 578637"/>
                <a:gd name="connsiteX24" fmla="*/ 718531 w 956275"/>
                <a:gd name="connsiteY24" fmla="*/ 64008 h 578637"/>
                <a:gd name="connsiteX25" fmla="*/ 608803 w 956275"/>
                <a:gd name="connsiteY25" fmla="*/ 64008 h 578637"/>
                <a:gd name="connsiteX26" fmla="*/ 553939 w 956275"/>
                <a:gd name="connsiteY26" fmla="*/ 100584 h 578637"/>
                <a:gd name="connsiteX27" fmla="*/ 517363 w 956275"/>
                <a:gd name="connsiteY27" fmla="*/ 146304 h 578637"/>
                <a:gd name="connsiteX28" fmla="*/ 471643 w 956275"/>
                <a:gd name="connsiteY28" fmla="*/ 182880 h 578637"/>
                <a:gd name="connsiteX29" fmla="*/ 425923 w 956275"/>
                <a:gd name="connsiteY29" fmla="*/ 256032 h 578637"/>
                <a:gd name="connsiteX30" fmla="*/ 352771 w 956275"/>
                <a:gd name="connsiteY30" fmla="*/ 301752 h 578637"/>
                <a:gd name="connsiteX31" fmla="*/ 252187 w 956275"/>
                <a:gd name="connsiteY31" fmla="*/ 347472 h 578637"/>
                <a:gd name="connsiteX32" fmla="*/ 215611 w 956275"/>
                <a:gd name="connsiteY32" fmla="*/ 374904 h 578637"/>
                <a:gd name="connsiteX33" fmla="*/ 169891 w 956275"/>
                <a:gd name="connsiteY33" fmla="*/ 402336 h 578637"/>
                <a:gd name="connsiteX34" fmla="*/ 151603 w 956275"/>
                <a:gd name="connsiteY34" fmla="*/ 402336 h 578637"/>
                <a:gd name="connsiteX35" fmla="*/ 169891 w 956275"/>
                <a:gd name="connsiteY35" fmla="*/ 365760 h 578637"/>
                <a:gd name="connsiteX36" fmla="*/ 224755 w 956275"/>
                <a:gd name="connsiteY36" fmla="*/ 301752 h 578637"/>
                <a:gd name="connsiteX37" fmla="*/ 316195 w 956275"/>
                <a:gd name="connsiteY37" fmla="*/ 219456 h 578637"/>
                <a:gd name="connsiteX38" fmla="*/ 361915 w 956275"/>
                <a:gd name="connsiteY38" fmla="*/ 146304 h 578637"/>
                <a:gd name="connsiteX39" fmla="*/ 361915 w 956275"/>
                <a:gd name="connsiteY39" fmla="*/ 64008 h 578637"/>
                <a:gd name="connsiteX40" fmla="*/ 352771 w 956275"/>
                <a:gd name="connsiteY40" fmla="*/ 54864 h 578637"/>
                <a:gd name="connsiteX41" fmla="*/ 343627 w 956275"/>
                <a:gd name="connsiteY41" fmla="*/ 128016 h 578637"/>
                <a:gd name="connsiteX42" fmla="*/ 316195 w 956275"/>
                <a:gd name="connsiteY42" fmla="*/ 173736 h 578637"/>
                <a:gd name="connsiteX43" fmla="*/ 243043 w 956275"/>
                <a:gd name="connsiteY43" fmla="*/ 237744 h 578637"/>
                <a:gd name="connsiteX44" fmla="*/ 215611 w 956275"/>
                <a:gd name="connsiteY44" fmla="*/ 256032 h 578637"/>
                <a:gd name="connsiteX45" fmla="*/ 142459 w 956275"/>
                <a:gd name="connsiteY45" fmla="*/ 347472 h 578637"/>
                <a:gd name="connsiteX46" fmla="*/ 133315 w 956275"/>
                <a:gd name="connsiteY46" fmla="*/ 374904 h 578637"/>
                <a:gd name="connsiteX47" fmla="*/ 124171 w 956275"/>
                <a:gd name="connsiteY47" fmla="*/ 411480 h 578637"/>
                <a:gd name="connsiteX48" fmla="*/ 142459 w 956275"/>
                <a:gd name="connsiteY48" fmla="*/ 429768 h 578637"/>
                <a:gd name="connsiteX49" fmla="*/ 96739 w 956275"/>
                <a:gd name="connsiteY49" fmla="*/ 457200 h 578637"/>
                <a:gd name="connsiteX50" fmla="*/ 13820 w 956275"/>
                <a:gd name="connsiteY50" fmla="*/ 496783 h 578637"/>
                <a:gd name="connsiteX51" fmla="*/ 13820 w 956275"/>
                <a:gd name="connsiteY51" fmla="*/ 496784 h 578637"/>
                <a:gd name="connsiteX52" fmla="*/ 23012 w 956275"/>
                <a:gd name="connsiteY52" fmla="*/ 560977 h 578637"/>
                <a:gd name="connsiteX53" fmla="*/ 132458 w 956275"/>
                <a:gd name="connsiteY53" fmla="*/ 430387 h 578637"/>
                <a:gd name="connsiteX54" fmla="*/ 97137 w 956275"/>
                <a:gd name="connsiteY54" fmla="*/ 578637 h 578637"/>
                <a:gd name="connsiteX55" fmla="*/ 97137 w 956275"/>
                <a:gd name="connsiteY55" fmla="*/ 578637 h 578637"/>
                <a:gd name="connsiteX0" fmla="*/ 97137 w 956275"/>
                <a:gd name="connsiteY0" fmla="*/ 578637 h 578637"/>
                <a:gd name="connsiteX1" fmla="*/ 13820 w 956275"/>
                <a:gd name="connsiteY1" fmla="*/ 496784 h 578637"/>
                <a:gd name="connsiteX2" fmla="*/ 13820 w 956275"/>
                <a:gd name="connsiteY2" fmla="*/ 496784 h 578637"/>
                <a:gd name="connsiteX3" fmla="*/ 51019 w 956275"/>
                <a:gd name="connsiteY3" fmla="*/ 493776 h 578637"/>
                <a:gd name="connsiteX4" fmla="*/ 151603 w 956275"/>
                <a:gd name="connsiteY4" fmla="*/ 466344 h 578637"/>
                <a:gd name="connsiteX5" fmla="*/ 252187 w 956275"/>
                <a:gd name="connsiteY5" fmla="*/ 384048 h 578637"/>
                <a:gd name="connsiteX6" fmla="*/ 444211 w 956275"/>
                <a:gd name="connsiteY6" fmla="*/ 301752 h 578637"/>
                <a:gd name="connsiteX7" fmla="*/ 526507 w 956275"/>
                <a:gd name="connsiteY7" fmla="*/ 192024 h 578637"/>
                <a:gd name="connsiteX8" fmla="*/ 672811 w 956275"/>
                <a:gd name="connsiteY8" fmla="*/ 155448 h 578637"/>
                <a:gd name="connsiteX9" fmla="*/ 718531 w 956275"/>
                <a:gd name="connsiteY9" fmla="*/ 155448 h 578637"/>
                <a:gd name="connsiteX10" fmla="*/ 755107 w 956275"/>
                <a:gd name="connsiteY10" fmla="*/ 137160 h 578637"/>
                <a:gd name="connsiteX11" fmla="*/ 709387 w 956275"/>
                <a:gd name="connsiteY11" fmla="*/ 137160 h 578637"/>
                <a:gd name="connsiteX12" fmla="*/ 617947 w 956275"/>
                <a:gd name="connsiteY12" fmla="*/ 137160 h 578637"/>
                <a:gd name="connsiteX13" fmla="*/ 563083 w 956275"/>
                <a:gd name="connsiteY13" fmla="*/ 146304 h 578637"/>
                <a:gd name="connsiteX14" fmla="*/ 553939 w 956275"/>
                <a:gd name="connsiteY14" fmla="*/ 155448 h 578637"/>
                <a:gd name="connsiteX15" fmla="*/ 535651 w 956275"/>
                <a:gd name="connsiteY15" fmla="*/ 146304 h 578637"/>
                <a:gd name="connsiteX16" fmla="*/ 663667 w 956275"/>
                <a:gd name="connsiteY16" fmla="*/ 91440 h 578637"/>
                <a:gd name="connsiteX17" fmla="*/ 718531 w 956275"/>
                <a:gd name="connsiteY17" fmla="*/ 91440 h 578637"/>
                <a:gd name="connsiteX18" fmla="*/ 809971 w 956275"/>
                <a:gd name="connsiteY18" fmla="*/ 82296 h 578637"/>
                <a:gd name="connsiteX19" fmla="*/ 937987 w 956275"/>
                <a:gd name="connsiteY19" fmla="*/ 27432 h 578637"/>
                <a:gd name="connsiteX20" fmla="*/ 919699 w 956275"/>
                <a:gd name="connsiteY20" fmla="*/ 0 h 578637"/>
                <a:gd name="connsiteX21" fmla="*/ 883123 w 956275"/>
                <a:gd name="connsiteY21" fmla="*/ 27432 h 578637"/>
                <a:gd name="connsiteX22" fmla="*/ 846547 w 956275"/>
                <a:gd name="connsiteY22" fmla="*/ 36576 h 578637"/>
                <a:gd name="connsiteX23" fmla="*/ 773395 w 956275"/>
                <a:gd name="connsiteY23" fmla="*/ 64008 h 578637"/>
                <a:gd name="connsiteX24" fmla="*/ 718531 w 956275"/>
                <a:gd name="connsiteY24" fmla="*/ 64008 h 578637"/>
                <a:gd name="connsiteX25" fmla="*/ 608803 w 956275"/>
                <a:gd name="connsiteY25" fmla="*/ 64008 h 578637"/>
                <a:gd name="connsiteX26" fmla="*/ 553939 w 956275"/>
                <a:gd name="connsiteY26" fmla="*/ 100584 h 578637"/>
                <a:gd name="connsiteX27" fmla="*/ 517363 w 956275"/>
                <a:gd name="connsiteY27" fmla="*/ 146304 h 578637"/>
                <a:gd name="connsiteX28" fmla="*/ 471643 w 956275"/>
                <a:gd name="connsiteY28" fmla="*/ 182880 h 578637"/>
                <a:gd name="connsiteX29" fmla="*/ 425923 w 956275"/>
                <a:gd name="connsiteY29" fmla="*/ 256032 h 578637"/>
                <a:gd name="connsiteX30" fmla="*/ 352771 w 956275"/>
                <a:gd name="connsiteY30" fmla="*/ 301752 h 578637"/>
                <a:gd name="connsiteX31" fmla="*/ 252187 w 956275"/>
                <a:gd name="connsiteY31" fmla="*/ 347472 h 578637"/>
                <a:gd name="connsiteX32" fmla="*/ 215611 w 956275"/>
                <a:gd name="connsiteY32" fmla="*/ 374904 h 578637"/>
                <a:gd name="connsiteX33" fmla="*/ 169891 w 956275"/>
                <a:gd name="connsiteY33" fmla="*/ 402336 h 578637"/>
                <a:gd name="connsiteX34" fmla="*/ 151603 w 956275"/>
                <a:gd name="connsiteY34" fmla="*/ 402336 h 578637"/>
                <a:gd name="connsiteX35" fmla="*/ 169891 w 956275"/>
                <a:gd name="connsiteY35" fmla="*/ 365760 h 578637"/>
                <a:gd name="connsiteX36" fmla="*/ 224755 w 956275"/>
                <a:gd name="connsiteY36" fmla="*/ 301752 h 578637"/>
                <a:gd name="connsiteX37" fmla="*/ 316195 w 956275"/>
                <a:gd name="connsiteY37" fmla="*/ 219456 h 578637"/>
                <a:gd name="connsiteX38" fmla="*/ 361915 w 956275"/>
                <a:gd name="connsiteY38" fmla="*/ 146304 h 578637"/>
                <a:gd name="connsiteX39" fmla="*/ 361915 w 956275"/>
                <a:gd name="connsiteY39" fmla="*/ 64008 h 578637"/>
                <a:gd name="connsiteX40" fmla="*/ 352771 w 956275"/>
                <a:gd name="connsiteY40" fmla="*/ 54864 h 578637"/>
                <a:gd name="connsiteX41" fmla="*/ 343627 w 956275"/>
                <a:gd name="connsiteY41" fmla="*/ 128016 h 578637"/>
                <a:gd name="connsiteX42" fmla="*/ 316195 w 956275"/>
                <a:gd name="connsiteY42" fmla="*/ 173736 h 578637"/>
                <a:gd name="connsiteX43" fmla="*/ 243043 w 956275"/>
                <a:gd name="connsiteY43" fmla="*/ 237744 h 578637"/>
                <a:gd name="connsiteX44" fmla="*/ 215611 w 956275"/>
                <a:gd name="connsiteY44" fmla="*/ 256032 h 578637"/>
                <a:gd name="connsiteX45" fmla="*/ 142459 w 956275"/>
                <a:gd name="connsiteY45" fmla="*/ 347472 h 578637"/>
                <a:gd name="connsiteX46" fmla="*/ 133315 w 956275"/>
                <a:gd name="connsiteY46" fmla="*/ 374904 h 578637"/>
                <a:gd name="connsiteX47" fmla="*/ 124171 w 956275"/>
                <a:gd name="connsiteY47" fmla="*/ 411480 h 578637"/>
                <a:gd name="connsiteX48" fmla="*/ 142459 w 956275"/>
                <a:gd name="connsiteY48" fmla="*/ 429768 h 578637"/>
                <a:gd name="connsiteX49" fmla="*/ 96739 w 956275"/>
                <a:gd name="connsiteY49" fmla="*/ 457200 h 578637"/>
                <a:gd name="connsiteX50" fmla="*/ 13820 w 956275"/>
                <a:gd name="connsiteY50" fmla="*/ 496783 h 578637"/>
                <a:gd name="connsiteX51" fmla="*/ 13820 w 956275"/>
                <a:gd name="connsiteY51" fmla="*/ 496784 h 578637"/>
                <a:gd name="connsiteX52" fmla="*/ 132458 w 956275"/>
                <a:gd name="connsiteY52" fmla="*/ 430387 h 578637"/>
                <a:gd name="connsiteX53" fmla="*/ 132458 w 956275"/>
                <a:gd name="connsiteY53" fmla="*/ 430387 h 578637"/>
                <a:gd name="connsiteX54" fmla="*/ 97137 w 956275"/>
                <a:gd name="connsiteY54" fmla="*/ 578637 h 578637"/>
                <a:gd name="connsiteX55" fmla="*/ 97137 w 956275"/>
                <a:gd name="connsiteY55" fmla="*/ 578637 h 578637"/>
                <a:gd name="connsiteX0" fmla="*/ 89270 w 948408"/>
                <a:gd name="connsiteY0" fmla="*/ 578637 h 578637"/>
                <a:gd name="connsiteX1" fmla="*/ 5953 w 948408"/>
                <a:gd name="connsiteY1" fmla="*/ 496784 h 578637"/>
                <a:gd name="connsiteX2" fmla="*/ 5953 w 948408"/>
                <a:gd name="connsiteY2" fmla="*/ 496784 h 578637"/>
                <a:gd name="connsiteX3" fmla="*/ 43152 w 948408"/>
                <a:gd name="connsiteY3" fmla="*/ 493776 h 578637"/>
                <a:gd name="connsiteX4" fmla="*/ 143736 w 948408"/>
                <a:gd name="connsiteY4" fmla="*/ 466344 h 578637"/>
                <a:gd name="connsiteX5" fmla="*/ 244320 w 948408"/>
                <a:gd name="connsiteY5" fmla="*/ 384048 h 578637"/>
                <a:gd name="connsiteX6" fmla="*/ 436344 w 948408"/>
                <a:gd name="connsiteY6" fmla="*/ 301752 h 578637"/>
                <a:gd name="connsiteX7" fmla="*/ 518640 w 948408"/>
                <a:gd name="connsiteY7" fmla="*/ 192024 h 578637"/>
                <a:gd name="connsiteX8" fmla="*/ 664944 w 948408"/>
                <a:gd name="connsiteY8" fmla="*/ 155448 h 578637"/>
                <a:gd name="connsiteX9" fmla="*/ 710664 w 948408"/>
                <a:gd name="connsiteY9" fmla="*/ 155448 h 578637"/>
                <a:gd name="connsiteX10" fmla="*/ 747240 w 948408"/>
                <a:gd name="connsiteY10" fmla="*/ 137160 h 578637"/>
                <a:gd name="connsiteX11" fmla="*/ 701520 w 948408"/>
                <a:gd name="connsiteY11" fmla="*/ 137160 h 578637"/>
                <a:gd name="connsiteX12" fmla="*/ 610080 w 948408"/>
                <a:gd name="connsiteY12" fmla="*/ 137160 h 578637"/>
                <a:gd name="connsiteX13" fmla="*/ 555216 w 948408"/>
                <a:gd name="connsiteY13" fmla="*/ 146304 h 578637"/>
                <a:gd name="connsiteX14" fmla="*/ 546072 w 948408"/>
                <a:gd name="connsiteY14" fmla="*/ 155448 h 578637"/>
                <a:gd name="connsiteX15" fmla="*/ 527784 w 948408"/>
                <a:gd name="connsiteY15" fmla="*/ 146304 h 578637"/>
                <a:gd name="connsiteX16" fmla="*/ 655800 w 948408"/>
                <a:gd name="connsiteY16" fmla="*/ 91440 h 578637"/>
                <a:gd name="connsiteX17" fmla="*/ 710664 w 948408"/>
                <a:gd name="connsiteY17" fmla="*/ 91440 h 578637"/>
                <a:gd name="connsiteX18" fmla="*/ 802104 w 948408"/>
                <a:gd name="connsiteY18" fmla="*/ 82296 h 578637"/>
                <a:gd name="connsiteX19" fmla="*/ 930120 w 948408"/>
                <a:gd name="connsiteY19" fmla="*/ 27432 h 578637"/>
                <a:gd name="connsiteX20" fmla="*/ 911832 w 948408"/>
                <a:gd name="connsiteY20" fmla="*/ 0 h 578637"/>
                <a:gd name="connsiteX21" fmla="*/ 875256 w 948408"/>
                <a:gd name="connsiteY21" fmla="*/ 27432 h 578637"/>
                <a:gd name="connsiteX22" fmla="*/ 838680 w 948408"/>
                <a:gd name="connsiteY22" fmla="*/ 36576 h 578637"/>
                <a:gd name="connsiteX23" fmla="*/ 765528 w 948408"/>
                <a:gd name="connsiteY23" fmla="*/ 64008 h 578637"/>
                <a:gd name="connsiteX24" fmla="*/ 710664 w 948408"/>
                <a:gd name="connsiteY24" fmla="*/ 64008 h 578637"/>
                <a:gd name="connsiteX25" fmla="*/ 600936 w 948408"/>
                <a:gd name="connsiteY25" fmla="*/ 64008 h 578637"/>
                <a:gd name="connsiteX26" fmla="*/ 546072 w 948408"/>
                <a:gd name="connsiteY26" fmla="*/ 100584 h 578637"/>
                <a:gd name="connsiteX27" fmla="*/ 509496 w 948408"/>
                <a:gd name="connsiteY27" fmla="*/ 146304 h 578637"/>
                <a:gd name="connsiteX28" fmla="*/ 463776 w 948408"/>
                <a:gd name="connsiteY28" fmla="*/ 182880 h 578637"/>
                <a:gd name="connsiteX29" fmla="*/ 418056 w 948408"/>
                <a:gd name="connsiteY29" fmla="*/ 256032 h 578637"/>
                <a:gd name="connsiteX30" fmla="*/ 344904 w 948408"/>
                <a:gd name="connsiteY30" fmla="*/ 301752 h 578637"/>
                <a:gd name="connsiteX31" fmla="*/ 244320 w 948408"/>
                <a:gd name="connsiteY31" fmla="*/ 347472 h 578637"/>
                <a:gd name="connsiteX32" fmla="*/ 207744 w 948408"/>
                <a:gd name="connsiteY32" fmla="*/ 374904 h 578637"/>
                <a:gd name="connsiteX33" fmla="*/ 162024 w 948408"/>
                <a:gd name="connsiteY33" fmla="*/ 402336 h 578637"/>
                <a:gd name="connsiteX34" fmla="*/ 143736 w 948408"/>
                <a:gd name="connsiteY34" fmla="*/ 402336 h 578637"/>
                <a:gd name="connsiteX35" fmla="*/ 162024 w 948408"/>
                <a:gd name="connsiteY35" fmla="*/ 365760 h 578637"/>
                <a:gd name="connsiteX36" fmla="*/ 216888 w 948408"/>
                <a:gd name="connsiteY36" fmla="*/ 301752 h 578637"/>
                <a:gd name="connsiteX37" fmla="*/ 308328 w 948408"/>
                <a:gd name="connsiteY37" fmla="*/ 219456 h 578637"/>
                <a:gd name="connsiteX38" fmla="*/ 354048 w 948408"/>
                <a:gd name="connsiteY38" fmla="*/ 146304 h 578637"/>
                <a:gd name="connsiteX39" fmla="*/ 354048 w 948408"/>
                <a:gd name="connsiteY39" fmla="*/ 64008 h 578637"/>
                <a:gd name="connsiteX40" fmla="*/ 344904 w 948408"/>
                <a:gd name="connsiteY40" fmla="*/ 54864 h 578637"/>
                <a:gd name="connsiteX41" fmla="*/ 335760 w 948408"/>
                <a:gd name="connsiteY41" fmla="*/ 128016 h 578637"/>
                <a:gd name="connsiteX42" fmla="*/ 308328 w 948408"/>
                <a:gd name="connsiteY42" fmla="*/ 173736 h 578637"/>
                <a:gd name="connsiteX43" fmla="*/ 235176 w 948408"/>
                <a:gd name="connsiteY43" fmla="*/ 237744 h 578637"/>
                <a:gd name="connsiteX44" fmla="*/ 207744 w 948408"/>
                <a:gd name="connsiteY44" fmla="*/ 256032 h 578637"/>
                <a:gd name="connsiteX45" fmla="*/ 134592 w 948408"/>
                <a:gd name="connsiteY45" fmla="*/ 347472 h 578637"/>
                <a:gd name="connsiteX46" fmla="*/ 125448 w 948408"/>
                <a:gd name="connsiteY46" fmla="*/ 374904 h 578637"/>
                <a:gd name="connsiteX47" fmla="*/ 116304 w 948408"/>
                <a:gd name="connsiteY47" fmla="*/ 411480 h 578637"/>
                <a:gd name="connsiteX48" fmla="*/ 134592 w 948408"/>
                <a:gd name="connsiteY48" fmla="*/ 429768 h 578637"/>
                <a:gd name="connsiteX49" fmla="*/ 88872 w 948408"/>
                <a:gd name="connsiteY49" fmla="*/ 457200 h 578637"/>
                <a:gd name="connsiteX50" fmla="*/ 5953 w 948408"/>
                <a:gd name="connsiteY50" fmla="*/ 496783 h 578637"/>
                <a:gd name="connsiteX51" fmla="*/ 124591 w 948408"/>
                <a:gd name="connsiteY51" fmla="*/ 430387 h 578637"/>
                <a:gd name="connsiteX52" fmla="*/ 124591 w 948408"/>
                <a:gd name="connsiteY52" fmla="*/ 430387 h 578637"/>
                <a:gd name="connsiteX53" fmla="*/ 124591 w 948408"/>
                <a:gd name="connsiteY53" fmla="*/ 430387 h 578637"/>
                <a:gd name="connsiteX54" fmla="*/ 89270 w 948408"/>
                <a:gd name="connsiteY54" fmla="*/ 578637 h 578637"/>
                <a:gd name="connsiteX55" fmla="*/ 89270 w 948408"/>
                <a:gd name="connsiteY55" fmla="*/ 578637 h 578637"/>
                <a:gd name="connsiteX0" fmla="*/ 83317 w 942455"/>
                <a:gd name="connsiteY0" fmla="*/ 578637 h 578637"/>
                <a:gd name="connsiteX1" fmla="*/ 0 w 942455"/>
                <a:gd name="connsiteY1" fmla="*/ 496784 h 578637"/>
                <a:gd name="connsiteX2" fmla="*/ 0 w 942455"/>
                <a:gd name="connsiteY2" fmla="*/ 496784 h 578637"/>
                <a:gd name="connsiteX3" fmla="*/ 37199 w 942455"/>
                <a:gd name="connsiteY3" fmla="*/ 493776 h 578637"/>
                <a:gd name="connsiteX4" fmla="*/ 137783 w 942455"/>
                <a:gd name="connsiteY4" fmla="*/ 466344 h 578637"/>
                <a:gd name="connsiteX5" fmla="*/ 238367 w 942455"/>
                <a:gd name="connsiteY5" fmla="*/ 384048 h 578637"/>
                <a:gd name="connsiteX6" fmla="*/ 430391 w 942455"/>
                <a:gd name="connsiteY6" fmla="*/ 301752 h 578637"/>
                <a:gd name="connsiteX7" fmla="*/ 512687 w 942455"/>
                <a:gd name="connsiteY7" fmla="*/ 192024 h 578637"/>
                <a:gd name="connsiteX8" fmla="*/ 658991 w 942455"/>
                <a:gd name="connsiteY8" fmla="*/ 155448 h 578637"/>
                <a:gd name="connsiteX9" fmla="*/ 704711 w 942455"/>
                <a:gd name="connsiteY9" fmla="*/ 155448 h 578637"/>
                <a:gd name="connsiteX10" fmla="*/ 741287 w 942455"/>
                <a:gd name="connsiteY10" fmla="*/ 137160 h 578637"/>
                <a:gd name="connsiteX11" fmla="*/ 695567 w 942455"/>
                <a:gd name="connsiteY11" fmla="*/ 137160 h 578637"/>
                <a:gd name="connsiteX12" fmla="*/ 604127 w 942455"/>
                <a:gd name="connsiteY12" fmla="*/ 137160 h 578637"/>
                <a:gd name="connsiteX13" fmla="*/ 549263 w 942455"/>
                <a:gd name="connsiteY13" fmla="*/ 146304 h 578637"/>
                <a:gd name="connsiteX14" fmla="*/ 540119 w 942455"/>
                <a:gd name="connsiteY14" fmla="*/ 155448 h 578637"/>
                <a:gd name="connsiteX15" fmla="*/ 521831 w 942455"/>
                <a:gd name="connsiteY15" fmla="*/ 146304 h 578637"/>
                <a:gd name="connsiteX16" fmla="*/ 649847 w 942455"/>
                <a:gd name="connsiteY16" fmla="*/ 91440 h 578637"/>
                <a:gd name="connsiteX17" fmla="*/ 704711 w 942455"/>
                <a:gd name="connsiteY17" fmla="*/ 91440 h 578637"/>
                <a:gd name="connsiteX18" fmla="*/ 796151 w 942455"/>
                <a:gd name="connsiteY18" fmla="*/ 82296 h 578637"/>
                <a:gd name="connsiteX19" fmla="*/ 924167 w 942455"/>
                <a:gd name="connsiteY19" fmla="*/ 27432 h 578637"/>
                <a:gd name="connsiteX20" fmla="*/ 905879 w 942455"/>
                <a:gd name="connsiteY20" fmla="*/ 0 h 578637"/>
                <a:gd name="connsiteX21" fmla="*/ 869303 w 942455"/>
                <a:gd name="connsiteY21" fmla="*/ 27432 h 578637"/>
                <a:gd name="connsiteX22" fmla="*/ 832727 w 942455"/>
                <a:gd name="connsiteY22" fmla="*/ 36576 h 578637"/>
                <a:gd name="connsiteX23" fmla="*/ 759575 w 942455"/>
                <a:gd name="connsiteY23" fmla="*/ 64008 h 578637"/>
                <a:gd name="connsiteX24" fmla="*/ 704711 w 942455"/>
                <a:gd name="connsiteY24" fmla="*/ 64008 h 578637"/>
                <a:gd name="connsiteX25" fmla="*/ 594983 w 942455"/>
                <a:gd name="connsiteY25" fmla="*/ 64008 h 578637"/>
                <a:gd name="connsiteX26" fmla="*/ 540119 w 942455"/>
                <a:gd name="connsiteY26" fmla="*/ 100584 h 578637"/>
                <a:gd name="connsiteX27" fmla="*/ 503543 w 942455"/>
                <a:gd name="connsiteY27" fmla="*/ 146304 h 578637"/>
                <a:gd name="connsiteX28" fmla="*/ 457823 w 942455"/>
                <a:gd name="connsiteY28" fmla="*/ 182880 h 578637"/>
                <a:gd name="connsiteX29" fmla="*/ 412103 w 942455"/>
                <a:gd name="connsiteY29" fmla="*/ 256032 h 578637"/>
                <a:gd name="connsiteX30" fmla="*/ 338951 w 942455"/>
                <a:gd name="connsiteY30" fmla="*/ 301752 h 578637"/>
                <a:gd name="connsiteX31" fmla="*/ 238367 w 942455"/>
                <a:gd name="connsiteY31" fmla="*/ 347472 h 578637"/>
                <a:gd name="connsiteX32" fmla="*/ 201791 w 942455"/>
                <a:gd name="connsiteY32" fmla="*/ 374904 h 578637"/>
                <a:gd name="connsiteX33" fmla="*/ 156071 w 942455"/>
                <a:gd name="connsiteY33" fmla="*/ 402336 h 578637"/>
                <a:gd name="connsiteX34" fmla="*/ 137783 w 942455"/>
                <a:gd name="connsiteY34" fmla="*/ 402336 h 578637"/>
                <a:gd name="connsiteX35" fmla="*/ 156071 w 942455"/>
                <a:gd name="connsiteY35" fmla="*/ 365760 h 578637"/>
                <a:gd name="connsiteX36" fmla="*/ 210935 w 942455"/>
                <a:gd name="connsiteY36" fmla="*/ 301752 h 578637"/>
                <a:gd name="connsiteX37" fmla="*/ 302375 w 942455"/>
                <a:gd name="connsiteY37" fmla="*/ 219456 h 578637"/>
                <a:gd name="connsiteX38" fmla="*/ 348095 w 942455"/>
                <a:gd name="connsiteY38" fmla="*/ 146304 h 578637"/>
                <a:gd name="connsiteX39" fmla="*/ 348095 w 942455"/>
                <a:gd name="connsiteY39" fmla="*/ 64008 h 578637"/>
                <a:gd name="connsiteX40" fmla="*/ 338951 w 942455"/>
                <a:gd name="connsiteY40" fmla="*/ 54864 h 578637"/>
                <a:gd name="connsiteX41" fmla="*/ 329807 w 942455"/>
                <a:gd name="connsiteY41" fmla="*/ 128016 h 578637"/>
                <a:gd name="connsiteX42" fmla="*/ 302375 w 942455"/>
                <a:gd name="connsiteY42" fmla="*/ 173736 h 578637"/>
                <a:gd name="connsiteX43" fmla="*/ 229223 w 942455"/>
                <a:gd name="connsiteY43" fmla="*/ 237744 h 578637"/>
                <a:gd name="connsiteX44" fmla="*/ 201791 w 942455"/>
                <a:gd name="connsiteY44" fmla="*/ 256032 h 578637"/>
                <a:gd name="connsiteX45" fmla="*/ 128639 w 942455"/>
                <a:gd name="connsiteY45" fmla="*/ 347472 h 578637"/>
                <a:gd name="connsiteX46" fmla="*/ 119495 w 942455"/>
                <a:gd name="connsiteY46" fmla="*/ 374904 h 578637"/>
                <a:gd name="connsiteX47" fmla="*/ 110351 w 942455"/>
                <a:gd name="connsiteY47" fmla="*/ 411480 h 578637"/>
                <a:gd name="connsiteX48" fmla="*/ 128639 w 942455"/>
                <a:gd name="connsiteY48" fmla="*/ 429768 h 578637"/>
                <a:gd name="connsiteX49" fmla="*/ 82919 w 942455"/>
                <a:gd name="connsiteY49" fmla="*/ 457200 h 578637"/>
                <a:gd name="connsiteX50" fmla="*/ 118640 w 942455"/>
                <a:gd name="connsiteY50" fmla="*/ 430387 h 578637"/>
                <a:gd name="connsiteX51" fmla="*/ 118638 w 942455"/>
                <a:gd name="connsiteY51" fmla="*/ 430387 h 578637"/>
                <a:gd name="connsiteX52" fmla="*/ 118638 w 942455"/>
                <a:gd name="connsiteY52" fmla="*/ 430387 h 578637"/>
                <a:gd name="connsiteX53" fmla="*/ 118638 w 942455"/>
                <a:gd name="connsiteY53" fmla="*/ 430387 h 578637"/>
                <a:gd name="connsiteX54" fmla="*/ 83317 w 942455"/>
                <a:gd name="connsiteY54" fmla="*/ 578637 h 578637"/>
                <a:gd name="connsiteX55" fmla="*/ 83317 w 942455"/>
                <a:gd name="connsiteY55" fmla="*/ 578637 h 578637"/>
                <a:gd name="connsiteX0" fmla="*/ 118639 w 942455"/>
                <a:gd name="connsiteY0" fmla="*/ 430387 h 578637"/>
                <a:gd name="connsiteX1" fmla="*/ 0 w 942455"/>
                <a:gd name="connsiteY1" fmla="*/ 496784 h 578637"/>
                <a:gd name="connsiteX2" fmla="*/ 0 w 942455"/>
                <a:gd name="connsiteY2" fmla="*/ 496784 h 578637"/>
                <a:gd name="connsiteX3" fmla="*/ 37199 w 942455"/>
                <a:gd name="connsiteY3" fmla="*/ 493776 h 578637"/>
                <a:gd name="connsiteX4" fmla="*/ 137783 w 942455"/>
                <a:gd name="connsiteY4" fmla="*/ 466344 h 578637"/>
                <a:gd name="connsiteX5" fmla="*/ 238367 w 942455"/>
                <a:gd name="connsiteY5" fmla="*/ 384048 h 578637"/>
                <a:gd name="connsiteX6" fmla="*/ 430391 w 942455"/>
                <a:gd name="connsiteY6" fmla="*/ 301752 h 578637"/>
                <a:gd name="connsiteX7" fmla="*/ 512687 w 942455"/>
                <a:gd name="connsiteY7" fmla="*/ 192024 h 578637"/>
                <a:gd name="connsiteX8" fmla="*/ 658991 w 942455"/>
                <a:gd name="connsiteY8" fmla="*/ 155448 h 578637"/>
                <a:gd name="connsiteX9" fmla="*/ 704711 w 942455"/>
                <a:gd name="connsiteY9" fmla="*/ 155448 h 578637"/>
                <a:gd name="connsiteX10" fmla="*/ 741287 w 942455"/>
                <a:gd name="connsiteY10" fmla="*/ 137160 h 578637"/>
                <a:gd name="connsiteX11" fmla="*/ 695567 w 942455"/>
                <a:gd name="connsiteY11" fmla="*/ 137160 h 578637"/>
                <a:gd name="connsiteX12" fmla="*/ 604127 w 942455"/>
                <a:gd name="connsiteY12" fmla="*/ 137160 h 578637"/>
                <a:gd name="connsiteX13" fmla="*/ 549263 w 942455"/>
                <a:gd name="connsiteY13" fmla="*/ 146304 h 578637"/>
                <a:gd name="connsiteX14" fmla="*/ 540119 w 942455"/>
                <a:gd name="connsiteY14" fmla="*/ 155448 h 578637"/>
                <a:gd name="connsiteX15" fmla="*/ 521831 w 942455"/>
                <a:gd name="connsiteY15" fmla="*/ 146304 h 578637"/>
                <a:gd name="connsiteX16" fmla="*/ 649847 w 942455"/>
                <a:gd name="connsiteY16" fmla="*/ 91440 h 578637"/>
                <a:gd name="connsiteX17" fmla="*/ 704711 w 942455"/>
                <a:gd name="connsiteY17" fmla="*/ 91440 h 578637"/>
                <a:gd name="connsiteX18" fmla="*/ 796151 w 942455"/>
                <a:gd name="connsiteY18" fmla="*/ 82296 h 578637"/>
                <a:gd name="connsiteX19" fmla="*/ 924167 w 942455"/>
                <a:gd name="connsiteY19" fmla="*/ 27432 h 578637"/>
                <a:gd name="connsiteX20" fmla="*/ 905879 w 942455"/>
                <a:gd name="connsiteY20" fmla="*/ 0 h 578637"/>
                <a:gd name="connsiteX21" fmla="*/ 869303 w 942455"/>
                <a:gd name="connsiteY21" fmla="*/ 27432 h 578637"/>
                <a:gd name="connsiteX22" fmla="*/ 832727 w 942455"/>
                <a:gd name="connsiteY22" fmla="*/ 36576 h 578637"/>
                <a:gd name="connsiteX23" fmla="*/ 759575 w 942455"/>
                <a:gd name="connsiteY23" fmla="*/ 64008 h 578637"/>
                <a:gd name="connsiteX24" fmla="*/ 704711 w 942455"/>
                <a:gd name="connsiteY24" fmla="*/ 64008 h 578637"/>
                <a:gd name="connsiteX25" fmla="*/ 594983 w 942455"/>
                <a:gd name="connsiteY25" fmla="*/ 64008 h 578637"/>
                <a:gd name="connsiteX26" fmla="*/ 540119 w 942455"/>
                <a:gd name="connsiteY26" fmla="*/ 100584 h 578637"/>
                <a:gd name="connsiteX27" fmla="*/ 503543 w 942455"/>
                <a:gd name="connsiteY27" fmla="*/ 146304 h 578637"/>
                <a:gd name="connsiteX28" fmla="*/ 457823 w 942455"/>
                <a:gd name="connsiteY28" fmla="*/ 182880 h 578637"/>
                <a:gd name="connsiteX29" fmla="*/ 412103 w 942455"/>
                <a:gd name="connsiteY29" fmla="*/ 256032 h 578637"/>
                <a:gd name="connsiteX30" fmla="*/ 338951 w 942455"/>
                <a:gd name="connsiteY30" fmla="*/ 301752 h 578637"/>
                <a:gd name="connsiteX31" fmla="*/ 238367 w 942455"/>
                <a:gd name="connsiteY31" fmla="*/ 347472 h 578637"/>
                <a:gd name="connsiteX32" fmla="*/ 201791 w 942455"/>
                <a:gd name="connsiteY32" fmla="*/ 374904 h 578637"/>
                <a:gd name="connsiteX33" fmla="*/ 156071 w 942455"/>
                <a:gd name="connsiteY33" fmla="*/ 402336 h 578637"/>
                <a:gd name="connsiteX34" fmla="*/ 137783 w 942455"/>
                <a:gd name="connsiteY34" fmla="*/ 402336 h 578637"/>
                <a:gd name="connsiteX35" fmla="*/ 156071 w 942455"/>
                <a:gd name="connsiteY35" fmla="*/ 365760 h 578637"/>
                <a:gd name="connsiteX36" fmla="*/ 210935 w 942455"/>
                <a:gd name="connsiteY36" fmla="*/ 301752 h 578637"/>
                <a:gd name="connsiteX37" fmla="*/ 302375 w 942455"/>
                <a:gd name="connsiteY37" fmla="*/ 219456 h 578637"/>
                <a:gd name="connsiteX38" fmla="*/ 348095 w 942455"/>
                <a:gd name="connsiteY38" fmla="*/ 146304 h 578637"/>
                <a:gd name="connsiteX39" fmla="*/ 348095 w 942455"/>
                <a:gd name="connsiteY39" fmla="*/ 64008 h 578637"/>
                <a:gd name="connsiteX40" fmla="*/ 338951 w 942455"/>
                <a:gd name="connsiteY40" fmla="*/ 54864 h 578637"/>
                <a:gd name="connsiteX41" fmla="*/ 329807 w 942455"/>
                <a:gd name="connsiteY41" fmla="*/ 128016 h 578637"/>
                <a:gd name="connsiteX42" fmla="*/ 302375 w 942455"/>
                <a:gd name="connsiteY42" fmla="*/ 173736 h 578637"/>
                <a:gd name="connsiteX43" fmla="*/ 229223 w 942455"/>
                <a:gd name="connsiteY43" fmla="*/ 237744 h 578637"/>
                <a:gd name="connsiteX44" fmla="*/ 201791 w 942455"/>
                <a:gd name="connsiteY44" fmla="*/ 256032 h 578637"/>
                <a:gd name="connsiteX45" fmla="*/ 128639 w 942455"/>
                <a:gd name="connsiteY45" fmla="*/ 347472 h 578637"/>
                <a:gd name="connsiteX46" fmla="*/ 119495 w 942455"/>
                <a:gd name="connsiteY46" fmla="*/ 374904 h 578637"/>
                <a:gd name="connsiteX47" fmla="*/ 110351 w 942455"/>
                <a:gd name="connsiteY47" fmla="*/ 411480 h 578637"/>
                <a:gd name="connsiteX48" fmla="*/ 128639 w 942455"/>
                <a:gd name="connsiteY48" fmla="*/ 429768 h 578637"/>
                <a:gd name="connsiteX49" fmla="*/ 82919 w 942455"/>
                <a:gd name="connsiteY49" fmla="*/ 457200 h 578637"/>
                <a:gd name="connsiteX50" fmla="*/ 118640 w 942455"/>
                <a:gd name="connsiteY50" fmla="*/ 430387 h 578637"/>
                <a:gd name="connsiteX51" fmla="*/ 118638 w 942455"/>
                <a:gd name="connsiteY51" fmla="*/ 430387 h 578637"/>
                <a:gd name="connsiteX52" fmla="*/ 118638 w 942455"/>
                <a:gd name="connsiteY52" fmla="*/ 430387 h 578637"/>
                <a:gd name="connsiteX53" fmla="*/ 118638 w 942455"/>
                <a:gd name="connsiteY53" fmla="*/ 430387 h 578637"/>
                <a:gd name="connsiteX54" fmla="*/ 83317 w 942455"/>
                <a:gd name="connsiteY54" fmla="*/ 578637 h 578637"/>
                <a:gd name="connsiteX55" fmla="*/ 118639 w 942455"/>
                <a:gd name="connsiteY55" fmla="*/ 430387 h 578637"/>
                <a:gd name="connsiteX0" fmla="*/ 118639 w 942455"/>
                <a:gd name="connsiteY0" fmla="*/ 430387 h 578637"/>
                <a:gd name="connsiteX1" fmla="*/ 0 w 942455"/>
                <a:gd name="connsiteY1" fmla="*/ 496784 h 578637"/>
                <a:gd name="connsiteX2" fmla="*/ 0 w 942455"/>
                <a:gd name="connsiteY2" fmla="*/ 496784 h 578637"/>
                <a:gd name="connsiteX3" fmla="*/ 118639 w 942455"/>
                <a:gd name="connsiteY3" fmla="*/ 430387 h 578637"/>
                <a:gd name="connsiteX4" fmla="*/ 137783 w 942455"/>
                <a:gd name="connsiteY4" fmla="*/ 466344 h 578637"/>
                <a:gd name="connsiteX5" fmla="*/ 238367 w 942455"/>
                <a:gd name="connsiteY5" fmla="*/ 384048 h 578637"/>
                <a:gd name="connsiteX6" fmla="*/ 430391 w 942455"/>
                <a:gd name="connsiteY6" fmla="*/ 301752 h 578637"/>
                <a:gd name="connsiteX7" fmla="*/ 512687 w 942455"/>
                <a:gd name="connsiteY7" fmla="*/ 192024 h 578637"/>
                <a:gd name="connsiteX8" fmla="*/ 658991 w 942455"/>
                <a:gd name="connsiteY8" fmla="*/ 155448 h 578637"/>
                <a:gd name="connsiteX9" fmla="*/ 704711 w 942455"/>
                <a:gd name="connsiteY9" fmla="*/ 155448 h 578637"/>
                <a:gd name="connsiteX10" fmla="*/ 741287 w 942455"/>
                <a:gd name="connsiteY10" fmla="*/ 137160 h 578637"/>
                <a:gd name="connsiteX11" fmla="*/ 695567 w 942455"/>
                <a:gd name="connsiteY11" fmla="*/ 137160 h 578637"/>
                <a:gd name="connsiteX12" fmla="*/ 604127 w 942455"/>
                <a:gd name="connsiteY12" fmla="*/ 137160 h 578637"/>
                <a:gd name="connsiteX13" fmla="*/ 549263 w 942455"/>
                <a:gd name="connsiteY13" fmla="*/ 146304 h 578637"/>
                <a:gd name="connsiteX14" fmla="*/ 540119 w 942455"/>
                <a:gd name="connsiteY14" fmla="*/ 155448 h 578637"/>
                <a:gd name="connsiteX15" fmla="*/ 521831 w 942455"/>
                <a:gd name="connsiteY15" fmla="*/ 146304 h 578637"/>
                <a:gd name="connsiteX16" fmla="*/ 649847 w 942455"/>
                <a:gd name="connsiteY16" fmla="*/ 91440 h 578637"/>
                <a:gd name="connsiteX17" fmla="*/ 704711 w 942455"/>
                <a:gd name="connsiteY17" fmla="*/ 91440 h 578637"/>
                <a:gd name="connsiteX18" fmla="*/ 796151 w 942455"/>
                <a:gd name="connsiteY18" fmla="*/ 82296 h 578637"/>
                <a:gd name="connsiteX19" fmla="*/ 924167 w 942455"/>
                <a:gd name="connsiteY19" fmla="*/ 27432 h 578637"/>
                <a:gd name="connsiteX20" fmla="*/ 905879 w 942455"/>
                <a:gd name="connsiteY20" fmla="*/ 0 h 578637"/>
                <a:gd name="connsiteX21" fmla="*/ 869303 w 942455"/>
                <a:gd name="connsiteY21" fmla="*/ 27432 h 578637"/>
                <a:gd name="connsiteX22" fmla="*/ 832727 w 942455"/>
                <a:gd name="connsiteY22" fmla="*/ 36576 h 578637"/>
                <a:gd name="connsiteX23" fmla="*/ 759575 w 942455"/>
                <a:gd name="connsiteY23" fmla="*/ 64008 h 578637"/>
                <a:gd name="connsiteX24" fmla="*/ 704711 w 942455"/>
                <a:gd name="connsiteY24" fmla="*/ 64008 h 578637"/>
                <a:gd name="connsiteX25" fmla="*/ 594983 w 942455"/>
                <a:gd name="connsiteY25" fmla="*/ 64008 h 578637"/>
                <a:gd name="connsiteX26" fmla="*/ 540119 w 942455"/>
                <a:gd name="connsiteY26" fmla="*/ 100584 h 578637"/>
                <a:gd name="connsiteX27" fmla="*/ 503543 w 942455"/>
                <a:gd name="connsiteY27" fmla="*/ 146304 h 578637"/>
                <a:gd name="connsiteX28" fmla="*/ 457823 w 942455"/>
                <a:gd name="connsiteY28" fmla="*/ 182880 h 578637"/>
                <a:gd name="connsiteX29" fmla="*/ 412103 w 942455"/>
                <a:gd name="connsiteY29" fmla="*/ 256032 h 578637"/>
                <a:gd name="connsiteX30" fmla="*/ 338951 w 942455"/>
                <a:gd name="connsiteY30" fmla="*/ 301752 h 578637"/>
                <a:gd name="connsiteX31" fmla="*/ 238367 w 942455"/>
                <a:gd name="connsiteY31" fmla="*/ 347472 h 578637"/>
                <a:gd name="connsiteX32" fmla="*/ 201791 w 942455"/>
                <a:gd name="connsiteY32" fmla="*/ 374904 h 578637"/>
                <a:gd name="connsiteX33" fmla="*/ 156071 w 942455"/>
                <a:gd name="connsiteY33" fmla="*/ 402336 h 578637"/>
                <a:gd name="connsiteX34" fmla="*/ 137783 w 942455"/>
                <a:gd name="connsiteY34" fmla="*/ 402336 h 578637"/>
                <a:gd name="connsiteX35" fmla="*/ 156071 w 942455"/>
                <a:gd name="connsiteY35" fmla="*/ 365760 h 578637"/>
                <a:gd name="connsiteX36" fmla="*/ 210935 w 942455"/>
                <a:gd name="connsiteY36" fmla="*/ 301752 h 578637"/>
                <a:gd name="connsiteX37" fmla="*/ 302375 w 942455"/>
                <a:gd name="connsiteY37" fmla="*/ 219456 h 578637"/>
                <a:gd name="connsiteX38" fmla="*/ 348095 w 942455"/>
                <a:gd name="connsiteY38" fmla="*/ 146304 h 578637"/>
                <a:gd name="connsiteX39" fmla="*/ 348095 w 942455"/>
                <a:gd name="connsiteY39" fmla="*/ 64008 h 578637"/>
                <a:gd name="connsiteX40" fmla="*/ 338951 w 942455"/>
                <a:gd name="connsiteY40" fmla="*/ 54864 h 578637"/>
                <a:gd name="connsiteX41" fmla="*/ 329807 w 942455"/>
                <a:gd name="connsiteY41" fmla="*/ 128016 h 578637"/>
                <a:gd name="connsiteX42" fmla="*/ 302375 w 942455"/>
                <a:gd name="connsiteY42" fmla="*/ 173736 h 578637"/>
                <a:gd name="connsiteX43" fmla="*/ 229223 w 942455"/>
                <a:gd name="connsiteY43" fmla="*/ 237744 h 578637"/>
                <a:gd name="connsiteX44" fmla="*/ 201791 w 942455"/>
                <a:gd name="connsiteY44" fmla="*/ 256032 h 578637"/>
                <a:gd name="connsiteX45" fmla="*/ 128639 w 942455"/>
                <a:gd name="connsiteY45" fmla="*/ 347472 h 578637"/>
                <a:gd name="connsiteX46" fmla="*/ 119495 w 942455"/>
                <a:gd name="connsiteY46" fmla="*/ 374904 h 578637"/>
                <a:gd name="connsiteX47" fmla="*/ 110351 w 942455"/>
                <a:gd name="connsiteY47" fmla="*/ 411480 h 578637"/>
                <a:gd name="connsiteX48" fmla="*/ 128639 w 942455"/>
                <a:gd name="connsiteY48" fmla="*/ 429768 h 578637"/>
                <a:gd name="connsiteX49" fmla="*/ 82919 w 942455"/>
                <a:gd name="connsiteY49" fmla="*/ 457200 h 578637"/>
                <a:gd name="connsiteX50" fmla="*/ 118640 w 942455"/>
                <a:gd name="connsiteY50" fmla="*/ 430387 h 578637"/>
                <a:gd name="connsiteX51" fmla="*/ 118638 w 942455"/>
                <a:gd name="connsiteY51" fmla="*/ 430387 h 578637"/>
                <a:gd name="connsiteX52" fmla="*/ 118638 w 942455"/>
                <a:gd name="connsiteY52" fmla="*/ 430387 h 578637"/>
                <a:gd name="connsiteX53" fmla="*/ 118638 w 942455"/>
                <a:gd name="connsiteY53" fmla="*/ 430387 h 578637"/>
                <a:gd name="connsiteX54" fmla="*/ 83317 w 942455"/>
                <a:gd name="connsiteY54" fmla="*/ 578637 h 578637"/>
                <a:gd name="connsiteX55" fmla="*/ 118639 w 942455"/>
                <a:gd name="connsiteY55" fmla="*/ 430387 h 578637"/>
                <a:gd name="connsiteX0" fmla="*/ 118639 w 942455"/>
                <a:gd name="connsiteY0" fmla="*/ 430387 h 578637"/>
                <a:gd name="connsiteX1" fmla="*/ 0 w 942455"/>
                <a:gd name="connsiteY1" fmla="*/ 496784 h 578637"/>
                <a:gd name="connsiteX2" fmla="*/ 118639 w 942455"/>
                <a:gd name="connsiteY2" fmla="*/ 430387 h 578637"/>
                <a:gd name="connsiteX3" fmla="*/ 118639 w 942455"/>
                <a:gd name="connsiteY3" fmla="*/ 430387 h 578637"/>
                <a:gd name="connsiteX4" fmla="*/ 137783 w 942455"/>
                <a:gd name="connsiteY4" fmla="*/ 466344 h 578637"/>
                <a:gd name="connsiteX5" fmla="*/ 238367 w 942455"/>
                <a:gd name="connsiteY5" fmla="*/ 384048 h 578637"/>
                <a:gd name="connsiteX6" fmla="*/ 430391 w 942455"/>
                <a:gd name="connsiteY6" fmla="*/ 301752 h 578637"/>
                <a:gd name="connsiteX7" fmla="*/ 512687 w 942455"/>
                <a:gd name="connsiteY7" fmla="*/ 192024 h 578637"/>
                <a:gd name="connsiteX8" fmla="*/ 658991 w 942455"/>
                <a:gd name="connsiteY8" fmla="*/ 155448 h 578637"/>
                <a:gd name="connsiteX9" fmla="*/ 704711 w 942455"/>
                <a:gd name="connsiteY9" fmla="*/ 155448 h 578637"/>
                <a:gd name="connsiteX10" fmla="*/ 741287 w 942455"/>
                <a:gd name="connsiteY10" fmla="*/ 137160 h 578637"/>
                <a:gd name="connsiteX11" fmla="*/ 695567 w 942455"/>
                <a:gd name="connsiteY11" fmla="*/ 137160 h 578637"/>
                <a:gd name="connsiteX12" fmla="*/ 604127 w 942455"/>
                <a:gd name="connsiteY12" fmla="*/ 137160 h 578637"/>
                <a:gd name="connsiteX13" fmla="*/ 549263 w 942455"/>
                <a:gd name="connsiteY13" fmla="*/ 146304 h 578637"/>
                <a:gd name="connsiteX14" fmla="*/ 540119 w 942455"/>
                <a:gd name="connsiteY14" fmla="*/ 155448 h 578637"/>
                <a:gd name="connsiteX15" fmla="*/ 521831 w 942455"/>
                <a:gd name="connsiteY15" fmla="*/ 146304 h 578637"/>
                <a:gd name="connsiteX16" fmla="*/ 649847 w 942455"/>
                <a:gd name="connsiteY16" fmla="*/ 91440 h 578637"/>
                <a:gd name="connsiteX17" fmla="*/ 704711 w 942455"/>
                <a:gd name="connsiteY17" fmla="*/ 91440 h 578637"/>
                <a:gd name="connsiteX18" fmla="*/ 796151 w 942455"/>
                <a:gd name="connsiteY18" fmla="*/ 82296 h 578637"/>
                <a:gd name="connsiteX19" fmla="*/ 924167 w 942455"/>
                <a:gd name="connsiteY19" fmla="*/ 27432 h 578637"/>
                <a:gd name="connsiteX20" fmla="*/ 905879 w 942455"/>
                <a:gd name="connsiteY20" fmla="*/ 0 h 578637"/>
                <a:gd name="connsiteX21" fmla="*/ 869303 w 942455"/>
                <a:gd name="connsiteY21" fmla="*/ 27432 h 578637"/>
                <a:gd name="connsiteX22" fmla="*/ 832727 w 942455"/>
                <a:gd name="connsiteY22" fmla="*/ 36576 h 578637"/>
                <a:gd name="connsiteX23" fmla="*/ 759575 w 942455"/>
                <a:gd name="connsiteY23" fmla="*/ 64008 h 578637"/>
                <a:gd name="connsiteX24" fmla="*/ 704711 w 942455"/>
                <a:gd name="connsiteY24" fmla="*/ 64008 h 578637"/>
                <a:gd name="connsiteX25" fmla="*/ 594983 w 942455"/>
                <a:gd name="connsiteY25" fmla="*/ 64008 h 578637"/>
                <a:gd name="connsiteX26" fmla="*/ 540119 w 942455"/>
                <a:gd name="connsiteY26" fmla="*/ 100584 h 578637"/>
                <a:gd name="connsiteX27" fmla="*/ 503543 w 942455"/>
                <a:gd name="connsiteY27" fmla="*/ 146304 h 578637"/>
                <a:gd name="connsiteX28" fmla="*/ 457823 w 942455"/>
                <a:gd name="connsiteY28" fmla="*/ 182880 h 578637"/>
                <a:gd name="connsiteX29" fmla="*/ 412103 w 942455"/>
                <a:gd name="connsiteY29" fmla="*/ 256032 h 578637"/>
                <a:gd name="connsiteX30" fmla="*/ 338951 w 942455"/>
                <a:gd name="connsiteY30" fmla="*/ 301752 h 578637"/>
                <a:gd name="connsiteX31" fmla="*/ 238367 w 942455"/>
                <a:gd name="connsiteY31" fmla="*/ 347472 h 578637"/>
                <a:gd name="connsiteX32" fmla="*/ 201791 w 942455"/>
                <a:gd name="connsiteY32" fmla="*/ 374904 h 578637"/>
                <a:gd name="connsiteX33" fmla="*/ 156071 w 942455"/>
                <a:gd name="connsiteY33" fmla="*/ 402336 h 578637"/>
                <a:gd name="connsiteX34" fmla="*/ 137783 w 942455"/>
                <a:gd name="connsiteY34" fmla="*/ 402336 h 578637"/>
                <a:gd name="connsiteX35" fmla="*/ 156071 w 942455"/>
                <a:gd name="connsiteY35" fmla="*/ 365760 h 578637"/>
                <a:gd name="connsiteX36" fmla="*/ 210935 w 942455"/>
                <a:gd name="connsiteY36" fmla="*/ 301752 h 578637"/>
                <a:gd name="connsiteX37" fmla="*/ 302375 w 942455"/>
                <a:gd name="connsiteY37" fmla="*/ 219456 h 578637"/>
                <a:gd name="connsiteX38" fmla="*/ 348095 w 942455"/>
                <a:gd name="connsiteY38" fmla="*/ 146304 h 578637"/>
                <a:gd name="connsiteX39" fmla="*/ 348095 w 942455"/>
                <a:gd name="connsiteY39" fmla="*/ 64008 h 578637"/>
                <a:gd name="connsiteX40" fmla="*/ 338951 w 942455"/>
                <a:gd name="connsiteY40" fmla="*/ 54864 h 578637"/>
                <a:gd name="connsiteX41" fmla="*/ 329807 w 942455"/>
                <a:gd name="connsiteY41" fmla="*/ 128016 h 578637"/>
                <a:gd name="connsiteX42" fmla="*/ 302375 w 942455"/>
                <a:gd name="connsiteY42" fmla="*/ 173736 h 578637"/>
                <a:gd name="connsiteX43" fmla="*/ 229223 w 942455"/>
                <a:gd name="connsiteY43" fmla="*/ 237744 h 578637"/>
                <a:gd name="connsiteX44" fmla="*/ 201791 w 942455"/>
                <a:gd name="connsiteY44" fmla="*/ 256032 h 578637"/>
                <a:gd name="connsiteX45" fmla="*/ 128639 w 942455"/>
                <a:gd name="connsiteY45" fmla="*/ 347472 h 578637"/>
                <a:gd name="connsiteX46" fmla="*/ 119495 w 942455"/>
                <a:gd name="connsiteY46" fmla="*/ 374904 h 578637"/>
                <a:gd name="connsiteX47" fmla="*/ 110351 w 942455"/>
                <a:gd name="connsiteY47" fmla="*/ 411480 h 578637"/>
                <a:gd name="connsiteX48" fmla="*/ 128639 w 942455"/>
                <a:gd name="connsiteY48" fmla="*/ 429768 h 578637"/>
                <a:gd name="connsiteX49" fmla="*/ 82919 w 942455"/>
                <a:gd name="connsiteY49" fmla="*/ 457200 h 578637"/>
                <a:gd name="connsiteX50" fmla="*/ 118640 w 942455"/>
                <a:gd name="connsiteY50" fmla="*/ 430387 h 578637"/>
                <a:gd name="connsiteX51" fmla="*/ 118638 w 942455"/>
                <a:gd name="connsiteY51" fmla="*/ 430387 h 578637"/>
                <a:gd name="connsiteX52" fmla="*/ 118638 w 942455"/>
                <a:gd name="connsiteY52" fmla="*/ 430387 h 578637"/>
                <a:gd name="connsiteX53" fmla="*/ 118638 w 942455"/>
                <a:gd name="connsiteY53" fmla="*/ 430387 h 578637"/>
                <a:gd name="connsiteX54" fmla="*/ 83317 w 942455"/>
                <a:gd name="connsiteY54" fmla="*/ 578637 h 578637"/>
                <a:gd name="connsiteX55" fmla="*/ 118639 w 942455"/>
                <a:gd name="connsiteY55" fmla="*/ 430387 h 578637"/>
                <a:gd name="connsiteX0" fmla="*/ 118639 w 942455"/>
                <a:gd name="connsiteY0" fmla="*/ 430387 h 496784"/>
                <a:gd name="connsiteX1" fmla="*/ 0 w 942455"/>
                <a:gd name="connsiteY1" fmla="*/ 496784 h 496784"/>
                <a:gd name="connsiteX2" fmla="*/ 118639 w 942455"/>
                <a:gd name="connsiteY2" fmla="*/ 430387 h 496784"/>
                <a:gd name="connsiteX3" fmla="*/ 118639 w 942455"/>
                <a:gd name="connsiteY3" fmla="*/ 430387 h 496784"/>
                <a:gd name="connsiteX4" fmla="*/ 137783 w 942455"/>
                <a:gd name="connsiteY4" fmla="*/ 466344 h 496784"/>
                <a:gd name="connsiteX5" fmla="*/ 238367 w 942455"/>
                <a:gd name="connsiteY5" fmla="*/ 384048 h 496784"/>
                <a:gd name="connsiteX6" fmla="*/ 430391 w 942455"/>
                <a:gd name="connsiteY6" fmla="*/ 301752 h 496784"/>
                <a:gd name="connsiteX7" fmla="*/ 512687 w 942455"/>
                <a:gd name="connsiteY7" fmla="*/ 192024 h 496784"/>
                <a:gd name="connsiteX8" fmla="*/ 658991 w 942455"/>
                <a:gd name="connsiteY8" fmla="*/ 155448 h 496784"/>
                <a:gd name="connsiteX9" fmla="*/ 704711 w 942455"/>
                <a:gd name="connsiteY9" fmla="*/ 155448 h 496784"/>
                <a:gd name="connsiteX10" fmla="*/ 741287 w 942455"/>
                <a:gd name="connsiteY10" fmla="*/ 137160 h 496784"/>
                <a:gd name="connsiteX11" fmla="*/ 695567 w 942455"/>
                <a:gd name="connsiteY11" fmla="*/ 137160 h 496784"/>
                <a:gd name="connsiteX12" fmla="*/ 604127 w 942455"/>
                <a:gd name="connsiteY12" fmla="*/ 137160 h 496784"/>
                <a:gd name="connsiteX13" fmla="*/ 549263 w 942455"/>
                <a:gd name="connsiteY13" fmla="*/ 146304 h 496784"/>
                <a:gd name="connsiteX14" fmla="*/ 540119 w 942455"/>
                <a:gd name="connsiteY14" fmla="*/ 155448 h 496784"/>
                <a:gd name="connsiteX15" fmla="*/ 521831 w 942455"/>
                <a:gd name="connsiteY15" fmla="*/ 146304 h 496784"/>
                <a:gd name="connsiteX16" fmla="*/ 649847 w 942455"/>
                <a:gd name="connsiteY16" fmla="*/ 91440 h 496784"/>
                <a:gd name="connsiteX17" fmla="*/ 704711 w 942455"/>
                <a:gd name="connsiteY17" fmla="*/ 91440 h 496784"/>
                <a:gd name="connsiteX18" fmla="*/ 796151 w 942455"/>
                <a:gd name="connsiteY18" fmla="*/ 82296 h 496784"/>
                <a:gd name="connsiteX19" fmla="*/ 924167 w 942455"/>
                <a:gd name="connsiteY19" fmla="*/ 27432 h 496784"/>
                <a:gd name="connsiteX20" fmla="*/ 905879 w 942455"/>
                <a:gd name="connsiteY20" fmla="*/ 0 h 496784"/>
                <a:gd name="connsiteX21" fmla="*/ 869303 w 942455"/>
                <a:gd name="connsiteY21" fmla="*/ 27432 h 496784"/>
                <a:gd name="connsiteX22" fmla="*/ 832727 w 942455"/>
                <a:gd name="connsiteY22" fmla="*/ 36576 h 496784"/>
                <a:gd name="connsiteX23" fmla="*/ 759575 w 942455"/>
                <a:gd name="connsiteY23" fmla="*/ 64008 h 496784"/>
                <a:gd name="connsiteX24" fmla="*/ 704711 w 942455"/>
                <a:gd name="connsiteY24" fmla="*/ 64008 h 496784"/>
                <a:gd name="connsiteX25" fmla="*/ 594983 w 942455"/>
                <a:gd name="connsiteY25" fmla="*/ 64008 h 496784"/>
                <a:gd name="connsiteX26" fmla="*/ 540119 w 942455"/>
                <a:gd name="connsiteY26" fmla="*/ 100584 h 496784"/>
                <a:gd name="connsiteX27" fmla="*/ 503543 w 942455"/>
                <a:gd name="connsiteY27" fmla="*/ 146304 h 496784"/>
                <a:gd name="connsiteX28" fmla="*/ 457823 w 942455"/>
                <a:gd name="connsiteY28" fmla="*/ 182880 h 496784"/>
                <a:gd name="connsiteX29" fmla="*/ 412103 w 942455"/>
                <a:gd name="connsiteY29" fmla="*/ 256032 h 496784"/>
                <a:gd name="connsiteX30" fmla="*/ 338951 w 942455"/>
                <a:gd name="connsiteY30" fmla="*/ 301752 h 496784"/>
                <a:gd name="connsiteX31" fmla="*/ 238367 w 942455"/>
                <a:gd name="connsiteY31" fmla="*/ 347472 h 496784"/>
                <a:gd name="connsiteX32" fmla="*/ 201791 w 942455"/>
                <a:gd name="connsiteY32" fmla="*/ 374904 h 496784"/>
                <a:gd name="connsiteX33" fmla="*/ 156071 w 942455"/>
                <a:gd name="connsiteY33" fmla="*/ 402336 h 496784"/>
                <a:gd name="connsiteX34" fmla="*/ 137783 w 942455"/>
                <a:gd name="connsiteY34" fmla="*/ 402336 h 496784"/>
                <a:gd name="connsiteX35" fmla="*/ 156071 w 942455"/>
                <a:gd name="connsiteY35" fmla="*/ 365760 h 496784"/>
                <a:gd name="connsiteX36" fmla="*/ 210935 w 942455"/>
                <a:gd name="connsiteY36" fmla="*/ 301752 h 496784"/>
                <a:gd name="connsiteX37" fmla="*/ 302375 w 942455"/>
                <a:gd name="connsiteY37" fmla="*/ 219456 h 496784"/>
                <a:gd name="connsiteX38" fmla="*/ 348095 w 942455"/>
                <a:gd name="connsiteY38" fmla="*/ 146304 h 496784"/>
                <a:gd name="connsiteX39" fmla="*/ 348095 w 942455"/>
                <a:gd name="connsiteY39" fmla="*/ 64008 h 496784"/>
                <a:gd name="connsiteX40" fmla="*/ 338951 w 942455"/>
                <a:gd name="connsiteY40" fmla="*/ 54864 h 496784"/>
                <a:gd name="connsiteX41" fmla="*/ 329807 w 942455"/>
                <a:gd name="connsiteY41" fmla="*/ 128016 h 496784"/>
                <a:gd name="connsiteX42" fmla="*/ 302375 w 942455"/>
                <a:gd name="connsiteY42" fmla="*/ 173736 h 496784"/>
                <a:gd name="connsiteX43" fmla="*/ 229223 w 942455"/>
                <a:gd name="connsiteY43" fmla="*/ 237744 h 496784"/>
                <a:gd name="connsiteX44" fmla="*/ 201791 w 942455"/>
                <a:gd name="connsiteY44" fmla="*/ 256032 h 496784"/>
                <a:gd name="connsiteX45" fmla="*/ 128639 w 942455"/>
                <a:gd name="connsiteY45" fmla="*/ 347472 h 496784"/>
                <a:gd name="connsiteX46" fmla="*/ 119495 w 942455"/>
                <a:gd name="connsiteY46" fmla="*/ 374904 h 496784"/>
                <a:gd name="connsiteX47" fmla="*/ 110351 w 942455"/>
                <a:gd name="connsiteY47" fmla="*/ 411480 h 496784"/>
                <a:gd name="connsiteX48" fmla="*/ 128639 w 942455"/>
                <a:gd name="connsiteY48" fmla="*/ 429768 h 496784"/>
                <a:gd name="connsiteX49" fmla="*/ 82919 w 942455"/>
                <a:gd name="connsiteY49" fmla="*/ 457200 h 496784"/>
                <a:gd name="connsiteX50" fmla="*/ 118640 w 942455"/>
                <a:gd name="connsiteY50" fmla="*/ 430387 h 496784"/>
                <a:gd name="connsiteX51" fmla="*/ 118638 w 942455"/>
                <a:gd name="connsiteY51" fmla="*/ 430387 h 496784"/>
                <a:gd name="connsiteX52" fmla="*/ 118638 w 942455"/>
                <a:gd name="connsiteY52" fmla="*/ 430387 h 496784"/>
                <a:gd name="connsiteX53" fmla="*/ 118638 w 942455"/>
                <a:gd name="connsiteY53" fmla="*/ 430387 h 496784"/>
                <a:gd name="connsiteX54" fmla="*/ 118639 w 942455"/>
                <a:gd name="connsiteY54" fmla="*/ 430387 h 496784"/>
                <a:gd name="connsiteX55" fmla="*/ 118639 w 942455"/>
                <a:gd name="connsiteY55" fmla="*/ 430387 h 496784"/>
                <a:gd name="connsiteX0" fmla="*/ 37386 w 861202"/>
                <a:gd name="connsiteY0" fmla="*/ 430387 h 474067"/>
                <a:gd name="connsiteX1" fmla="*/ 37385 w 861202"/>
                <a:gd name="connsiteY1" fmla="*/ 430387 h 474067"/>
                <a:gd name="connsiteX2" fmla="*/ 37386 w 861202"/>
                <a:gd name="connsiteY2" fmla="*/ 430387 h 474067"/>
                <a:gd name="connsiteX3" fmla="*/ 37386 w 861202"/>
                <a:gd name="connsiteY3" fmla="*/ 430387 h 474067"/>
                <a:gd name="connsiteX4" fmla="*/ 56530 w 861202"/>
                <a:gd name="connsiteY4" fmla="*/ 466344 h 474067"/>
                <a:gd name="connsiteX5" fmla="*/ 157114 w 861202"/>
                <a:gd name="connsiteY5" fmla="*/ 384048 h 474067"/>
                <a:gd name="connsiteX6" fmla="*/ 349138 w 861202"/>
                <a:gd name="connsiteY6" fmla="*/ 301752 h 474067"/>
                <a:gd name="connsiteX7" fmla="*/ 431434 w 861202"/>
                <a:gd name="connsiteY7" fmla="*/ 192024 h 474067"/>
                <a:gd name="connsiteX8" fmla="*/ 577738 w 861202"/>
                <a:gd name="connsiteY8" fmla="*/ 155448 h 474067"/>
                <a:gd name="connsiteX9" fmla="*/ 623458 w 861202"/>
                <a:gd name="connsiteY9" fmla="*/ 155448 h 474067"/>
                <a:gd name="connsiteX10" fmla="*/ 660034 w 861202"/>
                <a:gd name="connsiteY10" fmla="*/ 137160 h 474067"/>
                <a:gd name="connsiteX11" fmla="*/ 614314 w 861202"/>
                <a:gd name="connsiteY11" fmla="*/ 137160 h 474067"/>
                <a:gd name="connsiteX12" fmla="*/ 522874 w 861202"/>
                <a:gd name="connsiteY12" fmla="*/ 137160 h 474067"/>
                <a:gd name="connsiteX13" fmla="*/ 468010 w 861202"/>
                <a:gd name="connsiteY13" fmla="*/ 146304 h 474067"/>
                <a:gd name="connsiteX14" fmla="*/ 458866 w 861202"/>
                <a:gd name="connsiteY14" fmla="*/ 155448 h 474067"/>
                <a:gd name="connsiteX15" fmla="*/ 440578 w 861202"/>
                <a:gd name="connsiteY15" fmla="*/ 146304 h 474067"/>
                <a:gd name="connsiteX16" fmla="*/ 568594 w 861202"/>
                <a:gd name="connsiteY16" fmla="*/ 91440 h 474067"/>
                <a:gd name="connsiteX17" fmla="*/ 623458 w 861202"/>
                <a:gd name="connsiteY17" fmla="*/ 91440 h 474067"/>
                <a:gd name="connsiteX18" fmla="*/ 714898 w 861202"/>
                <a:gd name="connsiteY18" fmla="*/ 82296 h 474067"/>
                <a:gd name="connsiteX19" fmla="*/ 842914 w 861202"/>
                <a:gd name="connsiteY19" fmla="*/ 27432 h 474067"/>
                <a:gd name="connsiteX20" fmla="*/ 824626 w 861202"/>
                <a:gd name="connsiteY20" fmla="*/ 0 h 474067"/>
                <a:gd name="connsiteX21" fmla="*/ 788050 w 861202"/>
                <a:gd name="connsiteY21" fmla="*/ 27432 h 474067"/>
                <a:gd name="connsiteX22" fmla="*/ 751474 w 861202"/>
                <a:gd name="connsiteY22" fmla="*/ 36576 h 474067"/>
                <a:gd name="connsiteX23" fmla="*/ 678322 w 861202"/>
                <a:gd name="connsiteY23" fmla="*/ 64008 h 474067"/>
                <a:gd name="connsiteX24" fmla="*/ 623458 w 861202"/>
                <a:gd name="connsiteY24" fmla="*/ 64008 h 474067"/>
                <a:gd name="connsiteX25" fmla="*/ 513730 w 861202"/>
                <a:gd name="connsiteY25" fmla="*/ 64008 h 474067"/>
                <a:gd name="connsiteX26" fmla="*/ 458866 w 861202"/>
                <a:gd name="connsiteY26" fmla="*/ 100584 h 474067"/>
                <a:gd name="connsiteX27" fmla="*/ 422290 w 861202"/>
                <a:gd name="connsiteY27" fmla="*/ 146304 h 474067"/>
                <a:gd name="connsiteX28" fmla="*/ 376570 w 861202"/>
                <a:gd name="connsiteY28" fmla="*/ 182880 h 474067"/>
                <a:gd name="connsiteX29" fmla="*/ 330850 w 861202"/>
                <a:gd name="connsiteY29" fmla="*/ 256032 h 474067"/>
                <a:gd name="connsiteX30" fmla="*/ 257698 w 861202"/>
                <a:gd name="connsiteY30" fmla="*/ 301752 h 474067"/>
                <a:gd name="connsiteX31" fmla="*/ 157114 w 861202"/>
                <a:gd name="connsiteY31" fmla="*/ 347472 h 474067"/>
                <a:gd name="connsiteX32" fmla="*/ 120538 w 861202"/>
                <a:gd name="connsiteY32" fmla="*/ 374904 h 474067"/>
                <a:gd name="connsiteX33" fmla="*/ 74818 w 861202"/>
                <a:gd name="connsiteY33" fmla="*/ 402336 h 474067"/>
                <a:gd name="connsiteX34" fmla="*/ 56530 w 861202"/>
                <a:gd name="connsiteY34" fmla="*/ 402336 h 474067"/>
                <a:gd name="connsiteX35" fmla="*/ 74818 w 861202"/>
                <a:gd name="connsiteY35" fmla="*/ 365760 h 474067"/>
                <a:gd name="connsiteX36" fmla="*/ 129682 w 861202"/>
                <a:gd name="connsiteY36" fmla="*/ 301752 h 474067"/>
                <a:gd name="connsiteX37" fmla="*/ 221122 w 861202"/>
                <a:gd name="connsiteY37" fmla="*/ 219456 h 474067"/>
                <a:gd name="connsiteX38" fmla="*/ 266842 w 861202"/>
                <a:gd name="connsiteY38" fmla="*/ 146304 h 474067"/>
                <a:gd name="connsiteX39" fmla="*/ 266842 w 861202"/>
                <a:gd name="connsiteY39" fmla="*/ 64008 h 474067"/>
                <a:gd name="connsiteX40" fmla="*/ 257698 w 861202"/>
                <a:gd name="connsiteY40" fmla="*/ 54864 h 474067"/>
                <a:gd name="connsiteX41" fmla="*/ 248554 w 861202"/>
                <a:gd name="connsiteY41" fmla="*/ 128016 h 474067"/>
                <a:gd name="connsiteX42" fmla="*/ 221122 w 861202"/>
                <a:gd name="connsiteY42" fmla="*/ 173736 h 474067"/>
                <a:gd name="connsiteX43" fmla="*/ 147970 w 861202"/>
                <a:gd name="connsiteY43" fmla="*/ 237744 h 474067"/>
                <a:gd name="connsiteX44" fmla="*/ 120538 w 861202"/>
                <a:gd name="connsiteY44" fmla="*/ 256032 h 474067"/>
                <a:gd name="connsiteX45" fmla="*/ 47386 w 861202"/>
                <a:gd name="connsiteY45" fmla="*/ 347472 h 474067"/>
                <a:gd name="connsiteX46" fmla="*/ 38242 w 861202"/>
                <a:gd name="connsiteY46" fmla="*/ 374904 h 474067"/>
                <a:gd name="connsiteX47" fmla="*/ 29098 w 861202"/>
                <a:gd name="connsiteY47" fmla="*/ 411480 h 474067"/>
                <a:gd name="connsiteX48" fmla="*/ 47386 w 861202"/>
                <a:gd name="connsiteY48" fmla="*/ 429768 h 474067"/>
                <a:gd name="connsiteX49" fmla="*/ 1666 w 861202"/>
                <a:gd name="connsiteY49" fmla="*/ 457200 h 474067"/>
                <a:gd name="connsiteX50" fmla="*/ 37387 w 861202"/>
                <a:gd name="connsiteY50" fmla="*/ 430387 h 474067"/>
                <a:gd name="connsiteX51" fmla="*/ 37385 w 861202"/>
                <a:gd name="connsiteY51" fmla="*/ 430387 h 474067"/>
                <a:gd name="connsiteX52" fmla="*/ 37385 w 861202"/>
                <a:gd name="connsiteY52" fmla="*/ 430387 h 474067"/>
                <a:gd name="connsiteX53" fmla="*/ 37385 w 861202"/>
                <a:gd name="connsiteY53" fmla="*/ 430387 h 474067"/>
                <a:gd name="connsiteX54" fmla="*/ 37386 w 861202"/>
                <a:gd name="connsiteY54" fmla="*/ 430387 h 474067"/>
                <a:gd name="connsiteX55" fmla="*/ 37386 w 861202"/>
                <a:gd name="connsiteY55" fmla="*/ 430387 h 474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861202" h="474067">
                  <a:moveTo>
                    <a:pt x="37386" y="430387"/>
                  </a:moveTo>
                  <a:lnTo>
                    <a:pt x="37385" y="430387"/>
                  </a:lnTo>
                  <a:lnTo>
                    <a:pt x="37386" y="430387"/>
                  </a:lnTo>
                  <a:lnTo>
                    <a:pt x="37386" y="430387"/>
                  </a:lnTo>
                  <a:cubicBezTo>
                    <a:pt x="40577" y="436380"/>
                    <a:pt x="36575" y="474067"/>
                    <a:pt x="56530" y="466344"/>
                  </a:cubicBezTo>
                  <a:cubicBezTo>
                    <a:pt x="76485" y="458621"/>
                    <a:pt x="108346" y="411480"/>
                    <a:pt x="157114" y="384048"/>
                  </a:cubicBezTo>
                  <a:cubicBezTo>
                    <a:pt x="205882" y="356616"/>
                    <a:pt x="303418" y="333756"/>
                    <a:pt x="349138" y="301752"/>
                  </a:cubicBezTo>
                  <a:cubicBezTo>
                    <a:pt x="394858" y="269748"/>
                    <a:pt x="393334" y="216408"/>
                    <a:pt x="431434" y="192024"/>
                  </a:cubicBezTo>
                  <a:cubicBezTo>
                    <a:pt x="469534" y="167640"/>
                    <a:pt x="545734" y="161544"/>
                    <a:pt x="577738" y="155448"/>
                  </a:cubicBezTo>
                  <a:cubicBezTo>
                    <a:pt x="609742" y="149352"/>
                    <a:pt x="609742" y="158496"/>
                    <a:pt x="623458" y="155448"/>
                  </a:cubicBezTo>
                  <a:cubicBezTo>
                    <a:pt x="637174" y="152400"/>
                    <a:pt x="661558" y="140208"/>
                    <a:pt x="660034" y="137160"/>
                  </a:cubicBezTo>
                  <a:cubicBezTo>
                    <a:pt x="658510" y="134112"/>
                    <a:pt x="614314" y="137160"/>
                    <a:pt x="614314" y="137160"/>
                  </a:cubicBezTo>
                  <a:cubicBezTo>
                    <a:pt x="591454" y="137160"/>
                    <a:pt x="547258" y="135636"/>
                    <a:pt x="522874" y="137160"/>
                  </a:cubicBezTo>
                  <a:cubicBezTo>
                    <a:pt x="498490" y="138684"/>
                    <a:pt x="478678" y="143256"/>
                    <a:pt x="468010" y="146304"/>
                  </a:cubicBezTo>
                  <a:cubicBezTo>
                    <a:pt x="457342" y="149352"/>
                    <a:pt x="463438" y="155448"/>
                    <a:pt x="458866" y="155448"/>
                  </a:cubicBezTo>
                  <a:cubicBezTo>
                    <a:pt x="454294" y="155448"/>
                    <a:pt x="422290" y="156972"/>
                    <a:pt x="440578" y="146304"/>
                  </a:cubicBezTo>
                  <a:cubicBezTo>
                    <a:pt x="458866" y="135636"/>
                    <a:pt x="538114" y="100584"/>
                    <a:pt x="568594" y="91440"/>
                  </a:cubicBezTo>
                  <a:cubicBezTo>
                    <a:pt x="599074" y="82296"/>
                    <a:pt x="599074" y="92964"/>
                    <a:pt x="623458" y="91440"/>
                  </a:cubicBezTo>
                  <a:cubicBezTo>
                    <a:pt x="647842" y="89916"/>
                    <a:pt x="678322" y="92964"/>
                    <a:pt x="714898" y="82296"/>
                  </a:cubicBezTo>
                  <a:cubicBezTo>
                    <a:pt x="751474" y="71628"/>
                    <a:pt x="824626" y="41148"/>
                    <a:pt x="842914" y="27432"/>
                  </a:cubicBezTo>
                  <a:cubicBezTo>
                    <a:pt x="861202" y="13716"/>
                    <a:pt x="833770" y="0"/>
                    <a:pt x="824626" y="0"/>
                  </a:cubicBezTo>
                  <a:cubicBezTo>
                    <a:pt x="815482" y="0"/>
                    <a:pt x="800242" y="21336"/>
                    <a:pt x="788050" y="27432"/>
                  </a:cubicBezTo>
                  <a:cubicBezTo>
                    <a:pt x="775858" y="33528"/>
                    <a:pt x="769762" y="30480"/>
                    <a:pt x="751474" y="36576"/>
                  </a:cubicBezTo>
                  <a:cubicBezTo>
                    <a:pt x="733186" y="42672"/>
                    <a:pt x="699658" y="59436"/>
                    <a:pt x="678322" y="64008"/>
                  </a:cubicBezTo>
                  <a:cubicBezTo>
                    <a:pt x="656986" y="68580"/>
                    <a:pt x="623458" y="64008"/>
                    <a:pt x="623458" y="64008"/>
                  </a:cubicBezTo>
                  <a:cubicBezTo>
                    <a:pt x="596026" y="64008"/>
                    <a:pt x="541162" y="57912"/>
                    <a:pt x="513730" y="64008"/>
                  </a:cubicBezTo>
                  <a:cubicBezTo>
                    <a:pt x="486298" y="70104"/>
                    <a:pt x="474106" y="86868"/>
                    <a:pt x="458866" y="100584"/>
                  </a:cubicBezTo>
                  <a:cubicBezTo>
                    <a:pt x="443626" y="114300"/>
                    <a:pt x="436006" y="132588"/>
                    <a:pt x="422290" y="146304"/>
                  </a:cubicBezTo>
                  <a:cubicBezTo>
                    <a:pt x="408574" y="160020"/>
                    <a:pt x="391810" y="164592"/>
                    <a:pt x="376570" y="182880"/>
                  </a:cubicBezTo>
                  <a:cubicBezTo>
                    <a:pt x="361330" y="201168"/>
                    <a:pt x="350662" y="236220"/>
                    <a:pt x="330850" y="256032"/>
                  </a:cubicBezTo>
                  <a:cubicBezTo>
                    <a:pt x="311038" y="275844"/>
                    <a:pt x="286654" y="286512"/>
                    <a:pt x="257698" y="301752"/>
                  </a:cubicBezTo>
                  <a:cubicBezTo>
                    <a:pt x="228742" y="316992"/>
                    <a:pt x="179974" y="335280"/>
                    <a:pt x="157114" y="347472"/>
                  </a:cubicBezTo>
                  <a:cubicBezTo>
                    <a:pt x="134254" y="359664"/>
                    <a:pt x="134254" y="365760"/>
                    <a:pt x="120538" y="374904"/>
                  </a:cubicBezTo>
                  <a:cubicBezTo>
                    <a:pt x="106822" y="384048"/>
                    <a:pt x="85486" y="397764"/>
                    <a:pt x="74818" y="402336"/>
                  </a:cubicBezTo>
                  <a:cubicBezTo>
                    <a:pt x="64150" y="406908"/>
                    <a:pt x="56530" y="408432"/>
                    <a:pt x="56530" y="402336"/>
                  </a:cubicBezTo>
                  <a:cubicBezTo>
                    <a:pt x="56530" y="396240"/>
                    <a:pt x="62626" y="382524"/>
                    <a:pt x="74818" y="365760"/>
                  </a:cubicBezTo>
                  <a:cubicBezTo>
                    <a:pt x="87010" y="348996"/>
                    <a:pt x="105298" y="326136"/>
                    <a:pt x="129682" y="301752"/>
                  </a:cubicBezTo>
                  <a:cubicBezTo>
                    <a:pt x="154066" y="277368"/>
                    <a:pt x="198262" y="245364"/>
                    <a:pt x="221122" y="219456"/>
                  </a:cubicBezTo>
                  <a:cubicBezTo>
                    <a:pt x="243982" y="193548"/>
                    <a:pt x="259222" y="172212"/>
                    <a:pt x="266842" y="146304"/>
                  </a:cubicBezTo>
                  <a:cubicBezTo>
                    <a:pt x="274462" y="120396"/>
                    <a:pt x="268366" y="79248"/>
                    <a:pt x="266842" y="64008"/>
                  </a:cubicBezTo>
                  <a:cubicBezTo>
                    <a:pt x="265318" y="48768"/>
                    <a:pt x="260746" y="44196"/>
                    <a:pt x="257698" y="54864"/>
                  </a:cubicBezTo>
                  <a:cubicBezTo>
                    <a:pt x="254650" y="65532"/>
                    <a:pt x="254650" y="108204"/>
                    <a:pt x="248554" y="128016"/>
                  </a:cubicBezTo>
                  <a:cubicBezTo>
                    <a:pt x="242458" y="147828"/>
                    <a:pt x="237886" y="155448"/>
                    <a:pt x="221122" y="173736"/>
                  </a:cubicBezTo>
                  <a:cubicBezTo>
                    <a:pt x="204358" y="192024"/>
                    <a:pt x="164734" y="224028"/>
                    <a:pt x="147970" y="237744"/>
                  </a:cubicBezTo>
                  <a:cubicBezTo>
                    <a:pt x="131206" y="251460"/>
                    <a:pt x="137302" y="237744"/>
                    <a:pt x="120538" y="256032"/>
                  </a:cubicBezTo>
                  <a:cubicBezTo>
                    <a:pt x="103774" y="274320"/>
                    <a:pt x="61102" y="327660"/>
                    <a:pt x="47386" y="347472"/>
                  </a:cubicBezTo>
                  <a:cubicBezTo>
                    <a:pt x="33670" y="367284"/>
                    <a:pt x="41290" y="364236"/>
                    <a:pt x="38242" y="374904"/>
                  </a:cubicBezTo>
                  <a:cubicBezTo>
                    <a:pt x="35194" y="385572"/>
                    <a:pt x="27574" y="402336"/>
                    <a:pt x="29098" y="411480"/>
                  </a:cubicBezTo>
                  <a:cubicBezTo>
                    <a:pt x="30622" y="420624"/>
                    <a:pt x="51958" y="422148"/>
                    <a:pt x="47386" y="429768"/>
                  </a:cubicBezTo>
                  <a:cubicBezTo>
                    <a:pt x="42814" y="437388"/>
                    <a:pt x="3332" y="457097"/>
                    <a:pt x="1666" y="457200"/>
                  </a:cubicBezTo>
                  <a:cubicBezTo>
                    <a:pt x="0" y="457303"/>
                    <a:pt x="31434" y="434856"/>
                    <a:pt x="37387" y="430387"/>
                  </a:cubicBezTo>
                  <a:cubicBezTo>
                    <a:pt x="43340" y="425918"/>
                    <a:pt x="26821" y="429886"/>
                    <a:pt x="37385" y="430387"/>
                  </a:cubicBezTo>
                  <a:lnTo>
                    <a:pt x="37385" y="430387"/>
                  </a:lnTo>
                  <a:lnTo>
                    <a:pt x="37385" y="430387"/>
                  </a:lnTo>
                  <a:lnTo>
                    <a:pt x="37386" y="430387"/>
                  </a:lnTo>
                  <a:lnTo>
                    <a:pt x="37386" y="430387"/>
                  </a:lnTo>
                  <a:close/>
                </a:path>
              </a:pathLst>
            </a:custGeom>
            <a:solidFill>
              <a:srgbClr val="8DAA44"/>
            </a:solidFill>
            <a:ln w="6350" cap="flat" cmpd="sng" algn="ctr">
              <a:solidFill>
                <a:srgbClr val="663300"/>
              </a:solidFill>
              <a:prstDash val="solid"/>
            </a:ln>
            <a:effectLst/>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0" cap="none" spc="0" normalizeH="0" baseline="0" noProof="0" dirty="0">
                <a:ln>
                  <a:noFill/>
                </a:ln>
                <a:solidFill>
                  <a:prstClr val="white"/>
                </a:solidFill>
                <a:effectLst/>
                <a:uLnTx/>
                <a:uFillTx/>
                <a:latin typeface="News Gothic MT" panose="020B0503020103020203" pitchFamily="34" charset="0"/>
                <a:ea typeface="MS PGothic" charset="0"/>
                <a:cs typeface="+mn-cs"/>
              </a:endParaRPr>
            </a:p>
          </p:txBody>
        </p:sp>
        <p:sp>
          <p:nvSpPr>
            <p:cNvPr id="14" name="Freeform 209">
              <a:extLst>
                <a:ext uri="{FF2B5EF4-FFF2-40B4-BE49-F238E27FC236}">
                  <a16:creationId xmlns:a16="http://schemas.microsoft.com/office/drawing/2014/main" id="{E901208B-D2CA-4285-8D4C-5F941B3B37BA}"/>
                </a:ext>
              </a:extLst>
            </p:cNvPr>
            <p:cNvSpPr/>
            <p:nvPr/>
          </p:nvSpPr>
          <p:spPr>
            <a:xfrm rot="17380964" flipH="1">
              <a:off x="5254725" y="2476074"/>
              <a:ext cx="527154" cy="614311"/>
            </a:xfrm>
            <a:custGeom>
              <a:avLst/>
              <a:gdLst>
                <a:gd name="connsiteX0" fmla="*/ 19812 w 1226820"/>
                <a:gd name="connsiteY0" fmla="*/ 841248 h 864108"/>
                <a:gd name="connsiteX1" fmla="*/ 92964 w 1226820"/>
                <a:gd name="connsiteY1" fmla="*/ 649224 h 864108"/>
                <a:gd name="connsiteX2" fmla="*/ 193548 w 1226820"/>
                <a:gd name="connsiteY2" fmla="*/ 548640 h 864108"/>
                <a:gd name="connsiteX3" fmla="*/ 321564 w 1226820"/>
                <a:gd name="connsiteY3" fmla="*/ 493776 h 864108"/>
                <a:gd name="connsiteX4" fmla="*/ 422148 w 1226820"/>
                <a:gd name="connsiteY4" fmla="*/ 466344 h 864108"/>
                <a:gd name="connsiteX5" fmla="*/ 522732 w 1226820"/>
                <a:gd name="connsiteY5" fmla="*/ 384048 h 864108"/>
                <a:gd name="connsiteX6" fmla="*/ 714756 w 1226820"/>
                <a:gd name="connsiteY6" fmla="*/ 301752 h 864108"/>
                <a:gd name="connsiteX7" fmla="*/ 797052 w 1226820"/>
                <a:gd name="connsiteY7" fmla="*/ 192024 h 864108"/>
                <a:gd name="connsiteX8" fmla="*/ 943356 w 1226820"/>
                <a:gd name="connsiteY8" fmla="*/ 155448 h 864108"/>
                <a:gd name="connsiteX9" fmla="*/ 989076 w 1226820"/>
                <a:gd name="connsiteY9" fmla="*/ 155448 h 864108"/>
                <a:gd name="connsiteX10" fmla="*/ 1025652 w 1226820"/>
                <a:gd name="connsiteY10" fmla="*/ 137160 h 864108"/>
                <a:gd name="connsiteX11" fmla="*/ 979932 w 1226820"/>
                <a:gd name="connsiteY11" fmla="*/ 137160 h 864108"/>
                <a:gd name="connsiteX12" fmla="*/ 888492 w 1226820"/>
                <a:gd name="connsiteY12" fmla="*/ 137160 h 864108"/>
                <a:gd name="connsiteX13" fmla="*/ 833628 w 1226820"/>
                <a:gd name="connsiteY13" fmla="*/ 146304 h 864108"/>
                <a:gd name="connsiteX14" fmla="*/ 824484 w 1226820"/>
                <a:gd name="connsiteY14" fmla="*/ 155448 h 864108"/>
                <a:gd name="connsiteX15" fmla="*/ 806196 w 1226820"/>
                <a:gd name="connsiteY15" fmla="*/ 146304 h 864108"/>
                <a:gd name="connsiteX16" fmla="*/ 934212 w 1226820"/>
                <a:gd name="connsiteY16" fmla="*/ 91440 h 864108"/>
                <a:gd name="connsiteX17" fmla="*/ 989076 w 1226820"/>
                <a:gd name="connsiteY17" fmla="*/ 91440 h 864108"/>
                <a:gd name="connsiteX18" fmla="*/ 1080516 w 1226820"/>
                <a:gd name="connsiteY18" fmla="*/ 82296 h 864108"/>
                <a:gd name="connsiteX19" fmla="*/ 1208532 w 1226820"/>
                <a:gd name="connsiteY19" fmla="*/ 27432 h 864108"/>
                <a:gd name="connsiteX20" fmla="*/ 1190244 w 1226820"/>
                <a:gd name="connsiteY20" fmla="*/ 0 h 864108"/>
                <a:gd name="connsiteX21" fmla="*/ 1153668 w 1226820"/>
                <a:gd name="connsiteY21" fmla="*/ 27432 h 864108"/>
                <a:gd name="connsiteX22" fmla="*/ 1117092 w 1226820"/>
                <a:gd name="connsiteY22" fmla="*/ 36576 h 864108"/>
                <a:gd name="connsiteX23" fmla="*/ 1043940 w 1226820"/>
                <a:gd name="connsiteY23" fmla="*/ 64008 h 864108"/>
                <a:gd name="connsiteX24" fmla="*/ 989076 w 1226820"/>
                <a:gd name="connsiteY24" fmla="*/ 64008 h 864108"/>
                <a:gd name="connsiteX25" fmla="*/ 879348 w 1226820"/>
                <a:gd name="connsiteY25" fmla="*/ 64008 h 864108"/>
                <a:gd name="connsiteX26" fmla="*/ 824484 w 1226820"/>
                <a:gd name="connsiteY26" fmla="*/ 100584 h 864108"/>
                <a:gd name="connsiteX27" fmla="*/ 787908 w 1226820"/>
                <a:gd name="connsiteY27" fmla="*/ 146304 h 864108"/>
                <a:gd name="connsiteX28" fmla="*/ 742188 w 1226820"/>
                <a:gd name="connsiteY28" fmla="*/ 182880 h 864108"/>
                <a:gd name="connsiteX29" fmla="*/ 696468 w 1226820"/>
                <a:gd name="connsiteY29" fmla="*/ 256032 h 864108"/>
                <a:gd name="connsiteX30" fmla="*/ 623316 w 1226820"/>
                <a:gd name="connsiteY30" fmla="*/ 301752 h 864108"/>
                <a:gd name="connsiteX31" fmla="*/ 522732 w 1226820"/>
                <a:gd name="connsiteY31" fmla="*/ 347472 h 864108"/>
                <a:gd name="connsiteX32" fmla="*/ 486156 w 1226820"/>
                <a:gd name="connsiteY32" fmla="*/ 374904 h 864108"/>
                <a:gd name="connsiteX33" fmla="*/ 440436 w 1226820"/>
                <a:gd name="connsiteY33" fmla="*/ 402336 h 864108"/>
                <a:gd name="connsiteX34" fmla="*/ 422148 w 1226820"/>
                <a:gd name="connsiteY34" fmla="*/ 402336 h 864108"/>
                <a:gd name="connsiteX35" fmla="*/ 440436 w 1226820"/>
                <a:gd name="connsiteY35" fmla="*/ 365760 h 864108"/>
                <a:gd name="connsiteX36" fmla="*/ 495300 w 1226820"/>
                <a:gd name="connsiteY36" fmla="*/ 301752 h 864108"/>
                <a:gd name="connsiteX37" fmla="*/ 586740 w 1226820"/>
                <a:gd name="connsiteY37" fmla="*/ 219456 h 864108"/>
                <a:gd name="connsiteX38" fmla="*/ 632460 w 1226820"/>
                <a:gd name="connsiteY38" fmla="*/ 146304 h 864108"/>
                <a:gd name="connsiteX39" fmla="*/ 632460 w 1226820"/>
                <a:gd name="connsiteY39" fmla="*/ 64008 h 864108"/>
                <a:gd name="connsiteX40" fmla="*/ 623316 w 1226820"/>
                <a:gd name="connsiteY40" fmla="*/ 54864 h 864108"/>
                <a:gd name="connsiteX41" fmla="*/ 614172 w 1226820"/>
                <a:gd name="connsiteY41" fmla="*/ 128016 h 864108"/>
                <a:gd name="connsiteX42" fmla="*/ 586740 w 1226820"/>
                <a:gd name="connsiteY42" fmla="*/ 173736 h 864108"/>
                <a:gd name="connsiteX43" fmla="*/ 513588 w 1226820"/>
                <a:gd name="connsiteY43" fmla="*/ 237744 h 864108"/>
                <a:gd name="connsiteX44" fmla="*/ 486156 w 1226820"/>
                <a:gd name="connsiteY44" fmla="*/ 256032 h 864108"/>
                <a:gd name="connsiteX45" fmla="*/ 413004 w 1226820"/>
                <a:gd name="connsiteY45" fmla="*/ 347472 h 864108"/>
                <a:gd name="connsiteX46" fmla="*/ 403860 w 1226820"/>
                <a:gd name="connsiteY46" fmla="*/ 374904 h 864108"/>
                <a:gd name="connsiteX47" fmla="*/ 394716 w 1226820"/>
                <a:gd name="connsiteY47" fmla="*/ 411480 h 864108"/>
                <a:gd name="connsiteX48" fmla="*/ 413004 w 1226820"/>
                <a:gd name="connsiteY48" fmla="*/ 429768 h 864108"/>
                <a:gd name="connsiteX49" fmla="*/ 367284 w 1226820"/>
                <a:gd name="connsiteY49" fmla="*/ 457200 h 864108"/>
                <a:gd name="connsiteX50" fmla="*/ 220980 w 1226820"/>
                <a:gd name="connsiteY50" fmla="*/ 493776 h 864108"/>
                <a:gd name="connsiteX51" fmla="*/ 175260 w 1226820"/>
                <a:gd name="connsiteY51" fmla="*/ 530352 h 864108"/>
                <a:gd name="connsiteX52" fmla="*/ 92964 w 1226820"/>
                <a:gd name="connsiteY52" fmla="*/ 585216 h 864108"/>
                <a:gd name="connsiteX53" fmla="*/ 19812 w 1226820"/>
                <a:gd name="connsiteY53" fmla="*/ 704088 h 864108"/>
                <a:gd name="connsiteX54" fmla="*/ 1524 w 1226820"/>
                <a:gd name="connsiteY54" fmla="*/ 786384 h 864108"/>
                <a:gd name="connsiteX55" fmla="*/ 19812 w 1226820"/>
                <a:gd name="connsiteY55" fmla="*/ 841248 h 864108"/>
                <a:gd name="connsiteX0" fmla="*/ 218332 w 1253874"/>
                <a:gd name="connsiteY0" fmla="*/ 554512 h 811313"/>
                <a:gd name="connsiteX1" fmla="*/ 120018 w 1253874"/>
                <a:gd name="connsiteY1" fmla="*/ 649224 h 811313"/>
                <a:gd name="connsiteX2" fmla="*/ 220602 w 1253874"/>
                <a:gd name="connsiteY2" fmla="*/ 548640 h 811313"/>
                <a:gd name="connsiteX3" fmla="*/ 348618 w 1253874"/>
                <a:gd name="connsiteY3" fmla="*/ 493776 h 811313"/>
                <a:gd name="connsiteX4" fmla="*/ 449202 w 1253874"/>
                <a:gd name="connsiteY4" fmla="*/ 466344 h 811313"/>
                <a:gd name="connsiteX5" fmla="*/ 549786 w 1253874"/>
                <a:gd name="connsiteY5" fmla="*/ 384048 h 811313"/>
                <a:gd name="connsiteX6" fmla="*/ 741810 w 1253874"/>
                <a:gd name="connsiteY6" fmla="*/ 301752 h 811313"/>
                <a:gd name="connsiteX7" fmla="*/ 824106 w 1253874"/>
                <a:gd name="connsiteY7" fmla="*/ 192024 h 811313"/>
                <a:gd name="connsiteX8" fmla="*/ 970410 w 1253874"/>
                <a:gd name="connsiteY8" fmla="*/ 155448 h 811313"/>
                <a:gd name="connsiteX9" fmla="*/ 1016130 w 1253874"/>
                <a:gd name="connsiteY9" fmla="*/ 155448 h 811313"/>
                <a:gd name="connsiteX10" fmla="*/ 1052706 w 1253874"/>
                <a:gd name="connsiteY10" fmla="*/ 137160 h 811313"/>
                <a:gd name="connsiteX11" fmla="*/ 1006986 w 1253874"/>
                <a:gd name="connsiteY11" fmla="*/ 137160 h 811313"/>
                <a:gd name="connsiteX12" fmla="*/ 915546 w 1253874"/>
                <a:gd name="connsiteY12" fmla="*/ 137160 h 811313"/>
                <a:gd name="connsiteX13" fmla="*/ 860682 w 1253874"/>
                <a:gd name="connsiteY13" fmla="*/ 146304 h 811313"/>
                <a:gd name="connsiteX14" fmla="*/ 851538 w 1253874"/>
                <a:gd name="connsiteY14" fmla="*/ 155448 h 811313"/>
                <a:gd name="connsiteX15" fmla="*/ 833250 w 1253874"/>
                <a:gd name="connsiteY15" fmla="*/ 146304 h 811313"/>
                <a:gd name="connsiteX16" fmla="*/ 961266 w 1253874"/>
                <a:gd name="connsiteY16" fmla="*/ 91440 h 811313"/>
                <a:gd name="connsiteX17" fmla="*/ 1016130 w 1253874"/>
                <a:gd name="connsiteY17" fmla="*/ 91440 h 811313"/>
                <a:gd name="connsiteX18" fmla="*/ 1107570 w 1253874"/>
                <a:gd name="connsiteY18" fmla="*/ 82296 h 811313"/>
                <a:gd name="connsiteX19" fmla="*/ 1235586 w 1253874"/>
                <a:gd name="connsiteY19" fmla="*/ 27432 h 811313"/>
                <a:gd name="connsiteX20" fmla="*/ 1217298 w 1253874"/>
                <a:gd name="connsiteY20" fmla="*/ 0 h 811313"/>
                <a:gd name="connsiteX21" fmla="*/ 1180722 w 1253874"/>
                <a:gd name="connsiteY21" fmla="*/ 27432 h 811313"/>
                <a:gd name="connsiteX22" fmla="*/ 1144146 w 1253874"/>
                <a:gd name="connsiteY22" fmla="*/ 36576 h 811313"/>
                <a:gd name="connsiteX23" fmla="*/ 1070994 w 1253874"/>
                <a:gd name="connsiteY23" fmla="*/ 64008 h 811313"/>
                <a:gd name="connsiteX24" fmla="*/ 1016130 w 1253874"/>
                <a:gd name="connsiteY24" fmla="*/ 64008 h 811313"/>
                <a:gd name="connsiteX25" fmla="*/ 906402 w 1253874"/>
                <a:gd name="connsiteY25" fmla="*/ 64008 h 811313"/>
                <a:gd name="connsiteX26" fmla="*/ 851538 w 1253874"/>
                <a:gd name="connsiteY26" fmla="*/ 100584 h 811313"/>
                <a:gd name="connsiteX27" fmla="*/ 814962 w 1253874"/>
                <a:gd name="connsiteY27" fmla="*/ 146304 h 811313"/>
                <a:gd name="connsiteX28" fmla="*/ 769242 w 1253874"/>
                <a:gd name="connsiteY28" fmla="*/ 182880 h 811313"/>
                <a:gd name="connsiteX29" fmla="*/ 723522 w 1253874"/>
                <a:gd name="connsiteY29" fmla="*/ 256032 h 811313"/>
                <a:gd name="connsiteX30" fmla="*/ 650370 w 1253874"/>
                <a:gd name="connsiteY30" fmla="*/ 301752 h 811313"/>
                <a:gd name="connsiteX31" fmla="*/ 549786 w 1253874"/>
                <a:gd name="connsiteY31" fmla="*/ 347472 h 811313"/>
                <a:gd name="connsiteX32" fmla="*/ 513210 w 1253874"/>
                <a:gd name="connsiteY32" fmla="*/ 374904 h 811313"/>
                <a:gd name="connsiteX33" fmla="*/ 467490 w 1253874"/>
                <a:gd name="connsiteY33" fmla="*/ 402336 h 811313"/>
                <a:gd name="connsiteX34" fmla="*/ 449202 w 1253874"/>
                <a:gd name="connsiteY34" fmla="*/ 402336 h 811313"/>
                <a:gd name="connsiteX35" fmla="*/ 467490 w 1253874"/>
                <a:gd name="connsiteY35" fmla="*/ 365760 h 811313"/>
                <a:gd name="connsiteX36" fmla="*/ 522354 w 1253874"/>
                <a:gd name="connsiteY36" fmla="*/ 301752 h 811313"/>
                <a:gd name="connsiteX37" fmla="*/ 613794 w 1253874"/>
                <a:gd name="connsiteY37" fmla="*/ 219456 h 811313"/>
                <a:gd name="connsiteX38" fmla="*/ 659514 w 1253874"/>
                <a:gd name="connsiteY38" fmla="*/ 146304 h 811313"/>
                <a:gd name="connsiteX39" fmla="*/ 659514 w 1253874"/>
                <a:gd name="connsiteY39" fmla="*/ 64008 h 811313"/>
                <a:gd name="connsiteX40" fmla="*/ 650370 w 1253874"/>
                <a:gd name="connsiteY40" fmla="*/ 54864 h 811313"/>
                <a:gd name="connsiteX41" fmla="*/ 641226 w 1253874"/>
                <a:gd name="connsiteY41" fmla="*/ 128016 h 811313"/>
                <a:gd name="connsiteX42" fmla="*/ 613794 w 1253874"/>
                <a:gd name="connsiteY42" fmla="*/ 173736 h 811313"/>
                <a:gd name="connsiteX43" fmla="*/ 540642 w 1253874"/>
                <a:gd name="connsiteY43" fmla="*/ 237744 h 811313"/>
                <a:gd name="connsiteX44" fmla="*/ 513210 w 1253874"/>
                <a:gd name="connsiteY44" fmla="*/ 256032 h 811313"/>
                <a:gd name="connsiteX45" fmla="*/ 440058 w 1253874"/>
                <a:gd name="connsiteY45" fmla="*/ 347472 h 811313"/>
                <a:gd name="connsiteX46" fmla="*/ 430914 w 1253874"/>
                <a:gd name="connsiteY46" fmla="*/ 374904 h 811313"/>
                <a:gd name="connsiteX47" fmla="*/ 421770 w 1253874"/>
                <a:gd name="connsiteY47" fmla="*/ 411480 h 811313"/>
                <a:gd name="connsiteX48" fmla="*/ 440058 w 1253874"/>
                <a:gd name="connsiteY48" fmla="*/ 429768 h 811313"/>
                <a:gd name="connsiteX49" fmla="*/ 394338 w 1253874"/>
                <a:gd name="connsiteY49" fmla="*/ 457200 h 811313"/>
                <a:gd name="connsiteX50" fmla="*/ 248034 w 1253874"/>
                <a:gd name="connsiteY50" fmla="*/ 493776 h 811313"/>
                <a:gd name="connsiteX51" fmla="*/ 202314 w 1253874"/>
                <a:gd name="connsiteY51" fmla="*/ 530352 h 811313"/>
                <a:gd name="connsiteX52" fmla="*/ 120018 w 1253874"/>
                <a:gd name="connsiteY52" fmla="*/ 585216 h 811313"/>
                <a:gd name="connsiteX53" fmla="*/ 46866 w 1253874"/>
                <a:gd name="connsiteY53" fmla="*/ 704088 h 811313"/>
                <a:gd name="connsiteX54" fmla="*/ 28578 w 1253874"/>
                <a:gd name="connsiteY54" fmla="*/ 786384 h 811313"/>
                <a:gd name="connsiteX55" fmla="*/ 218332 w 1253874"/>
                <a:gd name="connsiteY55" fmla="*/ 554512 h 811313"/>
                <a:gd name="connsiteX0" fmla="*/ 187852 w 1223394"/>
                <a:gd name="connsiteY0" fmla="*/ 554512 h 709205"/>
                <a:gd name="connsiteX1" fmla="*/ 89538 w 1223394"/>
                <a:gd name="connsiteY1" fmla="*/ 649224 h 709205"/>
                <a:gd name="connsiteX2" fmla="*/ 190122 w 1223394"/>
                <a:gd name="connsiteY2" fmla="*/ 548640 h 709205"/>
                <a:gd name="connsiteX3" fmla="*/ 318138 w 1223394"/>
                <a:gd name="connsiteY3" fmla="*/ 493776 h 709205"/>
                <a:gd name="connsiteX4" fmla="*/ 418722 w 1223394"/>
                <a:gd name="connsiteY4" fmla="*/ 466344 h 709205"/>
                <a:gd name="connsiteX5" fmla="*/ 519306 w 1223394"/>
                <a:gd name="connsiteY5" fmla="*/ 384048 h 709205"/>
                <a:gd name="connsiteX6" fmla="*/ 711330 w 1223394"/>
                <a:gd name="connsiteY6" fmla="*/ 301752 h 709205"/>
                <a:gd name="connsiteX7" fmla="*/ 793626 w 1223394"/>
                <a:gd name="connsiteY7" fmla="*/ 192024 h 709205"/>
                <a:gd name="connsiteX8" fmla="*/ 939930 w 1223394"/>
                <a:gd name="connsiteY8" fmla="*/ 155448 h 709205"/>
                <a:gd name="connsiteX9" fmla="*/ 985650 w 1223394"/>
                <a:gd name="connsiteY9" fmla="*/ 155448 h 709205"/>
                <a:gd name="connsiteX10" fmla="*/ 1022226 w 1223394"/>
                <a:gd name="connsiteY10" fmla="*/ 137160 h 709205"/>
                <a:gd name="connsiteX11" fmla="*/ 976506 w 1223394"/>
                <a:gd name="connsiteY11" fmla="*/ 137160 h 709205"/>
                <a:gd name="connsiteX12" fmla="*/ 885066 w 1223394"/>
                <a:gd name="connsiteY12" fmla="*/ 137160 h 709205"/>
                <a:gd name="connsiteX13" fmla="*/ 830202 w 1223394"/>
                <a:gd name="connsiteY13" fmla="*/ 146304 h 709205"/>
                <a:gd name="connsiteX14" fmla="*/ 821058 w 1223394"/>
                <a:gd name="connsiteY14" fmla="*/ 155448 h 709205"/>
                <a:gd name="connsiteX15" fmla="*/ 802770 w 1223394"/>
                <a:gd name="connsiteY15" fmla="*/ 146304 h 709205"/>
                <a:gd name="connsiteX16" fmla="*/ 930786 w 1223394"/>
                <a:gd name="connsiteY16" fmla="*/ 91440 h 709205"/>
                <a:gd name="connsiteX17" fmla="*/ 985650 w 1223394"/>
                <a:gd name="connsiteY17" fmla="*/ 91440 h 709205"/>
                <a:gd name="connsiteX18" fmla="*/ 1077090 w 1223394"/>
                <a:gd name="connsiteY18" fmla="*/ 82296 h 709205"/>
                <a:gd name="connsiteX19" fmla="*/ 1205106 w 1223394"/>
                <a:gd name="connsiteY19" fmla="*/ 27432 h 709205"/>
                <a:gd name="connsiteX20" fmla="*/ 1186818 w 1223394"/>
                <a:gd name="connsiteY20" fmla="*/ 0 h 709205"/>
                <a:gd name="connsiteX21" fmla="*/ 1150242 w 1223394"/>
                <a:gd name="connsiteY21" fmla="*/ 27432 h 709205"/>
                <a:gd name="connsiteX22" fmla="*/ 1113666 w 1223394"/>
                <a:gd name="connsiteY22" fmla="*/ 36576 h 709205"/>
                <a:gd name="connsiteX23" fmla="*/ 1040514 w 1223394"/>
                <a:gd name="connsiteY23" fmla="*/ 64008 h 709205"/>
                <a:gd name="connsiteX24" fmla="*/ 985650 w 1223394"/>
                <a:gd name="connsiteY24" fmla="*/ 64008 h 709205"/>
                <a:gd name="connsiteX25" fmla="*/ 875922 w 1223394"/>
                <a:gd name="connsiteY25" fmla="*/ 64008 h 709205"/>
                <a:gd name="connsiteX26" fmla="*/ 821058 w 1223394"/>
                <a:gd name="connsiteY26" fmla="*/ 100584 h 709205"/>
                <a:gd name="connsiteX27" fmla="*/ 784482 w 1223394"/>
                <a:gd name="connsiteY27" fmla="*/ 146304 h 709205"/>
                <a:gd name="connsiteX28" fmla="*/ 738762 w 1223394"/>
                <a:gd name="connsiteY28" fmla="*/ 182880 h 709205"/>
                <a:gd name="connsiteX29" fmla="*/ 693042 w 1223394"/>
                <a:gd name="connsiteY29" fmla="*/ 256032 h 709205"/>
                <a:gd name="connsiteX30" fmla="*/ 619890 w 1223394"/>
                <a:gd name="connsiteY30" fmla="*/ 301752 h 709205"/>
                <a:gd name="connsiteX31" fmla="*/ 519306 w 1223394"/>
                <a:gd name="connsiteY31" fmla="*/ 347472 h 709205"/>
                <a:gd name="connsiteX32" fmla="*/ 482730 w 1223394"/>
                <a:gd name="connsiteY32" fmla="*/ 374904 h 709205"/>
                <a:gd name="connsiteX33" fmla="*/ 437010 w 1223394"/>
                <a:gd name="connsiteY33" fmla="*/ 402336 h 709205"/>
                <a:gd name="connsiteX34" fmla="*/ 418722 w 1223394"/>
                <a:gd name="connsiteY34" fmla="*/ 402336 h 709205"/>
                <a:gd name="connsiteX35" fmla="*/ 437010 w 1223394"/>
                <a:gd name="connsiteY35" fmla="*/ 365760 h 709205"/>
                <a:gd name="connsiteX36" fmla="*/ 491874 w 1223394"/>
                <a:gd name="connsiteY36" fmla="*/ 301752 h 709205"/>
                <a:gd name="connsiteX37" fmla="*/ 583314 w 1223394"/>
                <a:gd name="connsiteY37" fmla="*/ 219456 h 709205"/>
                <a:gd name="connsiteX38" fmla="*/ 629034 w 1223394"/>
                <a:gd name="connsiteY38" fmla="*/ 146304 h 709205"/>
                <a:gd name="connsiteX39" fmla="*/ 629034 w 1223394"/>
                <a:gd name="connsiteY39" fmla="*/ 64008 h 709205"/>
                <a:gd name="connsiteX40" fmla="*/ 619890 w 1223394"/>
                <a:gd name="connsiteY40" fmla="*/ 54864 h 709205"/>
                <a:gd name="connsiteX41" fmla="*/ 610746 w 1223394"/>
                <a:gd name="connsiteY41" fmla="*/ 128016 h 709205"/>
                <a:gd name="connsiteX42" fmla="*/ 583314 w 1223394"/>
                <a:gd name="connsiteY42" fmla="*/ 173736 h 709205"/>
                <a:gd name="connsiteX43" fmla="*/ 510162 w 1223394"/>
                <a:gd name="connsiteY43" fmla="*/ 237744 h 709205"/>
                <a:gd name="connsiteX44" fmla="*/ 482730 w 1223394"/>
                <a:gd name="connsiteY44" fmla="*/ 256032 h 709205"/>
                <a:gd name="connsiteX45" fmla="*/ 409578 w 1223394"/>
                <a:gd name="connsiteY45" fmla="*/ 347472 h 709205"/>
                <a:gd name="connsiteX46" fmla="*/ 400434 w 1223394"/>
                <a:gd name="connsiteY46" fmla="*/ 374904 h 709205"/>
                <a:gd name="connsiteX47" fmla="*/ 391290 w 1223394"/>
                <a:gd name="connsiteY47" fmla="*/ 411480 h 709205"/>
                <a:gd name="connsiteX48" fmla="*/ 409578 w 1223394"/>
                <a:gd name="connsiteY48" fmla="*/ 429768 h 709205"/>
                <a:gd name="connsiteX49" fmla="*/ 363858 w 1223394"/>
                <a:gd name="connsiteY49" fmla="*/ 457200 h 709205"/>
                <a:gd name="connsiteX50" fmla="*/ 217554 w 1223394"/>
                <a:gd name="connsiteY50" fmla="*/ 493776 h 709205"/>
                <a:gd name="connsiteX51" fmla="*/ 171834 w 1223394"/>
                <a:gd name="connsiteY51" fmla="*/ 530352 h 709205"/>
                <a:gd name="connsiteX52" fmla="*/ 89538 w 1223394"/>
                <a:gd name="connsiteY52" fmla="*/ 585216 h 709205"/>
                <a:gd name="connsiteX53" fmla="*/ 16386 w 1223394"/>
                <a:gd name="connsiteY53" fmla="*/ 704088 h 709205"/>
                <a:gd name="connsiteX54" fmla="*/ 187853 w 1223394"/>
                <a:gd name="connsiteY54" fmla="*/ 554512 h 709205"/>
                <a:gd name="connsiteX55" fmla="*/ 187852 w 1223394"/>
                <a:gd name="connsiteY55" fmla="*/ 554512 h 709205"/>
                <a:gd name="connsiteX0" fmla="*/ 110754 w 1146296"/>
                <a:gd name="connsiteY0" fmla="*/ 554512 h 649224"/>
                <a:gd name="connsiteX1" fmla="*/ 12440 w 1146296"/>
                <a:gd name="connsiteY1" fmla="*/ 649224 h 649224"/>
                <a:gd name="connsiteX2" fmla="*/ 113024 w 1146296"/>
                <a:gd name="connsiteY2" fmla="*/ 548640 h 649224"/>
                <a:gd name="connsiteX3" fmla="*/ 241040 w 1146296"/>
                <a:gd name="connsiteY3" fmla="*/ 493776 h 649224"/>
                <a:gd name="connsiteX4" fmla="*/ 341624 w 1146296"/>
                <a:gd name="connsiteY4" fmla="*/ 466344 h 649224"/>
                <a:gd name="connsiteX5" fmla="*/ 442208 w 1146296"/>
                <a:gd name="connsiteY5" fmla="*/ 384048 h 649224"/>
                <a:gd name="connsiteX6" fmla="*/ 634232 w 1146296"/>
                <a:gd name="connsiteY6" fmla="*/ 301752 h 649224"/>
                <a:gd name="connsiteX7" fmla="*/ 716528 w 1146296"/>
                <a:gd name="connsiteY7" fmla="*/ 192024 h 649224"/>
                <a:gd name="connsiteX8" fmla="*/ 862832 w 1146296"/>
                <a:gd name="connsiteY8" fmla="*/ 155448 h 649224"/>
                <a:gd name="connsiteX9" fmla="*/ 908552 w 1146296"/>
                <a:gd name="connsiteY9" fmla="*/ 155448 h 649224"/>
                <a:gd name="connsiteX10" fmla="*/ 945128 w 1146296"/>
                <a:gd name="connsiteY10" fmla="*/ 137160 h 649224"/>
                <a:gd name="connsiteX11" fmla="*/ 899408 w 1146296"/>
                <a:gd name="connsiteY11" fmla="*/ 137160 h 649224"/>
                <a:gd name="connsiteX12" fmla="*/ 807968 w 1146296"/>
                <a:gd name="connsiteY12" fmla="*/ 137160 h 649224"/>
                <a:gd name="connsiteX13" fmla="*/ 753104 w 1146296"/>
                <a:gd name="connsiteY13" fmla="*/ 146304 h 649224"/>
                <a:gd name="connsiteX14" fmla="*/ 743960 w 1146296"/>
                <a:gd name="connsiteY14" fmla="*/ 155448 h 649224"/>
                <a:gd name="connsiteX15" fmla="*/ 725672 w 1146296"/>
                <a:gd name="connsiteY15" fmla="*/ 146304 h 649224"/>
                <a:gd name="connsiteX16" fmla="*/ 853688 w 1146296"/>
                <a:gd name="connsiteY16" fmla="*/ 91440 h 649224"/>
                <a:gd name="connsiteX17" fmla="*/ 908552 w 1146296"/>
                <a:gd name="connsiteY17" fmla="*/ 91440 h 649224"/>
                <a:gd name="connsiteX18" fmla="*/ 999992 w 1146296"/>
                <a:gd name="connsiteY18" fmla="*/ 82296 h 649224"/>
                <a:gd name="connsiteX19" fmla="*/ 1128008 w 1146296"/>
                <a:gd name="connsiteY19" fmla="*/ 27432 h 649224"/>
                <a:gd name="connsiteX20" fmla="*/ 1109720 w 1146296"/>
                <a:gd name="connsiteY20" fmla="*/ 0 h 649224"/>
                <a:gd name="connsiteX21" fmla="*/ 1073144 w 1146296"/>
                <a:gd name="connsiteY21" fmla="*/ 27432 h 649224"/>
                <a:gd name="connsiteX22" fmla="*/ 1036568 w 1146296"/>
                <a:gd name="connsiteY22" fmla="*/ 36576 h 649224"/>
                <a:gd name="connsiteX23" fmla="*/ 963416 w 1146296"/>
                <a:gd name="connsiteY23" fmla="*/ 64008 h 649224"/>
                <a:gd name="connsiteX24" fmla="*/ 908552 w 1146296"/>
                <a:gd name="connsiteY24" fmla="*/ 64008 h 649224"/>
                <a:gd name="connsiteX25" fmla="*/ 798824 w 1146296"/>
                <a:gd name="connsiteY25" fmla="*/ 64008 h 649224"/>
                <a:gd name="connsiteX26" fmla="*/ 743960 w 1146296"/>
                <a:gd name="connsiteY26" fmla="*/ 100584 h 649224"/>
                <a:gd name="connsiteX27" fmla="*/ 707384 w 1146296"/>
                <a:gd name="connsiteY27" fmla="*/ 146304 h 649224"/>
                <a:gd name="connsiteX28" fmla="*/ 661664 w 1146296"/>
                <a:gd name="connsiteY28" fmla="*/ 182880 h 649224"/>
                <a:gd name="connsiteX29" fmla="*/ 615944 w 1146296"/>
                <a:gd name="connsiteY29" fmla="*/ 256032 h 649224"/>
                <a:gd name="connsiteX30" fmla="*/ 542792 w 1146296"/>
                <a:gd name="connsiteY30" fmla="*/ 301752 h 649224"/>
                <a:gd name="connsiteX31" fmla="*/ 442208 w 1146296"/>
                <a:gd name="connsiteY31" fmla="*/ 347472 h 649224"/>
                <a:gd name="connsiteX32" fmla="*/ 405632 w 1146296"/>
                <a:gd name="connsiteY32" fmla="*/ 374904 h 649224"/>
                <a:gd name="connsiteX33" fmla="*/ 359912 w 1146296"/>
                <a:gd name="connsiteY33" fmla="*/ 402336 h 649224"/>
                <a:gd name="connsiteX34" fmla="*/ 341624 w 1146296"/>
                <a:gd name="connsiteY34" fmla="*/ 402336 h 649224"/>
                <a:gd name="connsiteX35" fmla="*/ 359912 w 1146296"/>
                <a:gd name="connsiteY35" fmla="*/ 365760 h 649224"/>
                <a:gd name="connsiteX36" fmla="*/ 414776 w 1146296"/>
                <a:gd name="connsiteY36" fmla="*/ 301752 h 649224"/>
                <a:gd name="connsiteX37" fmla="*/ 506216 w 1146296"/>
                <a:gd name="connsiteY37" fmla="*/ 219456 h 649224"/>
                <a:gd name="connsiteX38" fmla="*/ 551936 w 1146296"/>
                <a:gd name="connsiteY38" fmla="*/ 146304 h 649224"/>
                <a:gd name="connsiteX39" fmla="*/ 551936 w 1146296"/>
                <a:gd name="connsiteY39" fmla="*/ 64008 h 649224"/>
                <a:gd name="connsiteX40" fmla="*/ 542792 w 1146296"/>
                <a:gd name="connsiteY40" fmla="*/ 54864 h 649224"/>
                <a:gd name="connsiteX41" fmla="*/ 533648 w 1146296"/>
                <a:gd name="connsiteY41" fmla="*/ 128016 h 649224"/>
                <a:gd name="connsiteX42" fmla="*/ 506216 w 1146296"/>
                <a:gd name="connsiteY42" fmla="*/ 173736 h 649224"/>
                <a:gd name="connsiteX43" fmla="*/ 433064 w 1146296"/>
                <a:gd name="connsiteY43" fmla="*/ 237744 h 649224"/>
                <a:gd name="connsiteX44" fmla="*/ 405632 w 1146296"/>
                <a:gd name="connsiteY44" fmla="*/ 256032 h 649224"/>
                <a:gd name="connsiteX45" fmla="*/ 332480 w 1146296"/>
                <a:gd name="connsiteY45" fmla="*/ 347472 h 649224"/>
                <a:gd name="connsiteX46" fmla="*/ 323336 w 1146296"/>
                <a:gd name="connsiteY46" fmla="*/ 374904 h 649224"/>
                <a:gd name="connsiteX47" fmla="*/ 314192 w 1146296"/>
                <a:gd name="connsiteY47" fmla="*/ 411480 h 649224"/>
                <a:gd name="connsiteX48" fmla="*/ 332480 w 1146296"/>
                <a:gd name="connsiteY48" fmla="*/ 429768 h 649224"/>
                <a:gd name="connsiteX49" fmla="*/ 286760 w 1146296"/>
                <a:gd name="connsiteY49" fmla="*/ 457200 h 649224"/>
                <a:gd name="connsiteX50" fmla="*/ 140456 w 1146296"/>
                <a:gd name="connsiteY50" fmla="*/ 493776 h 649224"/>
                <a:gd name="connsiteX51" fmla="*/ 94736 w 1146296"/>
                <a:gd name="connsiteY51" fmla="*/ 530352 h 649224"/>
                <a:gd name="connsiteX52" fmla="*/ 12440 w 1146296"/>
                <a:gd name="connsiteY52" fmla="*/ 585216 h 649224"/>
                <a:gd name="connsiteX53" fmla="*/ 20096 w 1146296"/>
                <a:gd name="connsiteY53" fmla="*/ 612769 h 649224"/>
                <a:gd name="connsiteX54" fmla="*/ 110755 w 1146296"/>
                <a:gd name="connsiteY54" fmla="*/ 554512 h 649224"/>
                <a:gd name="connsiteX55" fmla="*/ 110754 w 1146296"/>
                <a:gd name="connsiteY55" fmla="*/ 554512 h 649224"/>
                <a:gd name="connsiteX0" fmla="*/ 101388 w 1136930"/>
                <a:gd name="connsiteY0" fmla="*/ 554512 h 649224"/>
                <a:gd name="connsiteX1" fmla="*/ 3074 w 1136930"/>
                <a:gd name="connsiteY1" fmla="*/ 649224 h 649224"/>
                <a:gd name="connsiteX2" fmla="*/ 103658 w 1136930"/>
                <a:gd name="connsiteY2" fmla="*/ 548640 h 649224"/>
                <a:gd name="connsiteX3" fmla="*/ 231674 w 1136930"/>
                <a:gd name="connsiteY3" fmla="*/ 493776 h 649224"/>
                <a:gd name="connsiteX4" fmla="*/ 332258 w 1136930"/>
                <a:gd name="connsiteY4" fmla="*/ 466344 h 649224"/>
                <a:gd name="connsiteX5" fmla="*/ 432842 w 1136930"/>
                <a:gd name="connsiteY5" fmla="*/ 384048 h 649224"/>
                <a:gd name="connsiteX6" fmla="*/ 624866 w 1136930"/>
                <a:gd name="connsiteY6" fmla="*/ 301752 h 649224"/>
                <a:gd name="connsiteX7" fmla="*/ 707162 w 1136930"/>
                <a:gd name="connsiteY7" fmla="*/ 192024 h 649224"/>
                <a:gd name="connsiteX8" fmla="*/ 853466 w 1136930"/>
                <a:gd name="connsiteY8" fmla="*/ 155448 h 649224"/>
                <a:gd name="connsiteX9" fmla="*/ 899186 w 1136930"/>
                <a:gd name="connsiteY9" fmla="*/ 155448 h 649224"/>
                <a:gd name="connsiteX10" fmla="*/ 935762 w 1136930"/>
                <a:gd name="connsiteY10" fmla="*/ 137160 h 649224"/>
                <a:gd name="connsiteX11" fmla="*/ 890042 w 1136930"/>
                <a:gd name="connsiteY11" fmla="*/ 137160 h 649224"/>
                <a:gd name="connsiteX12" fmla="*/ 798602 w 1136930"/>
                <a:gd name="connsiteY12" fmla="*/ 137160 h 649224"/>
                <a:gd name="connsiteX13" fmla="*/ 743738 w 1136930"/>
                <a:gd name="connsiteY13" fmla="*/ 146304 h 649224"/>
                <a:gd name="connsiteX14" fmla="*/ 734594 w 1136930"/>
                <a:gd name="connsiteY14" fmla="*/ 155448 h 649224"/>
                <a:gd name="connsiteX15" fmla="*/ 716306 w 1136930"/>
                <a:gd name="connsiteY15" fmla="*/ 146304 h 649224"/>
                <a:gd name="connsiteX16" fmla="*/ 844322 w 1136930"/>
                <a:gd name="connsiteY16" fmla="*/ 91440 h 649224"/>
                <a:gd name="connsiteX17" fmla="*/ 899186 w 1136930"/>
                <a:gd name="connsiteY17" fmla="*/ 91440 h 649224"/>
                <a:gd name="connsiteX18" fmla="*/ 990626 w 1136930"/>
                <a:gd name="connsiteY18" fmla="*/ 82296 h 649224"/>
                <a:gd name="connsiteX19" fmla="*/ 1118642 w 1136930"/>
                <a:gd name="connsiteY19" fmla="*/ 27432 h 649224"/>
                <a:gd name="connsiteX20" fmla="*/ 1100354 w 1136930"/>
                <a:gd name="connsiteY20" fmla="*/ 0 h 649224"/>
                <a:gd name="connsiteX21" fmla="*/ 1063778 w 1136930"/>
                <a:gd name="connsiteY21" fmla="*/ 27432 h 649224"/>
                <a:gd name="connsiteX22" fmla="*/ 1027202 w 1136930"/>
                <a:gd name="connsiteY22" fmla="*/ 36576 h 649224"/>
                <a:gd name="connsiteX23" fmla="*/ 954050 w 1136930"/>
                <a:gd name="connsiteY23" fmla="*/ 64008 h 649224"/>
                <a:gd name="connsiteX24" fmla="*/ 899186 w 1136930"/>
                <a:gd name="connsiteY24" fmla="*/ 64008 h 649224"/>
                <a:gd name="connsiteX25" fmla="*/ 789458 w 1136930"/>
                <a:gd name="connsiteY25" fmla="*/ 64008 h 649224"/>
                <a:gd name="connsiteX26" fmla="*/ 734594 w 1136930"/>
                <a:gd name="connsiteY26" fmla="*/ 100584 h 649224"/>
                <a:gd name="connsiteX27" fmla="*/ 698018 w 1136930"/>
                <a:gd name="connsiteY27" fmla="*/ 146304 h 649224"/>
                <a:gd name="connsiteX28" fmla="*/ 652298 w 1136930"/>
                <a:gd name="connsiteY28" fmla="*/ 182880 h 649224"/>
                <a:gd name="connsiteX29" fmla="*/ 606578 w 1136930"/>
                <a:gd name="connsiteY29" fmla="*/ 256032 h 649224"/>
                <a:gd name="connsiteX30" fmla="*/ 533426 w 1136930"/>
                <a:gd name="connsiteY30" fmla="*/ 301752 h 649224"/>
                <a:gd name="connsiteX31" fmla="*/ 432842 w 1136930"/>
                <a:gd name="connsiteY31" fmla="*/ 347472 h 649224"/>
                <a:gd name="connsiteX32" fmla="*/ 396266 w 1136930"/>
                <a:gd name="connsiteY32" fmla="*/ 374904 h 649224"/>
                <a:gd name="connsiteX33" fmla="*/ 350546 w 1136930"/>
                <a:gd name="connsiteY33" fmla="*/ 402336 h 649224"/>
                <a:gd name="connsiteX34" fmla="*/ 332258 w 1136930"/>
                <a:gd name="connsiteY34" fmla="*/ 402336 h 649224"/>
                <a:gd name="connsiteX35" fmla="*/ 350546 w 1136930"/>
                <a:gd name="connsiteY35" fmla="*/ 365760 h 649224"/>
                <a:gd name="connsiteX36" fmla="*/ 405410 w 1136930"/>
                <a:gd name="connsiteY36" fmla="*/ 301752 h 649224"/>
                <a:gd name="connsiteX37" fmla="*/ 496850 w 1136930"/>
                <a:gd name="connsiteY37" fmla="*/ 219456 h 649224"/>
                <a:gd name="connsiteX38" fmla="*/ 542570 w 1136930"/>
                <a:gd name="connsiteY38" fmla="*/ 146304 h 649224"/>
                <a:gd name="connsiteX39" fmla="*/ 542570 w 1136930"/>
                <a:gd name="connsiteY39" fmla="*/ 64008 h 649224"/>
                <a:gd name="connsiteX40" fmla="*/ 533426 w 1136930"/>
                <a:gd name="connsiteY40" fmla="*/ 54864 h 649224"/>
                <a:gd name="connsiteX41" fmla="*/ 524282 w 1136930"/>
                <a:gd name="connsiteY41" fmla="*/ 128016 h 649224"/>
                <a:gd name="connsiteX42" fmla="*/ 496850 w 1136930"/>
                <a:gd name="connsiteY42" fmla="*/ 173736 h 649224"/>
                <a:gd name="connsiteX43" fmla="*/ 423698 w 1136930"/>
                <a:gd name="connsiteY43" fmla="*/ 237744 h 649224"/>
                <a:gd name="connsiteX44" fmla="*/ 396266 w 1136930"/>
                <a:gd name="connsiteY44" fmla="*/ 256032 h 649224"/>
                <a:gd name="connsiteX45" fmla="*/ 323114 w 1136930"/>
                <a:gd name="connsiteY45" fmla="*/ 347472 h 649224"/>
                <a:gd name="connsiteX46" fmla="*/ 313970 w 1136930"/>
                <a:gd name="connsiteY46" fmla="*/ 374904 h 649224"/>
                <a:gd name="connsiteX47" fmla="*/ 304826 w 1136930"/>
                <a:gd name="connsiteY47" fmla="*/ 411480 h 649224"/>
                <a:gd name="connsiteX48" fmla="*/ 323114 w 1136930"/>
                <a:gd name="connsiteY48" fmla="*/ 429768 h 649224"/>
                <a:gd name="connsiteX49" fmla="*/ 277394 w 1136930"/>
                <a:gd name="connsiteY49" fmla="*/ 457200 h 649224"/>
                <a:gd name="connsiteX50" fmla="*/ 131090 w 1136930"/>
                <a:gd name="connsiteY50" fmla="*/ 493776 h 649224"/>
                <a:gd name="connsiteX51" fmla="*/ 85370 w 1136930"/>
                <a:gd name="connsiteY51" fmla="*/ 530352 h 649224"/>
                <a:gd name="connsiteX52" fmla="*/ 3074 w 1136930"/>
                <a:gd name="connsiteY52" fmla="*/ 585216 h 649224"/>
                <a:gd name="connsiteX53" fmla="*/ 103816 w 1136930"/>
                <a:gd name="connsiteY53" fmla="*/ 555040 h 649224"/>
                <a:gd name="connsiteX54" fmla="*/ 101389 w 1136930"/>
                <a:gd name="connsiteY54" fmla="*/ 554512 h 649224"/>
                <a:gd name="connsiteX55" fmla="*/ 101388 w 1136930"/>
                <a:gd name="connsiteY55" fmla="*/ 554512 h 649224"/>
                <a:gd name="connsiteX0" fmla="*/ 101388 w 1136930"/>
                <a:gd name="connsiteY0" fmla="*/ 554512 h 589331"/>
                <a:gd name="connsiteX1" fmla="*/ 103816 w 1136930"/>
                <a:gd name="connsiteY1" fmla="*/ 555041 h 589331"/>
                <a:gd name="connsiteX2" fmla="*/ 103658 w 1136930"/>
                <a:gd name="connsiteY2" fmla="*/ 548640 h 589331"/>
                <a:gd name="connsiteX3" fmla="*/ 231674 w 1136930"/>
                <a:gd name="connsiteY3" fmla="*/ 493776 h 589331"/>
                <a:gd name="connsiteX4" fmla="*/ 332258 w 1136930"/>
                <a:gd name="connsiteY4" fmla="*/ 466344 h 589331"/>
                <a:gd name="connsiteX5" fmla="*/ 432842 w 1136930"/>
                <a:gd name="connsiteY5" fmla="*/ 384048 h 589331"/>
                <a:gd name="connsiteX6" fmla="*/ 624866 w 1136930"/>
                <a:gd name="connsiteY6" fmla="*/ 301752 h 589331"/>
                <a:gd name="connsiteX7" fmla="*/ 707162 w 1136930"/>
                <a:gd name="connsiteY7" fmla="*/ 192024 h 589331"/>
                <a:gd name="connsiteX8" fmla="*/ 853466 w 1136930"/>
                <a:gd name="connsiteY8" fmla="*/ 155448 h 589331"/>
                <a:gd name="connsiteX9" fmla="*/ 899186 w 1136930"/>
                <a:gd name="connsiteY9" fmla="*/ 155448 h 589331"/>
                <a:gd name="connsiteX10" fmla="*/ 935762 w 1136930"/>
                <a:gd name="connsiteY10" fmla="*/ 137160 h 589331"/>
                <a:gd name="connsiteX11" fmla="*/ 890042 w 1136930"/>
                <a:gd name="connsiteY11" fmla="*/ 137160 h 589331"/>
                <a:gd name="connsiteX12" fmla="*/ 798602 w 1136930"/>
                <a:gd name="connsiteY12" fmla="*/ 137160 h 589331"/>
                <a:gd name="connsiteX13" fmla="*/ 743738 w 1136930"/>
                <a:gd name="connsiteY13" fmla="*/ 146304 h 589331"/>
                <a:gd name="connsiteX14" fmla="*/ 734594 w 1136930"/>
                <a:gd name="connsiteY14" fmla="*/ 155448 h 589331"/>
                <a:gd name="connsiteX15" fmla="*/ 716306 w 1136930"/>
                <a:gd name="connsiteY15" fmla="*/ 146304 h 589331"/>
                <a:gd name="connsiteX16" fmla="*/ 844322 w 1136930"/>
                <a:gd name="connsiteY16" fmla="*/ 91440 h 589331"/>
                <a:gd name="connsiteX17" fmla="*/ 899186 w 1136930"/>
                <a:gd name="connsiteY17" fmla="*/ 91440 h 589331"/>
                <a:gd name="connsiteX18" fmla="*/ 990626 w 1136930"/>
                <a:gd name="connsiteY18" fmla="*/ 82296 h 589331"/>
                <a:gd name="connsiteX19" fmla="*/ 1118642 w 1136930"/>
                <a:gd name="connsiteY19" fmla="*/ 27432 h 589331"/>
                <a:gd name="connsiteX20" fmla="*/ 1100354 w 1136930"/>
                <a:gd name="connsiteY20" fmla="*/ 0 h 589331"/>
                <a:gd name="connsiteX21" fmla="*/ 1063778 w 1136930"/>
                <a:gd name="connsiteY21" fmla="*/ 27432 h 589331"/>
                <a:gd name="connsiteX22" fmla="*/ 1027202 w 1136930"/>
                <a:gd name="connsiteY22" fmla="*/ 36576 h 589331"/>
                <a:gd name="connsiteX23" fmla="*/ 954050 w 1136930"/>
                <a:gd name="connsiteY23" fmla="*/ 64008 h 589331"/>
                <a:gd name="connsiteX24" fmla="*/ 899186 w 1136930"/>
                <a:gd name="connsiteY24" fmla="*/ 64008 h 589331"/>
                <a:gd name="connsiteX25" fmla="*/ 789458 w 1136930"/>
                <a:gd name="connsiteY25" fmla="*/ 64008 h 589331"/>
                <a:gd name="connsiteX26" fmla="*/ 734594 w 1136930"/>
                <a:gd name="connsiteY26" fmla="*/ 100584 h 589331"/>
                <a:gd name="connsiteX27" fmla="*/ 698018 w 1136930"/>
                <a:gd name="connsiteY27" fmla="*/ 146304 h 589331"/>
                <a:gd name="connsiteX28" fmla="*/ 652298 w 1136930"/>
                <a:gd name="connsiteY28" fmla="*/ 182880 h 589331"/>
                <a:gd name="connsiteX29" fmla="*/ 606578 w 1136930"/>
                <a:gd name="connsiteY29" fmla="*/ 256032 h 589331"/>
                <a:gd name="connsiteX30" fmla="*/ 533426 w 1136930"/>
                <a:gd name="connsiteY30" fmla="*/ 301752 h 589331"/>
                <a:gd name="connsiteX31" fmla="*/ 432842 w 1136930"/>
                <a:gd name="connsiteY31" fmla="*/ 347472 h 589331"/>
                <a:gd name="connsiteX32" fmla="*/ 396266 w 1136930"/>
                <a:gd name="connsiteY32" fmla="*/ 374904 h 589331"/>
                <a:gd name="connsiteX33" fmla="*/ 350546 w 1136930"/>
                <a:gd name="connsiteY33" fmla="*/ 402336 h 589331"/>
                <a:gd name="connsiteX34" fmla="*/ 332258 w 1136930"/>
                <a:gd name="connsiteY34" fmla="*/ 402336 h 589331"/>
                <a:gd name="connsiteX35" fmla="*/ 350546 w 1136930"/>
                <a:gd name="connsiteY35" fmla="*/ 365760 h 589331"/>
                <a:gd name="connsiteX36" fmla="*/ 405410 w 1136930"/>
                <a:gd name="connsiteY36" fmla="*/ 301752 h 589331"/>
                <a:gd name="connsiteX37" fmla="*/ 496850 w 1136930"/>
                <a:gd name="connsiteY37" fmla="*/ 219456 h 589331"/>
                <a:gd name="connsiteX38" fmla="*/ 542570 w 1136930"/>
                <a:gd name="connsiteY38" fmla="*/ 146304 h 589331"/>
                <a:gd name="connsiteX39" fmla="*/ 542570 w 1136930"/>
                <a:gd name="connsiteY39" fmla="*/ 64008 h 589331"/>
                <a:gd name="connsiteX40" fmla="*/ 533426 w 1136930"/>
                <a:gd name="connsiteY40" fmla="*/ 54864 h 589331"/>
                <a:gd name="connsiteX41" fmla="*/ 524282 w 1136930"/>
                <a:gd name="connsiteY41" fmla="*/ 128016 h 589331"/>
                <a:gd name="connsiteX42" fmla="*/ 496850 w 1136930"/>
                <a:gd name="connsiteY42" fmla="*/ 173736 h 589331"/>
                <a:gd name="connsiteX43" fmla="*/ 423698 w 1136930"/>
                <a:gd name="connsiteY43" fmla="*/ 237744 h 589331"/>
                <a:gd name="connsiteX44" fmla="*/ 396266 w 1136930"/>
                <a:gd name="connsiteY44" fmla="*/ 256032 h 589331"/>
                <a:gd name="connsiteX45" fmla="*/ 323114 w 1136930"/>
                <a:gd name="connsiteY45" fmla="*/ 347472 h 589331"/>
                <a:gd name="connsiteX46" fmla="*/ 313970 w 1136930"/>
                <a:gd name="connsiteY46" fmla="*/ 374904 h 589331"/>
                <a:gd name="connsiteX47" fmla="*/ 304826 w 1136930"/>
                <a:gd name="connsiteY47" fmla="*/ 411480 h 589331"/>
                <a:gd name="connsiteX48" fmla="*/ 323114 w 1136930"/>
                <a:gd name="connsiteY48" fmla="*/ 429768 h 589331"/>
                <a:gd name="connsiteX49" fmla="*/ 277394 w 1136930"/>
                <a:gd name="connsiteY49" fmla="*/ 457200 h 589331"/>
                <a:gd name="connsiteX50" fmla="*/ 131090 w 1136930"/>
                <a:gd name="connsiteY50" fmla="*/ 493776 h 589331"/>
                <a:gd name="connsiteX51" fmla="*/ 85370 w 1136930"/>
                <a:gd name="connsiteY51" fmla="*/ 530352 h 589331"/>
                <a:gd name="connsiteX52" fmla="*/ 3074 w 1136930"/>
                <a:gd name="connsiteY52" fmla="*/ 585216 h 589331"/>
                <a:gd name="connsiteX53" fmla="*/ 103816 w 1136930"/>
                <a:gd name="connsiteY53" fmla="*/ 555040 h 589331"/>
                <a:gd name="connsiteX54" fmla="*/ 101389 w 1136930"/>
                <a:gd name="connsiteY54" fmla="*/ 554512 h 589331"/>
                <a:gd name="connsiteX55" fmla="*/ 101388 w 1136930"/>
                <a:gd name="connsiteY55" fmla="*/ 554512 h 589331"/>
                <a:gd name="connsiteX0" fmla="*/ 19040 w 1054582"/>
                <a:gd name="connsiteY0" fmla="*/ 554512 h 567361"/>
                <a:gd name="connsiteX1" fmla="*/ 21468 w 1054582"/>
                <a:gd name="connsiteY1" fmla="*/ 555041 h 567361"/>
                <a:gd name="connsiteX2" fmla="*/ 21310 w 1054582"/>
                <a:gd name="connsiteY2" fmla="*/ 548640 h 567361"/>
                <a:gd name="connsiteX3" fmla="*/ 149326 w 1054582"/>
                <a:gd name="connsiteY3" fmla="*/ 493776 h 567361"/>
                <a:gd name="connsiteX4" fmla="*/ 249910 w 1054582"/>
                <a:gd name="connsiteY4" fmla="*/ 466344 h 567361"/>
                <a:gd name="connsiteX5" fmla="*/ 350494 w 1054582"/>
                <a:gd name="connsiteY5" fmla="*/ 384048 h 567361"/>
                <a:gd name="connsiteX6" fmla="*/ 542518 w 1054582"/>
                <a:gd name="connsiteY6" fmla="*/ 301752 h 567361"/>
                <a:gd name="connsiteX7" fmla="*/ 624814 w 1054582"/>
                <a:gd name="connsiteY7" fmla="*/ 192024 h 567361"/>
                <a:gd name="connsiteX8" fmla="*/ 771118 w 1054582"/>
                <a:gd name="connsiteY8" fmla="*/ 155448 h 567361"/>
                <a:gd name="connsiteX9" fmla="*/ 816838 w 1054582"/>
                <a:gd name="connsiteY9" fmla="*/ 155448 h 567361"/>
                <a:gd name="connsiteX10" fmla="*/ 853414 w 1054582"/>
                <a:gd name="connsiteY10" fmla="*/ 137160 h 567361"/>
                <a:gd name="connsiteX11" fmla="*/ 807694 w 1054582"/>
                <a:gd name="connsiteY11" fmla="*/ 137160 h 567361"/>
                <a:gd name="connsiteX12" fmla="*/ 716254 w 1054582"/>
                <a:gd name="connsiteY12" fmla="*/ 137160 h 567361"/>
                <a:gd name="connsiteX13" fmla="*/ 661390 w 1054582"/>
                <a:gd name="connsiteY13" fmla="*/ 146304 h 567361"/>
                <a:gd name="connsiteX14" fmla="*/ 652246 w 1054582"/>
                <a:gd name="connsiteY14" fmla="*/ 155448 h 567361"/>
                <a:gd name="connsiteX15" fmla="*/ 633958 w 1054582"/>
                <a:gd name="connsiteY15" fmla="*/ 146304 h 567361"/>
                <a:gd name="connsiteX16" fmla="*/ 761974 w 1054582"/>
                <a:gd name="connsiteY16" fmla="*/ 91440 h 567361"/>
                <a:gd name="connsiteX17" fmla="*/ 816838 w 1054582"/>
                <a:gd name="connsiteY17" fmla="*/ 91440 h 567361"/>
                <a:gd name="connsiteX18" fmla="*/ 908278 w 1054582"/>
                <a:gd name="connsiteY18" fmla="*/ 82296 h 567361"/>
                <a:gd name="connsiteX19" fmla="*/ 1036294 w 1054582"/>
                <a:gd name="connsiteY19" fmla="*/ 27432 h 567361"/>
                <a:gd name="connsiteX20" fmla="*/ 1018006 w 1054582"/>
                <a:gd name="connsiteY20" fmla="*/ 0 h 567361"/>
                <a:gd name="connsiteX21" fmla="*/ 981430 w 1054582"/>
                <a:gd name="connsiteY21" fmla="*/ 27432 h 567361"/>
                <a:gd name="connsiteX22" fmla="*/ 944854 w 1054582"/>
                <a:gd name="connsiteY22" fmla="*/ 36576 h 567361"/>
                <a:gd name="connsiteX23" fmla="*/ 871702 w 1054582"/>
                <a:gd name="connsiteY23" fmla="*/ 64008 h 567361"/>
                <a:gd name="connsiteX24" fmla="*/ 816838 w 1054582"/>
                <a:gd name="connsiteY24" fmla="*/ 64008 h 567361"/>
                <a:gd name="connsiteX25" fmla="*/ 707110 w 1054582"/>
                <a:gd name="connsiteY25" fmla="*/ 64008 h 567361"/>
                <a:gd name="connsiteX26" fmla="*/ 652246 w 1054582"/>
                <a:gd name="connsiteY26" fmla="*/ 100584 h 567361"/>
                <a:gd name="connsiteX27" fmla="*/ 615670 w 1054582"/>
                <a:gd name="connsiteY27" fmla="*/ 146304 h 567361"/>
                <a:gd name="connsiteX28" fmla="*/ 569950 w 1054582"/>
                <a:gd name="connsiteY28" fmla="*/ 182880 h 567361"/>
                <a:gd name="connsiteX29" fmla="*/ 524230 w 1054582"/>
                <a:gd name="connsiteY29" fmla="*/ 256032 h 567361"/>
                <a:gd name="connsiteX30" fmla="*/ 451078 w 1054582"/>
                <a:gd name="connsiteY30" fmla="*/ 301752 h 567361"/>
                <a:gd name="connsiteX31" fmla="*/ 350494 w 1054582"/>
                <a:gd name="connsiteY31" fmla="*/ 347472 h 567361"/>
                <a:gd name="connsiteX32" fmla="*/ 313918 w 1054582"/>
                <a:gd name="connsiteY32" fmla="*/ 374904 h 567361"/>
                <a:gd name="connsiteX33" fmla="*/ 268198 w 1054582"/>
                <a:gd name="connsiteY33" fmla="*/ 402336 h 567361"/>
                <a:gd name="connsiteX34" fmla="*/ 249910 w 1054582"/>
                <a:gd name="connsiteY34" fmla="*/ 402336 h 567361"/>
                <a:gd name="connsiteX35" fmla="*/ 268198 w 1054582"/>
                <a:gd name="connsiteY35" fmla="*/ 365760 h 567361"/>
                <a:gd name="connsiteX36" fmla="*/ 323062 w 1054582"/>
                <a:gd name="connsiteY36" fmla="*/ 301752 h 567361"/>
                <a:gd name="connsiteX37" fmla="*/ 414502 w 1054582"/>
                <a:gd name="connsiteY37" fmla="*/ 219456 h 567361"/>
                <a:gd name="connsiteX38" fmla="*/ 460222 w 1054582"/>
                <a:gd name="connsiteY38" fmla="*/ 146304 h 567361"/>
                <a:gd name="connsiteX39" fmla="*/ 460222 w 1054582"/>
                <a:gd name="connsiteY39" fmla="*/ 64008 h 567361"/>
                <a:gd name="connsiteX40" fmla="*/ 451078 w 1054582"/>
                <a:gd name="connsiteY40" fmla="*/ 54864 h 567361"/>
                <a:gd name="connsiteX41" fmla="*/ 441934 w 1054582"/>
                <a:gd name="connsiteY41" fmla="*/ 128016 h 567361"/>
                <a:gd name="connsiteX42" fmla="*/ 414502 w 1054582"/>
                <a:gd name="connsiteY42" fmla="*/ 173736 h 567361"/>
                <a:gd name="connsiteX43" fmla="*/ 341350 w 1054582"/>
                <a:gd name="connsiteY43" fmla="*/ 237744 h 567361"/>
                <a:gd name="connsiteX44" fmla="*/ 313918 w 1054582"/>
                <a:gd name="connsiteY44" fmla="*/ 256032 h 567361"/>
                <a:gd name="connsiteX45" fmla="*/ 240766 w 1054582"/>
                <a:gd name="connsiteY45" fmla="*/ 347472 h 567361"/>
                <a:gd name="connsiteX46" fmla="*/ 231622 w 1054582"/>
                <a:gd name="connsiteY46" fmla="*/ 374904 h 567361"/>
                <a:gd name="connsiteX47" fmla="*/ 222478 w 1054582"/>
                <a:gd name="connsiteY47" fmla="*/ 411480 h 567361"/>
                <a:gd name="connsiteX48" fmla="*/ 240766 w 1054582"/>
                <a:gd name="connsiteY48" fmla="*/ 429768 h 567361"/>
                <a:gd name="connsiteX49" fmla="*/ 195046 w 1054582"/>
                <a:gd name="connsiteY49" fmla="*/ 457200 h 567361"/>
                <a:gd name="connsiteX50" fmla="*/ 48742 w 1054582"/>
                <a:gd name="connsiteY50" fmla="*/ 493776 h 567361"/>
                <a:gd name="connsiteX51" fmla="*/ 3022 w 1054582"/>
                <a:gd name="connsiteY51" fmla="*/ 530352 h 567361"/>
                <a:gd name="connsiteX52" fmla="*/ 37669 w 1054582"/>
                <a:gd name="connsiteY52" fmla="*/ 480583 h 567361"/>
                <a:gd name="connsiteX53" fmla="*/ 21468 w 1054582"/>
                <a:gd name="connsiteY53" fmla="*/ 555040 h 567361"/>
                <a:gd name="connsiteX54" fmla="*/ 19041 w 1054582"/>
                <a:gd name="connsiteY54" fmla="*/ 554512 h 567361"/>
                <a:gd name="connsiteX55" fmla="*/ 19040 w 1054582"/>
                <a:gd name="connsiteY55" fmla="*/ 554512 h 567361"/>
                <a:gd name="connsiteX0" fmla="*/ 112127 w 1054582"/>
                <a:gd name="connsiteY0" fmla="*/ 496784 h 567361"/>
                <a:gd name="connsiteX1" fmla="*/ 21468 w 1054582"/>
                <a:gd name="connsiteY1" fmla="*/ 555041 h 567361"/>
                <a:gd name="connsiteX2" fmla="*/ 21310 w 1054582"/>
                <a:gd name="connsiteY2" fmla="*/ 548640 h 567361"/>
                <a:gd name="connsiteX3" fmla="*/ 149326 w 1054582"/>
                <a:gd name="connsiteY3" fmla="*/ 493776 h 567361"/>
                <a:gd name="connsiteX4" fmla="*/ 249910 w 1054582"/>
                <a:gd name="connsiteY4" fmla="*/ 466344 h 567361"/>
                <a:gd name="connsiteX5" fmla="*/ 350494 w 1054582"/>
                <a:gd name="connsiteY5" fmla="*/ 384048 h 567361"/>
                <a:gd name="connsiteX6" fmla="*/ 542518 w 1054582"/>
                <a:gd name="connsiteY6" fmla="*/ 301752 h 567361"/>
                <a:gd name="connsiteX7" fmla="*/ 624814 w 1054582"/>
                <a:gd name="connsiteY7" fmla="*/ 192024 h 567361"/>
                <a:gd name="connsiteX8" fmla="*/ 771118 w 1054582"/>
                <a:gd name="connsiteY8" fmla="*/ 155448 h 567361"/>
                <a:gd name="connsiteX9" fmla="*/ 816838 w 1054582"/>
                <a:gd name="connsiteY9" fmla="*/ 155448 h 567361"/>
                <a:gd name="connsiteX10" fmla="*/ 853414 w 1054582"/>
                <a:gd name="connsiteY10" fmla="*/ 137160 h 567361"/>
                <a:gd name="connsiteX11" fmla="*/ 807694 w 1054582"/>
                <a:gd name="connsiteY11" fmla="*/ 137160 h 567361"/>
                <a:gd name="connsiteX12" fmla="*/ 716254 w 1054582"/>
                <a:gd name="connsiteY12" fmla="*/ 137160 h 567361"/>
                <a:gd name="connsiteX13" fmla="*/ 661390 w 1054582"/>
                <a:gd name="connsiteY13" fmla="*/ 146304 h 567361"/>
                <a:gd name="connsiteX14" fmla="*/ 652246 w 1054582"/>
                <a:gd name="connsiteY14" fmla="*/ 155448 h 567361"/>
                <a:gd name="connsiteX15" fmla="*/ 633958 w 1054582"/>
                <a:gd name="connsiteY15" fmla="*/ 146304 h 567361"/>
                <a:gd name="connsiteX16" fmla="*/ 761974 w 1054582"/>
                <a:gd name="connsiteY16" fmla="*/ 91440 h 567361"/>
                <a:gd name="connsiteX17" fmla="*/ 816838 w 1054582"/>
                <a:gd name="connsiteY17" fmla="*/ 91440 h 567361"/>
                <a:gd name="connsiteX18" fmla="*/ 908278 w 1054582"/>
                <a:gd name="connsiteY18" fmla="*/ 82296 h 567361"/>
                <a:gd name="connsiteX19" fmla="*/ 1036294 w 1054582"/>
                <a:gd name="connsiteY19" fmla="*/ 27432 h 567361"/>
                <a:gd name="connsiteX20" fmla="*/ 1018006 w 1054582"/>
                <a:gd name="connsiteY20" fmla="*/ 0 h 567361"/>
                <a:gd name="connsiteX21" fmla="*/ 981430 w 1054582"/>
                <a:gd name="connsiteY21" fmla="*/ 27432 h 567361"/>
                <a:gd name="connsiteX22" fmla="*/ 944854 w 1054582"/>
                <a:gd name="connsiteY22" fmla="*/ 36576 h 567361"/>
                <a:gd name="connsiteX23" fmla="*/ 871702 w 1054582"/>
                <a:gd name="connsiteY23" fmla="*/ 64008 h 567361"/>
                <a:gd name="connsiteX24" fmla="*/ 816838 w 1054582"/>
                <a:gd name="connsiteY24" fmla="*/ 64008 h 567361"/>
                <a:gd name="connsiteX25" fmla="*/ 707110 w 1054582"/>
                <a:gd name="connsiteY25" fmla="*/ 64008 h 567361"/>
                <a:gd name="connsiteX26" fmla="*/ 652246 w 1054582"/>
                <a:gd name="connsiteY26" fmla="*/ 100584 h 567361"/>
                <a:gd name="connsiteX27" fmla="*/ 615670 w 1054582"/>
                <a:gd name="connsiteY27" fmla="*/ 146304 h 567361"/>
                <a:gd name="connsiteX28" fmla="*/ 569950 w 1054582"/>
                <a:gd name="connsiteY28" fmla="*/ 182880 h 567361"/>
                <a:gd name="connsiteX29" fmla="*/ 524230 w 1054582"/>
                <a:gd name="connsiteY29" fmla="*/ 256032 h 567361"/>
                <a:gd name="connsiteX30" fmla="*/ 451078 w 1054582"/>
                <a:gd name="connsiteY30" fmla="*/ 301752 h 567361"/>
                <a:gd name="connsiteX31" fmla="*/ 350494 w 1054582"/>
                <a:gd name="connsiteY31" fmla="*/ 347472 h 567361"/>
                <a:gd name="connsiteX32" fmla="*/ 313918 w 1054582"/>
                <a:gd name="connsiteY32" fmla="*/ 374904 h 567361"/>
                <a:gd name="connsiteX33" fmla="*/ 268198 w 1054582"/>
                <a:gd name="connsiteY33" fmla="*/ 402336 h 567361"/>
                <a:gd name="connsiteX34" fmla="*/ 249910 w 1054582"/>
                <a:gd name="connsiteY34" fmla="*/ 402336 h 567361"/>
                <a:gd name="connsiteX35" fmla="*/ 268198 w 1054582"/>
                <a:gd name="connsiteY35" fmla="*/ 365760 h 567361"/>
                <a:gd name="connsiteX36" fmla="*/ 323062 w 1054582"/>
                <a:gd name="connsiteY36" fmla="*/ 301752 h 567361"/>
                <a:gd name="connsiteX37" fmla="*/ 414502 w 1054582"/>
                <a:gd name="connsiteY37" fmla="*/ 219456 h 567361"/>
                <a:gd name="connsiteX38" fmla="*/ 460222 w 1054582"/>
                <a:gd name="connsiteY38" fmla="*/ 146304 h 567361"/>
                <a:gd name="connsiteX39" fmla="*/ 460222 w 1054582"/>
                <a:gd name="connsiteY39" fmla="*/ 64008 h 567361"/>
                <a:gd name="connsiteX40" fmla="*/ 451078 w 1054582"/>
                <a:gd name="connsiteY40" fmla="*/ 54864 h 567361"/>
                <a:gd name="connsiteX41" fmla="*/ 441934 w 1054582"/>
                <a:gd name="connsiteY41" fmla="*/ 128016 h 567361"/>
                <a:gd name="connsiteX42" fmla="*/ 414502 w 1054582"/>
                <a:gd name="connsiteY42" fmla="*/ 173736 h 567361"/>
                <a:gd name="connsiteX43" fmla="*/ 341350 w 1054582"/>
                <a:gd name="connsiteY43" fmla="*/ 237744 h 567361"/>
                <a:gd name="connsiteX44" fmla="*/ 313918 w 1054582"/>
                <a:gd name="connsiteY44" fmla="*/ 256032 h 567361"/>
                <a:gd name="connsiteX45" fmla="*/ 240766 w 1054582"/>
                <a:gd name="connsiteY45" fmla="*/ 347472 h 567361"/>
                <a:gd name="connsiteX46" fmla="*/ 231622 w 1054582"/>
                <a:gd name="connsiteY46" fmla="*/ 374904 h 567361"/>
                <a:gd name="connsiteX47" fmla="*/ 222478 w 1054582"/>
                <a:gd name="connsiteY47" fmla="*/ 411480 h 567361"/>
                <a:gd name="connsiteX48" fmla="*/ 240766 w 1054582"/>
                <a:gd name="connsiteY48" fmla="*/ 429768 h 567361"/>
                <a:gd name="connsiteX49" fmla="*/ 195046 w 1054582"/>
                <a:gd name="connsiteY49" fmla="*/ 457200 h 567361"/>
                <a:gd name="connsiteX50" fmla="*/ 48742 w 1054582"/>
                <a:gd name="connsiteY50" fmla="*/ 493776 h 567361"/>
                <a:gd name="connsiteX51" fmla="*/ 3022 w 1054582"/>
                <a:gd name="connsiteY51" fmla="*/ 530352 h 567361"/>
                <a:gd name="connsiteX52" fmla="*/ 37669 w 1054582"/>
                <a:gd name="connsiteY52" fmla="*/ 480583 h 567361"/>
                <a:gd name="connsiteX53" fmla="*/ 21468 w 1054582"/>
                <a:gd name="connsiteY53" fmla="*/ 555040 h 567361"/>
                <a:gd name="connsiteX54" fmla="*/ 19041 w 1054582"/>
                <a:gd name="connsiteY54" fmla="*/ 554512 h 567361"/>
                <a:gd name="connsiteX55" fmla="*/ 112127 w 1054582"/>
                <a:gd name="connsiteY55" fmla="*/ 496784 h 567361"/>
                <a:gd name="connsiteX0" fmla="*/ 112127 w 1054582"/>
                <a:gd name="connsiteY0" fmla="*/ 496784 h 558851"/>
                <a:gd name="connsiteX1" fmla="*/ 21468 w 1054582"/>
                <a:gd name="connsiteY1" fmla="*/ 555041 h 558851"/>
                <a:gd name="connsiteX2" fmla="*/ 21310 w 1054582"/>
                <a:gd name="connsiteY2" fmla="*/ 548640 h 558851"/>
                <a:gd name="connsiteX3" fmla="*/ 149326 w 1054582"/>
                <a:gd name="connsiteY3" fmla="*/ 493776 h 558851"/>
                <a:gd name="connsiteX4" fmla="*/ 249910 w 1054582"/>
                <a:gd name="connsiteY4" fmla="*/ 466344 h 558851"/>
                <a:gd name="connsiteX5" fmla="*/ 350494 w 1054582"/>
                <a:gd name="connsiteY5" fmla="*/ 384048 h 558851"/>
                <a:gd name="connsiteX6" fmla="*/ 542518 w 1054582"/>
                <a:gd name="connsiteY6" fmla="*/ 301752 h 558851"/>
                <a:gd name="connsiteX7" fmla="*/ 624814 w 1054582"/>
                <a:gd name="connsiteY7" fmla="*/ 192024 h 558851"/>
                <a:gd name="connsiteX8" fmla="*/ 771118 w 1054582"/>
                <a:gd name="connsiteY8" fmla="*/ 155448 h 558851"/>
                <a:gd name="connsiteX9" fmla="*/ 816838 w 1054582"/>
                <a:gd name="connsiteY9" fmla="*/ 155448 h 558851"/>
                <a:gd name="connsiteX10" fmla="*/ 853414 w 1054582"/>
                <a:gd name="connsiteY10" fmla="*/ 137160 h 558851"/>
                <a:gd name="connsiteX11" fmla="*/ 807694 w 1054582"/>
                <a:gd name="connsiteY11" fmla="*/ 137160 h 558851"/>
                <a:gd name="connsiteX12" fmla="*/ 716254 w 1054582"/>
                <a:gd name="connsiteY12" fmla="*/ 137160 h 558851"/>
                <a:gd name="connsiteX13" fmla="*/ 661390 w 1054582"/>
                <a:gd name="connsiteY13" fmla="*/ 146304 h 558851"/>
                <a:gd name="connsiteX14" fmla="*/ 652246 w 1054582"/>
                <a:gd name="connsiteY14" fmla="*/ 155448 h 558851"/>
                <a:gd name="connsiteX15" fmla="*/ 633958 w 1054582"/>
                <a:gd name="connsiteY15" fmla="*/ 146304 h 558851"/>
                <a:gd name="connsiteX16" fmla="*/ 761974 w 1054582"/>
                <a:gd name="connsiteY16" fmla="*/ 91440 h 558851"/>
                <a:gd name="connsiteX17" fmla="*/ 816838 w 1054582"/>
                <a:gd name="connsiteY17" fmla="*/ 91440 h 558851"/>
                <a:gd name="connsiteX18" fmla="*/ 908278 w 1054582"/>
                <a:gd name="connsiteY18" fmla="*/ 82296 h 558851"/>
                <a:gd name="connsiteX19" fmla="*/ 1036294 w 1054582"/>
                <a:gd name="connsiteY19" fmla="*/ 27432 h 558851"/>
                <a:gd name="connsiteX20" fmla="*/ 1018006 w 1054582"/>
                <a:gd name="connsiteY20" fmla="*/ 0 h 558851"/>
                <a:gd name="connsiteX21" fmla="*/ 981430 w 1054582"/>
                <a:gd name="connsiteY21" fmla="*/ 27432 h 558851"/>
                <a:gd name="connsiteX22" fmla="*/ 944854 w 1054582"/>
                <a:gd name="connsiteY22" fmla="*/ 36576 h 558851"/>
                <a:gd name="connsiteX23" fmla="*/ 871702 w 1054582"/>
                <a:gd name="connsiteY23" fmla="*/ 64008 h 558851"/>
                <a:gd name="connsiteX24" fmla="*/ 816838 w 1054582"/>
                <a:gd name="connsiteY24" fmla="*/ 64008 h 558851"/>
                <a:gd name="connsiteX25" fmla="*/ 707110 w 1054582"/>
                <a:gd name="connsiteY25" fmla="*/ 64008 h 558851"/>
                <a:gd name="connsiteX26" fmla="*/ 652246 w 1054582"/>
                <a:gd name="connsiteY26" fmla="*/ 100584 h 558851"/>
                <a:gd name="connsiteX27" fmla="*/ 615670 w 1054582"/>
                <a:gd name="connsiteY27" fmla="*/ 146304 h 558851"/>
                <a:gd name="connsiteX28" fmla="*/ 569950 w 1054582"/>
                <a:gd name="connsiteY28" fmla="*/ 182880 h 558851"/>
                <a:gd name="connsiteX29" fmla="*/ 524230 w 1054582"/>
                <a:gd name="connsiteY29" fmla="*/ 256032 h 558851"/>
                <a:gd name="connsiteX30" fmla="*/ 451078 w 1054582"/>
                <a:gd name="connsiteY30" fmla="*/ 301752 h 558851"/>
                <a:gd name="connsiteX31" fmla="*/ 350494 w 1054582"/>
                <a:gd name="connsiteY31" fmla="*/ 347472 h 558851"/>
                <a:gd name="connsiteX32" fmla="*/ 313918 w 1054582"/>
                <a:gd name="connsiteY32" fmla="*/ 374904 h 558851"/>
                <a:gd name="connsiteX33" fmla="*/ 268198 w 1054582"/>
                <a:gd name="connsiteY33" fmla="*/ 402336 h 558851"/>
                <a:gd name="connsiteX34" fmla="*/ 249910 w 1054582"/>
                <a:gd name="connsiteY34" fmla="*/ 402336 h 558851"/>
                <a:gd name="connsiteX35" fmla="*/ 268198 w 1054582"/>
                <a:gd name="connsiteY35" fmla="*/ 365760 h 558851"/>
                <a:gd name="connsiteX36" fmla="*/ 323062 w 1054582"/>
                <a:gd name="connsiteY36" fmla="*/ 301752 h 558851"/>
                <a:gd name="connsiteX37" fmla="*/ 414502 w 1054582"/>
                <a:gd name="connsiteY37" fmla="*/ 219456 h 558851"/>
                <a:gd name="connsiteX38" fmla="*/ 460222 w 1054582"/>
                <a:gd name="connsiteY38" fmla="*/ 146304 h 558851"/>
                <a:gd name="connsiteX39" fmla="*/ 460222 w 1054582"/>
                <a:gd name="connsiteY39" fmla="*/ 64008 h 558851"/>
                <a:gd name="connsiteX40" fmla="*/ 451078 w 1054582"/>
                <a:gd name="connsiteY40" fmla="*/ 54864 h 558851"/>
                <a:gd name="connsiteX41" fmla="*/ 441934 w 1054582"/>
                <a:gd name="connsiteY41" fmla="*/ 128016 h 558851"/>
                <a:gd name="connsiteX42" fmla="*/ 414502 w 1054582"/>
                <a:gd name="connsiteY42" fmla="*/ 173736 h 558851"/>
                <a:gd name="connsiteX43" fmla="*/ 341350 w 1054582"/>
                <a:gd name="connsiteY43" fmla="*/ 237744 h 558851"/>
                <a:gd name="connsiteX44" fmla="*/ 313918 w 1054582"/>
                <a:gd name="connsiteY44" fmla="*/ 256032 h 558851"/>
                <a:gd name="connsiteX45" fmla="*/ 240766 w 1054582"/>
                <a:gd name="connsiteY45" fmla="*/ 347472 h 558851"/>
                <a:gd name="connsiteX46" fmla="*/ 231622 w 1054582"/>
                <a:gd name="connsiteY46" fmla="*/ 374904 h 558851"/>
                <a:gd name="connsiteX47" fmla="*/ 222478 w 1054582"/>
                <a:gd name="connsiteY47" fmla="*/ 411480 h 558851"/>
                <a:gd name="connsiteX48" fmla="*/ 240766 w 1054582"/>
                <a:gd name="connsiteY48" fmla="*/ 429768 h 558851"/>
                <a:gd name="connsiteX49" fmla="*/ 195046 w 1054582"/>
                <a:gd name="connsiteY49" fmla="*/ 457200 h 558851"/>
                <a:gd name="connsiteX50" fmla="*/ 48742 w 1054582"/>
                <a:gd name="connsiteY50" fmla="*/ 493776 h 558851"/>
                <a:gd name="connsiteX51" fmla="*/ 3022 w 1054582"/>
                <a:gd name="connsiteY51" fmla="*/ 530352 h 558851"/>
                <a:gd name="connsiteX52" fmla="*/ 37669 w 1054582"/>
                <a:gd name="connsiteY52" fmla="*/ 480583 h 558851"/>
                <a:gd name="connsiteX53" fmla="*/ 21468 w 1054582"/>
                <a:gd name="connsiteY53" fmla="*/ 555040 h 558851"/>
                <a:gd name="connsiteX54" fmla="*/ 37669 w 1054582"/>
                <a:gd name="connsiteY54" fmla="*/ 480583 h 558851"/>
                <a:gd name="connsiteX55" fmla="*/ 112127 w 1054582"/>
                <a:gd name="connsiteY55" fmla="*/ 496784 h 558851"/>
                <a:gd name="connsiteX0" fmla="*/ 112127 w 1054582"/>
                <a:gd name="connsiteY0" fmla="*/ 496784 h 558851"/>
                <a:gd name="connsiteX1" fmla="*/ 21468 w 1054582"/>
                <a:gd name="connsiteY1" fmla="*/ 555041 h 558851"/>
                <a:gd name="connsiteX2" fmla="*/ 21310 w 1054582"/>
                <a:gd name="connsiteY2" fmla="*/ 548640 h 558851"/>
                <a:gd name="connsiteX3" fmla="*/ 149326 w 1054582"/>
                <a:gd name="connsiteY3" fmla="*/ 493776 h 558851"/>
                <a:gd name="connsiteX4" fmla="*/ 249910 w 1054582"/>
                <a:gd name="connsiteY4" fmla="*/ 466344 h 558851"/>
                <a:gd name="connsiteX5" fmla="*/ 350494 w 1054582"/>
                <a:gd name="connsiteY5" fmla="*/ 384048 h 558851"/>
                <a:gd name="connsiteX6" fmla="*/ 542518 w 1054582"/>
                <a:gd name="connsiteY6" fmla="*/ 301752 h 558851"/>
                <a:gd name="connsiteX7" fmla="*/ 624814 w 1054582"/>
                <a:gd name="connsiteY7" fmla="*/ 192024 h 558851"/>
                <a:gd name="connsiteX8" fmla="*/ 771118 w 1054582"/>
                <a:gd name="connsiteY8" fmla="*/ 155448 h 558851"/>
                <a:gd name="connsiteX9" fmla="*/ 816838 w 1054582"/>
                <a:gd name="connsiteY9" fmla="*/ 155448 h 558851"/>
                <a:gd name="connsiteX10" fmla="*/ 853414 w 1054582"/>
                <a:gd name="connsiteY10" fmla="*/ 137160 h 558851"/>
                <a:gd name="connsiteX11" fmla="*/ 807694 w 1054582"/>
                <a:gd name="connsiteY11" fmla="*/ 137160 h 558851"/>
                <a:gd name="connsiteX12" fmla="*/ 716254 w 1054582"/>
                <a:gd name="connsiteY12" fmla="*/ 137160 h 558851"/>
                <a:gd name="connsiteX13" fmla="*/ 661390 w 1054582"/>
                <a:gd name="connsiteY13" fmla="*/ 146304 h 558851"/>
                <a:gd name="connsiteX14" fmla="*/ 652246 w 1054582"/>
                <a:gd name="connsiteY14" fmla="*/ 155448 h 558851"/>
                <a:gd name="connsiteX15" fmla="*/ 633958 w 1054582"/>
                <a:gd name="connsiteY15" fmla="*/ 146304 h 558851"/>
                <a:gd name="connsiteX16" fmla="*/ 761974 w 1054582"/>
                <a:gd name="connsiteY16" fmla="*/ 91440 h 558851"/>
                <a:gd name="connsiteX17" fmla="*/ 816838 w 1054582"/>
                <a:gd name="connsiteY17" fmla="*/ 91440 h 558851"/>
                <a:gd name="connsiteX18" fmla="*/ 908278 w 1054582"/>
                <a:gd name="connsiteY18" fmla="*/ 82296 h 558851"/>
                <a:gd name="connsiteX19" fmla="*/ 1036294 w 1054582"/>
                <a:gd name="connsiteY19" fmla="*/ 27432 h 558851"/>
                <a:gd name="connsiteX20" fmla="*/ 1018006 w 1054582"/>
                <a:gd name="connsiteY20" fmla="*/ 0 h 558851"/>
                <a:gd name="connsiteX21" fmla="*/ 981430 w 1054582"/>
                <a:gd name="connsiteY21" fmla="*/ 27432 h 558851"/>
                <a:gd name="connsiteX22" fmla="*/ 944854 w 1054582"/>
                <a:gd name="connsiteY22" fmla="*/ 36576 h 558851"/>
                <a:gd name="connsiteX23" fmla="*/ 871702 w 1054582"/>
                <a:gd name="connsiteY23" fmla="*/ 64008 h 558851"/>
                <a:gd name="connsiteX24" fmla="*/ 816838 w 1054582"/>
                <a:gd name="connsiteY24" fmla="*/ 64008 h 558851"/>
                <a:gd name="connsiteX25" fmla="*/ 707110 w 1054582"/>
                <a:gd name="connsiteY25" fmla="*/ 64008 h 558851"/>
                <a:gd name="connsiteX26" fmla="*/ 652246 w 1054582"/>
                <a:gd name="connsiteY26" fmla="*/ 100584 h 558851"/>
                <a:gd name="connsiteX27" fmla="*/ 615670 w 1054582"/>
                <a:gd name="connsiteY27" fmla="*/ 146304 h 558851"/>
                <a:gd name="connsiteX28" fmla="*/ 569950 w 1054582"/>
                <a:gd name="connsiteY28" fmla="*/ 182880 h 558851"/>
                <a:gd name="connsiteX29" fmla="*/ 524230 w 1054582"/>
                <a:gd name="connsiteY29" fmla="*/ 256032 h 558851"/>
                <a:gd name="connsiteX30" fmla="*/ 451078 w 1054582"/>
                <a:gd name="connsiteY30" fmla="*/ 301752 h 558851"/>
                <a:gd name="connsiteX31" fmla="*/ 350494 w 1054582"/>
                <a:gd name="connsiteY31" fmla="*/ 347472 h 558851"/>
                <a:gd name="connsiteX32" fmla="*/ 313918 w 1054582"/>
                <a:gd name="connsiteY32" fmla="*/ 374904 h 558851"/>
                <a:gd name="connsiteX33" fmla="*/ 268198 w 1054582"/>
                <a:gd name="connsiteY33" fmla="*/ 402336 h 558851"/>
                <a:gd name="connsiteX34" fmla="*/ 249910 w 1054582"/>
                <a:gd name="connsiteY34" fmla="*/ 402336 h 558851"/>
                <a:gd name="connsiteX35" fmla="*/ 268198 w 1054582"/>
                <a:gd name="connsiteY35" fmla="*/ 365760 h 558851"/>
                <a:gd name="connsiteX36" fmla="*/ 323062 w 1054582"/>
                <a:gd name="connsiteY36" fmla="*/ 301752 h 558851"/>
                <a:gd name="connsiteX37" fmla="*/ 414502 w 1054582"/>
                <a:gd name="connsiteY37" fmla="*/ 219456 h 558851"/>
                <a:gd name="connsiteX38" fmla="*/ 460222 w 1054582"/>
                <a:gd name="connsiteY38" fmla="*/ 146304 h 558851"/>
                <a:gd name="connsiteX39" fmla="*/ 460222 w 1054582"/>
                <a:gd name="connsiteY39" fmla="*/ 64008 h 558851"/>
                <a:gd name="connsiteX40" fmla="*/ 451078 w 1054582"/>
                <a:gd name="connsiteY40" fmla="*/ 54864 h 558851"/>
                <a:gd name="connsiteX41" fmla="*/ 441934 w 1054582"/>
                <a:gd name="connsiteY41" fmla="*/ 128016 h 558851"/>
                <a:gd name="connsiteX42" fmla="*/ 414502 w 1054582"/>
                <a:gd name="connsiteY42" fmla="*/ 173736 h 558851"/>
                <a:gd name="connsiteX43" fmla="*/ 341350 w 1054582"/>
                <a:gd name="connsiteY43" fmla="*/ 237744 h 558851"/>
                <a:gd name="connsiteX44" fmla="*/ 313918 w 1054582"/>
                <a:gd name="connsiteY44" fmla="*/ 256032 h 558851"/>
                <a:gd name="connsiteX45" fmla="*/ 240766 w 1054582"/>
                <a:gd name="connsiteY45" fmla="*/ 347472 h 558851"/>
                <a:gd name="connsiteX46" fmla="*/ 231622 w 1054582"/>
                <a:gd name="connsiteY46" fmla="*/ 374904 h 558851"/>
                <a:gd name="connsiteX47" fmla="*/ 222478 w 1054582"/>
                <a:gd name="connsiteY47" fmla="*/ 411480 h 558851"/>
                <a:gd name="connsiteX48" fmla="*/ 240766 w 1054582"/>
                <a:gd name="connsiteY48" fmla="*/ 429768 h 558851"/>
                <a:gd name="connsiteX49" fmla="*/ 195046 w 1054582"/>
                <a:gd name="connsiteY49" fmla="*/ 457200 h 558851"/>
                <a:gd name="connsiteX50" fmla="*/ 48742 w 1054582"/>
                <a:gd name="connsiteY50" fmla="*/ 493776 h 558851"/>
                <a:gd name="connsiteX51" fmla="*/ 3022 w 1054582"/>
                <a:gd name="connsiteY51" fmla="*/ 530352 h 558851"/>
                <a:gd name="connsiteX52" fmla="*/ 37669 w 1054582"/>
                <a:gd name="connsiteY52" fmla="*/ 480583 h 558851"/>
                <a:gd name="connsiteX53" fmla="*/ 21468 w 1054582"/>
                <a:gd name="connsiteY53" fmla="*/ 555040 h 558851"/>
                <a:gd name="connsiteX54" fmla="*/ 112127 w 1054582"/>
                <a:gd name="connsiteY54" fmla="*/ 496784 h 558851"/>
                <a:gd name="connsiteX55" fmla="*/ 112127 w 1054582"/>
                <a:gd name="connsiteY55" fmla="*/ 496784 h 558851"/>
                <a:gd name="connsiteX0" fmla="*/ 112127 w 1054582"/>
                <a:gd name="connsiteY0" fmla="*/ 496784 h 558851"/>
                <a:gd name="connsiteX1" fmla="*/ 21468 w 1054582"/>
                <a:gd name="connsiteY1" fmla="*/ 555041 h 558851"/>
                <a:gd name="connsiteX2" fmla="*/ 21310 w 1054582"/>
                <a:gd name="connsiteY2" fmla="*/ 548640 h 558851"/>
                <a:gd name="connsiteX3" fmla="*/ 149326 w 1054582"/>
                <a:gd name="connsiteY3" fmla="*/ 493776 h 558851"/>
                <a:gd name="connsiteX4" fmla="*/ 249910 w 1054582"/>
                <a:gd name="connsiteY4" fmla="*/ 466344 h 558851"/>
                <a:gd name="connsiteX5" fmla="*/ 350494 w 1054582"/>
                <a:gd name="connsiteY5" fmla="*/ 384048 h 558851"/>
                <a:gd name="connsiteX6" fmla="*/ 542518 w 1054582"/>
                <a:gd name="connsiteY6" fmla="*/ 301752 h 558851"/>
                <a:gd name="connsiteX7" fmla="*/ 624814 w 1054582"/>
                <a:gd name="connsiteY7" fmla="*/ 192024 h 558851"/>
                <a:gd name="connsiteX8" fmla="*/ 771118 w 1054582"/>
                <a:gd name="connsiteY8" fmla="*/ 155448 h 558851"/>
                <a:gd name="connsiteX9" fmla="*/ 816838 w 1054582"/>
                <a:gd name="connsiteY9" fmla="*/ 155448 h 558851"/>
                <a:gd name="connsiteX10" fmla="*/ 853414 w 1054582"/>
                <a:gd name="connsiteY10" fmla="*/ 137160 h 558851"/>
                <a:gd name="connsiteX11" fmla="*/ 807694 w 1054582"/>
                <a:gd name="connsiteY11" fmla="*/ 137160 h 558851"/>
                <a:gd name="connsiteX12" fmla="*/ 716254 w 1054582"/>
                <a:gd name="connsiteY12" fmla="*/ 137160 h 558851"/>
                <a:gd name="connsiteX13" fmla="*/ 661390 w 1054582"/>
                <a:gd name="connsiteY13" fmla="*/ 146304 h 558851"/>
                <a:gd name="connsiteX14" fmla="*/ 652246 w 1054582"/>
                <a:gd name="connsiteY14" fmla="*/ 155448 h 558851"/>
                <a:gd name="connsiteX15" fmla="*/ 633958 w 1054582"/>
                <a:gd name="connsiteY15" fmla="*/ 146304 h 558851"/>
                <a:gd name="connsiteX16" fmla="*/ 761974 w 1054582"/>
                <a:gd name="connsiteY16" fmla="*/ 91440 h 558851"/>
                <a:gd name="connsiteX17" fmla="*/ 816838 w 1054582"/>
                <a:gd name="connsiteY17" fmla="*/ 91440 h 558851"/>
                <a:gd name="connsiteX18" fmla="*/ 908278 w 1054582"/>
                <a:gd name="connsiteY18" fmla="*/ 82296 h 558851"/>
                <a:gd name="connsiteX19" fmla="*/ 1036294 w 1054582"/>
                <a:gd name="connsiteY19" fmla="*/ 27432 h 558851"/>
                <a:gd name="connsiteX20" fmla="*/ 1018006 w 1054582"/>
                <a:gd name="connsiteY20" fmla="*/ 0 h 558851"/>
                <a:gd name="connsiteX21" fmla="*/ 981430 w 1054582"/>
                <a:gd name="connsiteY21" fmla="*/ 27432 h 558851"/>
                <a:gd name="connsiteX22" fmla="*/ 944854 w 1054582"/>
                <a:gd name="connsiteY22" fmla="*/ 36576 h 558851"/>
                <a:gd name="connsiteX23" fmla="*/ 871702 w 1054582"/>
                <a:gd name="connsiteY23" fmla="*/ 64008 h 558851"/>
                <a:gd name="connsiteX24" fmla="*/ 816838 w 1054582"/>
                <a:gd name="connsiteY24" fmla="*/ 64008 h 558851"/>
                <a:gd name="connsiteX25" fmla="*/ 707110 w 1054582"/>
                <a:gd name="connsiteY25" fmla="*/ 64008 h 558851"/>
                <a:gd name="connsiteX26" fmla="*/ 652246 w 1054582"/>
                <a:gd name="connsiteY26" fmla="*/ 100584 h 558851"/>
                <a:gd name="connsiteX27" fmla="*/ 615670 w 1054582"/>
                <a:gd name="connsiteY27" fmla="*/ 146304 h 558851"/>
                <a:gd name="connsiteX28" fmla="*/ 569950 w 1054582"/>
                <a:gd name="connsiteY28" fmla="*/ 182880 h 558851"/>
                <a:gd name="connsiteX29" fmla="*/ 524230 w 1054582"/>
                <a:gd name="connsiteY29" fmla="*/ 256032 h 558851"/>
                <a:gd name="connsiteX30" fmla="*/ 451078 w 1054582"/>
                <a:gd name="connsiteY30" fmla="*/ 301752 h 558851"/>
                <a:gd name="connsiteX31" fmla="*/ 350494 w 1054582"/>
                <a:gd name="connsiteY31" fmla="*/ 347472 h 558851"/>
                <a:gd name="connsiteX32" fmla="*/ 313918 w 1054582"/>
                <a:gd name="connsiteY32" fmla="*/ 374904 h 558851"/>
                <a:gd name="connsiteX33" fmla="*/ 268198 w 1054582"/>
                <a:gd name="connsiteY33" fmla="*/ 402336 h 558851"/>
                <a:gd name="connsiteX34" fmla="*/ 249910 w 1054582"/>
                <a:gd name="connsiteY34" fmla="*/ 402336 h 558851"/>
                <a:gd name="connsiteX35" fmla="*/ 268198 w 1054582"/>
                <a:gd name="connsiteY35" fmla="*/ 365760 h 558851"/>
                <a:gd name="connsiteX36" fmla="*/ 323062 w 1054582"/>
                <a:gd name="connsiteY36" fmla="*/ 301752 h 558851"/>
                <a:gd name="connsiteX37" fmla="*/ 414502 w 1054582"/>
                <a:gd name="connsiteY37" fmla="*/ 219456 h 558851"/>
                <a:gd name="connsiteX38" fmla="*/ 460222 w 1054582"/>
                <a:gd name="connsiteY38" fmla="*/ 146304 h 558851"/>
                <a:gd name="connsiteX39" fmla="*/ 460222 w 1054582"/>
                <a:gd name="connsiteY39" fmla="*/ 64008 h 558851"/>
                <a:gd name="connsiteX40" fmla="*/ 451078 w 1054582"/>
                <a:gd name="connsiteY40" fmla="*/ 54864 h 558851"/>
                <a:gd name="connsiteX41" fmla="*/ 441934 w 1054582"/>
                <a:gd name="connsiteY41" fmla="*/ 128016 h 558851"/>
                <a:gd name="connsiteX42" fmla="*/ 414502 w 1054582"/>
                <a:gd name="connsiteY42" fmla="*/ 173736 h 558851"/>
                <a:gd name="connsiteX43" fmla="*/ 341350 w 1054582"/>
                <a:gd name="connsiteY43" fmla="*/ 237744 h 558851"/>
                <a:gd name="connsiteX44" fmla="*/ 313918 w 1054582"/>
                <a:gd name="connsiteY44" fmla="*/ 256032 h 558851"/>
                <a:gd name="connsiteX45" fmla="*/ 240766 w 1054582"/>
                <a:gd name="connsiteY45" fmla="*/ 347472 h 558851"/>
                <a:gd name="connsiteX46" fmla="*/ 231622 w 1054582"/>
                <a:gd name="connsiteY46" fmla="*/ 374904 h 558851"/>
                <a:gd name="connsiteX47" fmla="*/ 222478 w 1054582"/>
                <a:gd name="connsiteY47" fmla="*/ 411480 h 558851"/>
                <a:gd name="connsiteX48" fmla="*/ 240766 w 1054582"/>
                <a:gd name="connsiteY48" fmla="*/ 429768 h 558851"/>
                <a:gd name="connsiteX49" fmla="*/ 195046 w 1054582"/>
                <a:gd name="connsiteY49" fmla="*/ 457200 h 558851"/>
                <a:gd name="connsiteX50" fmla="*/ 48742 w 1054582"/>
                <a:gd name="connsiteY50" fmla="*/ 493776 h 558851"/>
                <a:gd name="connsiteX51" fmla="*/ 3022 w 1054582"/>
                <a:gd name="connsiteY51" fmla="*/ 530352 h 558851"/>
                <a:gd name="connsiteX52" fmla="*/ 37669 w 1054582"/>
                <a:gd name="connsiteY52" fmla="*/ 480583 h 558851"/>
                <a:gd name="connsiteX53" fmla="*/ 112127 w 1054582"/>
                <a:gd name="connsiteY53" fmla="*/ 496784 h 558851"/>
                <a:gd name="connsiteX54" fmla="*/ 112127 w 1054582"/>
                <a:gd name="connsiteY54" fmla="*/ 496784 h 558851"/>
                <a:gd name="connsiteX55" fmla="*/ 112127 w 1054582"/>
                <a:gd name="connsiteY55" fmla="*/ 496784 h 558851"/>
                <a:gd name="connsiteX0" fmla="*/ 112127 w 1054582"/>
                <a:gd name="connsiteY0" fmla="*/ 496784 h 558851"/>
                <a:gd name="connsiteX1" fmla="*/ 21468 w 1054582"/>
                <a:gd name="connsiteY1" fmla="*/ 555041 h 558851"/>
                <a:gd name="connsiteX2" fmla="*/ 21310 w 1054582"/>
                <a:gd name="connsiteY2" fmla="*/ 548640 h 558851"/>
                <a:gd name="connsiteX3" fmla="*/ 149326 w 1054582"/>
                <a:gd name="connsiteY3" fmla="*/ 493776 h 558851"/>
                <a:gd name="connsiteX4" fmla="*/ 249910 w 1054582"/>
                <a:gd name="connsiteY4" fmla="*/ 466344 h 558851"/>
                <a:gd name="connsiteX5" fmla="*/ 350494 w 1054582"/>
                <a:gd name="connsiteY5" fmla="*/ 384048 h 558851"/>
                <a:gd name="connsiteX6" fmla="*/ 542518 w 1054582"/>
                <a:gd name="connsiteY6" fmla="*/ 301752 h 558851"/>
                <a:gd name="connsiteX7" fmla="*/ 624814 w 1054582"/>
                <a:gd name="connsiteY7" fmla="*/ 192024 h 558851"/>
                <a:gd name="connsiteX8" fmla="*/ 771118 w 1054582"/>
                <a:gd name="connsiteY8" fmla="*/ 155448 h 558851"/>
                <a:gd name="connsiteX9" fmla="*/ 816838 w 1054582"/>
                <a:gd name="connsiteY9" fmla="*/ 155448 h 558851"/>
                <a:gd name="connsiteX10" fmla="*/ 853414 w 1054582"/>
                <a:gd name="connsiteY10" fmla="*/ 137160 h 558851"/>
                <a:gd name="connsiteX11" fmla="*/ 807694 w 1054582"/>
                <a:gd name="connsiteY11" fmla="*/ 137160 h 558851"/>
                <a:gd name="connsiteX12" fmla="*/ 716254 w 1054582"/>
                <a:gd name="connsiteY12" fmla="*/ 137160 h 558851"/>
                <a:gd name="connsiteX13" fmla="*/ 661390 w 1054582"/>
                <a:gd name="connsiteY13" fmla="*/ 146304 h 558851"/>
                <a:gd name="connsiteX14" fmla="*/ 652246 w 1054582"/>
                <a:gd name="connsiteY14" fmla="*/ 155448 h 558851"/>
                <a:gd name="connsiteX15" fmla="*/ 633958 w 1054582"/>
                <a:gd name="connsiteY15" fmla="*/ 146304 h 558851"/>
                <a:gd name="connsiteX16" fmla="*/ 761974 w 1054582"/>
                <a:gd name="connsiteY16" fmla="*/ 91440 h 558851"/>
                <a:gd name="connsiteX17" fmla="*/ 816838 w 1054582"/>
                <a:gd name="connsiteY17" fmla="*/ 91440 h 558851"/>
                <a:gd name="connsiteX18" fmla="*/ 908278 w 1054582"/>
                <a:gd name="connsiteY18" fmla="*/ 82296 h 558851"/>
                <a:gd name="connsiteX19" fmla="*/ 1036294 w 1054582"/>
                <a:gd name="connsiteY19" fmla="*/ 27432 h 558851"/>
                <a:gd name="connsiteX20" fmla="*/ 1018006 w 1054582"/>
                <a:gd name="connsiteY20" fmla="*/ 0 h 558851"/>
                <a:gd name="connsiteX21" fmla="*/ 981430 w 1054582"/>
                <a:gd name="connsiteY21" fmla="*/ 27432 h 558851"/>
                <a:gd name="connsiteX22" fmla="*/ 944854 w 1054582"/>
                <a:gd name="connsiteY22" fmla="*/ 36576 h 558851"/>
                <a:gd name="connsiteX23" fmla="*/ 871702 w 1054582"/>
                <a:gd name="connsiteY23" fmla="*/ 64008 h 558851"/>
                <a:gd name="connsiteX24" fmla="*/ 816838 w 1054582"/>
                <a:gd name="connsiteY24" fmla="*/ 64008 h 558851"/>
                <a:gd name="connsiteX25" fmla="*/ 707110 w 1054582"/>
                <a:gd name="connsiteY25" fmla="*/ 64008 h 558851"/>
                <a:gd name="connsiteX26" fmla="*/ 652246 w 1054582"/>
                <a:gd name="connsiteY26" fmla="*/ 100584 h 558851"/>
                <a:gd name="connsiteX27" fmla="*/ 615670 w 1054582"/>
                <a:gd name="connsiteY27" fmla="*/ 146304 h 558851"/>
                <a:gd name="connsiteX28" fmla="*/ 569950 w 1054582"/>
                <a:gd name="connsiteY28" fmla="*/ 182880 h 558851"/>
                <a:gd name="connsiteX29" fmla="*/ 524230 w 1054582"/>
                <a:gd name="connsiteY29" fmla="*/ 256032 h 558851"/>
                <a:gd name="connsiteX30" fmla="*/ 451078 w 1054582"/>
                <a:gd name="connsiteY30" fmla="*/ 301752 h 558851"/>
                <a:gd name="connsiteX31" fmla="*/ 350494 w 1054582"/>
                <a:gd name="connsiteY31" fmla="*/ 347472 h 558851"/>
                <a:gd name="connsiteX32" fmla="*/ 313918 w 1054582"/>
                <a:gd name="connsiteY32" fmla="*/ 374904 h 558851"/>
                <a:gd name="connsiteX33" fmla="*/ 268198 w 1054582"/>
                <a:gd name="connsiteY33" fmla="*/ 402336 h 558851"/>
                <a:gd name="connsiteX34" fmla="*/ 249910 w 1054582"/>
                <a:gd name="connsiteY34" fmla="*/ 402336 h 558851"/>
                <a:gd name="connsiteX35" fmla="*/ 268198 w 1054582"/>
                <a:gd name="connsiteY35" fmla="*/ 365760 h 558851"/>
                <a:gd name="connsiteX36" fmla="*/ 323062 w 1054582"/>
                <a:gd name="connsiteY36" fmla="*/ 301752 h 558851"/>
                <a:gd name="connsiteX37" fmla="*/ 414502 w 1054582"/>
                <a:gd name="connsiteY37" fmla="*/ 219456 h 558851"/>
                <a:gd name="connsiteX38" fmla="*/ 460222 w 1054582"/>
                <a:gd name="connsiteY38" fmla="*/ 146304 h 558851"/>
                <a:gd name="connsiteX39" fmla="*/ 460222 w 1054582"/>
                <a:gd name="connsiteY39" fmla="*/ 64008 h 558851"/>
                <a:gd name="connsiteX40" fmla="*/ 451078 w 1054582"/>
                <a:gd name="connsiteY40" fmla="*/ 54864 h 558851"/>
                <a:gd name="connsiteX41" fmla="*/ 441934 w 1054582"/>
                <a:gd name="connsiteY41" fmla="*/ 128016 h 558851"/>
                <a:gd name="connsiteX42" fmla="*/ 414502 w 1054582"/>
                <a:gd name="connsiteY42" fmla="*/ 173736 h 558851"/>
                <a:gd name="connsiteX43" fmla="*/ 341350 w 1054582"/>
                <a:gd name="connsiteY43" fmla="*/ 237744 h 558851"/>
                <a:gd name="connsiteX44" fmla="*/ 313918 w 1054582"/>
                <a:gd name="connsiteY44" fmla="*/ 256032 h 558851"/>
                <a:gd name="connsiteX45" fmla="*/ 240766 w 1054582"/>
                <a:gd name="connsiteY45" fmla="*/ 347472 h 558851"/>
                <a:gd name="connsiteX46" fmla="*/ 231622 w 1054582"/>
                <a:gd name="connsiteY46" fmla="*/ 374904 h 558851"/>
                <a:gd name="connsiteX47" fmla="*/ 222478 w 1054582"/>
                <a:gd name="connsiteY47" fmla="*/ 411480 h 558851"/>
                <a:gd name="connsiteX48" fmla="*/ 240766 w 1054582"/>
                <a:gd name="connsiteY48" fmla="*/ 429768 h 558851"/>
                <a:gd name="connsiteX49" fmla="*/ 195046 w 1054582"/>
                <a:gd name="connsiteY49" fmla="*/ 457200 h 558851"/>
                <a:gd name="connsiteX50" fmla="*/ 48742 w 1054582"/>
                <a:gd name="connsiteY50" fmla="*/ 493776 h 558851"/>
                <a:gd name="connsiteX51" fmla="*/ 37668 w 1054582"/>
                <a:gd name="connsiteY51" fmla="*/ 480583 h 558851"/>
                <a:gd name="connsiteX52" fmla="*/ 37669 w 1054582"/>
                <a:gd name="connsiteY52" fmla="*/ 480583 h 558851"/>
                <a:gd name="connsiteX53" fmla="*/ 112127 w 1054582"/>
                <a:gd name="connsiteY53" fmla="*/ 496784 h 558851"/>
                <a:gd name="connsiteX54" fmla="*/ 112127 w 1054582"/>
                <a:gd name="connsiteY54" fmla="*/ 496784 h 558851"/>
                <a:gd name="connsiteX55" fmla="*/ 112127 w 1054582"/>
                <a:gd name="connsiteY55" fmla="*/ 496784 h 558851"/>
                <a:gd name="connsiteX0" fmla="*/ 90659 w 1033114"/>
                <a:gd name="connsiteY0" fmla="*/ 496784 h 555041"/>
                <a:gd name="connsiteX1" fmla="*/ 0 w 1033114"/>
                <a:gd name="connsiteY1" fmla="*/ 555041 h 555041"/>
                <a:gd name="connsiteX2" fmla="*/ 90659 w 1033114"/>
                <a:gd name="connsiteY2" fmla="*/ 496784 h 555041"/>
                <a:gd name="connsiteX3" fmla="*/ 127858 w 1033114"/>
                <a:gd name="connsiteY3" fmla="*/ 493776 h 555041"/>
                <a:gd name="connsiteX4" fmla="*/ 228442 w 1033114"/>
                <a:gd name="connsiteY4" fmla="*/ 466344 h 555041"/>
                <a:gd name="connsiteX5" fmla="*/ 329026 w 1033114"/>
                <a:gd name="connsiteY5" fmla="*/ 384048 h 555041"/>
                <a:gd name="connsiteX6" fmla="*/ 521050 w 1033114"/>
                <a:gd name="connsiteY6" fmla="*/ 301752 h 555041"/>
                <a:gd name="connsiteX7" fmla="*/ 603346 w 1033114"/>
                <a:gd name="connsiteY7" fmla="*/ 192024 h 555041"/>
                <a:gd name="connsiteX8" fmla="*/ 749650 w 1033114"/>
                <a:gd name="connsiteY8" fmla="*/ 155448 h 555041"/>
                <a:gd name="connsiteX9" fmla="*/ 795370 w 1033114"/>
                <a:gd name="connsiteY9" fmla="*/ 155448 h 555041"/>
                <a:gd name="connsiteX10" fmla="*/ 831946 w 1033114"/>
                <a:gd name="connsiteY10" fmla="*/ 137160 h 555041"/>
                <a:gd name="connsiteX11" fmla="*/ 786226 w 1033114"/>
                <a:gd name="connsiteY11" fmla="*/ 137160 h 555041"/>
                <a:gd name="connsiteX12" fmla="*/ 694786 w 1033114"/>
                <a:gd name="connsiteY12" fmla="*/ 137160 h 555041"/>
                <a:gd name="connsiteX13" fmla="*/ 639922 w 1033114"/>
                <a:gd name="connsiteY13" fmla="*/ 146304 h 555041"/>
                <a:gd name="connsiteX14" fmla="*/ 630778 w 1033114"/>
                <a:gd name="connsiteY14" fmla="*/ 155448 h 555041"/>
                <a:gd name="connsiteX15" fmla="*/ 612490 w 1033114"/>
                <a:gd name="connsiteY15" fmla="*/ 146304 h 555041"/>
                <a:gd name="connsiteX16" fmla="*/ 740506 w 1033114"/>
                <a:gd name="connsiteY16" fmla="*/ 91440 h 555041"/>
                <a:gd name="connsiteX17" fmla="*/ 795370 w 1033114"/>
                <a:gd name="connsiteY17" fmla="*/ 91440 h 555041"/>
                <a:gd name="connsiteX18" fmla="*/ 886810 w 1033114"/>
                <a:gd name="connsiteY18" fmla="*/ 82296 h 555041"/>
                <a:gd name="connsiteX19" fmla="*/ 1014826 w 1033114"/>
                <a:gd name="connsiteY19" fmla="*/ 27432 h 555041"/>
                <a:gd name="connsiteX20" fmla="*/ 996538 w 1033114"/>
                <a:gd name="connsiteY20" fmla="*/ 0 h 555041"/>
                <a:gd name="connsiteX21" fmla="*/ 959962 w 1033114"/>
                <a:gd name="connsiteY21" fmla="*/ 27432 h 555041"/>
                <a:gd name="connsiteX22" fmla="*/ 923386 w 1033114"/>
                <a:gd name="connsiteY22" fmla="*/ 36576 h 555041"/>
                <a:gd name="connsiteX23" fmla="*/ 850234 w 1033114"/>
                <a:gd name="connsiteY23" fmla="*/ 64008 h 555041"/>
                <a:gd name="connsiteX24" fmla="*/ 795370 w 1033114"/>
                <a:gd name="connsiteY24" fmla="*/ 64008 h 555041"/>
                <a:gd name="connsiteX25" fmla="*/ 685642 w 1033114"/>
                <a:gd name="connsiteY25" fmla="*/ 64008 h 555041"/>
                <a:gd name="connsiteX26" fmla="*/ 630778 w 1033114"/>
                <a:gd name="connsiteY26" fmla="*/ 100584 h 555041"/>
                <a:gd name="connsiteX27" fmla="*/ 594202 w 1033114"/>
                <a:gd name="connsiteY27" fmla="*/ 146304 h 555041"/>
                <a:gd name="connsiteX28" fmla="*/ 548482 w 1033114"/>
                <a:gd name="connsiteY28" fmla="*/ 182880 h 555041"/>
                <a:gd name="connsiteX29" fmla="*/ 502762 w 1033114"/>
                <a:gd name="connsiteY29" fmla="*/ 256032 h 555041"/>
                <a:gd name="connsiteX30" fmla="*/ 429610 w 1033114"/>
                <a:gd name="connsiteY30" fmla="*/ 301752 h 555041"/>
                <a:gd name="connsiteX31" fmla="*/ 329026 w 1033114"/>
                <a:gd name="connsiteY31" fmla="*/ 347472 h 555041"/>
                <a:gd name="connsiteX32" fmla="*/ 292450 w 1033114"/>
                <a:gd name="connsiteY32" fmla="*/ 374904 h 555041"/>
                <a:gd name="connsiteX33" fmla="*/ 246730 w 1033114"/>
                <a:gd name="connsiteY33" fmla="*/ 402336 h 555041"/>
                <a:gd name="connsiteX34" fmla="*/ 228442 w 1033114"/>
                <a:gd name="connsiteY34" fmla="*/ 402336 h 555041"/>
                <a:gd name="connsiteX35" fmla="*/ 246730 w 1033114"/>
                <a:gd name="connsiteY35" fmla="*/ 365760 h 555041"/>
                <a:gd name="connsiteX36" fmla="*/ 301594 w 1033114"/>
                <a:gd name="connsiteY36" fmla="*/ 301752 h 555041"/>
                <a:gd name="connsiteX37" fmla="*/ 393034 w 1033114"/>
                <a:gd name="connsiteY37" fmla="*/ 219456 h 555041"/>
                <a:gd name="connsiteX38" fmla="*/ 438754 w 1033114"/>
                <a:gd name="connsiteY38" fmla="*/ 146304 h 555041"/>
                <a:gd name="connsiteX39" fmla="*/ 438754 w 1033114"/>
                <a:gd name="connsiteY39" fmla="*/ 64008 h 555041"/>
                <a:gd name="connsiteX40" fmla="*/ 429610 w 1033114"/>
                <a:gd name="connsiteY40" fmla="*/ 54864 h 555041"/>
                <a:gd name="connsiteX41" fmla="*/ 420466 w 1033114"/>
                <a:gd name="connsiteY41" fmla="*/ 128016 h 555041"/>
                <a:gd name="connsiteX42" fmla="*/ 393034 w 1033114"/>
                <a:gd name="connsiteY42" fmla="*/ 173736 h 555041"/>
                <a:gd name="connsiteX43" fmla="*/ 319882 w 1033114"/>
                <a:gd name="connsiteY43" fmla="*/ 237744 h 555041"/>
                <a:gd name="connsiteX44" fmla="*/ 292450 w 1033114"/>
                <a:gd name="connsiteY44" fmla="*/ 256032 h 555041"/>
                <a:gd name="connsiteX45" fmla="*/ 219298 w 1033114"/>
                <a:gd name="connsiteY45" fmla="*/ 347472 h 555041"/>
                <a:gd name="connsiteX46" fmla="*/ 210154 w 1033114"/>
                <a:gd name="connsiteY46" fmla="*/ 374904 h 555041"/>
                <a:gd name="connsiteX47" fmla="*/ 201010 w 1033114"/>
                <a:gd name="connsiteY47" fmla="*/ 411480 h 555041"/>
                <a:gd name="connsiteX48" fmla="*/ 219298 w 1033114"/>
                <a:gd name="connsiteY48" fmla="*/ 429768 h 555041"/>
                <a:gd name="connsiteX49" fmla="*/ 173578 w 1033114"/>
                <a:gd name="connsiteY49" fmla="*/ 457200 h 555041"/>
                <a:gd name="connsiteX50" fmla="*/ 27274 w 1033114"/>
                <a:gd name="connsiteY50" fmla="*/ 493776 h 555041"/>
                <a:gd name="connsiteX51" fmla="*/ 16200 w 1033114"/>
                <a:gd name="connsiteY51" fmla="*/ 480583 h 555041"/>
                <a:gd name="connsiteX52" fmla="*/ 16201 w 1033114"/>
                <a:gd name="connsiteY52" fmla="*/ 480583 h 555041"/>
                <a:gd name="connsiteX53" fmla="*/ 90659 w 1033114"/>
                <a:gd name="connsiteY53" fmla="*/ 496784 h 555041"/>
                <a:gd name="connsiteX54" fmla="*/ 90659 w 1033114"/>
                <a:gd name="connsiteY54" fmla="*/ 496784 h 555041"/>
                <a:gd name="connsiteX55" fmla="*/ 90659 w 1033114"/>
                <a:gd name="connsiteY55" fmla="*/ 496784 h 555041"/>
                <a:gd name="connsiteX0" fmla="*/ 89615 w 1032070"/>
                <a:gd name="connsiteY0" fmla="*/ 496784 h 498849"/>
                <a:gd name="connsiteX1" fmla="*/ 89615 w 1032070"/>
                <a:gd name="connsiteY1" fmla="*/ 496784 h 498849"/>
                <a:gd name="connsiteX2" fmla="*/ 89615 w 1032070"/>
                <a:gd name="connsiteY2" fmla="*/ 496784 h 498849"/>
                <a:gd name="connsiteX3" fmla="*/ 126814 w 1032070"/>
                <a:gd name="connsiteY3" fmla="*/ 493776 h 498849"/>
                <a:gd name="connsiteX4" fmla="*/ 227398 w 1032070"/>
                <a:gd name="connsiteY4" fmla="*/ 466344 h 498849"/>
                <a:gd name="connsiteX5" fmla="*/ 327982 w 1032070"/>
                <a:gd name="connsiteY5" fmla="*/ 384048 h 498849"/>
                <a:gd name="connsiteX6" fmla="*/ 520006 w 1032070"/>
                <a:gd name="connsiteY6" fmla="*/ 301752 h 498849"/>
                <a:gd name="connsiteX7" fmla="*/ 602302 w 1032070"/>
                <a:gd name="connsiteY7" fmla="*/ 192024 h 498849"/>
                <a:gd name="connsiteX8" fmla="*/ 748606 w 1032070"/>
                <a:gd name="connsiteY8" fmla="*/ 155448 h 498849"/>
                <a:gd name="connsiteX9" fmla="*/ 794326 w 1032070"/>
                <a:gd name="connsiteY9" fmla="*/ 155448 h 498849"/>
                <a:gd name="connsiteX10" fmla="*/ 830902 w 1032070"/>
                <a:gd name="connsiteY10" fmla="*/ 137160 h 498849"/>
                <a:gd name="connsiteX11" fmla="*/ 785182 w 1032070"/>
                <a:gd name="connsiteY11" fmla="*/ 137160 h 498849"/>
                <a:gd name="connsiteX12" fmla="*/ 693742 w 1032070"/>
                <a:gd name="connsiteY12" fmla="*/ 137160 h 498849"/>
                <a:gd name="connsiteX13" fmla="*/ 638878 w 1032070"/>
                <a:gd name="connsiteY13" fmla="*/ 146304 h 498849"/>
                <a:gd name="connsiteX14" fmla="*/ 629734 w 1032070"/>
                <a:gd name="connsiteY14" fmla="*/ 155448 h 498849"/>
                <a:gd name="connsiteX15" fmla="*/ 611446 w 1032070"/>
                <a:gd name="connsiteY15" fmla="*/ 146304 h 498849"/>
                <a:gd name="connsiteX16" fmla="*/ 739462 w 1032070"/>
                <a:gd name="connsiteY16" fmla="*/ 91440 h 498849"/>
                <a:gd name="connsiteX17" fmla="*/ 794326 w 1032070"/>
                <a:gd name="connsiteY17" fmla="*/ 91440 h 498849"/>
                <a:gd name="connsiteX18" fmla="*/ 885766 w 1032070"/>
                <a:gd name="connsiteY18" fmla="*/ 82296 h 498849"/>
                <a:gd name="connsiteX19" fmla="*/ 1013782 w 1032070"/>
                <a:gd name="connsiteY19" fmla="*/ 27432 h 498849"/>
                <a:gd name="connsiteX20" fmla="*/ 995494 w 1032070"/>
                <a:gd name="connsiteY20" fmla="*/ 0 h 498849"/>
                <a:gd name="connsiteX21" fmla="*/ 958918 w 1032070"/>
                <a:gd name="connsiteY21" fmla="*/ 27432 h 498849"/>
                <a:gd name="connsiteX22" fmla="*/ 922342 w 1032070"/>
                <a:gd name="connsiteY22" fmla="*/ 36576 h 498849"/>
                <a:gd name="connsiteX23" fmla="*/ 849190 w 1032070"/>
                <a:gd name="connsiteY23" fmla="*/ 64008 h 498849"/>
                <a:gd name="connsiteX24" fmla="*/ 794326 w 1032070"/>
                <a:gd name="connsiteY24" fmla="*/ 64008 h 498849"/>
                <a:gd name="connsiteX25" fmla="*/ 684598 w 1032070"/>
                <a:gd name="connsiteY25" fmla="*/ 64008 h 498849"/>
                <a:gd name="connsiteX26" fmla="*/ 629734 w 1032070"/>
                <a:gd name="connsiteY26" fmla="*/ 100584 h 498849"/>
                <a:gd name="connsiteX27" fmla="*/ 593158 w 1032070"/>
                <a:gd name="connsiteY27" fmla="*/ 146304 h 498849"/>
                <a:gd name="connsiteX28" fmla="*/ 547438 w 1032070"/>
                <a:gd name="connsiteY28" fmla="*/ 182880 h 498849"/>
                <a:gd name="connsiteX29" fmla="*/ 501718 w 1032070"/>
                <a:gd name="connsiteY29" fmla="*/ 256032 h 498849"/>
                <a:gd name="connsiteX30" fmla="*/ 428566 w 1032070"/>
                <a:gd name="connsiteY30" fmla="*/ 301752 h 498849"/>
                <a:gd name="connsiteX31" fmla="*/ 327982 w 1032070"/>
                <a:gd name="connsiteY31" fmla="*/ 347472 h 498849"/>
                <a:gd name="connsiteX32" fmla="*/ 291406 w 1032070"/>
                <a:gd name="connsiteY32" fmla="*/ 374904 h 498849"/>
                <a:gd name="connsiteX33" fmla="*/ 245686 w 1032070"/>
                <a:gd name="connsiteY33" fmla="*/ 402336 h 498849"/>
                <a:gd name="connsiteX34" fmla="*/ 227398 w 1032070"/>
                <a:gd name="connsiteY34" fmla="*/ 402336 h 498849"/>
                <a:gd name="connsiteX35" fmla="*/ 245686 w 1032070"/>
                <a:gd name="connsiteY35" fmla="*/ 365760 h 498849"/>
                <a:gd name="connsiteX36" fmla="*/ 300550 w 1032070"/>
                <a:gd name="connsiteY36" fmla="*/ 301752 h 498849"/>
                <a:gd name="connsiteX37" fmla="*/ 391990 w 1032070"/>
                <a:gd name="connsiteY37" fmla="*/ 219456 h 498849"/>
                <a:gd name="connsiteX38" fmla="*/ 437710 w 1032070"/>
                <a:gd name="connsiteY38" fmla="*/ 146304 h 498849"/>
                <a:gd name="connsiteX39" fmla="*/ 437710 w 1032070"/>
                <a:gd name="connsiteY39" fmla="*/ 64008 h 498849"/>
                <a:gd name="connsiteX40" fmla="*/ 428566 w 1032070"/>
                <a:gd name="connsiteY40" fmla="*/ 54864 h 498849"/>
                <a:gd name="connsiteX41" fmla="*/ 419422 w 1032070"/>
                <a:gd name="connsiteY41" fmla="*/ 128016 h 498849"/>
                <a:gd name="connsiteX42" fmla="*/ 391990 w 1032070"/>
                <a:gd name="connsiteY42" fmla="*/ 173736 h 498849"/>
                <a:gd name="connsiteX43" fmla="*/ 318838 w 1032070"/>
                <a:gd name="connsiteY43" fmla="*/ 237744 h 498849"/>
                <a:gd name="connsiteX44" fmla="*/ 291406 w 1032070"/>
                <a:gd name="connsiteY44" fmla="*/ 256032 h 498849"/>
                <a:gd name="connsiteX45" fmla="*/ 218254 w 1032070"/>
                <a:gd name="connsiteY45" fmla="*/ 347472 h 498849"/>
                <a:gd name="connsiteX46" fmla="*/ 209110 w 1032070"/>
                <a:gd name="connsiteY46" fmla="*/ 374904 h 498849"/>
                <a:gd name="connsiteX47" fmla="*/ 199966 w 1032070"/>
                <a:gd name="connsiteY47" fmla="*/ 411480 h 498849"/>
                <a:gd name="connsiteX48" fmla="*/ 218254 w 1032070"/>
                <a:gd name="connsiteY48" fmla="*/ 429768 h 498849"/>
                <a:gd name="connsiteX49" fmla="*/ 172534 w 1032070"/>
                <a:gd name="connsiteY49" fmla="*/ 457200 h 498849"/>
                <a:gd name="connsiteX50" fmla="*/ 26230 w 1032070"/>
                <a:gd name="connsiteY50" fmla="*/ 493776 h 498849"/>
                <a:gd name="connsiteX51" fmla="*/ 15156 w 1032070"/>
                <a:gd name="connsiteY51" fmla="*/ 480583 h 498849"/>
                <a:gd name="connsiteX52" fmla="*/ 15157 w 1032070"/>
                <a:gd name="connsiteY52" fmla="*/ 480583 h 498849"/>
                <a:gd name="connsiteX53" fmla="*/ 89615 w 1032070"/>
                <a:gd name="connsiteY53" fmla="*/ 496784 h 498849"/>
                <a:gd name="connsiteX54" fmla="*/ 89615 w 1032070"/>
                <a:gd name="connsiteY54" fmla="*/ 496784 h 498849"/>
                <a:gd name="connsiteX55" fmla="*/ 89615 w 1032070"/>
                <a:gd name="connsiteY55" fmla="*/ 496784 h 498849"/>
                <a:gd name="connsiteX0" fmla="*/ 89615 w 1032070"/>
                <a:gd name="connsiteY0" fmla="*/ 496784 h 498849"/>
                <a:gd name="connsiteX1" fmla="*/ 89615 w 1032070"/>
                <a:gd name="connsiteY1" fmla="*/ 496784 h 498849"/>
                <a:gd name="connsiteX2" fmla="*/ 89615 w 1032070"/>
                <a:gd name="connsiteY2" fmla="*/ 496784 h 498849"/>
                <a:gd name="connsiteX3" fmla="*/ 126814 w 1032070"/>
                <a:gd name="connsiteY3" fmla="*/ 493776 h 498849"/>
                <a:gd name="connsiteX4" fmla="*/ 227398 w 1032070"/>
                <a:gd name="connsiteY4" fmla="*/ 466344 h 498849"/>
                <a:gd name="connsiteX5" fmla="*/ 327982 w 1032070"/>
                <a:gd name="connsiteY5" fmla="*/ 384048 h 498849"/>
                <a:gd name="connsiteX6" fmla="*/ 520006 w 1032070"/>
                <a:gd name="connsiteY6" fmla="*/ 301752 h 498849"/>
                <a:gd name="connsiteX7" fmla="*/ 602302 w 1032070"/>
                <a:gd name="connsiteY7" fmla="*/ 192024 h 498849"/>
                <a:gd name="connsiteX8" fmla="*/ 748606 w 1032070"/>
                <a:gd name="connsiteY8" fmla="*/ 155448 h 498849"/>
                <a:gd name="connsiteX9" fmla="*/ 794326 w 1032070"/>
                <a:gd name="connsiteY9" fmla="*/ 155448 h 498849"/>
                <a:gd name="connsiteX10" fmla="*/ 830902 w 1032070"/>
                <a:gd name="connsiteY10" fmla="*/ 137160 h 498849"/>
                <a:gd name="connsiteX11" fmla="*/ 785182 w 1032070"/>
                <a:gd name="connsiteY11" fmla="*/ 137160 h 498849"/>
                <a:gd name="connsiteX12" fmla="*/ 693742 w 1032070"/>
                <a:gd name="connsiteY12" fmla="*/ 137160 h 498849"/>
                <a:gd name="connsiteX13" fmla="*/ 638878 w 1032070"/>
                <a:gd name="connsiteY13" fmla="*/ 146304 h 498849"/>
                <a:gd name="connsiteX14" fmla="*/ 629734 w 1032070"/>
                <a:gd name="connsiteY14" fmla="*/ 155448 h 498849"/>
                <a:gd name="connsiteX15" fmla="*/ 611446 w 1032070"/>
                <a:gd name="connsiteY15" fmla="*/ 146304 h 498849"/>
                <a:gd name="connsiteX16" fmla="*/ 739462 w 1032070"/>
                <a:gd name="connsiteY16" fmla="*/ 91440 h 498849"/>
                <a:gd name="connsiteX17" fmla="*/ 794326 w 1032070"/>
                <a:gd name="connsiteY17" fmla="*/ 91440 h 498849"/>
                <a:gd name="connsiteX18" fmla="*/ 885766 w 1032070"/>
                <a:gd name="connsiteY18" fmla="*/ 82296 h 498849"/>
                <a:gd name="connsiteX19" fmla="*/ 1013782 w 1032070"/>
                <a:gd name="connsiteY19" fmla="*/ 27432 h 498849"/>
                <a:gd name="connsiteX20" fmla="*/ 995494 w 1032070"/>
                <a:gd name="connsiteY20" fmla="*/ 0 h 498849"/>
                <a:gd name="connsiteX21" fmla="*/ 958918 w 1032070"/>
                <a:gd name="connsiteY21" fmla="*/ 27432 h 498849"/>
                <a:gd name="connsiteX22" fmla="*/ 922342 w 1032070"/>
                <a:gd name="connsiteY22" fmla="*/ 36576 h 498849"/>
                <a:gd name="connsiteX23" fmla="*/ 849190 w 1032070"/>
                <a:gd name="connsiteY23" fmla="*/ 64008 h 498849"/>
                <a:gd name="connsiteX24" fmla="*/ 794326 w 1032070"/>
                <a:gd name="connsiteY24" fmla="*/ 64008 h 498849"/>
                <a:gd name="connsiteX25" fmla="*/ 684598 w 1032070"/>
                <a:gd name="connsiteY25" fmla="*/ 64008 h 498849"/>
                <a:gd name="connsiteX26" fmla="*/ 629734 w 1032070"/>
                <a:gd name="connsiteY26" fmla="*/ 100584 h 498849"/>
                <a:gd name="connsiteX27" fmla="*/ 593158 w 1032070"/>
                <a:gd name="connsiteY27" fmla="*/ 146304 h 498849"/>
                <a:gd name="connsiteX28" fmla="*/ 547438 w 1032070"/>
                <a:gd name="connsiteY28" fmla="*/ 182880 h 498849"/>
                <a:gd name="connsiteX29" fmla="*/ 501718 w 1032070"/>
                <a:gd name="connsiteY29" fmla="*/ 256032 h 498849"/>
                <a:gd name="connsiteX30" fmla="*/ 428566 w 1032070"/>
                <a:gd name="connsiteY30" fmla="*/ 301752 h 498849"/>
                <a:gd name="connsiteX31" fmla="*/ 327982 w 1032070"/>
                <a:gd name="connsiteY31" fmla="*/ 347472 h 498849"/>
                <a:gd name="connsiteX32" fmla="*/ 291406 w 1032070"/>
                <a:gd name="connsiteY32" fmla="*/ 374904 h 498849"/>
                <a:gd name="connsiteX33" fmla="*/ 245686 w 1032070"/>
                <a:gd name="connsiteY33" fmla="*/ 402336 h 498849"/>
                <a:gd name="connsiteX34" fmla="*/ 227398 w 1032070"/>
                <a:gd name="connsiteY34" fmla="*/ 402336 h 498849"/>
                <a:gd name="connsiteX35" fmla="*/ 245686 w 1032070"/>
                <a:gd name="connsiteY35" fmla="*/ 365760 h 498849"/>
                <a:gd name="connsiteX36" fmla="*/ 300550 w 1032070"/>
                <a:gd name="connsiteY36" fmla="*/ 301752 h 498849"/>
                <a:gd name="connsiteX37" fmla="*/ 391990 w 1032070"/>
                <a:gd name="connsiteY37" fmla="*/ 219456 h 498849"/>
                <a:gd name="connsiteX38" fmla="*/ 437710 w 1032070"/>
                <a:gd name="connsiteY38" fmla="*/ 146304 h 498849"/>
                <a:gd name="connsiteX39" fmla="*/ 437710 w 1032070"/>
                <a:gd name="connsiteY39" fmla="*/ 64008 h 498849"/>
                <a:gd name="connsiteX40" fmla="*/ 428566 w 1032070"/>
                <a:gd name="connsiteY40" fmla="*/ 54864 h 498849"/>
                <a:gd name="connsiteX41" fmla="*/ 419422 w 1032070"/>
                <a:gd name="connsiteY41" fmla="*/ 128016 h 498849"/>
                <a:gd name="connsiteX42" fmla="*/ 391990 w 1032070"/>
                <a:gd name="connsiteY42" fmla="*/ 173736 h 498849"/>
                <a:gd name="connsiteX43" fmla="*/ 318838 w 1032070"/>
                <a:gd name="connsiteY43" fmla="*/ 237744 h 498849"/>
                <a:gd name="connsiteX44" fmla="*/ 291406 w 1032070"/>
                <a:gd name="connsiteY44" fmla="*/ 256032 h 498849"/>
                <a:gd name="connsiteX45" fmla="*/ 218254 w 1032070"/>
                <a:gd name="connsiteY45" fmla="*/ 347472 h 498849"/>
                <a:gd name="connsiteX46" fmla="*/ 209110 w 1032070"/>
                <a:gd name="connsiteY46" fmla="*/ 374904 h 498849"/>
                <a:gd name="connsiteX47" fmla="*/ 199966 w 1032070"/>
                <a:gd name="connsiteY47" fmla="*/ 411480 h 498849"/>
                <a:gd name="connsiteX48" fmla="*/ 218254 w 1032070"/>
                <a:gd name="connsiteY48" fmla="*/ 429768 h 498849"/>
                <a:gd name="connsiteX49" fmla="*/ 172534 w 1032070"/>
                <a:gd name="connsiteY49" fmla="*/ 457200 h 498849"/>
                <a:gd name="connsiteX50" fmla="*/ 26230 w 1032070"/>
                <a:gd name="connsiteY50" fmla="*/ 493776 h 498849"/>
                <a:gd name="connsiteX51" fmla="*/ 15156 w 1032070"/>
                <a:gd name="connsiteY51" fmla="*/ 480583 h 498849"/>
                <a:gd name="connsiteX52" fmla="*/ 89615 w 1032070"/>
                <a:gd name="connsiteY52" fmla="*/ 496784 h 498849"/>
                <a:gd name="connsiteX53" fmla="*/ 89615 w 1032070"/>
                <a:gd name="connsiteY53" fmla="*/ 496784 h 498849"/>
                <a:gd name="connsiteX54" fmla="*/ 89615 w 1032070"/>
                <a:gd name="connsiteY54" fmla="*/ 496784 h 498849"/>
                <a:gd name="connsiteX55" fmla="*/ 89615 w 1032070"/>
                <a:gd name="connsiteY55" fmla="*/ 496784 h 498849"/>
                <a:gd name="connsiteX0" fmla="*/ 77205 w 1019660"/>
                <a:gd name="connsiteY0" fmla="*/ 496784 h 500373"/>
                <a:gd name="connsiteX1" fmla="*/ 77205 w 1019660"/>
                <a:gd name="connsiteY1" fmla="*/ 496784 h 500373"/>
                <a:gd name="connsiteX2" fmla="*/ 77205 w 1019660"/>
                <a:gd name="connsiteY2" fmla="*/ 496784 h 500373"/>
                <a:gd name="connsiteX3" fmla="*/ 114404 w 1019660"/>
                <a:gd name="connsiteY3" fmla="*/ 493776 h 500373"/>
                <a:gd name="connsiteX4" fmla="*/ 214988 w 1019660"/>
                <a:gd name="connsiteY4" fmla="*/ 466344 h 500373"/>
                <a:gd name="connsiteX5" fmla="*/ 315572 w 1019660"/>
                <a:gd name="connsiteY5" fmla="*/ 384048 h 500373"/>
                <a:gd name="connsiteX6" fmla="*/ 507596 w 1019660"/>
                <a:gd name="connsiteY6" fmla="*/ 301752 h 500373"/>
                <a:gd name="connsiteX7" fmla="*/ 589892 w 1019660"/>
                <a:gd name="connsiteY7" fmla="*/ 192024 h 500373"/>
                <a:gd name="connsiteX8" fmla="*/ 736196 w 1019660"/>
                <a:gd name="connsiteY8" fmla="*/ 155448 h 500373"/>
                <a:gd name="connsiteX9" fmla="*/ 781916 w 1019660"/>
                <a:gd name="connsiteY9" fmla="*/ 155448 h 500373"/>
                <a:gd name="connsiteX10" fmla="*/ 818492 w 1019660"/>
                <a:gd name="connsiteY10" fmla="*/ 137160 h 500373"/>
                <a:gd name="connsiteX11" fmla="*/ 772772 w 1019660"/>
                <a:gd name="connsiteY11" fmla="*/ 137160 h 500373"/>
                <a:gd name="connsiteX12" fmla="*/ 681332 w 1019660"/>
                <a:gd name="connsiteY12" fmla="*/ 137160 h 500373"/>
                <a:gd name="connsiteX13" fmla="*/ 626468 w 1019660"/>
                <a:gd name="connsiteY13" fmla="*/ 146304 h 500373"/>
                <a:gd name="connsiteX14" fmla="*/ 617324 w 1019660"/>
                <a:gd name="connsiteY14" fmla="*/ 155448 h 500373"/>
                <a:gd name="connsiteX15" fmla="*/ 599036 w 1019660"/>
                <a:gd name="connsiteY15" fmla="*/ 146304 h 500373"/>
                <a:gd name="connsiteX16" fmla="*/ 727052 w 1019660"/>
                <a:gd name="connsiteY16" fmla="*/ 91440 h 500373"/>
                <a:gd name="connsiteX17" fmla="*/ 781916 w 1019660"/>
                <a:gd name="connsiteY17" fmla="*/ 91440 h 500373"/>
                <a:gd name="connsiteX18" fmla="*/ 873356 w 1019660"/>
                <a:gd name="connsiteY18" fmla="*/ 82296 h 500373"/>
                <a:gd name="connsiteX19" fmla="*/ 1001372 w 1019660"/>
                <a:gd name="connsiteY19" fmla="*/ 27432 h 500373"/>
                <a:gd name="connsiteX20" fmla="*/ 983084 w 1019660"/>
                <a:gd name="connsiteY20" fmla="*/ 0 h 500373"/>
                <a:gd name="connsiteX21" fmla="*/ 946508 w 1019660"/>
                <a:gd name="connsiteY21" fmla="*/ 27432 h 500373"/>
                <a:gd name="connsiteX22" fmla="*/ 909932 w 1019660"/>
                <a:gd name="connsiteY22" fmla="*/ 36576 h 500373"/>
                <a:gd name="connsiteX23" fmla="*/ 836780 w 1019660"/>
                <a:gd name="connsiteY23" fmla="*/ 64008 h 500373"/>
                <a:gd name="connsiteX24" fmla="*/ 781916 w 1019660"/>
                <a:gd name="connsiteY24" fmla="*/ 64008 h 500373"/>
                <a:gd name="connsiteX25" fmla="*/ 672188 w 1019660"/>
                <a:gd name="connsiteY25" fmla="*/ 64008 h 500373"/>
                <a:gd name="connsiteX26" fmla="*/ 617324 w 1019660"/>
                <a:gd name="connsiteY26" fmla="*/ 100584 h 500373"/>
                <a:gd name="connsiteX27" fmla="*/ 580748 w 1019660"/>
                <a:gd name="connsiteY27" fmla="*/ 146304 h 500373"/>
                <a:gd name="connsiteX28" fmla="*/ 535028 w 1019660"/>
                <a:gd name="connsiteY28" fmla="*/ 182880 h 500373"/>
                <a:gd name="connsiteX29" fmla="*/ 489308 w 1019660"/>
                <a:gd name="connsiteY29" fmla="*/ 256032 h 500373"/>
                <a:gd name="connsiteX30" fmla="*/ 416156 w 1019660"/>
                <a:gd name="connsiteY30" fmla="*/ 301752 h 500373"/>
                <a:gd name="connsiteX31" fmla="*/ 315572 w 1019660"/>
                <a:gd name="connsiteY31" fmla="*/ 347472 h 500373"/>
                <a:gd name="connsiteX32" fmla="*/ 278996 w 1019660"/>
                <a:gd name="connsiteY32" fmla="*/ 374904 h 500373"/>
                <a:gd name="connsiteX33" fmla="*/ 233276 w 1019660"/>
                <a:gd name="connsiteY33" fmla="*/ 402336 h 500373"/>
                <a:gd name="connsiteX34" fmla="*/ 214988 w 1019660"/>
                <a:gd name="connsiteY34" fmla="*/ 402336 h 500373"/>
                <a:gd name="connsiteX35" fmla="*/ 233276 w 1019660"/>
                <a:gd name="connsiteY35" fmla="*/ 365760 h 500373"/>
                <a:gd name="connsiteX36" fmla="*/ 288140 w 1019660"/>
                <a:gd name="connsiteY36" fmla="*/ 301752 h 500373"/>
                <a:gd name="connsiteX37" fmla="*/ 379580 w 1019660"/>
                <a:gd name="connsiteY37" fmla="*/ 219456 h 500373"/>
                <a:gd name="connsiteX38" fmla="*/ 425300 w 1019660"/>
                <a:gd name="connsiteY38" fmla="*/ 146304 h 500373"/>
                <a:gd name="connsiteX39" fmla="*/ 425300 w 1019660"/>
                <a:gd name="connsiteY39" fmla="*/ 64008 h 500373"/>
                <a:gd name="connsiteX40" fmla="*/ 416156 w 1019660"/>
                <a:gd name="connsiteY40" fmla="*/ 54864 h 500373"/>
                <a:gd name="connsiteX41" fmla="*/ 407012 w 1019660"/>
                <a:gd name="connsiteY41" fmla="*/ 128016 h 500373"/>
                <a:gd name="connsiteX42" fmla="*/ 379580 w 1019660"/>
                <a:gd name="connsiteY42" fmla="*/ 173736 h 500373"/>
                <a:gd name="connsiteX43" fmla="*/ 306428 w 1019660"/>
                <a:gd name="connsiteY43" fmla="*/ 237744 h 500373"/>
                <a:gd name="connsiteX44" fmla="*/ 278996 w 1019660"/>
                <a:gd name="connsiteY44" fmla="*/ 256032 h 500373"/>
                <a:gd name="connsiteX45" fmla="*/ 205844 w 1019660"/>
                <a:gd name="connsiteY45" fmla="*/ 347472 h 500373"/>
                <a:gd name="connsiteX46" fmla="*/ 196700 w 1019660"/>
                <a:gd name="connsiteY46" fmla="*/ 374904 h 500373"/>
                <a:gd name="connsiteX47" fmla="*/ 187556 w 1019660"/>
                <a:gd name="connsiteY47" fmla="*/ 411480 h 500373"/>
                <a:gd name="connsiteX48" fmla="*/ 205844 w 1019660"/>
                <a:gd name="connsiteY48" fmla="*/ 429768 h 500373"/>
                <a:gd name="connsiteX49" fmla="*/ 160124 w 1019660"/>
                <a:gd name="connsiteY49" fmla="*/ 457200 h 500373"/>
                <a:gd name="connsiteX50" fmla="*/ 13820 w 1019660"/>
                <a:gd name="connsiteY50" fmla="*/ 493776 h 500373"/>
                <a:gd name="connsiteX51" fmla="*/ 77205 w 1019660"/>
                <a:gd name="connsiteY51" fmla="*/ 496784 h 500373"/>
                <a:gd name="connsiteX52" fmla="*/ 77205 w 1019660"/>
                <a:gd name="connsiteY52" fmla="*/ 496784 h 500373"/>
                <a:gd name="connsiteX53" fmla="*/ 77205 w 1019660"/>
                <a:gd name="connsiteY53" fmla="*/ 496784 h 500373"/>
                <a:gd name="connsiteX54" fmla="*/ 77205 w 1019660"/>
                <a:gd name="connsiteY54" fmla="*/ 496784 h 500373"/>
                <a:gd name="connsiteX55" fmla="*/ 77205 w 1019660"/>
                <a:gd name="connsiteY55" fmla="*/ 496784 h 500373"/>
                <a:gd name="connsiteX0" fmla="*/ 13820 w 956275"/>
                <a:gd name="connsiteY0" fmla="*/ 496784 h 503380"/>
                <a:gd name="connsiteX1" fmla="*/ 13820 w 956275"/>
                <a:gd name="connsiteY1" fmla="*/ 496784 h 503380"/>
                <a:gd name="connsiteX2" fmla="*/ 13820 w 956275"/>
                <a:gd name="connsiteY2" fmla="*/ 496784 h 503380"/>
                <a:gd name="connsiteX3" fmla="*/ 51019 w 956275"/>
                <a:gd name="connsiteY3" fmla="*/ 493776 h 503380"/>
                <a:gd name="connsiteX4" fmla="*/ 151603 w 956275"/>
                <a:gd name="connsiteY4" fmla="*/ 466344 h 503380"/>
                <a:gd name="connsiteX5" fmla="*/ 252187 w 956275"/>
                <a:gd name="connsiteY5" fmla="*/ 384048 h 503380"/>
                <a:gd name="connsiteX6" fmla="*/ 444211 w 956275"/>
                <a:gd name="connsiteY6" fmla="*/ 301752 h 503380"/>
                <a:gd name="connsiteX7" fmla="*/ 526507 w 956275"/>
                <a:gd name="connsiteY7" fmla="*/ 192024 h 503380"/>
                <a:gd name="connsiteX8" fmla="*/ 672811 w 956275"/>
                <a:gd name="connsiteY8" fmla="*/ 155448 h 503380"/>
                <a:gd name="connsiteX9" fmla="*/ 718531 w 956275"/>
                <a:gd name="connsiteY9" fmla="*/ 155448 h 503380"/>
                <a:gd name="connsiteX10" fmla="*/ 755107 w 956275"/>
                <a:gd name="connsiteY10" fmla="*/ 137160 h 503380"/>
                <a:gd name="connsiteX11" fmla="*/ 709387 w 956275"/>
                <a:gd name="connsiteY11" fmla="*/ 137160 h 503380"/>
                <a:gd name="connsiteX12" fmla="*/ 617947 w 956275"/>
                <a:gd name="connsiteY12" fmla="*/ 137160 h 503380"/>
                <a:gd name="connsiteX13" fmla="*/ 563083 w 956275"/>
                <a:gd name="connsiteY13" fmla="*/ 146304 h 503380"/>
                <a:gd name="connsiteX14" fmla="*/ 553939 w 956275"/>
                <a:gd name="connsiteY14" fmla="*/ 155448 h 503380"/>
                <a:gd name="connsiteX15" fmla="*/ 535651 w 956275"/>
                <a:gd name="connsiteY15" fmla="*/ 146304 h 503380"/>
                <a:gd name="connsiteX16" fmla="*/ 663667 w 956275"/>
                <a:gd name="connsiteY16" fmla="*/ 91440 h 503380"/>
                <a:gd name="connsiteX17" fmla="*/ 718531 w 956275"/>
                <a:gd name="connsiteY17" fmla="*/ 91440 h 503380"/>
                <a:gd name="connsiteX18" fmla="*/ 809971 w 956275"/>
                <a:gd name="connsiteY18" fmla="*/ 82296 h 503380"/>
                <a:gd name="connsiteX19" fmla="*/ 937987 w 956275"/>
                <a:gd name="connsiteY19" fmla="*/ 27432 h 503380"/>
                <a:gd name="connsiteX20" fmla="*/ 919699 w 956275"/>
                <a:gd name="connsiteY20" fmla="*/ 0 h 503380"/>
                <a:gd name="connsiteX21" fmla="*/ 883123 w 956275"/>
                <a:gd name="connsiteY21" fmla="*/ 27432 h 503380"/>
                <a:gd name="connsiteX22" fmla="*/ 846547 w 956275"/>
                <a:gd name="connsiteY22" fmla="*/ 36576 h 503380"/>
                <a:gd name="connsiteX23" fmla="*/ 773395 w 956275"/>
                <a:gd name="connsiteY23" fmla="*/ 64008 h 503380"/>
                <a:gd name="connsiteX24" fmla="*/ 718531 w 956275"/>
                <a:gd name="connsiteY24" fmla="*/ 64008 h 503380"/>
                <a:gd name="connsiteX25" fmla="*/ 608803 w 956275"/>
                <a:gd name="connsiteY25" fmla="*/ 64008 h 503380"/>
                <a:gd name="connsiteX26" fmla="*/ 553939 w 956275"/>
                <a:gd name="connsiteY26" fmla="*/ 100584 h 503380"/>
                <a:gd name="connsiteX27" fmla="*/ 517363 w 956275"/>
                <a:gd name="connsiteY27" fmla="*/ 146304 h 503380"/>
                <a:gd name="connsiteX28" fmla="*/ 471643 w 956275"/>
                <a:gd name="connsiteY28" fmla="*/ 182880 h 503380"/>
                <a:gd name="connsiteX29" fmla="*/ 425923 w 956275"/>
                <a:gd name="connsiteY29" fmla="*/ 256032 h 503380"/>
                <a:gd name="connsiteX30" fmla="*/ 352771 w 956275"/>
                <a:gd name="connsiteY30" fmla="*/ 301752 h 503380"/>
                <a:gd name="connsiteX31" fmla="*/ 252187 w 956275"/>
                <a:gd name="connsiteY31" fmla="*/ 347472 h 503380"/>
                <a:gd name="connsiteX32" fmla="*/ 215611 w 956275"/>
                <a:gd name="connsiteY32" fmla="*/ 374904 h 503380"/>
                <a:gd name="connsiteX33" fmla="*/ 169891 w 956275"/>
                <a:gd name="connsiteY33" fmla="*/ 402336 h 503380"/>
                <a:gd name="connsiteX34" fmla="*/ 151603 w 956275"/>
                <a:gd name="connsiteY34" fmla="*/ 402336 h 503380"/>
                <a:gd name="connsiteX35" fmla="*/ 169891 w 956275"/>
                <a:gd name="connsiteY35" fmla="*/ 365760 h 503380"/>
                <a:gd name="connsiteX36" fmla="*/ 224755 w 956275"/>
                <a:gd name="connsiteY36" fmla="*/ 301752 h 503380"/>
                <a:gd name="connsiteX37" fmla="*/ 316195 w 956275"/>
                <a:gd name="connsiteY37" fmla="*/ 219456 h 503380"/>
                <a:gd name="connsiteX38" fmla="*/ 361915 w 956275"/>
                <a:gd name="connsiteY38" fmla="*/ 146304 h 503380"/>
                <a:gd name="connsiteX39" fmla="*/ 361915 w 956275"/>
                <a:gd name="connsiteY39" fmla="*/ 64008 h 503380"/>
                <a:gd name="connsiteX40" fmla="*/ 352771 w 956275"/>
                <a:gd name="connsiteY40" fmla="*/ 54864 h 503380"/>
                <a:gd name="connsiteX41" fmla="*/ 343627 w 956275"/>
                <a:gd name="connsiteY41" fmla="*/ 128016 h 503380"/>
                <a:gd name="connsiteX42" fmla="*/ 316195 w 956275"/>
                <a:gd name="connsiteY42" fmla="*/ 173736 h 503380"/>
                <a:gd name="connsiteX43" fmla="*/ 243043 w 956275"/>
                <a:gd name="connsiteY43" fmla="*/ 237744 h 503380"/>
                <a:gd name="connsiteX44" fmla="*/ 215611 w 956275"/>
                <a:gd name="connsiteY44" fmla="*/ 256032 h 503380"/>
                <a:gd name="connsiteX45" fmla="*/ 142459 w 956275"/>
                <a:gd name="connsiteY45" fmla="*/ 347472 h 503380"/>
                <a:gd name="connsiteX46" fmla="*/ 133315 w 956275"/>
                <a:gd name="connsiteY46" fmla="*/ 374904 h 503380"/>
                <a:gd name="connsiteX47" fmla="*/ 124171 w 956275"/>
                <a:gd name="connsiteY47" fmla="*/ 411480 h 503380"/>
                <a:gd name="connsiteX48" fmla="*/ 142459 w 956275"/>
                <a:gd name="connsiteY48" fmla="*/ 429768 h 503380"/>
                <a:gd name="connsiteX49" fmla="*/ 96739 w 956275"/>
                <a:gd name="connsiteY49" fmla="*/ 457200 h 503380"/>
                <a:gd name="connsiteX50" fmla="*/ 13820 w 956275"/>
                <a:gd name="connsiteY50" fmla="*/ 496783 h 503380"/>
                <a:gd name="connsiteX51" fmla="*/ 13820 w 956275"/>
                <a:gd name="connsiteY51" fmla="*/ 496784 h 503380"/>
                <a:gd name="connsiteX52" fmla="*/ 13820 w 956275"/>
                <a:gd name="connsiteY52" fmla="*/ 496784 h 503380"/>
                <a:gd name="connsiteX53" fmla="*/ 13820 w 956275"/>
                <a:gd name="connsiteY53" fmla="*/ 496784 h 503380"/>
                <a:gd name="connsiteX54" fmla="*/ 13820 w 956275"/>
                <a:gd name="connsiteY54" fmla="*/ 496784 h 503380"/>
                <a:gd name="connsiteX55" fmla="*/ 13820 w 956275"/>
                <a:gd name="connsiteY55" fmla="*/ 496784 h 503380"/>
                <a:gd name="connsiteX0" fmla="*/ 40672 w 956275"/>
                <a:gd name="connsiteY0" fmla="*/ 486851 h 503380"/>
                <a:gd name="connsiteX1" fmla="*/ 13820 w 956275"/>
                <a:gd name="connsiteY1" fmla="*/ 496784 h 503380"/>
                <a:gd name="connsiteX2" fmla="*/ 13820 w 956275"/>
                <a:gd name="connsiteY2" fmla="*/ 496784 h 503380"/>
                <a:gd name="connsiteX3" fmla="*/ 51019 w 956275"/>
                <a:gd name="connsiteY3" fmla="*/ 493776 h 503380"/>
                <a:gd name="connsiteX4" fmla="*/ 151603 w 956275"/>
                <a:gd name="connsiteY4" fmla="*/ 466344 h 503380"/>
                <a:gd name="connsiteX5" fmla="*/ 252187 w 956275"/>
                <a:gd name="connsiteY5" fmla="*/ 384048 h 503380"/>
                <a:gd name="connsiteX6" fmla="*/ 444211 w 956275"/>
                <a:gd name="connsiteY6" fmla="*/ 301752 h 503380"/>
                <a:gd name="connsiteX7" fmla="*/ 526507 w 956275"/>
                <a:gd name="connsiteY7" fmla="*/ 192024 h 503380"/>
                <a:gd name="connsiteX8" fmla="*/ 672811 w 956275"/>
                <a:gd name="connsiteY8" fmla="*/ 155448 h 503380"/>
                <a:gd name="connsiteX9" fmla="*/ 718531 w 956275"/>
                <a:gd name="connsiteY9" fmla="*/ 155448 h 503380"/>
                <a:gd name="connsiteX10" fmla="*/ 755107 w 956275"/>
                <a:gd name="connsiteY10" fmla="*/ 137160 h 503380"/>
                <a:gd name="connsiteX11" fmla="*/ 709387 w 956275"/>
                <a:gd name="connsiteY11" fmla="*/ 137160 h 503380"/>
                <a:gd name="connsiteX12" fmla="*/ 617947 w 956275"/>
                <a:gd name="connsiteY12" fmla="*/ 137160 h 503380"/>
                <a:gd name="connsiteX13" fmla="*/ 563083 w 956275"/>
                <a:gd name="connsiteY13" fmla="*/ 146304 h 503380"/>
                <a:gd name="connsiteX14" fmla="*/ 553939 w 956275"/>
                <a:gd name="connsiteY14" fmla="*/ 155448 h 503380"/>
                <a:gd name="connsiteX15" fmla="*/ 535651 w 956275"/>
                <a:gd name="connsiteY15" fmla="*/ 146304 h 503380"/>
                <a:gd name="connsiteX16" fmla="*/ 663667 w 956275"/>
                <a:gd name="connsiteY16" fmla="*/ 91440 h 503380"/>
                <a:gd name="connsiteX17" fmla="*/ 718531 w 956275"/>
                <a:gd name="connsiteY17" fmla="*/ 91440 h 503380"/>
                <a:gd name="connsiteX18" fmla="*/ 809971 w 956275"/>
                <a:gd name="connsiteY18" fmla="*/ 82296 h 503380"/>
                <a:gd name="connsiteX19" fmla="*/ 937987 w 956275"/>
                <a:gd name="connsiteY19" fmla="*/ 27432 h 503380"/>
                <a:gd name="connsiteX20" fmla="*/ 919699 w 956275"/>
                <a:gd name="connsiteY20" fmla="*/ 0 h 503380"/>
                <a:gd name="connsiteX21" fmla="*/ 883123 w 956275"/>
                <a:gd name="connsiteY21" fmla="*/ 27432 h 503380"/>
                <a:gd name="connsiteX22" fmla="*/ 846547 w 956275"/>
                <a:gd name="connsiteY22" fmla="*/ 36576 h 503380"/>
                <a:gd name="connsiteX23" fmla="*/ 773395 w 956275"/>
                <a:gd name="connsiteY23" fmla="*/ 64008 h 503380"/>
                <a:gd name="connsiteX24" fmla="*/ 718531 w 956275"/>
                <a:gd name="connsiteY24" fmla="*/ 64008 h 503380"/>
                <a:gd name="connsiteX25" fmla="*/ 608803 w 956275"/>
                <a:gd name="connsiteY25" fmla="*/ 64008 h 503380"/>
                <a:gd name="connsiteX26" fmla="*/ 553939 w 956275"/>
                <a:gd name="connsiteY26" fmla="*/ 100584 h 503380"/>
                <a:gd name="connsiteX27" fmla="*/ 517363 w 956275"/>
                <a:gd name="connsiteY27" fmla="*/ 146304 h 503380"/>
                <a:gd name="connsiteX28" fmla="*/ 471643 w 956275"/>
                <a:gd name="connsiteY28" fmla="*/ 182880 h 503380"/>
                <a:gd name="connsiteX29" fmla="*/ 425923 w 956275"/>
                <a:gd name="connsiteY29" fmla="*/ 256032 h 503380"/>
                <a:gd name="connsiteX30" fmla="*/ 352771 w 956275"/>
                <a:gd name="connsiteY30" fmla="*/ 301752 h 503380"/>
                <a:gd name="connsiteX31" fmla="*/ 252187 w 956275"/>
                <a:gd name="connsiteY31" fmla="*/ 347472 h 503380"/>
                <a:gd name="connsiteX32" fmla="*/ 215611 w 956275"/>
                <a:gd name="connsiteY32" fmla="*/ 374904 h 503380"/>
                <a:gd name="connsiteX33" fmla="*/ 169891 w 956275"/>
                <a:gd name="connsiteY33" fmla="*/ 402336 h 503380"/>
                <a:gd name="connsiteX34" fmla="*/ 151603 w 956275"/>
                <a:gd name="connsiteY34" fmla="*/ 402336 h 503380"/>
                <a:gd name="connsiteX35" fmla="*/ 169891 w 956275"/>
                <a:gd name="connsiteY35" fmla="*/ 365760 h 503380"/>
                <a:gd name="connsiteX36" fmla="*/ 224755 w 956275"/>
                <a:gd name="connsiteY36" fmla="*/ 301752 h 503380"/>
                <a:gd name="connsiteX37" fmla="*/ 316195 w 956275"/>
                <a:gd name="connsiteY37" fmla="*/ 219456 h 503380"/>
                <a:gd name="connsiteX38" fmla="*/ 361915 w 956275"/>
                <a:gd name="connsiteY38" fmla="*/ 146304 h 503380"/>
                <a:gd name="connsiteX39" fmla="*/ 361915 w 956275"/>
                <a:gd name="connsiteY39" fmla="*/ 64008 h 503380"/>
                <a:gd name="connsiteX40" fmla="*/ 352771 w 956275"/>
                <a:gd name="connsiteY40" fmla="*/ 54864 h 503380"/>
                <a:gd name="connsiteX41" fmla="*/ 343627 w 956275"/>
                <a:gd name="connsiteY41" fmla="*/ 128016 h 503380"/>
                <a:gd name="connsiteX42" fmla="*/ 316195 w 956275"/>
                <a:gd name="connsiteY42" fmla="*/ 173736 h 503380"/>
                <a:gd name="connsiteX43" fmla="*/ 243043 w 956275"/>
                <a:gd name="connsiteY43" fmla="*/ 237744 h 503380"/>
                <a:gd name="connsiteX44" fmla="*/ 215611 w 956275"/>
                <a:gd name="connsiteY44" fmla="*/ 256032 h 503380"/>
                <a:gd name="connsiteX45" fmla="*/ 142459 w 956275"/>
                <a:gd name="connsiteY45" fmla="*/ 347472 h 503380"/>
                <a:gd name="connsiteX46" fmla="*/ 133315 w 956275"/>
                <a:gd name="connsiteY46" fmla="*/ 374904 h 503380"/>
                <a:gd name="connsiteX47" fmla="*/ 124171 w 956275"/>
                <a:gd name="connsiteY47" fmla="*/ 411480 h 503380"/>
                <a:gd name="connsiteX48" fmla="*/ 142459 w 956275"/>
                <a:gd name="connsiteY48" fmla="*/ 429768 h 503380"/>
                <a:gd name="connsiteX49" fmla="*/ 96739 w 956275"/>
                <a:gd name="connsiteY49" fmla="*/ 457200 h 503380"/>
                <a:gd name="connsiteX50" fmla="*/ 13820 w 956275"/>
                <a:gd name="connsiteY50" fmla="*/ 496783 h 503380"/>
                <a:gd name="connsiteX51" fmla="*/ 13820 w 956275"/>
                <a:gd name="connsiteY51" fmla="*/ 496784 h 503380"/>
                <a:gd name="connsiteX52" fmla="*/ 13820 w 956275"/>
                <a:gd name="connsiteY52" fmla="*/ 496784 h 503380"/>
                <a:gd name="connsiteX53" fmla="*/ 13820 w 956275"/>
                <a:gd name="connsiteY53" fmla="*/ 496784 h 503380"/>
                <a:gd name="connsiteX54" fmla="*/ 13820 w 956275"/>
                <a:gd name="connsiteY54" fmla="*/ 496784 h 503380"/>
                <a:gd name="connsiteX55" fmla="*/ 40672 w 956275"/>
                <a:gd name="connsiteY55" fmla="*/ 486851 h 503380"/>
                <a:gd name="connsiteX0" fmla="*/ 40672 w 956275"/>
                <a:gd name="connsiteY0" fmla="*/ 486851 h 503380"/>
                <a:gd name="connsiteX1" fmla="*/ 13820 w 956275"/>
                <a:gd name="connsiteY1" fmla="*/ 496784 h 503380"/>
                <a:gd name="connsiteX2" fmla="*/ 13820 w 956275"/>
                <a:gd name="connsiteY2" fmla="*/ 496784 h 503380"/>
                <a:gd name="connsiteX3" fmla="*/ 51019 w 956275"/>
                <a:gd name="connsiteY3" fmla="*/ 493776 h 503380"/>
                <a:gd name="connsiteX4" fmla="*/ 151603 w 956275"/>
                <a:gd name="connsiteY4" fmla="*/ 466344 h 503380"/>
                <a:gd name="connsiteX5" fmla="*/ 252187 w 956275"/>
                <a:gd name="connsiteY5" fmla="*/ 384048 h 503380"/>
                <a:gd name="connsiteX6" fmla="*/ 444211 w 956275"/>
                <a:gd name="connsiteY6" fmla="*/ 301752 h 503380"/>
                <a:gd name="connsiteX7" fmla="*/ 526507 w 956275"/>
                <a:gd name="connsiteY7" fmla="*/ 192024 h 503380"/>
                <a:gd name="connsiteX8" fmla="*/ 672811 w 956275"/>
                <a:gd name="connsiteY8" fmla="*/ 155448 h 503380"/>
                <a:gd name="connsiteX9" fmla="*/ 718531 w 956275"/>
                <a:gd name="connsiteY9" fmla="*/ 155448 h 503380"/>
                <a:gd name="connsiteX10" fmla="*/ 755107 w 956275"/>
                <a:gd name="connsiteY10" fmla="*/ 137160 h 503380"/>
                <a:gd name="connsiteX11" fmla="*/ 709387 w 956275"/>
                <a:gd name="connsiteY11" fmla="*/ 137160 h 503380"/>
                <a:gd name="connsiteX12" fmla="*/ 617947 w 956275"/>
                <a:gd name="connsiteY12" fmla="*/ 137160 h 503380"/>
                <a:gd name="connsiteX13" fmla="*/ 563083 w 956275"/>
                <a:gd name="connsiteY13" fmla="*/ 146304 h 503380"/>
                <a:gd name="connsiteX14" fmla="*/ 553939 w 956275"/>
                <a:gd name="connsiteY14" fmla="*/ 155448 h 503380"/>
                <a:gd name="connsiteX15" fmla="*/ 535651 w 956275"/>
                <a:gd name="connsiteY15" fmla="*/ 146304 h 503380"/>
                <a:gd name="connsiteX16" fmla="*/ 663667 w 956275"/>
                <a:gd name="connsiteY16" fmla="*/ 91440 h 503380"/>
                <a:gd name="connsiteX17" fmla="*/ 718531 w 956275"/>
                <a:gd name="connsiteY17" fmla="*/ 91440 h 503380"/>
                <a:gd name="connsiteX18" fmla="*/ 809971 w 956275"/>
                <a:gd name="connsiteY18" fmla="*/ 82296 h 503380"/>
                <a:gd name="connsiteX19" fmla="*/ 937987 w 956275"/>
                <a:gd name="connsiteY19" fmla="*/ 27432 h 503380"/>
                <a:gd name="connsiteX20" fmla="*/ 919699 w 956275"/>
                <a:gd name="connsiteY20" fmla="*/ 0 h 503380"/>
                <a:gd name="connsiteX21" fmla="*/ 883123 w 956275"/>
                <a:gd name="connsiteY21" fmla="*/ 27432 h 503380"/>
                <a:gd name="connsiteX22" fmla="*/ 846547 w 956275"/>
                <a:gd name="connsiteY22" fmla="*/ 36576 h 503380"/>
                <a:gd name="connsiteX23" fmla="*/ 773395 w 956275"/>
                <a:gd name="connsiteY23" fmla="*/ 64008 h 503380"/>
                <a:gd name="connsiteX24" fmla="*/ 718531 w 956275"/>
                <a:gd name="connsiteY24" fmla="*/ 64008 h 503380"/>
                <a:gd name="connsiteX25" fmla="*/ 608803 w 956275"/>
                <a:gd name="connsiteY25" fmla="*/ 64008 h 503380"/>
                <a:gd name="connsiteX26" fmla="*/ 553939 w 956275"/>
                <a:gd name="connsiteY26" fmla="*/ 100584 h 503380"/>
                <a:gd name="connsiteX27" fmla="*/ 517363 w 956275"/>
                <a:gd name="connsiteY27" fmla="*/ 146304 h 503380"/>
                <a:gd name="connsiteX28" fmla="*/ 471643 w 956275"/>
                <a:gd name="connsiteY28" fmla="*/ 182880 h 503380"/>
                <a:gd name="connsiteX29" fmla="*/ 425923 w 956275"/>
                <a:gd name="connsiteY29" fmla="*/ 256032 h 503380"/>
                <a:gd name="connsiteX30" fmla="*/ 352771 w 956275"/>
                <a:gd name="connsiteY30" fmla="*/ 301752 h 503380"/>
                <a:gd name="connsiteX31" fmla="*/ 252187 w 956275"/>
                <a:gd name="connsiteY31" fmla="*/ 347472 h 503380"/>
                <a:gd name="connsiteX32" fmla="*/ 215611 w 956275"/>
                <a:gd name="connsiteY32" fmla="*/ 374904 h 503380"/>
                <a:gd name="connsiteX33" fmla="*/ 169891 w 956275"/>
                <a:gd name="connsiteY33" fmla="*/ 402336 h 503380"/>
                <a:gd name="connsiteX34" fmla="*/ 151603 w 956275"/>
                <a:gd name="connsiteY34" fmla="*/ 402336 h 503380"/>
                <a:gd name="connsiteX35" fmla="*/ 169891 w 956275"/>
                <a:gd name="connsiteY35" fmla="*/ 365760 h 503380"/>
                <a:gd name="connsiteX36" fmla="*/ 224755 w 956275"/>
                <a:gd name="connsiteY36" fmla="*/ 301752 h 503380"/>
                <a:gd name="connsiteX37" fmla="*/ 316195 w 956275"/>
                <a:gd name="connsiteY37" fmla="*/ 219456 h 503380"/>
                <a:gd name="connsiteX38" fmla="*/ 361915 w 956275"/>
                <a:gd name="connsiteY38" fmla="*/ 146304 h 503380"/>
                <a:gd name="connsiteX39" fmla="*/ 361915 w 956275"/>
                <a:gd name="connsiteY39" fmla="*/ 64008 h 503380"/>
                <a:gd name="connsiteX40" fmla="*/ 352771 w 956275"/>
                <a:gd name="connsiteY40" fmla="*/ 54864 h 503380"/>
                <a:gd name="connsiteX41" fmla="*/ 343627 w 956275"/>
                <a:gd name="connsiteY41" fmla="*/ 128016 h 503380"/>
                <a:gd name="connsiteX42" fmla="*/ 316195 w 956275"/>
                <a:gd name="connsiteY42" fmla="*/ 173736 h 503380"/>
                <a:gd name="connsiteX43" fmla="*/ 243043 w 956275"/>
                <a:gd name="connsiteY43" fmla="*/ 237744 h 503380"/>
                <a:gd name="connsiteX44" fmla="*/ 215611 w 956275"/>
                <a:gd name="connsiteY44" fmla="*/ 256032 h 503380"/>
                <a:gd name="connsiteX45" fmla="*/ 142459 w 956275"/>
                <a:gd name="connsiteY45" fmla="*/ 347472 h 503380"/>
                <a:gd name="connsiteX46" fmla="*/ 133315 w 956275"/>
                <a:gd name="connsiteY46" fmla="*/ 374904 h 503380"/>
                <a:gd name="connsiteX47" fmla="*/ 124171 w 956275"/>
                <a:gd name="connsiteY47" fmla="*/ 411480 h 503380"/>
                <a:gd name="connsiteX48" fmla="*/ 142459 w 956275"/>
                <a:gd name="connsiteY48" fmla="*/ 429768 h 503380"/>
                <a:gd name="connsiteX49" fmla="*/ 96739 w 956275"/>
                <a:gd name="connsiteY49" fmla="*/ 457200 h 503380"/>
                <a:gd name="connsiteX50" fmla="*/ 13820 w 956275"/>
                <a:gd name="connsiteY50" fmla="*/ 496783 h 503380"/>
                <a:gd name="connsiteX51" fmla="*/ 13820 w 956275"/>
                <a:gd name="connsiteY51" fmla="*/ 496784 h 503380"/>
                <a:gd name="connsiteX52" fmla="*/ 13820 w 956275"/>
                <a:gd name="connsiteY52" fmla="*/ 496784 h 503380"/>
                <a:gd name="connsiteX53" fmla="*/ 13820 w 956275"/>
                <a:gd name="connsiteY53" fmla="*/ 496784 h 503380"/>
                <a:gd name="connsiteX54" fmla="*/ 13820 w 956275"/>
                <a:gd name="connsiteY54" fmla="*/ 496784 h 503380"/>
                <a:gd name="connsiteX55" fmla="*/ 40672 w 956275"/>
                <a:gd name="connsiteY55" fmla="*/ 486851 h 503380"/>
                <a:gd name="connsiteX0" fmla="*/ 114797 w 956275"/>
                <a:gd name="connsiteY0" fmla="*/ 504512 h 504512"/>
                <a:gd name="connsiteX1" fmla="*/ 13820 w 956275"/>
                <a:gd name="connsiteY1" fmla="*/ 496784 h 504512"/>
                <a:gd name="connsiteX2" fmla="*/ 13820 w 956275"/>
                <a:gd name="connsiteY2" fmla="*/ 496784 h 504512"/>
                <a:gd name="connsiteX3" fmla="*/ 51019 w 956275"/>
                <a:gd name="connsiteY3" fmla="*/ 493776 h 504512"/>
                <a:gd name="connsiteX4" fmla="*/ 151603 w 956275"/>
                <a:gd name="connsiteY4" fmla="*/ 466344 h 504512"/>
                <a:gd name="connsiteX5" fmla="*/ 252187 w 956275"/>
                <a:gd name="connsiteY5" fmla="*/ 384048 h 504512"/>
                <a:gd name="connsiteX6" fmla="*/ 444211 w 956275"/>
                <a:gd name="connsiteY6" fmla="*/ 301752 h 504512"/>
                <a:gd name="connsiteX7" fmla="*/ 526507 w 956275"/>
                <a:gd name="connsiteY7" fmla="*/ 192024 h 504512"/>
                <a:gd name="connsiteX8" fmla="*/ 672811 w 956275"/>
                <a:gd name="connsiteY8" fmla="*/ 155448 h 504512"/>
                <a:gd name="connsiteX9" fmla="*/ 718531 w 956275"/>
                <a:gd name="connsiteY9" fmla="*/ 155448 h 504512"/>
                <a:gd name="connsiteX10" fmla="*/ 755107 w 956275"/>
                <a:gd name="connsiteY10" fmla="*/ 137160 h 504512"/>
                <a:gd name="connsiteX11" fmla="*/ 709387 w 956275"/>
                <a:gd name="connsiteY11" fmla="*/ 137160 h 504512"/>
                <a:gd name="connsiteX12" fmla="*/ 617947 w 956275"/>
                <a:gd name="connsiteY12" fmla="*/ 137160 h 504512"/>
                <a:gd name="connsiteX13" fmla="*/ 563083 w 956275"/>
                <a:gd name="connsiteY13" fmla="*/ 146304 h 504512"/>
                <a:gd name="connsiteX14" fmla="*/ 553939 w 956275"/>
                <a:gd name="connsiteY14" fmla="*/ 155448 h 504512"/>
                <a:gd name="connsiteX15" fmla="*/ 535651 w 956275"/>
                <a:gd name="connsiteY15" fmla="*/ 146304 h 504512"/>
                <a:gd name="connsiteX16" fmla="*/ 663667 w 956275"/>
                <a:gd name="connsiteY16" fmla="*/ 91440 h 504512"/>
                <a:gd name="connsiteX17" fmla="*/ 718531 w 956275"/>
                <a:gd name="connsiteY17" fmla="*/ 91440 h 504512"/>
                <a:gd name="connsiteX18" fmla="*/ 809971 w 956275"/>
                <a:gd name="connsiteY18" fmla="*/ 82296 h 504512"/>
                <a:gd name="connsiteX19" fmla="*/ 937987 w 956275"/>
                <a:gd name="connsiteY19" fmla="*/ 27432 h 504512"/>
                <a:gd name="connsiteX20" fmla="*/ 919699 w 956275"/>
                <a:gd name="connsiteY20" fmla="*/ 0 h 504512"/>
                <a:gd name="connsiteX21" fmla="*/ 883123 w 956275"/>
                <a:gd name="connsiteY21" fmla="*/ 27432 h 504512"/>
                <a:gd name="connsiteX22" fmla="*/ 846547 w 956275"/>
                <a:gd name="connsiteY22" fmla="*/ 36576 h 504512"/>
                <a:gd name="connsiteX23" fmla="*/ 773395 w 956275"/>
                <a:gd name="connsiteY23" fmla="*/ 64008 h 504512"/>
                <a:gd name="connsiteX24" fmla="*/ 718531 w 956275"/>
                <a:gd name="connsiteY24" fmla="*/ 64008 h 504512"/>
                <a:gd name="connsiteX25" fmla="*/ 608803 w 956275"/>
                <a:gd name="connsiteY25" fmla="*/ 64008 h 504512"/>
                <a:gd name="connsiteX26" fmla="*/ 553939 w 956275"/>
                <a:gd name="connsiteY26" fmla="*/ 100584 h 504512"/>
                <a:gd name="connsiteX27" fmla="*/ 517363 w 956275"/>
                <a:gd name="connsiteY27" fmla="*/ 146304 h 504512"/>
                <a:gd name="connsiteX28" fmla="*/ 471643 w 956275"/>
                <a:gd name="connsiteY28" fmla="*/ 182880 h 504512"/>
                <a:gd name="connsiteX29" fmla="*/ 425923 w 956275"/>
                <a:gd name="connsiteY29" fmla="*/ 256032 h 504512"/>
                <a:gd name="connsiteX30" fmla="*/ 352771 w 956275"/>
                <a:gd name="connsiteY30" fmla="*/ 301752 h 504512"/>
                <a:gd name="connsiteX31" fmla="*/ 252187 w 956275"/>
                <a:gd name="connsiteY31" fmla="*/ 347472 h 504512"/>
                <a:gd name="connsiteX32" fmla="*/ 215611 w 956275"/>
                <a:gd name="connsiteY32" fmla="*/ 374904 h 504512"/>
                <a:gd name="connsiteX33" fmla="*/ 169891 w 956275"/>
                <a:gd name="connsiteY33" fmla="*/ 402336 h 504512"/>
                <a:gd name="connsiteX34" fmla="*/ 151603 w 956275"/>
                <a:gd name="connsiteY34" fmla="*/ 402336 h 504512"/>
                <a:gd name="connsiteX35" fmla="*/ 169891 w 956275"/>
                <a:gd name="connsiteY35" fmla="*/ 365760 h 504512"/>
                <a:gd name="connsiteX36" fmla="*/ 224755 w 956275"/>
                <a:gd name="connsiteY36" fmla="*/ 301752 h 504512"/>
                <a:gd name="connsiteX37" fmla="*/ 316195 w 956275"/>
                <a:gd name="connsiteY37" fmla="*/ 219456 h 504512"/>
                <a:gd name="connsiteX38" fmla="*/ 361915 w 956275"/>
                <a:gd name="connsiteY38" fmla="*/ 146304 h 504512"/>
                <a:gd name="connsiteX39" fmla="*/ 361915 w 956275"/>
                <a:gd name="connsiteY39" fmla="*/ 64008 h 504512"/>
                <a:gd name="connsiteX40" fmla="*/ 352771 w 956275"/>
                <a:gd name="connsiteY40" fmla="*/ 54864 h 504512"/>
                <a:gd name="connsiteX41" fmla="*/ 343627 w 956275"/>
                <a:gd name="connsiteY41" fmla="*/ 128016 h 504512"/>
                <a:gd name="connsiteX42" fmla="*/ 316195 w 956275"/>
                <a:gd name="connsiteY42" fmla="*/ 173736 h 504512"/>
                <a:gd name="connsiteX43" fmla="*/ 243043 w 956275"/>
                <a:gd name="connsiteY43" fmla="*/ 237744 h 504512"/>
                <a:gd name="connsiteX44" fmla="*/ 215611 w 956275"/>
                <a:gd name="connsiteY44" fmla="*/ 256032 h 504512"/>
                <a:gd name="connsiteX45" fmla="*/ 142459 w 956275"/>
                <a:gd name="connsiteY45" fmla="*/ 347472 h 504512"/>
                <a:gd name="connsiteX46" fmla="*/ 133315 w 956275"/>
                <a:gd name="connsiteY46" fmla="*/ 374904 h 504512"/>
                <a:gd name="connsiteX47" fmla="*/ 124171 w 956275"/>
                <a:gd name="connsiteY47" fmla="*/ 411480 h 504512"/>
                <a:gd name="connsiteX48" fmla="*/ 142459 w 956275"/>
                <a:gd name="connsiteY48" fmla="*/ 429768 h 504512"/>
                <a:gd name="connsiteX49" fmla="*/ 96739 w 956275"/>
                <a:gd name="connsiteY49" fmla="*/ 457200 h 504512"/>
                <a:gd name="connsiteX50" fmla="*/ 13820 w 956275"/>
                <a:gd name="connsiteY50" fmla="*/ 496783 h 504512"/>
                <a:gd name="connsiteX51" fmla="*/ 13820 w 956275"/>
                <a:gd name="connsiteY51" fmla="*/ 496784 h 504512"/>
                <a:gd name="connsiteX52" fmla="*/ 13820 w 956275"/>
                <a:gd name="connsiteY52" fmla="*/ 496784 h 504512"/>
                <a:gd name="connsiteX53" fmla="*/ 13820 w 956275"/>
                <a:gd name="connsiteY53" fmla="*/ 496784 h 504512"/>
                <a:gd name="connsiteX54" fmla="*/ 13820 w 956275"/>
                <a:gd name="connsiteY54" fmla="*/ 496784 h 504512"/>
                <a:gd name="connsiteX55" fmla="*/ 114797 w 956275"/>
                <a:gd name="connsiteY55" fmla="*/ 504512 h 504512"/>
                <a:gd name="connsiteX0" fmla="*/ 114797 w 956275"/>
                <a:gd name="connsiteY0" fmla="*/ 504512 h 505800"/>
                <a:gd name="connsiteX1" fmla="*/ 13820 w 956275"/>
                <a:gd name="connsiteY1" fmla="*/ 496784 h 505800"/>
                <a:gd name="connsiteX2" fmla="*/ 13820 w 956275"/>
                <a:gd name="connsiteY2" fmla="*/ 496784 h 505800"/>
                <a:gd name="connsiteX3" fmla="*/ 51019 w 956275"/>
                <a:gd name="connsiteY3" fmla="*/ 493776 h 505800"/>
                <a:gd name="connsiteX4" fmla="*/ 151603 w 956275"/>
                <a:gd name="connsiteY4" fmla="*/ 466344 h 505800"/>
                <a:gd name="connsiteX5" fmla="*/ 252187 w 956275"/>
                <a:gd name="connsiteY5" fmla="*/ 384048 h 505800"/>
                <a:gd name="connsiteX6" fmla="*/ 444211 w 956275"/>
                <a:gd name="connsiteY6" fmla="*/ 301752 h 505800"/>
                <a:gd name="connsiteX7" fmla="*/ 526507 w 956275"/>
                <a:gd name="connsiteY7" fmla="*/ 192024 h 505800"/>
                <a:gd name="connsiteX8" fmla="*/ 672811 w 956275"/>
                <a:gd name="connsiteY8" fmla="*/ 155448 h 505800"/>
                <a:gd name="connsiteX9" fmla="*/ 718531 w 956275"/>
                <a:gd name="connsiteY9" fmla="*/ 155448 h 505800"/>
                <a:gd name="connsiteX10" fmla="*/ 755107 w 956275"/>
                <a:gd name="connsiteY10" fmla="*/ 137160 h 505800"/>
                <a:gd name="connsiteX11" fmla="*/ 709387 w 956275"/>
                <a:gd name="connsiteY11" fmla="*/ 137160 h 505800"/>
                <a:gd name="connsiteX12" fmla="*/ 617947 w 956275"/>
                <a:gd name="connsiteY12" fmla="*/ 137160 h 505800"/>
                <a:gd name="connsiteX13" fmla="*/ 563083 w 956275"/>
                <a:gd name="connsiteY13" fmla="*/ 146304 h 505800"/>
                <a:gd name="connsiteX14" fmla="*/ 553939 w 956275"/>
                <a:gd name="connsiteY14" fmla="*/ 155448 h 505800"/>
                <a:gd name="connsiteX15" fmla="*/ 535651 w 956275"/>
                <a:gd name="connsiteY15" fmla="*/ 146304 h 505800"/>
                <a:gd name="connsiteX16" fmla="*/ 663667 w 956275"/>
                <a:gd name="connsiteY16" fmla="*/ 91440 h 505800"/>
                <a:gd name="connsiteX17" fmla="*/ 718531 w 956275"/>
                <a:gd name="connsiteY17" fmla="*/ 91440 h 505800"/>
                <a:gd name="connsiteX18" fmla="*/ 809971 w 956275"/>
                <a:gd name="connsiteY18" fmla="*/ 82296 h 505800"/>
                <a:gd name="connsiteX19" fmla="*/ 937987 w 956275"/>
                <a:gd name="connsiteY19" fmla="*/ 27432 h 505800"/>
                <a:gd name="connsiteX20" fmla="*/ 919699 w 956275"/>
                <a:gd name="connsiteY20" fmla="*/ 0 h 505800"/>
                <a:gd name="connsiteX21" fmla="*/ 883123 w 956275"/>
                <a:gd name="connsiteY21" fmla="*/ 27432 h 505800"/>
                <a:gd name="connsiteX22" fmla="*/ 846547 w 956275"/>
                <a:gd name="connsiteY22" fmla="*/ 36576 h 505800"/>
                <a:gd name="connsiteX23" fmla="*/ 773395 w 956275"/>
                <a:gd name="connsiteY23" fmla="*/ 64008 h 505800"/>
                <a:gd name="connsiteX24" fmla="*/ 718531 w 956275"/>
                <a:gd name="connsiteY24" fmla="*/ 64008 h 505800"/>
                <a:gd name="connsiteX25" fmla="*/ 608803 w 956275"/>
                <a:gd name="connsiteY25" fmla="*/ 64008 h 505800"/>
                <a:gd name="connsiteX26" fmla="*/ 553939 w 956275"/>
                <a:gd name="connsiteY26" fmla="*/ 100584 h 505800"/>
                <a:gd name="connsiteX27" fmla="*/ 517363 w 956275"/>
                <a:gd name="connsiteY27" fmla="*/ 146304 h 505800"/>
                <a:gd name="connsiteX28" fmla="*/ 471643 w 956275"/>
                <a:gd name="connsiteY28" fmla="*/ 182880 h 505800"/>
                <a:gd name="connsiteX29" fmla="*/ 425923 w 956275"/>
                <a:gd name="connsiteY29" fmla="*/ 256032 h 505800"/>
                <a:gd name="connsiteX30" fmla="*/ 352771 w 956275"/>
                <a:gd name="connsiteY30" fmla="*/ 301752 h 505800"/>
                <a:gd name="connsiteX31" fmla="*/ 252187 w 956275"/>
                <a:gd name="connsiteY31" fmla="*/ 347472 h 505800"/>
                <a:gd name="connsiteX32" fmla="*/ 215611 w 956275"/>
                <a:gd name="connsiteY32" fmla="*/ 374904 h 505800"/>
                <a:gd name="connsiteX33" fmla="*/ 169891 w 956275"/>
                <a:gd name="connsiteY33" fmla="*/ 402336 h 505800"/>
                <a:gd name="connsiteX34" fmla="*/ 151603 w 956275"/>
                <a:gd name="connsiteY34" fmla="*/ 402336 h 505800"/>
                <a:gd name="connsiteX35" fmla="*/ 169891 w 956275"/>
                <a:gd name="connsiteY35" fmla="*/ 365760 h 505800"/>
                <a:gd name="connsiteX36" fmla="*/ 224755 w 956275"/>
                <a:gd name="connsiteY36" fmla="*/ 301752 h 505800"/>
                <a:gd name="connsiteX37" fmla="*/ 316195 w 956275"/>
                <a:gd name="connsiteY37" fmla="*/ 219456 h 505800"/>
                <a:gd name="connsiteX38" fmla="*/ 361915 w 956275"/>
                <a:gd name="connsiteY38" fmla="*/ 146304 h 505800"/>
                <a:gd name="connsiteX39" fmla="*/ 361915 w 956275"/>
                <a:gd name="connsiteY39" fmla="*/ 64008 h 505800"/>
                <a:gd name="connsiteX40" fmla="*/ 352771 w 956275"/>
                <a:gd name="connsiteY40" fmla="*/ 54864 h 505800"/>
                <a:gd name="connsiteX41" fmla="*/ 343627 w 956275"/>
                <a:gd name="connsiteY41" fmla="*/ 128016 h 505800"/>
                <a:gd name="connsiteX42" fmla="*/ 316195 w 956275"/>
                <a:gd name="connsiteY42" fmla="*/ 173736 h 505800"/>
                <a:gd name="connsiteX43" fmla="*/ 243043 w 956275"/>
                <a:gd name="connsiteY43" fmla="*/ 237744 h 505800"/>
                <a:gd name="connsiteX44" fmla="*/ 215611 w 956275"/>
                <a:gd name="connsiteY44" fmla="*/ 256032 h 505800"/>
                <a:gd name="connsiteX45" fmla="*/ 142459 w 956275"/>
                <a:gd name="connsiteY45" fmla="*/ 347472 h 505800"/>
                <a:gd name="connsiteX46" fmla="*/ 133315 w 956275"/>
                <a:gd name="connsiteY46" fmla="*/ 374904 h 505800"/>
                <a:gd name="connsiteX47" fmla="*/ 124171 w 956275"/>
                <a:gd name="connsiteY47" fmla="*/ 411480 h 505800"/>
                <a:gd name="connsiteX48" fmla="*/ 142459 w 956275"/>
                <a:gd name="connsiteY48" fmla="*/ 429768 h 505800"/>
                <a:gd name="connsiteX49" fmla="*/ 96739 w 956275"/>
                <a:gd name="connsiteY49" fmla="*/ 457200 h 505800"/>
                <a:gd name="connsiteX50" fmla="*/ 13820 w 956275"/>
                <a:gd name="connsiteY50" fmla="*/ 496783 h 505800"/>
                <a:gd name="connsiteX51" fmla="*/ 13820 w 956275"/>
                <a:gd name="connsiteY51" fmla="*/ 496784 h 505800"/>
                <a:gd name="connsiteX52" fmla="*/ 13820 w 956275"/>
                <a:gd name="connsiteY52" fmla="*/ 496784 h 505800"/>
                <a:gd name="connsiteX53" fmla="*/ 13820 w 956275"/>
                <a:gd name="connsiteY53" fmla="*/ 496784 h 505800"/>
                <a:gd name="connsiteX54" fmla="*/ 114796 w 956275"/>
                <a:gd name="connsiteY54" fmla="*/ 504511 h 505800"/>
                <a:gd name="connsiteX55" fmla="*/ 114797 w 956275"/>
                <a:gd name="connsiteY55" fmla="*/ 504512 h 505800"/>
                <a:gd name="connsiteX0" fmla="*/ 114797 w 956275"/>
                <a:gd name="connsiteY0" fmla="*/ 504512 h 505800"/>
                <a:gd name="connsiteX1" fmla="*/ 13820 w 956275"/>
                <a:gd name="connsiteY1" fmla="*/ 496784 h 505800"/>
                <a:gd name="connsiteX2" fmla="*/ 13820 w 956275"/>
                <a:gd name="connsiteY2" fmla="*/ 496784 h 505800"/>
                <a:gd name="connsiteX3" fmla="*/ 51019 w 956275"/>
                <a:gd name="connsiteY3" fmla="*/ 493776 h 505800"/>
                <a:gd name="connsiteX4" fmla="*/ 151603 w 956275"/>
                <a:gd name="connsiteY4" fmla="*/ 466344 h 505800"/>
                <a:gd name="connsiteX5" fmla="*/ 252187 w 956275"/>
                <a:gd name="connsiteY5" fmla="*/ 384048 h 505800"/>
                <a:gd name="connsiteX6" fmla="*/ 444211 w 956275"/>
                <a:gd name="connsiteY6" fmla="*/ 301752 h 505800"/>
                <a:gd name="connsiteX7" fmla="*/ 526507 w 956275"/>
                <a:gd name="connsiteY7" fmla="*/ 192024 h 505800"/>
                <a:gd name="connsiteX8" fmla="*/ 672811 w 956275"/>
                <a:gd name="connsiteY8" fmla="*/ 155448 h 505800"/>
                <a:gd name="connsiteX9" fmla="*/ 718531 w 956275"/>
                <a:gd name="connsiteY9" fmla="*/ 155448 h 505800"/>
                <a:gd name="connsiteX10" fmla="*/ 755107 w 956275"/>
                <a:gd name="connsiteY10" fmla="*/ 137160 h 505800"/>
                <a:gd name="connsiteX11" fmla="*/ 709387 w 956275"/>
                <a:gd name="connsiteY11" fmla="*/ 137160 h 505800"/>
                <a:gd name="connsiteX12" fmla="*/ 617947 w 956275"/>
                <a:gd name="connsiteY12" fmla="*/ 137160 h 505800"/>
                <a:gd name="connsiteX13" fmla="*/ 563083 w 956275"/>
                <a:gd name="connsiteY13" fmla="*/ 146304 h 505800"/>
                <a:gd name="connsiteX14" fmla="*/ 553939 w 956275"/>
                <a:gd name="connsiteY14" fmla="*/ 155448 h 505800"/>
                <a:gd name="connsiteX15" fmla="*/ 535651 w 956275"/>
                <a:gd name="connsiteY15" fmla="*/ 146304 h 505800"/>
                <a:gd name="connsiteX16" fmla="*/ 663667 w 956275"/>
                <a:gd name="connsiteY16" fmla="*/ 91440 h 505800"/>
                <a:gd name="connsiteX17" fmla="*/ 718531 w 956275"/>
                <a:gd name="connsiteY17" fmla="*/ 91440 h 505800"/>
                <a:gd name="connsiteX18" fmla="*/ 809971 w 956275"/>
                <a:gd name="connsiteY18" fmla="*/ 82296 h 505800"/>
                <a:gd name="connsiteX19" fmla="*/ 937987 w 956275"/>
                <a:gd name="connsiteY19" fmla="*/ 27432 h 505800"/>
                <a:gd name="connsiteX20" fmla="*/ 919699 w 956275"/>
                <a:gd name="connsiteY20" fmla="*/ 0 h 505800"/>
                <a:gd name="connsiteX21" fmla="*/ 883123 w 956275"/>
                <a:gd name="connsiteY21" fmla="*/ 27432 h 505800"/>
                <a:gd name="connsiteX22" fmla="*/ 846547 w 956275"/>
                <a:gd name="connsiteY22" fmla="*/ 36576 h 505800"/>
                <a:gd name="connsiteX23" fmla="*/ 773395 w 956275"/>
                <a:gd name="connsiteY23" fmla="*/ 64008 h 505800"/>
                <a:gd name="connsiteX24" fmla="*/ 718531 w 956275"/>
                <a:gd name="connsiteY24" fmla="*/ 64008 h 505800"/>
                <a:gd name="connsiteX25" fmla="*/ 608803 w 956275"/>
                <a:gd name="connsiteY25" fmla="*/ 64008 h 505800"/>
                <a:gd name="connsiteX26" fmla="*/ 553939 w 956275"/>
                <a:gd name="connsiteY26" fmla="*/ 100584 h 505800"/>
                <a:gd name="connsiteX27" fmla="*/ 517363 w 956275"/>
                <a:gd name="connsiteY27" fmla="*/ 146304 h 505800"/>
                <a:gd name="connsiteX28" fmla="*/ 471643 w 956275"/>
                <a:gd name="connsiteY28" fmla="*/ 182880 h 505800"/>
                <a:gd name="connsiteX29" fmla="*/ 425923 w 956275"/>
                <a:gd name="connsiteY29" fmla="*/ 256032 h 505800"/>
                <a:gd name="connsiteX30" fmla="*/ 352771 w 956275"/>
                <a:gd name="connsiteY30" fmla="*/ 301752 h 505800"/>
                <a:gd name="connsiteX31" fmla="*/ 252187 w 956275"/>
                <a:gd name="connsiteY31" fmla="*/ 347472 h 505800"/>
                <a:gd name="connsiteX32" fmla="*/ 215611 w 956275"/>
                <a:gd name="connsiteY32" fmla="*/ 374904 h 505800"/>
                <a:gd name="connsiteX33" fmla="*/ 169891 w 956275"/>
                <a:gd name="connsiteY33" fmla="*/ 402336 h 505800"/>
                <a:gd name="connsiteX34" fmla="*/ 151603 w 956275"/>
                <a:gd name="connsiteY34" fmla="*/ 402336 h 505800"/>
                <a:gd name="connsiteX35" fmla="*/ 169891 w 956275"/>
                <a:gd name="connsiteY35" fmla="*/ 365760 h 505800"/>
                <a:gd name="connsiteX36" fmla="*/ 224755 w 956275"/>
                <a:gd name="connsiteY36" fmla="*/ 301752 h 505800"/>
                <a:gd name="connsiteX37" fmla="*/ 316195 w 956275"/>
                <a:gd name="connsiteY37" fmla="*/ 219456 h 505800"/>
                <a:gd name="connsiteX38" fmla="*/ 361915 w 956275"/>
                <a:gd name="connsiteY38" fmla="*/ 146304 h 505800"/>
                <a:gd name="connsiteX39" fmla="*/ 361915 w 956275"/>
                <a:gd name="connsiteY39" fmla="*/ 64008 h 505800"/>
                <a:gd name="connsiteX40" fmla="*/ 352771 w 956275"/>
                <a:gd name="connsiteY40" fmla="*/ 54864 h 505800"/>
                <a:gd name="connsiteX41" fmla="*/ 343627 w 956275"/>
                <a:gd name="connsiteY41" fmla="*/ 128016 h 505800"/>
                <a:gd name="connsiteX42" fmla="*/ 316195 w 956275"/>
                <a:gd name="connsiteY42" fmla="*/ 173736 h 505800"/>
                <a:gd name="connsiteX43" fmla="*/ 243043 w 956275"/>
                <a:gd name="connsiteY43" fmla="*/ 237744 h 505800"/>
                <a:gd name="connsiteX44" fmla="*/ 215611 w 956275"/>
                <a:gd name="connsiteY44" fmla="*/ 256032 h 505800"/>
                <a:gd name="connsiteX45" fmla="*/ 142459 w 956275"/>
                <a:gd name="connsiteY45" fmla="*/ 347472 h 505800"/>
                <a:gd name="connsiteX46" fmla="*/ 133315 w 956275"/>
                <a:gd name="connsiteY46" fmla="*/ 374904 h 505800"/>
                <a:gd name="connsiteX47" fmla="*/ 124171 w 956275"/>
                <a:gd name="connsiteY47" fmla="*/ 411480 h 505800"/>
                <a:gd name="connsiteX48" fmla="*/ 142459 w 956275"/>
                <a:gd name="connsiteY48" fmla="*/ 429768 h 505800"/>
                <a:gd name="connsiteX49" fmla="*/ 96739 w 956275"/>
                <a:gd name="connsiteY49" fmla="*/ 457200 h 505800"/>
                <a:gd name="connsiteX50" fmla="*/ 13820 w 956275"/>
                <a:gd name="connsiteY50" fmla="*/ 496783 h 505800"/>
                <a:gd name="connsiteX51" fmla="*/ 13820 w 956275"/>
                <a:gd name="connsiteY51" fmla="*/ 496784 h 505800"/>
                <a:gd name="connsiteX52" fmla="*/ 13820 w 956275"/>
                <a:gd name="connsiteY52" fmla="*/ 496784 h 505800"/>
                <a:gd name="connsiteX53" fmla="*/ 132458 w 956275"/>
                <a:gd name="connsiteY53" fmla="*/ 430387 h 505800"/>
                <a:gd name="connsiteX54" fmla="*/ 114796 w 956275"/>
                <a:gd name="connsiteY54" fmla="*/ 504511 h 505800"/>
                <a:gd name="connsiteX55" fmla="*/ 114797 w 956275"/>
                <a:gd name="connsiteY55" fmla="*/ 504512 h 505800"/>
                <a:gd name="connsiteX0" fmla="*/ 114798 w 956275"/>
                <a:gd name="connsiteY0" fmla="*/ 504512 h 505800"/>
                <a:gd name="connsiteX1" fmla="*/ 13820 w 956275"/>
                <a:gd name="connsiteY1" fmla="*/ 496784 h 505800"/>
                <a:gd name="connsiteX2" fmla="*/ 13820 w 956275"/>
                <a:gd name="connsiteY2" fmla="*/ 496784 h 505800"/>
                <a:gd name="connsiteX3" fmla="*/ 51019 w 956275"/>
                <a:gd name="connsiteY3" fmla="*/ 493776 h 505800"/>
                <a:gd name="connsiteX4" fmla="*/ 151603 w 956275"/>
                <a:gd name="connsiteY4" fmla="*/ 466344 h 505800"/>
                <a:gd name="connsiteX5" fmla="*/ 252187 w 956275"/>
                <a:gd name="connsiteY5" fmla="*/ 384048 h 505800"/>
                <a:gd name="connsiteX6" fmla="*/ 444211 w 956275"/>
                <a:gd name="connsiteY6" fmla="*/ 301752 h 505800"/>
                <a:gd name="connsiteX7" fmla="*/ 526507 w 956275"/>
                <a:gd name="connsiteY7" fmla="*/ 192024 h 505800"/>
                <a:gd name="connsiteX8" fmla="*/ 672811 w 956275"/>
                <a:gd name="connsiteY8" fmla="*/ 155448 h 505800"/>
                <a:gd name="connsiteX9" fmla="*/ 718531 w 956275"/>
                <a:gd name="connsiteY9" fmla="*/ 155448 h 505800"/>
                <a:gd name="connsiteX10" fmla="*/ 755107 w 956275"/>
                <a:gd name="connsiteY10" fmla="*/ 137160 h 505800"/>
                <a:gd name="connsiteX11" fmla="*/ 709387 w 956275"/>
                <a:gd name="connsiteY11" fmla="*/ 137160 h 505800"/>
                <a:gd name="connsiteX12" fmla="*/ 617947 w 956275"/>
                <a:gd name="connsiteY12" fmla="*/ 137160 h 505800"/>
                <a:gd name="connsiteX13" fmla="*/ 563083 w 956275"/>
                <a:gd name="connsiteY13" fmla="*/ 146304 h 505800"/>
                <a:gd name="connsiteX14" fmla="*/ 553939 w 956275"/>
                <a:gd name="connsiteY14" fmla="*/ 155448 h 505800"/>
                <a:gd name="connsiteX15" fmla="*/ 535651 w 956275"/>
                <a:gd name="connsiteY15" fmla="*/ 146304 h 505800"/>
                <a:gd name="connsiteX16" fmla="*/ 663667 w 956275"/>
                <a:gd name="connsiteY16" fmla="*/ 91440 h 505800"/>
                <a:gd name="connsiteX17" fmla="*/ 718531 w 956275"/>
                <a:gd name="connsiteY17" fmla="*/ 91440 h 505800"/>
                <a:gd name="connsiteX18" fmla="*/ 809971 w 956275"/>
                <a:gd name="connsiteY18" fmla="*/ 82296 h 505800"/>
                <a:gd name="connsiteX19" fmla="*/ 937987 w 956275"/>
                <a:gd name="connsiteY19" fmla="*/ 27432 h 505800"/>
                <a:gd name="connsiteX20" fmla="*/ 919699 w 956275"/>
                <a:gd name="connsiteY20" fmla="*/ 0 h 505800"/>
                <a:gd name="connsiteX21" fmla="*/ 883123 w 956275"/>
                <a:gd name="connsiteY21" fmla="*/ 27432 h 505800"/>
                <a:gd name="connsiteX22" fmla="*/ 846547 w 956275"/>
                <a:gd name="connsiteY22" fmla="*/ 36576 h 505800"/>
                <a:gd name="connsiteX23" fmla="*/ 773395 w 956275"/>
                <a:gd name="connsiteY23" fmla="*/ 64008 h 505800"/>
                <a:gd name="connsiteX24" fmla="*/ 718531 w 956275"/>
                <a:gd name="connsiteY24" fmla="*/ 64008 h 505800"/>
                <a:gd name="connsiteX25" fmla="*/ 608803 w 956275"/>
                <a:gd name="connsiteY25" fmla="*/ 64008 h 505800"/>
                <a:gd name="connsiteX26" fmla="*/ 553939 w 956275"/>
                <a:gd name="connsiteY26" fmla="*/ 100584 h 505800"/>
                <a:gd name="connsiteX27" fmla="*/ 517363 w 956275"/>
                <a:gd name="connsiteY27" fmla="*/ 146304 h 505800"/>
                <a:gd name="connsiteX28" fmla="*/ 471643 w 956275"/>
                <a:gd name="connsiteY28" fmla="*/ 182880 h 505800"/>
                <a:gd name="connsiteX29" fmla="*/ 425923 w 956275"/>
                <a:gd name="connsiteY29" fmla="*/ 256032 h 505800"/>
                <a:gd name="connsiteX30" fmla="*/ 352771 w 956275"/>
                <a:gd name="connsiteY30" fmla="*/ 301752 h 505800"/>
                <a:gd name="connsiteX31" fmla="*/ 252187 w 956275"/>
                <a:gd name="connsiteY31" fmla="*/ 347472 h 505800"/>
                <a:gd name="connsiteX32" fmla="*/ 215611 w 956275"/>
                <a:gd name="connsiteY32" fmla="*/ 374904 h 505800"/>
                <a:gd name="connsiteX33" fmla="*/ 169891 w 956275"/>
                <a:gd name="connsiteY33" fmla="*/ 402336 h 505800"/>
                <a:gd name="connsiteX34" fmla="*/ 151603 w 956275"/>
                <a:gd name="connsiteY34" fmla="*/ 402336 h 505800"/>
                <a:gd name="connsiteX35" fmla="*/ 169891 w 956275"/>
                <a:gd name="connsiteY35" fmla="*/ 365760 h 505800"/>
                <a:gd name="connsiteX36" fmla="*/ 224755 w 956275"/>
                <a:gd name="connsiteY36" fmla="*/ 301752 h 505800"/>
                <a:gd name="connsiteX37" fmla="*/ 316195 w 956275"/>
                <a:gd name="connsiteY37" fmla="*/ 219456 h 505800"/>
                <a:gd name="connsiteX38" fmla="*/ 361915 w 956275"/>
                <a:gd name="connsiteY38" fmla="*/ 146304 h 505800"/>
                <a:gd name="connsiteX39" fmla="*/ 361915 w 956275"/>
                <a:gd name="connsiteY39" fmla="*/ 64008 h 505800"/>
                <a:gd name="connsiteX40" fmla="*/ 352771 w 956275"/>
                <a:gd name="connsiteY40" fmla="*/ 54864 h 505800"/>
                <a:gd name="connsiteX41" fmla="*/ 343627 w 956275"/>
                <a:gd name="connsiteY41" fmla="*/ 128016 h 505800"/>
                <a:gd name="connsiteX42" fmla="*/ 316195 w 956275"/>
                <a:gd name="connsiteY42" fmla="*/ 173736 h 505800"/>
                <a:gd name="connsiteX43" fmla="*/ 243043 w 956275"/>
                <a:gd name="connsiteY43" fmla="*/ 237744 h 505800"/>
                <a:gd name="connsiteX44" fmla="*/ 215611 w 956275"/>
                <a:gd name="connsiteY44" fmla="*/ 256032 h 505800"/>
                <a:gd name="connsiteX45" fmla="*/ 142459 w 956275"/>
                <a:gd name="connsiteY45" fmla="*/ 347472 h 505800"/>
                <a:gd name="connsiteX46" fmla="*/ 133315 w 956275"/>
                <a:gd name="connsiteY46" fmla="*/ 374904 h 505800"/>
                <a:gd name="connsiteX47" fmla="*/ 124171 w 956275"/>
                <a:gd name="connsiteY47" fmla="*/ 411480 h 505800"/>
                <a:gd name="connsiteX48" fmla="*/ 142459 w 956275"/>
                <a:gd name="connsiteY48" fmla="*/ 429768 h 505800"/>
                <a:gd name="connsiteX49" fmla="*/ 96739 w 956275"/>
                <a:gd name="connsiteY49" fmla="*/ 457200 h 505800"/>
                <a:gd name="connsiteX50" fmla="*/ 13820 w 956275"/>
                <a:gd name="connsiteY50" fmla="*/ 496783 h 505800"/>
                <a:gd name="connsiteX51" fmla="*/ 13820 w 956275"/>
                <a:gd name="connsiteY51" fmla="*/ 496784 h 505800"/>
                <a:gd name="connsiteX52" fmla="*/ 13820 w 956275"/>
                <a:gd name="connsiteY52" fmla="*/ 496784 h 505800"/>
                <a:gd name="connsiteX53" fmla="*/ 132458 w 956275"/>
                <a:gd name="connsiteY53" fmla="*/ 430387 h 505800"/>
                <a:gd name="connsiteX54" fmla="*/ 114796 w 956275"/>
                <a:gd name="connsiteY54" fmla="*/ 504511 h 505800"/>
                <a:gd name="connsiteX55" fmla="*/ 114798 w 956275"/>
                <a:gd name="connsiteY55" fmla="*/ 504512 h 505800"/>
                <a:gd name="connsiteX0" fmla="*/ 40672 w 956275"/>
                <a:gd name="connsiteY0" fmla="*/ 486852 h 504511"/>
                <a:gd name="connsiteX1" fmla="*/ 13820 w 956275"/>
                <a:gd name="connsiteY1" fmla="*/ 496784 h 504511"/>
                <a:gd name="connsiteX2" fmla="*/ 13820 w 956275"/>
                <a:gd name="connsiteY2" fmla="*/ 496784 h 504511"/>
                <a:gd name="connsiteX3" fmla="*/ 51019 w 956275"/>
                <a:gd name="connsiteY3" fmla="*/ 493776 h 504511"/>
                <a:gd name="connsiteX4" fmla="*/ 151603 w 956275"/>
                <a:gd name="connsiteY4" fmla="*/ 466344 h 504511"/>
                <a:gd name="connsiteX5" fmla="*/ 252187 w 956275"/>
                <a:gd name="connsiteY5" fmla="*/ 384048 h 504511"/>
                <a:gd name="connsiteX6" fmla="*/ 444211 w 956275"/>
                <a:gd name="connsiteY6" fmla="*/ 301752 h 504511"/>
                <a:gd name="connsiteX7" fmla="*/ 526507 w 956275"/>
                <a:gd name="connsiteY7" fmla="*/ 192024 h 504511"/>
                <a:gd name="connsiteX8" fmla="*/ 672811 w 956275"/>
                <a:gd name="connsiteY8" fmla="*/ 155448 h 504511"/>
                <a:gd name="connsiteX9" fmla="*/ 718531 w 956275"/>
                <a:gd name="connsiteY9" fmla="*/ 155448 h 504511"/>
                <a:gd name="connsiteX10" fmla="*/ 755107 w 956275"/>
                <a:gd name="connsiteY10" fmla="*/ 137160 h 504511"/>
                <a:gd name="connsiteX11" fmla="*/ 709387 w 956275"/>
                <a:gd name="connsiteY11" fmla="*/ 137160 h 504511"/>
                <a:gd name="connsiteX12" fmla="*/ 617947 w 956275"/>
                <a:gd name="connsiteY12" fmla="*/ 137160 h 504511"/>
                <a:gd name="connsiteX13" fmla="*/ 563083 w 956275"/>
                <a:gd name="connsiteY13" fmla="*/ 146304 h 504511"/>
                <a:gd name="connsiteX14" fmla="*/ 553939 w 956275"/>
                <a:gd name="connsiteY14" fmla="*/ 155448 h 504511"/>
                <a:gd name="connsiteX15" fmla="*/ 535651 w 956275"/>
                <a:gd name="connsiteY15" fmla="*/ 146304 h 504511"/>
                <a:gd name="connsiteX16" fmla="*/ 663667 w 956275"/>
                <a:gd name="connsiteY16" fmla="*/ 91440 h 504511"/>
                <a:gd name="connsiteX17" fmla="*/ 718531 w 956275"/>
                <a:gd name="connsiteY17" fmla="*/ 91440 h 504511"/>
                <a:gd name="connsiteX18" fmla="*/ 809971 w 956275"/>
                <a:gd name="connsiteY18" fmla="*/ 82296 h 504511"/>
                <a:gd name="connsiteX19" fmla="*/ 937987 w 956275"/>
                <a:gd name="connsiteY19" fmla="*/ 27432 h 504511"/>
                <a:gd name="connsiteX20" fmla="*/ 919699 w 956275"/>
                <a:gd name="connsiteY20" fmla="*/ 0 h 504511"/>
                <a:gd name="connsiteX21" fmla="*/ 883123 w 956275"/>
                <a:gd name="connsiteY21" fmla="*/ 27432 h 504511"/>
                <a:gd name="connsiteX22" fmla="*/ 846547 w 956275"/>
                <a:gd name="connsiteY22" fmla="*/ 36576 h 504511"/>
                <a:gd name="connsiteX23" fmla="*/ 773395 w 956275"/>
                <a:gd name="connsiteY23" fmla="*/ 64008 h 504511"/>
                <a:gd name="connsiteX24" fmla="*/ 718531 w 956275"/>
                <a:gd name="connsiteY24" fmla="*/ 64008 h 504511"/>
                <a:gd name="connsiteX25" fmla="*/ 608803 w 956275"/>
                <a:gd name="connsiteY25" fmla="*/ 64008 h 504511"/>
                <a:gd name="connsiteX26" fmla="*/ 553939 w 956275"/>
                <a:gd name="connsiteY26" fmla="*/ 100584 h 504511"/>
                <a:gd name="connsiteX27" fmla="*/ 517363 w 956275"/>
                <a:gd name="connsiteY27" fmla="*/ 146304 h 504511"/>
                <a:gd name="connsiteX28" fmla="*/ 471643 w 956275"/>
                <a:gd name="connsiteY28" fmla="*/ 182880 h 504511"/>
                <a:gd name="connsiteX29" fmla="*/ 425923 w 956275"/>
                <a:gd name="connsiteY29" fmla="*/ 256032 h 504511"/>
                <a:gd name="connsiteX30" fmla="*/ 352771 w 956275"/>
                <a:gd name="connsiteY30" fmla="*/ 301752 h 504511"/>
                <a:gd name="connsiteX31" fmla="*/ 252187 w 956275"/>
                <a:gd name="connsiteY31" fmla="*/ 347472 h 504511"/>
                <a:gd name="connsiteX32" fmla="*/ 215611 w 956275"/>
                <a:gd name="connsiteY32" fmla="*/ 374904 h 504511"/>
                <a:gd name="connsiteX33" fmla="*/ 169891 w 956275"/>
                <a:gd name="connsiteY33" fmla="*/ 402336 h 504511"/>
                <a:gd name="connsiteX34" fmla="*/ 151603 w 956275"/>
                <a:gd name="connsiteY34" fmla="*/ 402336 h 504511"/>
                <a:gd name="connsiteX35" fmla="*/ 169891 w 956275"/>
                <a:gd name="connsiteY35" fmla="*/ 365760 h 504511"/>
                <a:gd name="connsiteX36" fmla="*/ 224755 w 956275"/>
                <a:gd name="connsiteY36" fmla="*/ 301752 h 504511"/>
                <a:gd name="connsiteX37" fmla="*/ 316195 w 956275"/>
                <a:gd name="connsiteY37" fmla="*/ 219456 h 504511"/>
                <a:gd name="connsiteX38" fmla="*/ 361915 w 956275"/>
                <a:gd name="connsiteY38" fmla="*/ 146304 h 504511"/>
                <a:gd name="connsiteX39" fmla="*/ 361915 w 956275"/>
                <a:gd name="connsiteY39" fmla="*/ 64008 h 504511"/>
                <a:gd name="connsiteX40" fmla="*/ 352771 w 956275"/>
                <a:gd name="connsiteY40" fmla="*/ 54864 h 504511"/>
                <a:gd name="connsiteX41" fmla="*/ 343627 w 956275"/>
                <a:gd name="connsiteY41" fmla="*/ 128016 h 504511"/>
                <a:gd name="connsiteX42" fmla="*/ 316195 w 956275"/>
                <a:gd name="connsiteY42" fmla="*/ 173736 h 504511"/>
                <a:gd name="connsiteX43" fmla="*/ 243043 w 956275"/>
                <a:gd name="connsiteY43" fmla="*/ 237744 h 504511"/>
                <a:gd name="connsiteX44" fmla="*/ 215611 w 956275"/>
                <a:gd name="connsiteY44" fmla="*/ 256032 h 504511"/>
                <a:gd name="connsiteX45" fmla="*/ 142459 w 956275"/>
                <a:gd name="connsiteY45" fmla="*/ 347472 h 504511"/>
                <a:gd name="connsiteX46" fmla="*/ 133315 w 956275"/>
                <a:gd name="connsiteY46" fmla="*/ 374904 h 504511"/>
                <a:gd name="connsiteX47" fmla="*/ 124171 w 956275"/>
                <a:gd name="connsiteY47" fmla="*/ 411480 h 504511"/>
                <a:gd name="connsiteX48" fmla="*/ 142459 w 956275"/>
                <a:gd name="connsiteY48" fmla="*/ 429768 h 504511"/>
                <a:gd name="connsiteX49" fmla="*/ 96739 w 956275"/>
                <a:gd name="connsiteY49" fmla="*/ 457200 h 504511"/>
                <a:gd name="connsiteX50" fmla="*/ 13820 w 956275"/>
                <a:gd name="connsiteY50" fmla="*/ 496783 h 504511"/>
                <a:gd name="connsiteX51" fmla="*/ 13820 w 956275"/>
                <a:gd name="connsiteY51" fmla="*/ 496784 h 504511"/>
                <a:gd name="connsiteX52" fmla="*/ 13820 w 956275"/>
                <a:gd name="connsiteY52" fmla="*/ 496784 h 504511"/>
                <a:gd name="connsiteX53" fmla="*/ 132458 w 956275"/>
                <a:gd name="connsiteY53" fmla="*/ 430387 h 504511"/>
                <a:gd name="connsiteX54" fmla="*/ 114796 w 956275"/>
                <a:gd name="connsiteY54" fmla="*/ 504511 h 504511"/>
                <a:gd name="connsiteX55" fmla="*/ 40672 w 956275"/>
                <a:gd name="connsiteY55" fmla="*/ 486852 h 504511"/>
                <a:gd name="connsiteX0" fmla="*/ 40672 w 956275"/>
                <a:gd name="connsiteY0" fmla="*/ 486852 h 504512"/>
                <a:gd name="connsiteX1" fmla="*/ 13820 w 956275"/>
                <a:gd name="connsiteY1" fmla="*/ 496784 h 504512"/>
                <a:gd name="connsiteX2" fmla="*/ 13820 w 956275"/>
                <a:gd name="connsiteY2" fmla="*/ 496784 h 504512"/>
                <a:gd name="connsiteX3" fmla="*/ 51019 w 956275"/>
                <a:gd name="connsiteY3" fmla="*/ 493776 h 504512"/>
                <a:gd name="connsiteX4" fmla="*/ 151603 w 956275"/>
                <a:gd name="connsiteY4" fmla="*/ 466344 h 504512"/>
                <a:gd name="connsiteX5" fmla="*/ 252187 w 956275"/>
                <a:gd name="connsiteY5" fmla="*/ 384048 h 504512"/>
                <a:gd name="connsiteX6" fmla="*/ 444211 w 956275"/>
                <a:gd name="connsiteY6" fmla="*/ 301752 h 504512"/>
                <a:gd name="connsiteX7" fmla="*/ 526507 w 956275"/>
                <a:gd name="connsiteY7" fmla="*/ 192024 h 504512"/>
                <a:gd name="connsiteX8" fmla="*/ 672811 w 956275"/>
                <a:gd name="connsiteY8" fmla="*/ 155448 h 504512"/>
                <a:gd name="connsiteX9" fmla="*/ 718531 w 956275"/>
                <a:gd name="connsiteY9" fmla="*/ 155448 h 504512"/>
                <a:gd name="connsiteX10" fmla="*/ 755107 w 956275"/>
                <a:gd name="connsiteY10" fmla="*/ 137160 h 504512"/>
                <a:gd name="connsiteX11" fmla="*/ 709387 w 956275"/>
                <a:gd name="connsiteY11" fmla="*/ 137160 h 504512"/>
                <a:gd name="connsiteX12" fmla="*/ 617947 w 956275"/>
                <a:gd name="connsiteY12" fmla="*/ 137160 h 504512"/>
                <a:gd name="connsiteX13" fmla="*/ 563083 w 956275"/>
                <a:gd name="connsiteY13" fmla="*/ 146304 h 504512"/>
                <a:gd name="connsiteX14" fmla="*/ 553939 w 956275"/>
                <a:gd name="connsiteY14" fmla="*/ 155448 h 504512"/>
                <a:gd name="connsiteX15" fmla="*/ 535651 w 956275"/>
                <a:gd name="connsiteY15" fmla="*/ 146304 h 504512"/>
                <a:gd name="connsiteX16" fmla="*/ 663667 w 956275"/>
                <a:gd name="connsiteY16" fmla="*/ 91440 h 504512"/>
                <a:gd name="connsiteX17" fmla="*/ 718531 w 956275"/>
                <a:gd name="connsiteY17" fmla="*/ 91440 h 504512"/>
                <a:gd name="connsiteX18" fmla="*/ 809971 w 956275"/>
                <a:gd name="connsiteY18" fmla="*/ 82296 h 504512"/>
                <a:gd name="connsiteX19" fmla="*/ 937987 w 956275"/>
                <a:gd name="connsiteY19" fmla="*/ 27432 h 504512"/>
                <a:gd name="connsiteX20" fmla="*/ 919699 w 956275"/>
                <a:gd name="connsiteY20" fmla="*/ 0 h 504512"/>
                <a:gd name="connsiteX21" fmla="*/ 883123 w 956275"/>
                <a:gd name="connsiteY21" fmla="*/ 27432 h 504512"/>
                <a:gd name="connsiteX22" fmla="*/ 846547 w 956275"/>
                <a:gd name="connsiteY22" fmla="*/ 36576 h 504512"/>
                <a:gd name="connsiteX23" fmla="*/ 773395 w 956275"/>
                <a:gd name="connsiteY23" fmla="*/ 64008 h 504512"/>
                <a:gd name="connsiteX24" fmla="*/ 718531 w 956275"/>
                <a:gd name="connsiteY24" fmla="*/ 64008 h 504512"/>
                <a:gd name="connsiteX25" fmla="*/ 608803 w 956275"/>
                <a:gd name="connsiteY25" fmla="*/ 64008 h 504512"/>
                <a:gd name="connsiteX26" fmla="*/ 553939 w 956275"/>
                <a:gd name="connsiteY26" fmla="*/ 100584 h 504512"/>
                <a:gd name="connsiteX27" fmla="*/ 517363 w 956275"/>
                <a:gd name="connsiteY27" fmla="*/ 146304 h 504512"/>
                <a:gd name="connsiteX28" fmla="*/ 471643 w 956275"/>
                <a:gd name="connsiteY28" fmla="*/ 182880 h 504512"/>
                <a:gd name="connsiteX29" fmla="*/ 425923 w 956275"/>
                <a:gd name="connsiteY29" fmla="*/ 256032 h 504512"/>
                <a:gd name="connsiteX30" fmla="*/ 352771 w 956275"/>
                <a:gd name="connsiteY30" fmla="*/ 301752 h 504512"/>
                <a:gd name="connsiteX31" fmla="*/ 252187 w 956275"/>
                <a:gd name="connsiteY31" fmla="*/ 347472 h 504512"/>
                <a:gd name="connsiteX32" fmla="*/ 215611 w 956275"/>
                <a:gd name="connsiteY32" fmla="*/ 374904 h 504512"/>
                <a:gd name="connsiteX33" fmla="*/ 169891 w 956275"/>
                <a:gd name="connsiteY33" fmla="*/ 402336 h 504512"/>
                <a:gd name="connsiteX34" fmla="*/ 151603 w 956275"/>
                <a:gd name="connsiteY34" fmla="*/ 402336 h 504512"/>
                <a:gd name="connsiteX35" fmla="*/ 169891 w 956275"/>
                <a:gd name="connsiteY35" fmla="*/ 365760 h 504512"/>
                <a:gd name="connsiteX36" fmla="*/ 224755 w 956275"/>
                <a:gd name="connsiteY36" fmla="*/ 301752 h 504512"/>
                <a:gd name="connsiteX37" fmla="*/ 316195 w 956275"/>
                <a:gd name="connsiteY37" fmla="*/ 219456 h 504512"/>
                <a:gd name="connsiteX38" fmla="*/ 361915 w 956275"/>
                <a:gd name="connsiteY38" fmla="*/ 146304 h 504512"/>
                <a:gd name="connsiteX39" fmla="*/ 361915 w 956275"/>
                <a:gd name="connsiteY39" fmla="*/ 64008 h 504512"/>
                <a:gd name="connsiteX40" fmla="*/ 352771 w 956275"/>
                <a:gd name="connsiteY40" fmla="*/ 54864 h 504512"/>
                <a:gd name="connsiteX41" fmla="*/ 343627 w 956275"/>
                <a:gd name="connsiteY41" fmla="*/ 128016 h 504512"/>
                <a:gd name="connsiteX42" fmla="*/ 316195 w 956275"/>
                <a:gd name="connsiteY42" fmla="*/ 173736 h 504512"/>
                <a:gd name="connsiteX43" fmla="*/ 243043 w 956275"/>
                <a:gd name="connsiteY43" fmla="*/ 237744 h 504512"/>
                <a:gd name="connsiteX44" fmla="*/ 215611 w 956275"/>
                <a:gd name="connsiteY44" fmla="*/ 256032 h 504512"/>
                <a:gd name="connsiteX45" fmla="*/ 142459 w 956275"/>
                <a:gd name="connsiteY45" fmla="*/ 347472 h 504512"/>
                <a:gd name="connsiteX46" fmla="*/ 133315 w 956275"/>
                <a:gd name="connsiteY46" fmla="*/ 374904 h 504512"/>
                <a:gd name="connsiteX47" fmla="*/ 124171 w 956275"/>
                <a:gd name="connsiteY47" fmla="*/ 411480 h 504512"/>
                <a:gd name="connsiteX48" fmla="*/ 142459 w 956275"/>
                <a:gd name="connsiteY48" fmla="*/ 429768 h 504512"/>
                <a:gd name="connsiteX49" fmla="*/ 96739 w 956275"/>
                <a:gd name="connsiteY49" fmla="*/ 457200 h 504512"/>
                <a:gd name="connsiteX50" fmla="*/ 13820 w 956275"/>
                <a:gd name="connsiteY50" fmla="*/ 496783 h 504512"/>
                <a:gd name="connsiteX51" fmla="*/ 13820 w 956275"/>
                <a:gd name="connsiteY51" fmla="*/ 496784 h 504512"/>
                <a:gd name="connsiteX52" fmla="*/ 13820 w 956275"/>
                <a:gd name="connsiteY52" fmla="*/ 496784 h 504512"/>
                <a:gd name="connsiteX53" fmla="*/ 132458 w 956275"/>
                <a:gd name="connsiteY53" fmla="*/ 430387 h 504512"/>
                <a:gd name="connsiteX54" fmla="*/ 114798 w 956275"/>
                <a:gd name="connsiteY54" fmla="*/ 504512 h 504512"/>
                <a:gd name="connsiteX55" fmla="*/ 40672 w 956275"/>
                <a:gd name="connsiteY55" fmla="*/ 486852 h 504512"/>
                <a:gd name="connsiteX0" fmla="*/ 40672 w 956275"/>
                <a:gd name="connsiteY0" fmla="*/ 486852 h 504512"/>
                <a:gd name="connsiteX1" fmla="*/ 13820 w 956275"/>
                <a:gd name="connsiteY1" fmla="*/ 496784 h 504512"/>
                <a:gd name="connsiteX2" fmla="*/ 13820 w 956275"/>
                <a:gd name="connsiteY2" fmla="*/ 496784 h 504512"/>
                <a:gd name="connsiteX3" fmla="*/ 51019 w 956275"/>
                <a:gd name="connsiteY3" fmla="*/ 493776 h 504512"/>
                <a:gd name="connsiteX4" fmla="*/ 151603 w 956275"/>
                <a:gd name="connsiteY4" fmla="*/ 466344 h 504512"/>
                <a:gd name="connsiteX5" fmla="*/ 252187 w 956275"/>
                <a:gd name="connsiteY5" fmla="*/ 384048 h 504512"/>
                <a:gd name="connsiteX6" fmla="*/ 444211 w 956275"/>
                <a:gd name="connsiteY6" fmla="*/ 301752 h 504512"/>
                <a:gd name="connsiteX7" fmla="*/ 526507 w 956275"/>
                <a:gd name="connsiteY7" fmla="*/ 192024 h 504512"/>
                <a:gd name="connsiteX8" fmla="*/ 672811 w 956275"/>
                <a:gd name="connsiteY8" fmla="*/ 155448 h 504512"/>
                <a:gd name="connsiteX9" fmla="*/ 718531 w 956275"/>
                <a:gd name="connsiteY9" fmla="*/ 155448 h 504512"/>
                <a:gd name="connsiteX10" fmla="*/ 755107 w 956275"/>
                <a:gd name="connsiteY10" fmla="*/ 137160 h 504512"/>
                <a:gd name="connsiteX11" fmla="*/ 709387 w 956275"/>
                <a:gd name="connsiteY11" fmla="*/ 137160 h 504512"/>
                <a:gd name="connsiteX12" fmla="*/ 617947 w 956275"/>
                <a:gd name="connsiteY12" fmla="*/ 137160 h 504512"/>
                <a:gd name="connsiteX13" fmla="*/ 563083 w 956275"/>
                <a:gd name="connsiteY13" fmla="*/ 146304 h 504512"/>
                <a:gd name="connsiteX14" fmla="*/ 553939 w 956275"/>
                <a:gd name="connsiteY14" fmla="*/ 155448 h 504512"/>
                <a:gd name="connsiteX15" fmla="*/ 535651 w 956275"/>
                <a:gd name="connsiteY15" fmla="*/ 146304 h 504512"/>
                <a:gd name="connsiteX16" fmla="*/ 663667 w 956275"/>
                <a:gd name="connsiteY16" fmla="*/ 91440 h 504512"/>
                <a:gd name="connsiteX17" fmla="*/ 718531 w 956275"/>
                <a:gd name="connsiteY17" fmla="*/ 91440 h 504512"/>
                <a:gd name="connsiteX18" fmla="*/ 809971 w 956275"/>
                <a:gd name="connsiteY18" fmla="*/ 82296 h 504512"/>
                <a:gd name="connsiteX19" fmla="*/ 937987 w 956275"/>
                <a:gd name="connsiteY19" fmla="*/ 27432 h 504512"/>
                <a:gd name="connsiteX20" fmla="*/ 919699 w 956275"/>
                <a:gd name="connsiteY20" fmla="*/ 0 h 504512"/>
                <a:gd name="connsiteX21" fmla="*/ 883123 w 956275"/>
                <a:gd name="connsiteY21" fmla="*/ 27432 h 504512"/>
                <a:gd name="connsiteX22" fmla="*/ 846547 w 956275"/>
                <a:gd name="connsiteY22" fmla="*/ 36576 h 504512"/>
                <a:gd name="connsiteX23" fmla="*/ 773395 w 956275"/>
                <a:gd name="connsiteY23" fmla="*/ 64008 h 504512"/>
                <a:gd name="connsiteX24" fmla="*/ 718531 w 956275"/>
                <a:gd name="connsiteY24" fmla="*/ 64008 h 504512"/>
                <a:gd name="connsiteX25" fmla="*/ 608803 w 956275"/>
                <a:gd name="connsiteY25" fmla="*/ 64008 h 504512"/>
                <a:gd name="connsiteX26" fmla="*/ 553939 w 956275"/>
                <a:gd name="connsiteY26" fmla="*/ 100584 h 504512"/>
                <a:gd name="connsiteX27" fmla="*/ 517363 w 956275"/>
                <a:gd name="connsiteY27" fmla="*/ 146304 h 504512"/>
                <a:gd name="connsiteX28" fmla="*/ 471643 w 956275"/>
                <a:gd name="connsiteY28" fmla="*/ 182880 h 504512"/>
                <a:gd name="connsiteX29" fmla="*/ 425923 w 956275"/>
                <a:gd name="connsiteY29" fmla="*/ 256032 h 504512"/>
                <a:gd name="connsiteX30" fmla="*/ 352771 w 956275"/>
                <a:gd name="connsiteY30" fmla="*/ 301752 h 504512"/>
                <a:gd name="connsiteX31" fmla="*/ 252187 w 956275"/>
                <a:gd name="connsiteY31" fmla="*/ 347472 h 504512"/>
                <a:gd name="connsiteX32" fmla="*/ 215611 w 956275"/>
                <a:gd name="connsiteY32" fmla="*/ 374904 h 504512"/>
                <a:gd name="connsiteX33" fmla="*/ 169891 w 956275"/>
                <a:gd name="connsiteY33" fmla="*/ 402336 h 504512"/>
                <a:gd name="connsiteX34" fmla="*/ 151603 w 956275"/>
                <a:gd name="connsiteY34" fmla="*/ 402336 h 504512"/>
                <a:gd name="connsiteX35" fmla="*/ 169891 w 956275"/>
                <a:gd name="connsiteY35" fmla="*/ 365760 h 504512"/>
                <a:gd name="connsiteX36" fmla="*/ 224755 w 956275"/>
                <a:gd name="connsiteY36" fmla="*/ 301752 h 504512"/>
                <a:gd name="connsiteX37" fmla="*/ 316195 w 956275"/>
                <a:gd name="connsiteY37" fmla="*/ 219456 h 504512"/>
                <a:gd name="connsiteX38" fmla="*/ 361915 w 956275"/>
                <a:gd name="connsiteY38" fmla="*/ 146304 h 504512"/>
                <a:gd name="connsiteX39" fmla="*/ 361915 w 956275"/>
                <a:gd name="connsiteY39" fmla="*/ 64008 h 504512"/>
                <a:gd name="connsiteX40" fmla="*/ 352771 w 956275"/>
                <a:gd name="connsiteY40" fmla="*/ 54864 h 504512"/>
                <a:gd name="connsiteX41" fmla="*/ 343627 w 956275"/>
                <a:gd name="connsiteY41" fmla="*/ 128016 h 504512"/>
                <a:gd name="connsiteX42" fmla="*/ 316195 w 956275"/>
                <a:gd name="connsiteY42" fmla="*/ 173736 h 504512"/>
                <a:gd name="connsiteX43" fmla="*/ 243043 w 956275"/>
                <a:gd name="connsiteY43" fmla="*/ 237744 h 504512"/>
                <a:gd name="connsiteX44" fmla="*/ 215611 w 956275"/>
                <a:gd name="connsiteY44" fmla="*/ 256032 h 504512"/>
                <a:gd name="connsiteX45" fmla="*/ 142459 w 956275"/>
                <a:gd name="connsiteY45" fmla="*/ 347472 h 504512"/>
                <a:gd name="connsiteX46" fmla="*/ 133315 w 956275"/>
                <a:gd name="connsiteY46" fmla="*/ 374904 h 504512"/>
                <a:gd name="connsiteX47" fmla="*/ 124171 w 956275"/>
                <a:gd name="connsiteY47" fmla="*/ 411480 h 504512"/>
                <a:gd name="connsiteX48" fmla="*/ 142459 w 956275"/>
                <a:gd name="connsiteY48" fmla="*/ 429768 h 504512"/>
                <a:gd name="connsiteX49" fmla="*/ 96739 w 956275"/>
                <a:gd name="connsiteY49" fmla="*/ 457200 h 504512"/>
                <a:gd name="connsiteX50" fmla="*/ 13820 w 956275"/>
                <a:gd name="connsiteY50" fmla="*/ 496783 h 504512"/>
                <a:gd name="connsiteX51" fmla="*/ 13820 w 956275"/>
                <a:gd name="connsiteY51" fmla="*/ 496784 h 504512"/>
                <a:gd name="connsiteX52" fmla="*/ 13820 w 956275"/>
                <a:gd name="connsiteY52" fmla="*/ 496784 h 504512"/>
                <a:gd name="connsiteX53" fmla="*/ 132458 w 956275"/>
                <a:gd name="connsiteY53" fmla="*/ 430387 h 504512"/>
                <a:gd name="connsiteX54" fmla="*/ 114797 w 956275"/>
                <a:gd name="connsiteY54" fmla="*/ 504512 h 504512"/>
                <a:gd name="connsiteX55" fmla="*/ 40672 w 956275"/>
                <a:gd name="connsiteY55" fmla="*/ 486852 h 504512"/>
                <a:gd name="connsiteX0" fmla="*/ 40672 w 956275"/>
                <a:gd name="connsiteY0" fmla="*/ 486852 h 578638"/>
                <a:gd name="connsiteX1" fmla="*/ 13820 w 956275"/>
                <a:gd name="connsiteY1" fmla="*/ 496784 h 578638"/>
                <a:gd name="connsiteX2" fmla="*/ 13820 w 956275"/>
                <a:gd name="connsiteY2" fmla="*/ 496784 h 578638"/>
                <a:gd name="connsiteX3" fmla="*/ 51019 w 956275"/>
                <a:gd name="connsiteY3" fmla="*/ 493776 h 578638"/>
                <a:gd name="connsiteX4" fmla="*/ 151603 w 956275"/>
                <a:gd name="connsiteY4" fmla="*/ 466344 h 578638"/>
                <a:gd name="connsiteX5" fmla="*/ 252187 w 956275"/>
                <a:gd name="connsiteY5" fmla="*/ 384048 h 578638"/>
                <a:gd name="connsiteX6" fmla="*/ 444211 w 956275"/>
                <a:gd name="connsiteY6" fmla="*/ 301752 h 578638"/>
                <a:gd name="connsiteX7" fmla="*/ 526507 w 956275"/>
                <a:gd name="connsiteY7" fmla="*/ 192024 h 578638"/>
                <a:gd name="connsiteX8" fmla="*/ 672811 w 956275"/>
                <a:gd name="connsiteY8" fmla="*/ 155448 h 578638"/>
                <a:gd name="connsiteX9" fmla="*/ 718531 w 956275"/>
                <a:gd name="connsiteY9" fmla="*/ 155448 h 578638"/>
                <a:gd name="connsiteX10" fmla="*/ 755107 w 956275"/>
                <a:gd name="connsiteY10" fmla="*/ 137160 h 578638"/>
                <a:gd name="connsiteX11" fmla="*/ 709387 w 956275"/>
                <a:gd name="connsiteY11" fmla="*/ 137160 h 578638"/>
                <a:gd name="connsiteX12" fmla="*/ 617947 w 956275"/>
                <a:gd name="connsiteY12" fmla="*/ 137160 h 578638"/>
                <a:gd name="connsiteX13" fmla="*/ 563083 w 956275"/>
                <a:gd name="connsiteY13" fmla="*/ 146304 h 578638"/>
                <a:gd name="connsiteX14" fmla="*/ 553939 w 956275"/>
                <a:gd name="connsiteY14" fmla="*/ 155448 h 578638"/>
                <a:gd name="connsiteX15" fmla="*/ 535651 w 956275"/>
                <a:gd name="connsiteY15" fmla="*/ 146304 h 578638"/>
                <a:gd name="connsiteX16" fmla="*/ 663667 w 956275"/>
                <a:gd name="connsiteY16" fmla="*/ 91440 h 578638"/>
                <a:gd name="connsiteX17" fmla="*/ 718531 w 956275"/>
                <a:gd name="connsiteY17" fmla="*/ 91440 h 578638"/>
                <a:gd name="connsiteX18" fmla="*/ 809971 w 956275"/>
                <a:gd name="connsiteY18" fmla="*/ 82296 h 578638"/>
                <a:gd name="connsiteX19" fmla="*/ 937987 w 956275"/>
                <a:gd name="connsiteY19" fmla="*/ 27432 h 578638"/>
                <a:gd name="connsiteX20" fmla="*/ 919699 w 956275"/>
                <a:gd name="connsiteY20" fmla="*/ 0 h 578638"/>
                <a:gd name="connsiteX21" fmla="*/ 883123 w 956275"/>
                <a:gd name="connsiteY21" fmla="*/ 27432 h 578638"/>
                <a:gd name="connsiteX22" fmla="*/ 846547 w 956275"/>
                <a:gd name="connsiteY22" fmla="*/ 36576 h 578638"/>
                <a:gd name="connsiteX23" fmla="*/ 773395 w 956275"/>
                <a:gd name="connsiteY23" fmla="*/ 64008 h 578638"/>
                <a:gd name="connsiteX24" fmla="*/ 718531 w 956275"/>
                <a:gd name="connsiteY24" fmla="*/ 64008 h 578638"/>
                <a:gd name="connsiteX25" fmla="*/ 608803 w 956275"/>
                <a:gd name="connsiteY25" fmla="*/ 64008 h 578638"/>
                <a:gd name="connsiteX26" fmla="*/ 553939 w 956275"/>
                <a:gd name="connsiteY26" fmla="*/ 100584 h 578638"/>
                <a:gd name="connsiteX27" fmla="*/ 517363 w 956275"/>
                <a:gd name="connsiteY27" fmla="*/ 146304 h 578638"/>
                <a:gd name="connsiteX28" fmla="*/ 471643 w 956275"/>
                <a:gd name="connsiteY28" fmla="*/ 182880 h 578638"/>
                <a:gd name="connsiteX29" fmla="*/ 425923 w 956275"/>
                <a:gd name="connsiteY29" fmla="*/ 256032 h 578638"/>
                <a:gd name="connsiteX30" fmla="*/ 352771 w 956275"/>
                <a:gd name="connsiteY30" fmla="*/ 301752 h 578638"/>
                <a:gd name="connsiteX31" fmla="*/ 252187 w 956275"/>
                <a:gd name="connsiteY31" fmla="*/ 347472 h 578638"/>
                <a:gd name="connsiteX32" fmla="*/ 215611 w 956275"/>
                <a:gd name="connsiteY32" fmla="*/ 374904 h 578638"/>
                <a:gd name="connsiteX33" fmla="*/ 169891 w 956275"/>
                <a:gd name="connsiteY33" fmla="*/ 402336 h 578638"/>
                <a:gd name="connsiteX34" fmla="*/ 151603 w 956275"/>
                <a:gd name="connsiteY34" fmla="*/ 402336 h 578638"/>
                <a:gd name="connsiteX35" fmla="*/ 169891 w 956275"/>
                <a:gd name="connsiteY35" fmla="*/ 365760 h 578638"/>
                <a:gd name="connsiteX36" fmla="*/ 224755 w 956275"/>
                <a:gd name="connsiteY36" fmla="*/ 301752 h 578638"/>
                <a:gd name="connsiteX37" fmla="*/ 316195 w 956275"/>
                <a:gd name="connsiteY37" fmla="*/ 219456 h 578638"/>
                <a:gd name="connsiteX38" fmla="*/ 361915 w 956275"/>
                <a:gd name="connsiteY38" fmla="*/ 146304 h 578638"/>
                <a:gd name="connsiteX39" fmla="*/ 361915 w 956275"/>
                <a:gd name="connsiteY39" fmla="*/ 64008 h 578638"/>
                <a:gd name="connsiteX40" fmla="*/ 352771 w 956275"/>
                <a:gd name="connsiteY40" fmla="*/ 54864 h 578638"/>
                <a:gd name="connsiteX41" fmla="*/ 343627 w 956275"/>
                <a:gd name="connsiteY41" fmla="*/ 128016 h 578638"/>
                <a:gd name="connsiteX42" fmla="*/ 316195 w 956275"/>
                <a:gd name="connsiteY42" fmla="*/ 173736 h 578638"/>
                <a:gd name="connsiteX43" fmla="*/ 243043 w 956275"/>
                <a:gd name="connsiteY43" fmla="*/ 237744 h 578638"/>
                <a:gd name="connsiteX44" fmla="*/ 215611 w 956275"/>
                <a:gd name="connsiteY44" fmla="*/ 256032 h 578638"/>
                <a:gd name="connsiteX45" fmla="*/ 142459 w 956275"/>
                <a:gd name="connsiteY45" fmla="*/ 347472 h 578638"/>
                <a:gd name="connsiteX46" fmla="*/ 133315 w 956275"/>
                <a:gd name="connsiteY46" fmla="*/ 374904 h 578638"/>
                <a:gd name="connsiteX47" fmla="*/ 124171 w 956275"/>
                <a:gd name="connsiteY47" fmla="*/ 411480 h 578638"/>
                <a:gd name="connsiteX48" fmla="*/ 142459 w 956275"/>
                <a:gd name="connsiteY48" fmla="*/ 429768 h 578638"/>
                <a:gd name="connsiteX49" fmla="*/ 96739 w 956275"/>
                <a:gd name="connsiteY49" fmla="*/ 457200 h 578638"/>
                <a:gd name="connsiteX50" fmla="*/ 13820 w 956275"/>
                <a:gd name="connsiteY50" fmla="*/ 496783 h 578638"/>
                <a:gd name="connsiteX51" fmla="*/ 13820 w 956275"/>
                <a:gd name="connsiteY51" fmla="*/ 496784 h 578638"/>
                <a:gd name="connsiteX52" fmla="*/ 13820 w 956275"/>
                <a:gd name="connsiteY52" fmla="*/ 496784 h 578638"/>
                <a:gd name="connsiteX53" fmla="*/ 132458 w 956275"/>
                <a:gd name="connsiteY53" fmla="*/ 430387 h 578638"/>
                <a:gd name="connsiteX54" fmla="*/ 97137 w 956275"/>
                <a:gd name="connsiteY54" fmla="*/ 578638 h 578638"/>
                <a:gd name="connsiteX55" fmla="*/ 40672 w 956275"/>
                <a:gd name="connsiteY55" fmla="*/ 486852 h 578638"/>
                <a:gd name="connsiteX0" fmla="*/ 40672 w 956275"/>
                <a:gd name="connsiteY0" fmla="*/ 486852 h 503380"/>
                <a:gd name="connsiteX1" fmla="*/ 13820 w 956275"/>
                <a:gd name="connsiteY1" fmla="*/ 496784 h 503380"/>
                <a:gd name="connsiteX2" fmla="*/ 13820 w 956275"/>
                <a:gd name="connsiteY2" fmla="*/ 496784 h 503380"/>
                <a:gd name="connsiteX3" fmla="*/ 51019 w 956275"/>
                <a:gd name="connsiteY3" fmla="*/ 493776 h 503380"/>
                <a:gd name="connsiteX4" fmla="*/ 151603 w 956275"/>
                <a:gd name="connsiteY4" fmla="*/ 466344 h 503380"/>
                <a:gd name="connsiteX5" fmla="*/ 252187 w 956275"/>
                <a:gd name="connsiteY5" fmla="*/ 384048 h 503380"/>
                <a:gd name="connsiteX6" fmla="*/ 444211 w 956275"/>
                <a:gd name="connsiteY6" fmla="*/ 301752 h 503380"/>
                <a:gd name="connsiteX7" fmla="*/ 526507 w 956275"/>
                <a:gd name="connsiteY7" fmla="*/ 192024 h 503380"/>
                <a:gd name="connsiteX8" fmla="*/ 672811 w 956275"/>
                <a:gd name="connsiteY8" fmla="*/ 155448 h 503380"/>
                <a:gd name="connsiteX9" fmla="*/ 718531 w 956275"/>
                <a:gd name="connsiteY9" fmla="*/ 155448 h 503380"/>
                <a:gd name="connsiteX10" fmla="*/ 755107 w 956275"/>
                <a:gd name="connsiteY10" fmla="*/ 137160 h 503380"/>
                <a:gd name="connsiteX11" fmla="*/ 709387 w 956275"/>
                <a:gd name="connsiteY11" fmla="*/ 137160 h 503380"/>
                <a:gd name="connsiteX12" fmla="*/ 617947 w 956275"/>
                <a:gd name="connsiteY12" fmla="*/ 137160 h 503380"/>
                <a:gd name="connsiteX13" fmla="*/ 563083 w 956275"/>
                <a:gd name="connsiteY13" fmla="*/ 146304 h 503380"/>
                <a:gd name="connsiteX14" fmla="*/ 553939 w 956275"/>
                <a:gd name="connsiteY14" fmla="*/ 155448 h 503380"/>
                <a:gd name="connsiteX15" fmla="*/ 535651 w 956275"/>
                <a:gd name="connsiteY15" fmla="*/ 146304 h 503380"/>
                <a:gd name="connsiteX16" fmla="*/ 663667 w 956275"/>
                <a:gd name="connsiteY16" fmla="*/ 91440 h 503380"/>
                <a:gd name="connsiteX17" fmla="*/ 718531 w 956275"/>
                <a:gd name="connsiteY17" fmla="*/ 91440 h 503380"/>
                <a:gd name="connsiteX18" fmla="*/ 809971 w 956275"/>
                <a:gd name="connsiteY18" fmla="*/ 82296 h 503380"/>
                <a:gd name="connsiteX19" fmla="*/ 937987 w 956275"/>
                <a:gd name="connsiteY19" fmla="*/ 27432 h 503380"/>
                <a:gd name="connsiteX20" fmla="*/ 919699 w 956275"/>
                <a:gd name="connsiteY20" fmla="*/ 0 h 503380"/>
                <a:gd name="connsiteX21" fmla="*/ 883123 w 956275"/>
                <a:gd name="connsiteY21" fmla="*/ 27432 h 503380"/>
                <a:gd name="connsiteX22" fmla="*/ 846547 w 956275"/>
                <a:gd name="connsiteY22" fmla="*/ 36576 h 503380"/>
                <a:gd name="connsiteX23" fmla="*/ 773395 w 956275"/>
                <a:gd name="connsiteY23" fmla="*/ 64008 h 503380"/>
                <a:gd name="connsiteX24" fmla="*/ 718531 w 956275"/>
                <a:gd name="connsiteY24" fmla="*/ 64008 h 503380"/>
                <a:gd name="connsiteX25" fmla="*/ 608803 w 956275"/>
                <a:gd name="connsiteY25" fmla="*/ 64008 h 503380"/>
                <a:gd name="connsiteX26" fmla="*/ 553939 w 956275"/>
                <a:gd name="connsiteY26" fmla="*/ 100584 h 503380"/>
                <a:gd name="connsiteX27" fmla="*/ 517363 w 956275"/>
                <a:gd name="connsiteY27" fmla="*/ 146304 h 503380"/>
                <a:gd name="connsiteX28" fmla="*/ 471643 w 956275"/>
                <a:gd name="connsiteY28" fmla="*/ 182880 h 503380"/>
                <a:gd name="connsiteX29" fmla="*/ 425923 w 956275"/>
                <a:gd name="connsiteY29" fmla="*/ 256032 h 503380"/>
                <a:gd name="connsiteX30" fmla="*/ 352771 w 956275"/>
                <a:gd name="connsiteY30" fmla="*/ 301752 h 503380"/>
                <a:gd name="connsiteX31" fmla="*/ 252187 w 956275"/>
                <a:gd name="connsiteY31" fmla="*/ 347472 h 503380"/>
                <a:gd name="connsiteX32" fmla="*/ 215611 w 956275"/>
                <a:gd name="connsiteY32" fmla="*/ 374904 h 503380"/>
                <a:gd name="connsiteX33" fmla="*/ 169891 w 956275"/>
                <a:gd name="connsiteY33" fmla="*/ 402336 h 503380"/>
                <a:gd name="connsiteX34" fmla="*/ 151603 w 956275"/>
                <a:gd name="connsiteY34" fmla="*/ 402336 h 503380"/>
                <a:gd name="connsiteX35" fmla="*/ 169891 w 956275"/>
                <a:gd name="connsiteY35" fmla="*/ 365760 h 503380"/>
                <a:gd name="connsiteX36" fmla="*/ 224755 w 956275"/>
                <a:gd name="connsiteY36" fmla="*/ 301752 h 503380"/>
                <a:gd name="connsiteX37" fmla="*/ 316195 w 956275"/>
                <a:gd name="connsiteY37" fmla="*/ 219456 h 503380"/>
                <a:gd name="connsiteX38" fmla="*/ 361915 w 956275"/>
                <a:gd name="connsiteY38" fmla="*/ 146304 h 503380"/>
                <a:gd name="connsiteX39" fmla="*/ 361915 w 956275"/>
                <a:gd name="connsiteY39" fmla="*/ 64008 h 503380"/>
                <a:gd name="connsiteX40" fmla="*/ 352771 w 956275"/>
                <a:gd name="connsiteY40" fmla="*/ 54864 h 503380"/>
                <a:gd name="connsiteX41" fmla="*/ 343627 w 956275"/>
                <a:gd name="connsiteY41" fmla="*/ 128016 h 503380"/>
                <a:gd name="connsiteX42" fmla="*/ 316195 w 956275"/>
                <a:gd name="connsiteY42" fmla="*/ 173736 h 503380"/>
                <a:gd name="connsiteX43" fmla="*/ 243043 w 956275"/>
                <a:gd name="connsiteY43" fmla="*/ 237744 h 503380"/>
                <a:gd name="connsiteX44" fmla="*/ 215611 w 956275"/>
                <a:gd name="connsiteY44" fmla="*/ 256032 h 503380"/>
                <a:gd name="connsiteX45" fmla="*/ 142459 w 956275"/>
                <a:gd name="connsiteY45" fmla="*/ 347472 h 503380"/>
                <a:gd name="connsiteX46" fmla="*/ 133315 w 956275"/>
                <a:gd name="connsiteY46" fmla="*/ 374904 h 503380"/>
                <a:gd name="connsiteX47" fmla="*/ 124171 w 956275"/>
                <a:gd name="connsiteY47" fmla="*/ 411480 h 503380"/>
                <a:gd name="connsiteX48" fmla="*/ 142459 w 956275"/>
                <a:gd name="connsiteY48" fmla="*/ 429768 h 503380"/>
                <a:gd name="connsiteX49" fmla="*/ 96739 w 956275"/>
                <a:gd name="connsiteY49" fmla="*/ 457200 h 503380"/>
                <a:gd name="connsiteX50" fmla="*/ 13820 w 956275"/>
                <a:gd name="connsiteY50" fmla="*/ 496783 h 503380"/>
                <a:gd name="connsiteX51" fmla="*/ 13820 w 956275"/>
                <a:gd name="connsiteY51" fmla="*/ 496784 h 503380"/>
                <a:gd name="connsiteX52" fmla="*/ 13820 w 956275"/>
                <a:gd name="connsiteY52" fmla="*/ 496784 h 503380"/>
                <a:gd name="connsiteX53" fmla="*/ 132458 w 956275"/>
                <a:gd name="connsiteY53" fmla="*/ 430387 h 503380"/>
                <a:gd name="connsiteX54" fmla="*/ 40672 w 956275"/>
                <a:gd name="connsiteY54" fmla="*/ 486852 h 503380"/>
                <a:gd name="connsiteX55" fmla="*/ 40672 w 956275"/>
                <a:gd name="connsiteY55" fmla="*/ 486852 h 503380"/>
                <a:gd name="connsiteX0" fmla="*/ 40672 w 956275"/>
                <a:gd name="connsiteY0" fmla="*/ 486852 h 503380"/>
                <a:gd name="connsiteX1" fmla="*/ 13820 w 956275"/>
                <a:gd name="connsiteY1" fmla="*/ 496784 h 503380"/>
                <a:gd name="connsiteX2" fmla="*/ 13820 w 956275"/>
                <a:gd name="connsiteY2" fmla="*/ 496784 h 503380"/>
                <a:gd name="connsiteX3" fmla="*/ 51019 w 956275"/>
                <a:gd name="connsiteY3" fmla="*/ 493776 h 503380"/>
                <a:gd name="connsiteX4" fmla="*/ 151603 w 956275"/>
                <a:gd name="connsiteY4" fmla="*/ 466344 h 503380"/>
                <a:gd name="connsiteX5" fmla="*/ 252187 w 956275"/>
                <a:gd name="connsiteY5" fmla="*/ 384048 h 503380"/>
                <a:gd name="connsiteX6" fmla="*/ 444211 w 956275"/>
                <a:gd name="connsiteY6" fmla="*/ 301752 h 503380"/>
                <a:gd name="connsiteX7" fmla="*/ 526507 w 956275"/>
                <a:gd name="connsiteY7" fmla="*/ 192024 h 503380"/>
                <a:gd name="connsiteX8" fmla="*/ 672811 w 956275"/>
                <a:gd name="connsiteY8" fmla="*/ 155448 h 503380"/>
                <a:gd name="connsiteX9" fmla="*/ 718531 w 956275"/>
                <a:gd name="connsiteY9" fmla="*/ 155448 h 503380"/>
                <a:gd name="connsiteX10" fmla="*/ 755107 w 956275"/>
                <a:gd name="connsiteY10" fmla="*/ 137160 h 503380"/>
                <a:gd name="connsiteX11" fmla="*/ 709387 w 956275"/>
                <a:gd name="connsiteY11" fmla="*/ 137160 h 503380"/>
                <a:gd name="connsiteX12" fmla="*/ 617947 w 956275"/>
                <a:gd name="connsiteY12" fmla="*/ 137160 h 503380"/>
                <a:gd name="connsiteX13" fmla="*/ 563083 w 956275"/>
                <a:gd name="connsiteY13" fmla="*/ 146304 h 503380"/>
                <a:gd name="connsiteX14" fmla="*/ 553939 w 956275"/>
                <a:gd name="connsiteY14" fmla="*/ 155448 h 503380"/>
                <a:gd name="connsiteX15" fmla="*/ 535651 w 956275"/>
                <a:gd name="connsiteY15" fmla="*/ 146304 h 503380"/>
                <a:gd name="connsiteX16" fmla="*/ 663667 w 956275"/>
                <a:gd name="connsiteY16" fmla="*/ 91440 h 503380"/>
                <a:gd name="connsiteX17" fmla="*/ 718531 w 956275"/>
                <a:gd name="connsiteY17" fmla="*/ 91440 h 503380"/>
                <a:gd name="connsiteX18" fmla="*/ 809971 w 956275"/>
                <a:gd name="connsiteY18" fmla="*/ 82296 h 503380"/>
                <a:gd name="connsiteX19" fmla="*/ 937987 w 956275"/>
                <a:gd name="connsiteY19" fmla="*/ 27432 h 503380"/>
                <a:gd name="connsiteX20" fmla="*/ 919699 w 956275"/>
                <a:gd name="connsiteY20" fmla="*/ 0 h 503380"/>
                <a:gd name="connsiteX21" fmla="*/ 883123 w 956275"/>
                <a:gd name="connsiteY21" fmla="*/ 27432 h 503380"/>
                <a:gd name="connsiteX22" fmla="*/ 846547 w 956275"/>
                <a:gd name="connsiteY22" fmla="*/ 36576 h 503380"/>
                <a:gd name="connsiteX23" fmla="*/ 773395 w 956275"/>
                <a:gd name="connsiteY23" fmla="*/ 64008 h 503380"/>
                <a:gd name="connsiteX24" fmla="*/ 718531 w 956275"/>
                <a:gd name="connsiteY24" fmla="*/ 64008 h 503380"/>
                <a:gd name="connsiteX25" fmla="*/ 608803 w 956275"/>
                <a:gd name="connsiteY25" fmla="*/ 64008 h 503380"/>
                <a:gd name="connsiteX26" fmla="*/ 553939 w 956275"/>
                <a:gd name="connsiteY26" fmla="*/ 100584 h 503380"/>
                <a:gd name="connsiteX27" fmla="*/ 517363 w 956275"/>
                <a:gd name="connsiteY27" fmla="*/ 146304 h 503380"/>
                <a:gd name="connsiteX28" fmla="*/ 471643 w 956275"/>
                <a:gd name="connsiteY28" fmla="*/ 182880 h 503380"/>
                <a:gd name="connsiteX29" fmla="*/ 425923 w 956275"/>
                <a:gd name="connsiteY29" fmla="*/ 256032 h 503380"/>
                <a:gd name="connsiteX30" fmla="*/ 352771 w 956275"/>
                <a:gd name="connsiteY30" fmla="*/ 301752 h 503380"/>
                <a:gd name="connsiteX31" fmla="*/ 252187 w 956275"/>
                <a:gd name="connsiteY31" fmla="*/ 347472 h 503380"/>
                <a:gd name="connsiteX32" fmla="*/ 215611 w 956275"/>
                <a:gd name="connsiteY32" fmla="*/ 374904 h 503380"/>
                <a:gd name="connsiteX33" fmla="*/ 169891 w 956275"/>
                <a:gd name="connsiteY33" fmla="*/ 402336 h 503380"/>
                <a:gd name="connsiteX34" fmla="*/ 151603 w 956275"/>
                <a:gd name="connsiteY34" fmla="*/ 402336 h 503380"/>
                <a:gd name="connsiteX35" fmla="*/ 169891 w 956275"/>
                <a:gd name="connsiteY35" fmla="*/ 365760 h 503380"/>
                <a:gd name="connsiteX36" fmla="*/ 224755 w 956275"/>
                <a:gd name="connsiteY36" fmla="*/ 301752 h 503380"/>
                <a:gd name="connsiteX37" fmla="*/ 316195 w 956275"/>
                <a:gd name="connsiteY37" fmla="*/ 219456 h 503380"/>
                <a:gd name="connsiteX38" fmla="*/ 361915 w 956275"/>
                <a:gd name="connsiteY38" fmla="*/ 146304 h 503380"/>
                <a:gd name="connsiteX39" fmla="*/ 361915 w 956275"/>
                <a:gd name="connsiteY39" fmla="*/ 64008 h 503380"/>
                <a:gd name="connsiteX40" fmla="*/ 352771 w 956275"/>
                <a:gd name="connsiteY40" fmla="*/ 54864 h 503380"/>
                <a:gd name="connsiteX41" fmla="*/ 343627 w 956275"/>
                <a:gd name="connsiteY41" fmla="*/ 128016 h 503380"/>
                <a:gd name="connsiteX42" fmla="*/ 316195 w 956275"/>
                <a:gd name="connsiteY42" fmla="*/ 173736 h 503380"/>
                <a:gd name="connsiteX43" fmla="*/ 243043 w 956275"/>
                <a:gd name="connsiteY43" fmla="*/ 237744 h 503380"/>
                <a:gd name="connsiteX44" fmla="*/ 215611 w 956275"/>
                <a:gd name="connsiteY44" fmla="*/ 256032 h 503380"/>
                <a:gd name="connsiteX45" fmla="*/ 142459 w 956275"/>
                <a:gd name="connsiteY45" fmla="*/ 347472 h 503380"/>
                <a:gd name="connsiteX46" fmla="*/ 133315 w 956275"/>
                <a:gd name="connsiteY46" fmla="*/ 374904 h 503380"/>
                <a:gd name="connsiteX47" fmla="*/ 124171 w 956275"/>
                <a:gd name="connsiteY47" fmla="*/ 411480 h 503380"/>
                <a:gd name="connsiteX48" fmla="*/ 142459 w 956275"/>
                <a:gd name="connsiteY48" fmla="*/ 429768 h 503380"/>
                <a:gd name="connsiteX49" fmla="*/ 96739 w 956275"/>
                <a:gd name="connsiteY49" fmla="*/ 457200 h 503380"/>
                <a:gd name="connsiteX50" fmla="*/ 13820 w 956275"/>
                <a:gd name="connsiteY50" fmla="*/ 496783 h 503380"/>
                <a:gd name="connsiteX51" fmla="*/ 13820 w 956275"/>
                <a:gd name="connsiteY51" fmla="*/ 496784 h 503380"/>
                <a:gd name="connsiteX52" fmla="*/ 40672 w 956275"/>
                <a:gd name="connsiteY52" fmla="*/ 486851 h 503380"/>
                <a:gd name="connsiteX53" fmla="*/ 132458 w 956275"/>
                <a:gd name="connsiteY53" fmla="*/ 430387 h 503380"/>
                <a:gd name="connsiteX54" fmla="*/ 40672 w 956275"/>
                <a:gd name="connsiteY54" fmla="*/ 486852 h 503380"/>
                <a:gd name="connsiteX55" fmla="*/ 40672 w 956275"/>
                <a:gd name="connsiteY55" fmla="*/ 486852 h 503380"/>
                <a:gd name="connsiteX0" fmla="*/ 97137 w 956275"/>
                <a:gd name="connsiteY0" fmla="*/ 578637 h 578637"/>
                <a:gd name="connsiteX1" fmla="*/ 13820 w 956275"/>
                <a:gd name="connsiteY1" fmla="*/ 496784 h 578637"/>
                <a:gd name="connsiteX2" fmla="*/ 13820 w 956275"/>
                <a:gd name="connsiteY2" fmla="*/ 496784 h 578637"/>
                <a:gd name="connsiteX3" fmla="*/ 51019 w 956275"/>
                <a:gd name="connsiteY3" fmla="*/ 493776 h 578637"/>
                <a:gd name="connsiteX4" fmla="*/ 151603 w 956275"/>
                <a:gd name="connsiteY4" fmla="*/ 466344 h 578637"/>
                <a:gd name="connsiteX5" fmla="*/ 252187 w 956275"/>
                <a:gd name="connsiteY5" fmla="*/ 384048 h 578637"/>
                <a:gd name="connsiteX6" fmla="*/ 444211 w 956275"/>
                <a:gd name="connsiteY6" fmla="*/ 301752 h 578637"/>
                <a:gd name="connsiteX7" fmla="*/ 526507 w 956275"/>
                <a:gd name="connsiteY7" fmla="*/ 192024 h 578637"/>
                <a:gd name="connsiteX8" fmla="*/ 672811 w 956275"/>
                <a:gd name="connsiteY8" fmla="*/ 155448 h 578637"/>
                <a:gd name="connsiteX9" fmla="*/ 718531 w 956275"/>
                <a:gd name="connsiteY9" fmla="*/ 155448 h 578637"/>
                <a:gd name="connsiteX10" fmla="*/ 755107 w 956275"/>
                <a:gd name="connsiteY10" fmla="*/ 137160 h 578637"/>
                <a:gd name="connsiteX11" fmla="*/ 709387 w 956275"/>
                <a:gd name="connsiteY11" fmla="*/ 137160 h 578637"/>
                <a:gd name="connsiteX12" fmla="*/ 617947 w 956275"/>
                <a:gd name="connsiteY12" fmla="*/ 137160 h 578637"/>
                <a:gd name="connsiteX13" fmla="*/ 563083 w 956275"/>
                <a:gd name="connsiteY13" fmla="*/ 146304 h 578637"/>
                <a:gd name="connsiteX14" fmla="*/ 553939 w 956275"/>
                <a:gd name="connsiteY14" fmla="*/ 155448 h 578637"/>
                <a:gd name="connsiteX15" fmla="*/ 535651 w 956275"/>
                <a:gd name="connsiteY15" fmla="*/ 146304 h 578637"/>
                <a:gd name="connsiteX16" fmla="*/ 663667 w 956275"/>
                <a:gd name="connsiteY16" fmla="*/ 91440 h 578637"/>
                <a:gd name="connsiteX17" fmla="*/ 718531 w 956275"/>
                <a:gd name="connsiteY17" fmla="*/ 91440 h 578637"/>
                <a:gd name="connsiteX18" fmla="*/ 809971 w 956275"/>
                <a:gd name="connsiteY18" fmla="*/ 82296 h 578637"/>
                <a:gd name="connsiteX19" fmla="*/ 937987 w 956275"/>
                <a:gd name="connsiteY19" fmla="*/ 27432 h 578637"/>
                <a:gd name="connsiteX20" fmla="*/ 919699 w 956275"/>
                <a:gd name="connsiteY20" fmla="*/ 0 h 578637"/>
                <a:gd name="connsiteX21" fmla="*/ 883123 w 956275"/>
                <a:gd name="connsiteY21" fmla="*/ 27432 h 578637"/>
                <a:gd name="connsiteX22" fmla="*/ 846547 w 956275"/>
                <a:gd name="connsiteY22" fmla="*/ 36576 h 578637"/>
                <a:gd name="connsiteX23" fmla="*/ 773395 w 956275"/>
                <a:gd name="connsiteY23" fmla="*/ 64008 h 578637"/>
                <a:gd name="connsiteX24" fmla="*/ 718531 w 956275"/>
                <a:gd name="connsiteY24" fmla="*/ 64008 h 578637"/>
                <a:gd name="connsiteX25" fmla="*/ 608803 w 956275"/>
                <a:gd name="connsiteY25" fmla="*/ 64008 h 578637"/>
                <a:gd name="connsiteX26" fmla="*/ 553939 w 956275"/>
                <a:gd name="connsiteY26" fmla="*/ 100584 h 578637"/>
                <a:gd name="connsiteX27" fmla="*/ 517363 w 956275"/>
                <a:gd name="connsiteY27" fmla="*/ 146304 h 578637"/>
                <a:gd name="connsiteX28" fmla="*/ 471643 w 956275"/>
                <a:gd name="connsiteY28" fmla="*/ 182880 h 578637"/>
                <a:gd name="connsiteX29" fmla="*/ 425923 w 956275"/>
                <a:gd name="connsiteY29" fmla="*/ 256032 h 578637"/>
                <a:gd name="connsiteX30" fmla="*/ 352771 w 956275"/>
                <a:gd name="connsiteY30" fmla="*/ 301752 h 578637"/>
                <a:gd name="connsiteX31" fmla="*/ 252187 w 956275"/>
                <a:gd name="connsiteY31" fmla="*/ 347472 h 578637"/>
                <a:gd name="connsiteX32" fmla="*/ 215611 w 956275"/>
                <a:gd name="connsiteY32" fmla="*/ 374904 h 578637"/>
                <a:gd name="connsiteX33" fmla="*/ 169891 w 956275"/>
                <a:gd name="connsiteY33" fmla="*/ 402336 h 578637"/>
                <a:gd name="connsiteX34" fmla="*/ 151603 w 956275"/>
                <a:gd name="connsiteY34" fmla="*/ 402336 h 578637"/>
                <a:gd name="connsiteX35" fmla="*/ 169891 w 956275"/>
                <a:gd name="connsiteY35" fmla="*/ 365760 h 578637"/>
                <a:gd name="connsiteX36" fmla="*/ 224755 w 956275"/>
                <a:gd name="connsiteY36" fmla="*/ 301752 h 578637"/>
                <a:gd name="connsiteX37" fmla="*/ 316195 w 956275"/>
                <a:gd name="connsiteY37" fmla="*/ 219456 h 578637"/>
                <a:gd name="connsiteX38" fmla="*/ 361915 w 956275"/>
                <a:gd name="connsiteY38" fmla="*/ 146304 h 578637"/>
                <a:gd name="connsiteX39" fmla="*/ 361915 w 956275"/>
                <a:gd name="connsiteY39" fmla="*/ 64008 h 578637"/>
                <a:gd name="connsiteX40" fmla="*/ 352771 w 956275"/>
                <a:gd name="connsiteY40" fmla="*/ 54864 h 578637"/>
                <a:gd name="connsiteX41" fmla="*/ 343627 w 956275"/>
                <a:gd name="connsiteY41" fmla="*/ 128016 h 578637"/>
                <a:gd name="connsiteX42" fmla="*/ 316195 w 956275"/>
                <a:gd name="connsiteY42" fmla="*/ 173736 h 578637"/>
                <a:gd name="connsiteX43" fmla="*/ 243043 w 956275"/>
                <a:gd name="connsiteY43" fmla="*/ 237744 h 578637"/>
                <a:gd name="connsiteX44" fmla="*/ 215611 w 956275"/>
                <a:gd name="connsiteY44" fmla="*/ 256032 h 578637"/>
                <a:gd name="connsiteX45" fmla="*/ 142459 w 956275"/>
                <a:gd name="connsiteY45" fmla="*/ 347472 h 578637"/>
                <a:gd name="connsiteX46" fmla="*/ 133315 w 956275"/>
                <a:gd name="connsiteY46" fmla="*/ 374904 h 578637"/>
                <a:gd name="connsiteX47" fmla="*/ 124171 w 956275"/>
                <a:gd name="connsiteY47" fmla="*/ 411480 h 578637"/>
                <a:gd name="connsiteX48" fmla="*/ 142459 w 956275"/>
                <a:gd name="connsiteY48" fmla="*/ 429768 h 578637"/>
                <a:gd name="connsiteX49" fmla="*/ 96739 w 956275"/>
                <a:gd name="connsiteY49" fmla="*/ 457200 h 578637"/>
                <a:gd name="connsiteX50" fmla="*/ 13820 w 956275"/>
                <a:gd name="connsiteY50" fmla="*/ 496783 h 578637"/>
                <a:gd name="connsiteX51" fmla="*/ 13820 w 956275"/>
                <a:gd name="connsiteY51" fmla="*/ 496784 h 578637"/>
                <a:gd name="connsiteX52" fmla="*/ 40672 w 956275"/>
                <a:gd name="connsiteY52" fmla="*/ 486851 h 578637"/>
                <a:gd name="connsiteX53" fmla="*/ 132458 w 956275"/>
                <a:gd name="connsiteY53" fmla="*/ 430387 h 578637"/>
                <a:gd name="connsiteX54" fmla="*/ 40672 w 956275"/>
                <a:gd name="connsiteY54" fmla="*/ 486852 h 578637"/>
                <a:gd name="connsiteX55" fmla="*/ 97137 w 956275"/>
                <a:gd name="connsiteY55" fmla="*/ 578637 h 578637"/>
                <a:gd name="connsiteX0" fmla="*/ 97137 w 956275"/>
                <a:gd name="connsiteY0" fmla="*/ 578637 h 578637"/>
                <a:gd name="connsiteX1" fmla="*/ 13820 w 956275"/>
                <a:gd name="connsiteY1" fmla="*/ 496784 h 578637"/>
                <a:gd name="connsiteX2" fmla="*/ 13820 w 956275"/>
                <a:gd name="connsiteY2" fmla="*/ 496784 h 578637"/>
                <a:gd name="connsiteX3" fmla="*/ 51019 w 956275"/>
                <a:gd name="connsiteY3" fmla="*/ 493776 h 578637"/>
                <a:gd name="connsiteX4" fmla="*/ 151603 w 956275"/>
                <a:gd name="connsiteY4" fmla="*/ 466344 h 578637"/>
                <a:gd name="connsiteX5" fmla="*/ 252187 w 956275"/>
                <a:gd name="connsiteY5" fmla="*/ 384048 h 578637"/>
                <a:gd name="connsiteX6" fmla="*/ 444211 w 956275"/>
                <a:gd name="connsiteY6" fmla="*/ 301752 h 578637"/>
                <a:gd name="connsiteX7" fmla="*/ 526507 w 956275"/>
                <a:gd name="connsiteY7" fmla="*/ 192024 h 578637"/>
                <a:gd name="connsiteX8" fmla="*/ 672811 w 956275"/>
                <a:gd name="connsiteY8" fmla="*/ 155448 h 578637"/>
                <a:gd name="connsiteX9" fmla="*/ 718531 w 956275"/>
                <a:gd name="connsiteY9" fmla="*/ 155448 h 578637"/>
                <a:gd name="connsiteX10" fmla="*/ 755107 w 956275"/>
                <a:gd name="connsiteY10" fmla="*/ 137160 h 578637"/>
                <a:gd name="connsiteX11" fmla="*/ 709387 w 956275"/>
                <a:gd name="connsiteY11" fmla="*/ 137160 h 578637"/>
                <a:gd name="connsiteX12" fmla="*/ 617947 w 956275"/>
                <a:gd name="connsiteY12" fmla="*/ 137160 h 578637"/>
                <a:gd name="connsiteX13" fmla="*/ 563083 w 956275"/>
                <a:gd name="connsiteY13" fmla="*/ 146304 h 578637"/>
                <a:gd name="connsiteX14" fmla="*/ 553939 w 956275"/>
                <a:gd name="connsiteY14" fmla="*/ 155448 h 578637"/>
                <a:gd name="connsiteX15" fmla="*/ 535651 w 956275"/>
                <a:gd name="connsiteY15" fmla="*/ 146304 h 578637"/>
                <a:gd name="connsiteX16" fmla="*/ 663667 w 956275"/>
                <a:gd name="connsiteY16" fmla="*/ 91440 h 578637"/>
                <a:gd name="connsiteX17" fmla="*/ 718531 w 956275"/>
                <a:gd name="connsiteY17" fmla="*/ 91440 h 578637"/>
                <a:gd name="connsiteX18" fmla="*/ 809971 w 956275"/>
                <a:gd name="connsiteY18" fmla="*/ 82296 h 578637"/>
                <a:gd name="connsiteX19" fmla="*/ 937987 w 956275"/>
                <a:gd name="connsiteY19" fmla="*/ 27432 h 578637"/>
                <a:gd name="connsiteX20" fmla="*/ 919699 w 956275"/>
                <a:gd name="connsiteY20" fmla="*/ 0 h 578637"/>
                <a:gd name="connsiteX21" fmla="*/ 883123 w 956275"/>
                <a:gd name="connsiteY21" fmla="*/ 27432 h 578637"/>
                <a:gd name="connsiteX22" fmla="*/ 846547 w 956275"/>
                <a:gd name="connsiteY22" fmla="*/ 36576 h 578637"/>
                <a:gd name="connsiteX23" fmla="*/ 773395 w 956275"/>
                <a:gd name="connsiteY23" fmla="*/ 64008 h 578637"/>
                <a:gd name="connsiteX24" fmla="*/ 718531 w 956275"/>
                <a:gd name="connsiteY24" fmla="*/ 64008 h 578637"/>
                <a:gd name="connsiteX25" fmla="*/ 608803 w 956275"/>
                <a:gd name="connsiteY25" fmla="*/ 64008 h 578637"/>
                <a:gd name="connsiteX26" fmla="*/ 553939 w 956275"/>
                <a:gd name="connsiteY26" fmla="*/ 100584 h 578637"/>
                <a:gd name="connsiteX27" fmla="*/ 517363 w 956275"/>
                <a:gd name="connsiteY27" fmla="*/ 146304 h 578637"/>
                <a:gd name="connsiteX28" fmla="*/ 471643 w 956275"/>
                <a:gd name="connsiteY28" fmla="*/ 182880 h 578637"/>
                <a:gd name="connsiteX29" fmla="*/ 425923 w 956275"/>
                <a:gd name="connsiteY29" fmla="*/ 256032 h 578637"/>
                <a:gd name="connsiteX30" fmla="*/ 352771 w 956275"/>
                <a:gd name="connsiteY30" fmla="*/ 301752 h 578637"/>
                <a:gd name="connsiteX31" fmla="*/ 252187 w 956275"/>
                <a:gd name="connsiteY31" fmla="*/ 347472 h 578637"/>
                <a:gd name="connsiteX32" fmla="*/ 215611 w 956275"/>
                <a:gd name="connsiteY32" fmla="*/ 374904 h 578637"/>
                <a:gd name="connsiteX33" fmla="*/ 169891 w 956275"/>
                <a:gd name="connsiteY33" fmla="*/ 402336 h 578637"/>
                <a:gd name="connsiteX34" fmla="*/ 151603 w 956275"/>
                <a:gd name="connsiteY34" fmla="*/ 402336 h 578637"/>
                <a:gd name="connsiteX35" fmla="*/ 169891 w 956275"/>
                <a:gd name="connsiteY35" fmla="*/ 365760 h 578637"/>
                <a:gd name="connsiteX36" fmla="*/ 224755 w 956275"/>
                <a:gd name="connsiteY36" fmla="*/ 301752 h 578637"/>
                <a:gd name="connsiteX37" fmla="*/ 316195 w 956275"/>
                <a:gd name="connsiteY37" fmla="*/ 219456 h 578637"/>
                <a:gd name="connsiteX38" fmla="*/ 361915 w 956275"/>
                <a:gd name="connsiteY38" fmla="*/ 146304 h 578637"/>
                <a:gd name="connsiteX39" fmla="*/ 361915 w 956275"/>
                <a:gd name="connsiteY39" fmla="*/ 64008 h 578637"/>
                <a:gd name="connsiteX40" fmla="*/ 352771 w 956275"/>
                <a:gd name="connsiteY40" fmla="*/ 54864 h 578637"/>
                <a:gd name="connsiteX41" fmla="*/ 343627 w 956275"/>
                <a:gd name="connsiteY41" fmla="*/ 128016 h 578637"/>
                <a:gd name="connsiteX42" fmla="*/ 316195 w 956275"/>
                <a:gd name="connsiteY42" fmla="*/ 173736 h 578637"/>
                <a:gd name="connsiteX43" fmla="*/ 243043 w 956275"/>
                <a:gd name="connsiteY43" fmla="*/ 237744 h 578637"/>
                <a:gd name="connsiteX44" fmla="*/ 215611 w 956275"/>
                <a:gd name="connsiteY44" fmla="*/ 256032 h 578637"/>
                <a:gd name="connsiteX45" fmla="*/ 142459 w 956275"/>
                <a:gd name="connsiteY45" fmla="*/ 347472 h 578637"/>
                <a:gd name="connsiteX46" fmla="*/ 133315 w 956275"/>
                <a:gd name="connsiteY46" fmla="*/ 374904 h 578637"/>
                <a:gd name="connsiteX47" fmla="*/ 124171 w 956275"/>
                <a:gd name="connsiteY47" fmla="*/ 411480 h 578637"/>
                <a:gd name="connsiteX48" fmla="*/ 142459 w 956275"/>
                <a:gd name="connsiteY48" fmla="*/ 429768 h 578637"/>
                <a:gd name="connsiteX49" fmla="*/ 96739 w 956275"/>
                <a:gd name="connsiteY49" fmla="*/ 457200 h 578637"/>
                <a:gd name="connsiteX50" fmla="*/ 13820 w 956275"/>
                <a:gd name="connsiteY50" fmla="*/ 496783 h 578637"/>
                <a:gd name="connsiteX51" fmla="*/ 13820 w 956275"/>
                <a:gd name="connsiteY51" fmla="*/ 496784 h 578637"/>
                <a:gd name="connsiteX52" fmla="*/ 40672 w 956275"/>
                <a:gd name="connsiteY52" fmla="*/ 486851 h 578637"/>
                <a:gd name="connsiteX53" fmla="*/ 132458 w 956275"/>
                <a:gd name="connsiteY53" fmla="*/ 430387 h 578637"/>
                <a:gd name="connsiteX54" fmla="*/ 97137 w 956275"/>
                <a:gd name="connsiteY54" fmla="*/ 578637 h 578637"/>
                <a:gd name="connsiteX55" fmla="*/ 97137 w 956275"/>
                <a:gd name="connsiteY55" fmla="*/ 578637 h 578637"/>
                <a:gd name="connsiteX0" fmla="*/ 97137 w 956275"/>
                <a:gd name="connsiteY0" fmla="*/ 578637 h 578637"/>
                <a:gd name="connsiteX1" fmla="*/ 13820 w 956275"/>
                <a:gd name="connsiteY1" fmla="*/ 496784 h 578637"/>
                <a:gd name="connsiteX2" fmla="*/ 13820 w 956275"/>
                <a:gd name="connsiteY2" fmla="*/ 496784 h 578637"/>
                <a:gd name="connsiteX3" fmla="*/ 51019 w 956275"/>
                <a:gd name="connsiteY3" fmla="*/ 493776 h 578637"/>
                <a:gd name="connsiteX4" fmla="*/ 151603 w 956275"/>
                <a:gd name="connsiteY4" fmla="*/ 466344 h 578637"/>
                <a:gd name="connsiteX5" fmla="*/ 252187 w 956275"/>
                <a:gd name="connsiteY5" fmla="*/ 384048 h 578637"/>
                <a:gd name="connsiteX6" fmla="*/ 444211 w 956275"/>
                <a:gd name="connsiteY6" fmla="*/ 301752 h 578637"/>
                <a:gd name="connsiteX7" fmla="*/ 526507 w 956275"/>
                <a:gd name="connsiteY7" fmla="*/ 192024 h 578637"/>
                <a:gd name="connsiteX8" fmla="*/ 672811 w 956275"/>
                <a:gd name="connsiteY8" fmla="*/ 155448 h 578637"/>
                <a:gd name="connsiteX9" fmla="*/ 718531 w 956275"/>
                <a:gd name="connsiteY9" fmla="*/ 155448 h 578637"/>
                <a:gd name="connsiteX10" fmla="*/ 755107 w 956275"/>
                <a:gd name="connsiteY10" fmla="*/ 137160 h 578637"/>
                <a:gd name="connsiteX11" fmla="*/ 709387 w 956275"/>
                <a:gd name="connsiteY11" fmla="*/ 137160 h 578637"/>
                <a:gd name="connsiteX12" fmla="*/ 617947 w 956275"/>
                <a:gd name="connsiteY12" fmla="*/ 137160 h 578637"/>
                <a:gd name="connsiteX13" fmla="*/ 563083 w 956275"/>
                <a:gd name="connsiteY13" fmla="*/ 146304 h 578637"/>
                <a:gd name="connsiteX14" fmla="*/ 553939 w 956275"/>
                <a:gd name="connsiteY14" fmla="*/ 155448 h 578637"/>
                <a:gd name="connsiteX15" fmla="*/ 535651 w 956275"/>
                <a:gd name="connsiteY15" fmla="*/ 146304 h 578637"/>
                <a:gd name="connsiteX16" fmla="*/ 663667 w 956275"/>
                <a:gd name="connsiteY16" fmla="*/ 91440 h 578637"/>
                <a:gd name="connsiteX17" fmla="*/ 718531 w 956275"/>
                <a:gd name="connsiteY17" fmla="*/ 91440 h 578637"/>
                <a:gd name="connsiteX18" fmla="*/ 809971 w 956275"/>
                <a:gd name="connsiteY18" fmla="*/ 82296 h 578637"/>
                <a:gd name="connsiteX19" fmla="*/ 937987 w 956275"/>
                <a:gd name="connsiteY19" fmla="*/ 27432 h 578637"/>
                <a:gd name="connsiteX20" fmla="*/ 919699 w 956275"/>
                <a:gd name="connsiteY20" fmla="*/ 0 h 578637"/>
                <a:gd name="connsiteX21" fmla="*/ 883123 w 956275"/>
                <a:gd name="connsiteY21" fmla="*/ 27432 h 578637"/>
                <a:gd name="connsiteX22" fmla="*/ 846547 w 956275"/>
                <a:gd name="connsiteY22" fmla="*/ 36576 h 578637"/>
                <a:gd name="connsiteX23" fmla="*/ 773395 w 956275"/>
                <a:gd name="connsiteY23" fmla="*/ 64008 h 578637"/>
                <a:gd name="connsiteX24" fmla="*/ 718531 w 956275"/>
                <a:gd name="connsiteY24" fmla="*/ 64008 h 578637"/>
                <a:gd name="connsiteX25" fmla="*/ 608803 w 956275"/>
                <a:gd name="connsiteY25" fmla="*/ 64008 h 578637"/>
                <a:gd name="connsiteX26" fmla="*/ 553939 w 956275"/>
                <a:gd name="connsiteY26" fmla="*/ 100584 h 578637"/>
                <a:gd name="connsiteX27" fmla="*/ 517363 w 956275"/>
                <a:gd name="connsiteY27" fmla="*/ 146304 h 578637"/>
                <a:gd name="connsiteX28" fmla="*/ 471643 w 956275"/>
                <a:gd name="connsiteY28" fmla="*/ 182880 h 578637"/>
                <a:gd name="connsiteX29" fmla="*/ 425923 w 956275"/>
                <a:gd name="connsiteY29" fmla="*/ 256032 h 578637"/>
                <a:gd name="connsiteX30" fmla="*/ 352771 w 956275"/>
                <a:gd name="connsiteY30" fmla="*/ 301752 h 578637"/>
                <a:gd name="connsiteX31" fmla="*/ 252187 w 956275"/>
                <a:gd name="connsiteY31" fmla="*/ 347472 h 578637"/>
                <a:gd name="connsiteX32" fmla="*/ 215611 w 956275"/>
                <a:gd name="connsiteY32" fmla="*/ 374904 h 578637"/>
                <a:gd name="connsiteX33" fmla="*/ 169891 w 956275"/>
                <a:gd name="connsiteY33" fmla="*/ 402336 h 578637"/>
                <a:gd name="connsiteX34" fmla="*/ 151603 w 956275"/>
                <a:gd name="connsiteY34" fmla="*/ 402336 h 578637"/>
                <a:gd name="connsiteX35" fmla="*/ 169891 w 956275"/>
                <a:gd name="connsiteY35" fmla="*/ 365760 h 578637"/>
                <a:gd name="connsiteX36" fmla="*/ 224755 w 956275"/>
                <a:gd name="connsiteY36" fmla="*/ 301752 h 578637"/>
                <a:gd name="connsiteX37" fmla="*/ 316195 w 956275"/>
                <a:gd name="connsiteY37" fmla="*/ 219456 h 578637"/>
                <a:gd name="connsiteX38" fmla="*/ 361915 w 956275"/>
                <a:gd name="connsiteY38" fmla="*/ 146304 h 578637"/>
                <a:gd name="connsiteX39" fmla="*/ 361915 w 956275"/>
                <a:gd name="connsiteY39" fmla="*/ 64008 h 578637"/>
                <a:gd name="connsiteX40" fmla="*/ 352771 w 956275"/>
                <a:gd name="connsiteY40" fmla="*/ 54864 h 578637"/>
                <a:gd name="connsiteX41" fmla="*/ 343627 w 956275"/>
                <a:gd name="connsiteY41" fmla="*/ 128016 h 578637"/>
                <a:gd name="connsiteX42" fmla="*/ 316195 w 956275"/>
                <a:gd name="connsiteY42" fmla="*/ 173736 h 578637"/>
                <a:gd name="connsiteX43" fmla="*/ 243043 w 956275"/>
                <a:gd name="connsiteY43" fmla="*/ 237744 h 578637"/>
                <a:gd name="connsiteX44" fmla="*/ 215611 w 956275"/>
                <a:gd name="connsiteY44" fmla="*/ 256032 h 578637"/>
                <a:gd name="connsiteX45" fmla="*/ 142459 w 956275"/>
                <a:gd name="connsiteY45" fmla="*/ 347472 h 578637"/>
                <a:gd name="connsiteX46" fmla="*/ 133315 w 956275"/>
                <a:gd name="connsiteY46" fmla="*/ 374904 h 578637"/>
                <a:gd name="connsiteX47" fmla="*/ 124171 w 956275"/>
                <a:gd name="connsiteY47" fmla="*/ 411480 h 578637"/>
                <a:gd name="connsiteX48" fmla="*/ 142459 w 956275"/>
                <a:gd name="connsiteY48" fmla="*/ 429768 h 578637"/>
                <a:gd name="connsiteX49" fmla="*/ 96739 w 956275"/>
                <a:gd name="connsiteY49" fmla="*/ 457200 h 578637"/>
                <a:gd name="connsiteX50" fmla="*/ 13820 w 956275"/>
                <a:gd name="connsiteY50" fmla="*/ 496783 h 578637"/>
                <a:gd name="connsiteX51" fmla="*/ 13820 w 956275"/>
                <a:gd name="connsiteY51" fmla="*/ 496784 h 578637"/>
                <a:gd name="connsiteX52" fmla="*/ 23012 w 956275"/>
                <a:gd name="connsiteY52" fmla="*/ 560977 h 578637"/>
                <a:gd name="connsiteX53" fmla="*/ 132458 w 956275"/>
                <a:gd name="connsiteY53" fmla="*/ 430387 h 578637"/>
                <a:gd name="connsiteX54" fmla="*/ 97137 w 956275"/>
                <a:gd name="connsiteY54" fmla="*/ 578637 h 578637"/>
                <a:gd name="connsiteX55" fmla="*/ 97137 w 956275"/>
                <a:gd name="connsiteY55" fmla="*/ 578637 h 578637"/>
                <a:gd name="connsiteX0" fmla="*/ 97137 w 956275"/>
                <a:gd name="connsiteY0" fmla="*/ 578637 h 578637"/>
                <a:gd name="connsiteX1" fmla="*/ 13820 w 956275"/>
                <a:gd name="connsiteY1" fmla="*/ 496784 h 578637"/>
                <a:gd name="connsiteX2" fmla="*/ 13820 w 956275"/>
                <a:gd name="connsiteY2" fmla="*/ 496784 h 578637"/>
                <a:gd name="connsiteX3" fmla="*/ 51019 w 956275"/>
                <a:gd name="connsiteY3" fmla="*/ 493776 h 578637"/>
                <a:gd name="connsiteX4" fmla="*/ 151603 w 956275"/>
                <a:gd name="connsiteY4" fmla="*/ 466344 h 578637"/>
                <a:gd name="connsiteX5" fmla="*/ 252187 w 956275"/>
                <a:gd name="connsiteY5" fmla="*/ 384048 h 578637"/>
                <a:gd name="connsiteX6" fmla="*/ 444211 w 956275"/>
                <a:gd name="connsiteY6" fmla="*/ 301752 h 578637"/>
                <a:gd name="connsiteX7" fmla="*/ 526507 w 956275"/>
                <a:gd name="connsiteY7" fmla="*/ 192024 h 578637"/>
                <a:gd name="connsiteX8" fmla="*/ 672811 w 956275"/>
                <a:gd name="connsiteY8" fmla="*/ 155448 h 578637"/>
                <a:gd name="connsiteX9" fmla="*/ 718531 w 956275"/>
                <a:gd name="connsiteY9" fmla="*/ 155448 h 578637"/>
                <a:gd name="connsiteX10" fmla="*/ 755107 w 956275"/>
                <a:gd name="connsiteY10" fmla="*/ 137160 h 578637"/>
                <a:gd name="connsiteX11" fmla="*/ 709387 w 956275"/>
                <a:gd name="connsiteY11" fmla="*/ 137160 h 578637"/>
                <a:gd name="connsiteX12" fmla="*/ 617947 w 956275"/>
                <a:gd name="connsiteY12" fmla="*/ 137160 h 578637"/>
                <a:gd name="connsiteX13" fmla="*/ 563083 w 956275"/>
                <a:gd name="connsiteY13" fmla="*/ 146304 h 578637"/>
                <a:gd name="connsiteX14" fmla="*/ 553939 w 956275"/>
                <a:gd name="connsiteY14" fmla="*/ 155448 h 578637"/>
                <a:gd name="connsiteX15" fmla="*/ 535651 w 956275"/>
                <a:gd name="connsiteY15" fmla="*/ 146304 h 578637"/>
                <a:gd name="connsiteX16" fmla="*/ 663667 w 956275"/>
                <a:gd name="connsiteY16" fmla="*/ 91440 h 578637"/>
                <a:gd name="connsiteX17" fmla="*/ 718531 w 956275"/>
                <a:gd name="connsiteY17" fmla="*/ 91440 h 578637"/>
                <a:gd name="connsiteX18" fmla="*/ 809971 w 956275"/>
                <a:gd name="connsiteY18" fmla="*/ 82296 h 578637"/>
                <a:gd name="connsiteX19" fmla="*/ 937987 w 956275"/>
                <a:gd name="connsiteY19" fmla="*/ 27432 h 578637"/>
                <a:gd name="connsiteX20" fmla="*/ 919699 w 956275"/>
                <a:gd name="connsiteY20" fmla="*/ 0 h 578637"/>
                <a:gd name="connsiteX21" fmla="*/ 883123 w 956275"/>
                <a:gd name="connsiteY21" fmla="*/ 27432 h 578637"/>
                <a:gd name="connsiteX22" fmla="*/ 846547 w 956275"/>
                <a:gd name="connsiteY22" fmla="*/ 36576 h 578637"/>
                <a:gd name="connsiteX23" fmla="*/ 773395 w 956275"/>
                <a:gd name="connsiteY23" fmla="*/ 64008 h 578637"/>
                <a:gd name="connsiteX24" fmla="*/ 718531 w 956275"/>
                <a:gd name="connsiteY24" fmla="*/ 64008 h 578637"/>
                <a:gd name="connsiteX25" fmla="*/ 608803 w 956275"/>
                <a:gd name="connsiteY25" fmla="*/ 64008 h 578637"/>
                <a:gd name="connsiteX26" fmla="*/ 553939 w 956275"/>
                <a:gd name="connsiteY26" fmla="*/ 100584 h 578637"/>
                <a:gd name="connsiteX27" fmla="*/ 517363 w 956275"/>
                <a:gd name="connsiteY27" fmla="*/ 146304 h 578637"/>
                <a:gd name="connsiteX28" fmla="*/ 471643 w 956275"/>
                <a:gd name="connsiteY28" fmla="*/ 182880 h 578637"/>
                <a:gd name="connsiteX29" fmla="*/ 425923 w 956275"/>
                <a:gd name="connsiteY29" fmla="*/ 256032 h 578637"/>
                <a:gd name="connsiteX30" fmla="*/ 352771 w 956275"/>
                <a:gd name="connsiteY30" fmla="*/ 301752 h 578637"/>
                <a:gd name="connsiteX31" fmla="*/ 252187 w 956275"/>
                <a:gd name="connsiteY31" fmla="*/ 347472 h 578637"/>
                <a:gd name="connsiteX32" fmla="*/ 215611 w 956275"/>
                <a:gd name="connsiteY32" fmla="*/ 374904 h 578637"/>
                <a:gd name="connsiteX33" fmla="*/ 169891 w 956275"/>
                <a:gd name="connsiteY33" fmla="*/ 402336 h 578637"/>
                <a:gd name="connsiteX34" fmla="*/ 151603 w 956275"/>
                <a:gd name="connsiteY34" fmla="*/ 402336 h 578637"/>
                <a:gd name="connsiteX35" fmla="*/ 169891 w 956275"/>
                <a:gd name="connsiteY35" fmla="*/ 365760 h 578637"/>
                <a:gd name="connsiteX36" fmla="*/ 224755 w 956275"/>
                <a:gd name="connsiteY36" fmla="*/ 301752 h 578637"/>
                <a:gd name="connsiteX37" fmla="*/ 316195 w 956275"/>
                <a:gd name="connsiteY37" fmla="*/ 219456 h 578637"/>
                <a:gd name="connsiteX38" fmla="*/ 361915 w 956275"/>
                <a:gd name="connsiteY38" fmla="*/ 146304 h 578637"/>
                <a:gd name="connsiteX39" fmla="*/ 361915 w 956275"/>
                <a:gd name="connsiteY39" fmla="*/ 64008 h 578637"/>
                <a:gd name="connsiteX40" fmla="*/ 352771 w 956275"/>
                <a:gd name="connsiteY40" fmla="*/ 54864 h 578637"/>
                <a:gd name="connsiteX41" fmla="*/ 343627 w 956275"/>
                <a:gd name="connsiteY41" fmla="*/ 128016 h 578637"/>
                <a:gd name="connsiteX42" fmla="*/ 316195 w 956275"/>
                <a:gd name="connsiteY42" fmla="*/ 173736 h 578637"/>
                <a:gd name="connsiteX43" fmla="*/ 243043 w 956275"/>
                <a:gd name="connsiteY43" fmla="*/ 237744 h 578637"/>
                <a:gd name="connsiteX44" fmla="*/ 215611 w 956275"/>
                <a:gd name="connsiteY44" fmla="*/ 256032 h 578637"/>
                <a:gd name="connsiteX45" fmla="*/ 142459 w 956275"/>
                <a:gd name="connsiteY45" fmla="*/ 347472 h 578637"/>
                <a:gd name="connsiteX46" fmla="*/ 133315 w 956275"/>
                <a:gd name="connsiteY46" fmla="*/ 374904 h 578637"/>
                <a:gd name="connsiteX47" fmla="*/ 124171 w 956275"/>
                <a:gd name="connsiteY47" fmla="*/ 411480 h 578637"/>
                <a:gd name="connsiteX48" fmla="*/ 142459 w 956275"/>
                <a:gd name="connsiteY48" fmla="*/ 429768 h 578637"/>
                <a:gd name="connsiteX49" fmla="*/ 96739 w 956275"/>
                <a:gd name="connsiteY49" fmla="*/ 457200 h 578637"/>
                <a:gd name="connsiteX50" fmla="*/ 13820 w 956275"/>
                <a:gd name="connsiteY50" fmla="*/ 496783 h 578637"/>
                <a:gd name="connsiteX51" fmla="*/ 13820 w 956275"/>
                <a:gd name="connsiteY51" fmla="*/ 496784 h 578637"/>
                <a:gd name="connsiteX52" fmla="*/ 132458 w 956275"/>
                <a:gd name="connsiteY52" fmla="*/ 430387 h 578637"/>
                <a:gd name="connsiteX53" fmla="*/ 132458 w 956275"/>
                <a:gd name="connsiteY53" fmla="*/ 430387 h 578637"/>
                <a:gd name="connsiteX54" fmla="*/ 97137 w 956275"/>
                <a:gd name="connsiteY54" fmla="*/ 578637 h 578637"/>
                <a:gd name="connsiteX55" fmla="*/ 97137 w 956275"/>
                <a:gd name="connsiteY55" fmla="*/ 578637 h 578637"/>
                <a:gd name="connsiteX0" fmla="*/ 89270 w 948408"/>
                <a:gd name="connsiteY0" fmla="*/ 578637 h 578637"/>
                <a:gd name="connsiteX1" fmla="*/ 5953 w 948408"/>
                <a:gd name="connsiteY1" fmla="*/ 496784 h 578637"/>
                <a:gd name="connsiteX2" fmla="*/ 5953 w 948408"/>
                <a:gd name="connsiteY2" fmla="*/ 496784 h 578637"/>
                <a:gd name="connsiteX3" fmla="*/ 43152 w 948408"/>
                <a:gd name="connsiteY3" fmla="*/ 493776 h 578637"/>
                <a:gd name="connsiteX4" fmla="*/ 143736 w 948408"/>
                <a:gd name="connsiteY4" fmla="*/ 466344 h 578637"/>
                <a:gd name="connsiteX5" fmla="*/ 244320 w 948408"/>
                <a:gd name="connsiteY5" fmla="*/ 384048 h 578637"/>
                <a:gd name="connsiteX6" fmla="*/ 436344 w 948408"/>
                <a:gd name="connsiteY6" fmla="*/ 301752 h 578637"/>
                <a:gd name="connsiteX7" fmla="*/ 518640 w 948408"/>
                <a:gd name="connsiteY7" fmla="*/ 192024 h 578637"/>
                <a:gd name="connsiteX8" fmla="*/ 664944 w 948408"/>
                <a:gd name="connsiteY8" fmla="*/ 155448 h 578637"/>
                <a:gd name="connsiteX9" fmla="*/ 710664 w 948408"/>
                <a:gd name="connsiteY9" fmla="*/ 155448 h 578637"/>
                <a:gd name="connsiteX10" fmla="*/ 747240 w 948408"/>
                <a:gd name="connsiteY10" fmla="*/ 137160 h 578637"/>
                <a:gd name="connsiteX11" fmla="*/ 701520 w 948408"/>
                <a:gd name="connsiteY11" fmla="*/ 137160 h 578637"/>
                <a:gd name="connsiteX12" fmla="*/ 610080 w 948408"/>
                <a:gd name="connsiteY12" fmla="*/ 137160 h 578637"/>
                <a:gd name="connsiteX13" fmla="*/ 555216 w 948408"/>
                <a:gd name="connsiteY13" fmla="*/ 146304 h 578637"/>
                <a:gd name="connsiteX14" fmla="*/ 546072 w 948408"/>
                <a:gd name="connsiteY14" fmla="*/ 155448 h 578637"/>
                <a:gd name="connsiteX15" fmla="*/ 527784 w 948408"/>
                <a:gd name="connsiteY15" fmla="*/ 146304 h 578637"/>
                <a:gd name="connsiteX16" fmla="*/ 655800 w 948408"/>
                <a:gd name="connsiteY16" fmla="*/ 91440 h 578637"/>
                <a:gd name="connsiteX17" fmla="*/ 710664 w 948408"/>
                <a:gd name="connsiteY17" fmla="*/ 91440 h 578637"/>
                <a:gd name="connsiteX18" fmla="*/ 802104 w 948408"/>
                <a:gd name="connsiteY18" fmla="*/ 82296 h 578637"/>
                <a:gd name="connsiteX19" fmla="*/ 930120 w 948408"/>
                <a:gd name="connsiteY19" fmla="*/ 27432 h 578637"/>
                <a:gd name="connsiteX20" fmla="*/ 911832 w 948408"/>
                <a:gd name="connsiteY20" fmla="*/ 0 h 578637"/>
                <a:gd name="connsiteX21" fmla="*/ 875256 w 948408"/>
                <a:gd name="connsiteY21" fmla="*/ 27432 h 578637"/>
                <a:gd name="connsiteX22" fmla="*/ 838680 w 948408"/>
                <a:gd name="connsiteY22" fmla="*/ 36576 h 578637"/>
                <a:gd name="connsiteX23" fmla="*/ 765528 w 948408"/>
                <a:gd name="connsiteY23" fmla="*/ 64008 h 578637"/>
                <a:gd name="connsiteX24" fmla="*/ 710664 w 948408"/>
                <a:gd name="connsiteY24" fmla="*/ 64008 h 578637"/>
                <a:gd name="connsiteX25" fmla="*/ 600936 w 948408"/>
                <a:gd name="connsiteY25" fmla="*/ 64008 h 578637"/>
                <a:gd name="connsiteX26" fmla="*/ 546072 w 948408"/>
                <a:gd name="connsiteY26" fmla="*/ 100584 h 578637"/>
                <a:gd name="connsiteX27" fmla="*/ 509496 w 948408"/>
                <a:gd name="connsiteY27" fmla="*/ 146304 h 578637"/>
                <a:gd name="connsiteX28" fmla="*/ 463776 w 948408"/>
                <a:gd name="connsiteY28" fmla="*/ 182880 h 578637"/>
                <a:gd name="connsiteX29" fmla="*/ 418056 w 948408"/>
                <a:gd name="connsiteY29" fmla="*/ 256032 h 578637"/>
                <a:gd name="connsiteX30" fmla="*/ 344904 w 948408"/>
                <a:gd name="connsiteY30" fmla="*/ 301752 h 578637"/>
                <a:gd name="connsiteX31" fmla="*/ 244320 w 948408"/>
                <a:gd name="connsiteY31" fmla="*/ 347472 h 578637"/>
                <a:gd name="connsiteX32" fmla="*/ 207744 w 948408"/>
                <a:gd name="connsiteY32" fmla="*/ 374904 h 578637"/>
                <a:gd name="connsiteX33" fmla="*/ 162024 w 948408"/>
                <a:gd name="connsiteY33" fmla="*/ 402336 h 578637"/>
                <a:gd name="connsiteX34" fmla="*/ 143736 w 948408"/>
                <a:gd name="connsiteY34" fmla="*/ 402336 h 578637"/>
                <a:gd name="connsiteX35" fmla="*/ 162024 w 948408"/>
                <a:gd name="connsiteY35" fmla="*/ 365760 h 578637"/>
                <a:gd name="connsiteX36" fmla="*/ 216888 w 948408"/>
                <a:gd name="connsiteY36" fmla="*/ 301752 h 578637"/>
                <a:gd name="connsiteX37" fmla="*/ 308328 w 948408"/>
                <a:gd name="connsiteY37" fmla="*/ 219456 h 578637"/>
                <a:gd name="connsiteX38" fmla="*/ 354048 w 948408"/>
                <a:gd name="connsiteY38" fmla="*/ 146304 h 578637"/>
                <a:gd name="connsiteX39" fmla="*/ 354048 w 948408"/>
                <a:gd name="connsiteY39" fmla="*/ 64008 h 578637"/>
                <a:gd name="connsiteX40" fmla="*/ 344904 w 948408"/>
                <a:gd name="connsiteY40" fmla="*/ 54864 h 578637"/>
                <a:gd name="connsiteX41" fmla="*/ 335760 w 948408"/>
                <a:gd name="connsiteY41" fmla="*/ 128016 h 578637"/>
                <a:gd name="connsiteX42" fmla="*/ 308328 w 948408"/>
                <a:gd name="connsiteY42" fmla="*/ 173736 h 578637"/>
                <a:gd name="connsiteX43" fmla="*/ 235176 w 948408"/>
                <a:gd name="connsiteY43" fmla="*/ 237744 h 578637"/>
                <a:gd name="connsiteX44" fmla="*/ 207744 w 948408"/>
                <a:gd name="connsiteY44" fmla="*/ 256032 h 578637"/>
                <a:gd name="connsiteX45" fmla="*/ 134592 w 948408"/>
                <a:gd name="connsiteY45" fmla="*/ 347472 h 578637"/>
                <a:gd name="connsiteX46" fmla="*/ 125448 w 948408"/>
                <a:gd name="connsiteY46" fmla="*/ 374904 h 578637"/>
                <a:gd name="connsiteX47" fmla="*/ 116304 w 948408"/>
                <a:gd name="connsiteY47" fmla="*/ 411480 h 578637"/>
                <a:gd name="connsiteX48" fmla="*/ 134592 w 948408"/>
                <a:gd name="connsiteY48" fmla="*/ 429768 h 578637"/>
                <a:gd name="connsiteX49" fmla="*/ 88872 w 948408"/>
                <a:gd name="connsiteY49" fmla="*/ 457200 h 578637"/>
                <a:gd name="connsiteX50" fmla="*/ 5953 w 948408"/>
                <a:gd name="connsiteY50" fmla="*/ 496783 h 578637"/>
                <a:gd name="connsiteX51" fmla="*/ 124591 w 948408"/>
                <a:gd name="connsiteY51" fmla="*/ 430387 h 578637"/>
                <a:gd name="connsiteX52" fmla="*/ 124591 w 948408"/>
                <a:gd name="connsiteY52" fmla="*/ 430387 h 578637"/>
                <a:gd name="connsiteX53" fmla="*/ 124591 w 948408"/>
                <a:gd name="connsiteY53" fmla="*/ 430387 h 578637"/>
                <a:gd name="connsiteX54" fmla="*/ 89270 w 948408"/>
                <a:gd name="connsiteY54" fmla="*/ 578637 h 578637"/>
                <a:gd name="connsiteX55" fmla="*/ 89270 w 948408"/>
                <a:gd name="connsiteY55" fmla="*/ 578637 h 578637"/>
                <a:gd name="connsiteX0" fmla="*/ 83317 w 942455"/>
                <a:gd name="connsiteY0" fmla="*/ 578637 h 578637"/>
                <a:gd name="connsiteX1" fmla="*/ 0 w 942455"/>
                <a:gd name="connsiteY1" fmla="*/ 496784 h 578637"/>
                <a:gd name="connsiteX2" fmla="*/ 0 w 942455"/>
                <a:gd name="connsiteY2" fmla="*/ 496784 h 578637"/>
                <a:gd name="connsiteX3" fmla="*/ 37199 w 942455"/>
                <a:gd name="connsiteY3" fmla="*/ 493776 h 578637"/>
                <a:gd name="connsiteX4" fmla="*/ 137783 w 942455"/>
                <a:gd name="connsiteY4" fmla="*/ 466344 h 578637"/>
                <a:gd name="connsiteX5" fmla="*/ 238367 w 942455"/>
                <a:gd name="connsiteY5" fmla="*/ 384048 h 578637"/>
                <a:gd name="connsiteX6" fmla="*/ 430391 w 942455"/>
                <a:gd name="connsiteY6" fmla="*/ 301752 h 578637"/>
                <a:gd name="connsiteX7" fmla="*/ 512687 w 942455"/>
                <a:gd name="connsiteY7" fmla="*/ 192024 h 578637"/>
                <a:gd name="connsiteX8" fmla="*/ 658991 w 942455"/>
                <a:gd name="connsiteY8" fmla="*/ 155448 h 578637"/>
                <a:gd name="connsiteX9" fmla="*/ 704711 w 942455"/>
                <a:gd name="connsiteY9" fmla="*/ 155448 h 578637"/>
                <a:gd name="connsiteX10" fmla="*/ 741287 w 942455"/>
                <a:gd name="connsiteY10" fmla="*/ 137160 h 578637"/>
                <a:gd name="connsiteX11" fmla="*/ 695567 w 942455"/>
                <a:gd name="connsiteY11" fmla="*/ 137160 h 578637"/>
                <a:gd name="connsiteX12" fmla="*/ 604127 w 942455"/>
                <a:gd name="connsiteY12" fmla="*/ 137160 h 578637"/>
                <a:gd name="connsiteX13" fmla="*/ 549263 w 942455"/>
                <a:gd name="connsiteY13" fmla="*/ 146304 h 578637"/>
                <a:gd name="connsiteX14" fmla="*/ 540119 w 942455"/>
                <a:gd name="connsiteY14" fmla="*/ 155448 h 578637"/>
                <a:gd name="connsiteX15" fmla="*/ 521831 w 942455"/>
                <a:gd name="connsiteY15" fmla="*/ 146304 h 578637"/>
                <a:gd name="connsiteX16" fmla="*/ 649847 w 942455"/>
                <a:gd name="connsiteY16" fmla="*/ 91440 h 578637"/>
                <a:gd name="connsiteX17" fmla="*/ 704711 w 942455"/>
                <a:gd name="connsiteY17" fmla="*/ 91440 h 578637"/>
                <a:gd name="connsiteX18" fmla="*/ 796151 w 942455"/>
                <a:gd name="connsiteY18" fmla="*/ 82296 h 578637"/>
                <a:gd name="connsiteX19" fmla="*/ 924167 w 942455"/>
                <a:gd name="connsiteY19" fmla="*/ 27432 h 578637"/>
                <a:gd name="connsiteX20" fmla="*/ 905879 w 942455"/>
                <a:gd name="connsiteY20" fmla="*/ 0 h 578637"/>
                <a:gd name="connsiteX21" fmla="*/ 869303 w 942455"/>
                <a:gd name="connsiteY21" fmla="*/ 27432 h 578637"/>
                <a:gd name="connsiteX22" fmla="*/ 832727 w 942455"/>
                <a:gd name="connsiteY22" fmla="*/ 36576 h 578637"/>
                <a:gd name="connsiteX23" fmla="*/ 759575 w 942455"/>
                <a:gd name="connsiteY23" fmla="*/ 64008 h 578637"/>
                <a:gd name="connsiteX24" fmla="*/ 704711 w 942455"/>
                <a:gd name="connsiteY24" fmla="*/ 64008 h 578637"/>
                <a:gd name="connsiteX25" fmla="*/ 594983 w 942455"/>
                <a:gd name="connsiteY25" fmla="*/ 64008 h 578637"/>
                <a:gd name="connsiteX26" fmla="*/ 540119 w 942455"/>
                <a:gd name="connsiteY26" fmla="*/ 100584 h 578637"/>
                <a:gd name="connsiteX27" fmla="*/ 503543 w 942455"/>
                <a:gd name="connsiteY27" fmla="*/ 146304 h 578637"/>
                <a:gd name="connsiteX28" fmla="*/ 457823 w 942455"/>
                <a:gd name="connsiteY28" fmla="*/ 182880 h 578637"/>
                <a:gd name="connsiteX29" fmla="*/ 412103 w 942455"/>
                <a:gd name="connsiteY29" fmla="*/ 256032 h 578637"/>
                <a:gd name="connsiteX30" fmla="*/ 338951 w 942455"/>
                <a:gd name="connsiteY30" fmla="*/ 301752 h 578637"/>
                <a:gd name="connsiteX31" fmla="*/ 238367 w 942455"/>
                <a:gd name="connsiteY31" fmla="*/ 347472 h 578637"/>
                <a:gd name="connsiteX32" fmla="*/ 201791 w 942455"/>
                <a:gd name="connsiteY32" fmla="*/ 374904 h 578637"/>
                <a:gd name="connsiteX33" fmla="*/ 156071 w 942455"/>
                <a:gd name="connsiteY33" fmla="*/ 402336 h 578637"/>
                <a:gd name="connsiteX34" fmla="*/ 137783 w 942455"/>
                <a:gd name="connsiteY34" fmla="*/ 402336 h 578637"/>
                <a:gd name="connsiteX35" fmla="*/ 156071 w 942455"/>
                <a:gd name="connsiteY35" fmla="*/ 365760 h 578637"/>
                <a:gd name="connsiteX36" fmla="*/ 210935 w 942455"/>
                <a:gd name="connsiteY36" fmla="*/ 301752 h 578637"/>
                <a:gd name="connsiteX37" fmla="*/ 302375 w 942455"/>
                <a:gd name="connsiteY37" fmla="*/ 219456 h 578637"/>
                <a:gd name="connsiteX38" fmla="*/ 348095 w 942455"/>
                <a:gd name="connsiteY38" fmla="*/ 146304 h 578637"/>
                <a:gd name="connsiteX39" fmla="*/ 348095 w 942455"/>
                <a:gd name="connsiteY39" fmla="*/ 64008 h 578637"/>
                <a:gd name="connsiteX40" fmla="*/ 338951 w 942455"/>
                <a:gd name="connsiteY40" fmla="*/ 54864 h 578637"/>
                <a:gd name="connsiteX41" fmla="*/ 329807 w 942455"/>
                <a:gd name="connsiteY41" fmla="*/ 128016 h 578637"/>
                <a:gd name="connsiteX42" fmla="*/ 302375 w 942455"/>
                <a:gd name="connsiteY42" fmla="*/ 173736 h 578637"/>
                <a:gd name="connsiteX43" fmla="*/ 229223 w 942455"/>
                <a:gd name="connsiteY43" fmla="*/ 237744 h 578637"/>
                <a:gd name="connsiteX44" fmla="*/ 201791 w 942455"/>
                <a:gd name="connsiteY44" fmla="*/ 256032 h 578637"/>
                <a:gd name="connsiteX45" fmla="*/ 128639 w 942455"/>
                <a:gd name="connsiteY45" fmla="*/ 347472 h 578637"/>
                <a:gd name="connsiteX46" fmla="*/ 119495 w 942455"/>
                <a:gd name="connsiteY46" fmla="*/ 374904 h 578637"/>
                <a:gd name="connsiteX47" fmla="*/ 110351 w 942455"/>
                <a:gd name="connsiteY47" fmla="*/ 411480 h 578637"/>
                <a:gd name="connsiteX48" fmla="*/ 128639 w 942455"/>
                <a:gd name="connsiteY48" fmla="*/ 429768 h 578637"/>
                <a:gd name="connsiteX49" fmla="*/ 82919 w 942455"/>
                <a:gd name="connsiteY49" fmla="*/ 457200 h 578637"/>
                <a:gd name="connsiteX50" fmla="*/ 118640 w 942455"/>
                <a:gd name="connsiteY50" fmla="*/ 430387 h 578637"/>
                <a:gd name="connsiteX51" fmla="*/ 118638 w 942455"/>
                <a:gd name="connsiteY51" fmla="*/ 430387 h 578637"/>
                <a:gd name="connsiteX52" fmla="*/ 118638 w 942455"/>
                <a:gd name="connsiteY52" fmla="*/ 430387 h 578637"/>
                <a:gd name="connsiteX53" fmla="*/ 118638 w 942455"/>
                <a:gd name="connsiteY53" fmla="*/ 430387 h 578637"/>
                <a:gd name="connsiteX54" fmla="*/ 83317 w 942455"/>
                <a:gd name="connsiteY54" fmla="*/ 578637 h 578637"/>
                <a:gd name="connsiteX55" fmla="*/ 83317 w 942455"/>
                <a:gd name="connsiteY55" fmla="*/ 578637 h 578637"/>
                <a:gd name="connsiteX0" fmla="*/ 118639 w 942455"/>
                <a:gd name="connsiteY0" fmla="*/ 430387 h 578637"/>
                <a:gd name="connsiteX1" fmla="*/ 0 w 942455"/>
                <a:gd name="connsiteY1" fmla="*/ 496784 h 578637"/>
                <a:gd name="connsiteX2" fmla="*/ 0 w 942455"/>
                <a:gd name="connsiteY2" fmla="*/ 496784 h 578637"/>
                <a:gd name="connsiteX3" fmla="*/ 37199 w 942455"/>
                <a:gd name="connsiteY3" fmla="*/ 493776 h 578637"/>
                <a:gd name="connsiteX4" fmla="*/ 137783 w 942455"/>
                <a:gd name="connsiteY4" fmla="*/ 466344 h 578637"/>
                <a:gd name="connsiteX5" fmla="*/ 238367 w 942455"/>
                <a:gd name="connsiteY5" fmla="*/ 384048 h 578637"/>
                <a:gd name="connsiteX6" fmla="*/ 430391 w 942455"/>
                <a:gd name="connsiteY6" fmla="*/ 301752 h 578637"/>
                <a:gd name="connsiteX7" fmla="*/ 512687 w 942455"/>
                <a:gd name="connsiteY7" fmla="*/ 192024 h 578637"/>
                <a:gd name="connsiteX8" fmla="*/ 658991 w 942455"/>
                <a:gd name="connsiteY8" fmla="*/ 155448 h 578637"/>
                <a:gd name="connsiteX9" fmla="*/ 704711 w 942455"/>
                <a:gd name="connsiteY9" fmla="*/ 155448 h 578637"/>
                <a:gd name="connsiteX10" fmla="*/ 741287 w 942455"/>
                <a:gd name="connsiteY10" fmla="*/ 137160 h 578637"/>
                <a:gd name="connsiteX11" fmla="*/ 695567 w 942455"/>
                <a:gd name="connsiteY11" fmla="*/ 137160 h 578637"/>
                <a:gd name="connsiteX12" fmla="*/ 604127 w 942455"/>
                <a:gd name="connsiteY12" fmla="*/ 137160 h 578637"/>
                <a:gd name="connsiteX13" fmla="*/ 549263 w 942455"/>
                <a:gd name="connsiteY13" fmla="*/ 146304 h 578637"/>
                <a:gd name="connsiteX14" fmla="*/ 540119 w 942455"/>
                <a:gd name="connsiteY14" fmla="*/ 155448 h 578637"/>
                <a:gd name="connsiteX15" fmla="*/ 521831 w 942455"/>
                <a:gd name="connsiteY15" fmla="*/ 146304 h 578637"/>
                <a:gd name="connsiteX16" fmla="*/ 649847 w 942455"/>
                <a:gd name="connsiteY16" fmla="*/ 91440 h 578637"/>
                <a:gd name="connsiteX17" fmla="*/ 704711 w 942455"/>
                <a:gd name="connsiteY17" fmla="*/ 91440 h 578637"/>
                <a:gd name="connsiteX18" fmla="*/ 796151 w 942455"/>
                <a:gd name="connsiteY18" fmla="*/ 82296 h 578637"/>
                <a:gd name="connsiteX19" fmla="*/ 924167 w 942455"/>
                <a:gd name="connsiteY19" fmla="*/ 27432 h 578637"/>
                <a:gd name="connsiteX20" fmla="*/ 905879 w 942455"/>
                <a:gd name="connsiteY20" fmla="*/ 0 h 578637"/>
                <a:gd name="connsiteX21" fmla="*/ 869303 w 942455"/>
                <a:gd name="connsiteY21" fmla="*/ 27432 h 578637"/>
                <a:gd name="connsiteX22" fmla="*/ 832727 w 942455"/>
                <a:gd name="connsiteY22" fmla="*/ 36576 h 578637"/>
                <a:gd name="connsiteX23" fmla="*/ 759575 w 942455"/>
                <a:gd name="connsiteY23" fmla="*/ 64008 h 578637"/>
                <a:gd name="connsiteX24" fmla="*/ 704711 w 942455"/>
                <a:gd name="connsiteY24" fmla="*/ 64008 h 578637"/>
                <a:gd name="connsiteX25" fmla="*/ 594983 w 942455"/>
                <a:gd name="connsiteY25" fmla="*/ 64008 h 578637"/>
                <a:gd name="connsiteX26" fmla="*/ 540119 w 942455"/>
                <a:gd name="connsiteY26" fmla="*/ 100584 h 578637"/>
                <a:gd name="connsiteX27" fmla="*/ 503543 w 942455"/>
                <a:gd name="connsiteY27" fmla="*/ 146304 h 578637"/>
                <a:gd name="connsiteX28" fmla="*/ 457823 w 942455"/>
                <a:gd name="connsiteY28" fmla="*/ 182880 h 578637"/>
                <a:gd name="connsiteX29" fmla="*/ 412103 w 942455"/>
                <a:gd name="connsiteY29" fmla="*/ 256032 h 578637"/>
                <a:gd name="connsiteX30" fmla="*/ 338951 w 942455"/>
                <a:gd name="connsiteY30" fmla="*/ 301752 h 578637"/>
                <a:gd name="connsiteX31" fmla="*/ 238367 w 942455"/>
                <a:gd name="connsiteY31" fmla="*/ 347472 h 578637"/>
                <a:gd name="connsiteX32" fmla="*/ 201791 w 942455"/>
                <a:gd name="connsiteY32" fmla="*/ 374904 h 578637"/>
                <a:gd name="connsiteX33" fmla="*/ 156071 w 942455"/>
                <a:gd name="connsiteY33" fmla="*/ 402336 h 578637"/>
                <a:gd name="connsiteX34" fmla="*/ 137783 w 942455"/>
                <a:gd name="connsiteY34" fmla="*/ 402336 h 578637"/>
                <a:gd name="connsiteX35" fmla="*/ 156071 w 942455"/>
                <a:gd name="connsiteY35" fmla="*/ 365760 h 578637"/>
                <a:gd name="connsiteX36" fmla="*/ 210935 w 942455"/>
                <a:gd name="connsiteY36" fmla="*/ 301752 h 578637"/>
                <a:gd name="connsiteX37" fmla="*/ 302375 w 942455"/>
                <a:gd name="connsiteY37" fmla="*/ 219456 h 578637"/>
                <a:gd name="connsiteX38" fmla="*/ 348095 w 942455"/>
                <a:gd name="connsiteY38" fmla="*/ 146304 h 578637"/>
                <a:gd name="connsiteX39" fmla="*/ 348095 w 942455"/>
                <a:gd name="connsiteY39" fmla="*/ 64008 h 578637"/>
                <a:gd name="connsiteX40" fmla="*/ 338951 w 942455"/>
                <a:gd name="connsiteY40" fmla="*/ 54864 h 578637"/>
                <a:gd name="connsiteX41" fmla="*/ 329807 w 942455"/>
                <a:gd name="connsiteY41" fmla="*/ 128016 h 578637"/>
                <a:gd name="connsiteX42" fmla="*/ 302375 w 942455"/>
                <a:gd name="connsiteY42" fmla="*/ 173736 h 578637"/>
                <a:gd name="connsiteX43" fmla="*/ 229223 w 942455"/>
                <a:gd name="connsiteY43" fmla="*/ 237744 h 578637"/>
                <a:gd name="connsiteX44" fmla="*/ 201791 w 942455"/>
                <a:gd name="connsiteY44" fmla="*/ 256032 h 578637"/>
                <a:gd name="connsiteX45" fmla="*/ 128639 w 942455"/>
                <a:gd name="connsiteY45" fmla="*/ 347472 h 578637"/>
                <a:gd name="connsiteX46" fmla="*/ 119495 w 942455"/>
                <a:gd name="connsiteY46" fmla="*/ 374904 h 578637"/>
                <a:gd name="connsiteX47" fmla="*/ 110351 w 942455"/>
                <a:gd name="connsiteY47" fmla="*/ 411480 h 578637"/>
                <a:gd name="connsiteX48" fmla="*/ 128639 w 942455"/>
                <a:gd name="connsiteY48" fmla="*/ 429768 h 578637"/>
                <a:gd name="connsiteX49" fmla="*/ 82919 w 942455"/>
                <a:gd name="connsiteY49" fmla="*/ 457200 h 578637"/>
                <a:gd name="connsiteX50" fmla="*/ 118640 w 942455"/>
                <a:gd name="connsiteY50" fmla="*/ 430387 h 578637"/>
                <a:gd name="connsiteX51" fmla="*/ 118638 w 942455"/>
                <a:gd name="connsiteY51" fmla="*/ 430387 h 578637"/>
                <a:gd name="connsiteX52" fmla="*/ 118638 w 942455"/>
                <a:gd name="connsiteY52" fmla="*/ 430387 h 578637"/>
                <a:gd name="connsiteX53" fmla="*/ 118638 w 942455"/>
                <a:gd name="connsiteY53" fmla="*/ 430387 h 578637"/>
                <a:gd name="connsiteX54" fmla="*/ 83317 w 942455"/>
                <a:gd name="connsiteY54" fmla="*/ 578637 h 578637"/>
                <a:gd name="connsiteX55" fmla="*/ 118639 w 942455"/>
                <a:gd name="connsiteY55" fmla="*/ 430387 h 578637"/>
                <a:gd name="connsiteX0" fmla="*/ 118639 w 942455"/>
                <a:gd name="connsiteY0" fmla="*/ 430387 h 578637"/>
                <a:gd name="connsiteX1" fmla="*/ 0 w 942455"/>
                <a:gd name="connsiteY1" fmla="*/ 496784 h 578637"/>
                <a:gd name="connsiteX2" fmla="*/ 0 w 942455"/>
                <a:gd name="connsiteY2" fmla="*/ 496784 h 578637"/>
                <a:gd name="connsiteX3" fmla="*/ 118639 w 942455"/>
                <a:gd name="connsiteY3" fmla="*/ 430387 h 578637"/>
                <a:gd name="connsiteX4" fmla="*/ 137783 w 942455"/>
                <a:gd name="connsiteY4" fmla="*/ 466344 h 578637"/>
                <a:gd name="connsiteX5" fmla="*/ 238367 w 942455"/>
                <a:gd name="connsiteY5" fmla="*/ 384048 h 578637"/>
                <a:gd name="connsiteX6" fmla="*/ 430391 w 942455"/>
                <a:gd name="connsiteY6" fmla="*/ 301752 h 578637"/>
                <a:gd name="connsiteX7" fmla="*/ 512687 w 942455"/>
                <a:gd name="connsiteY7" fmla="*/ 192024 h 578637"/>
                <a:gd name="connsiteX8" fmla="*/ 658991 w 942455"/>
                <a:gd name="connsiteY8" fmla="*/ 155448 h 578637"/>
                <a:gd name="connsiteX9" fmla="*/ 704711 w 942455"/>
                <a:gd name="connsiteY9" fmla="*/ 155448 h 578637"/>
                <a:gd name="connsiteX10" fmla="*/ 741287 w 942455"/>
                <a:gd name="connsiteY10" fmla="*/ 137160 h 578637"/>
                <a:gd name="connsiteX11" fmla="*/ 695567 w 942455"/>
                <a:gd name="connsiteY11" fmla="*/ 137160 h 578637"/>
                <a:gd name="connsiteX12" fmla="*/ 604127 w 942455"/>
                <a:gd name="connsiteY12" fmla="*/ 137160 h 578637"/>
                <a:gd name="connsiteX13" fmla="*/ 549263 w 942455"/>
                <a:gd name="connsiteY13" fmla="*/ 146304 h 578637"/>
                <a:gd name="connsiteX14" fmla="*/ 540119 w 942455"/>
                <a:gd name="connsiteY14" fmla="*/ 155448 h 578637"/>
                <a:gd name="connsiteX15" fmla="*/ 521831 w 942455"/>
                <a:gd name="connsiteY15" fmla="*/ 146304 h 578637"/>
                <a:gd name="connsiteX16" fmla="*/ 649847 w 942455"/>
                <a:gd name="connsiteY16" fmla="*/ 91440 h 578637"/>
                <a:gd name="connsiteX17" fmla="*/ 704711 w 942455"/>
                <a:gd name="connsiteY17" fmla="*/ 91440 h 578637"/>
                <a:gd name="connsiteX18" fmla="*/ 796151 w 942455"/>
                <a:gd name="connsiteY18" fmla="*/ 82296 h 578637"/>
                <a:gd name="connsiteX19" fmla="*/ 924167 w 942455"/>
                <a:gd name="connsiteY19" fmla="*/ 27432 h 578637"/>
                <a:gd name="connsiteX20" fmla="*/ 905879 w 942455"/>
                <a:gd name="connsiteY20" fmla="*/ 0 h 578637"/>
                <a:gd name="connsiteX21" fmla="*/ 869303 w 942455"/>
                <a:gd name="connsiteY21" fmla="*/ 27432 h 578637"/>
                <a:gd name="connsiteX22" fmla="*/ 832727 w 942455"/>
                <a:gd name="connsiteY22" fmla="*/ 36576 h 578637"/>
                <a:gd name="connsiteX23" fmla="*/ 759575 w 942455"/>
                <a:gd name="connsiteY23" fmla="*/ 64008 h 578637"/>
                <a:gd name="connsiteX24" fmla="*/ 704711 w 942455"/>
                <a:gd name="connsiteY24" fmla="*/ 64008 h 578637"/>
                <a:gd name="connsiteX25" fmla="*/ 594983 w 942455"/>
                <a:gd name="connsiteY25" fmla="*/ 64008 h 578637"/>
                <a:gd name="connsiteX26" fmla="*/ 540119 w 942455"/>
                <a:gd name="connsiteY26" fmla="*/ 100584 h 578637"/>
                <a:gd name="connsiteX27" fmla="*/ 503543 w 942455"/>
                <a:gd name="connsiteY27" fmla="*/ 146304 h 578637"/>
                <a:gd name="connsiteX28" fmla="*/ 457823 w 942455"/>
                <a:gd name="connsiteY28" fmla="*/ 182880 h 578637"/>
                <a:gd name="connsiteX29" fmla="*/ 412103 w 942455"/>
                <a:gd name="connsiteY29" fmla="*/ 256032 h 578637"/>
                <a:gd name="connsiteX30" fmla="*/ 338951 w 942455"/>
                <a:gd name="connsiteY30" fmla="*/ 301752 h 578637"/>
                <a:gd name="connsiteX31" fmla="*/ 238367 w 942455"/>
                <a:gd name="connsiteY31" fmla="*/ 347472 h 578637"/>
                <a:gd name="connsiteX32" fmla="*/ 201791 w 942455"/>
                <a:gd name="connsiteY32" fmla="*/ 374904 h 578637"/>
                <a:gd name="connsiteX33" fmla="*/ 156071 w 942455"/>
                <a:gd name="connsiteY33" fmla="*/ 402336 h 578637"/>
                <a:gd name="connsiteX34" fmla="*/ 137783 w 942455"/>
                <a:gd name="connsiteY34" fmla="*/ 402336 h 578637"/>
                <a:gd name="connsiteX35" fmla="*/ 156071 w 942455"/>
                <a:gd name="connsiteY35" fmla="*/ 365760 h 578637"/>
                <a:gd name="connsiteX36" fmla="*/ 210935 w 942455"/>
                <a:gd name="connsiteY36" fmla="*/ 301752 h 578637"/>
                <a:gd name="connsiteX37" fmla="*/ 302375 w 942455"/>
                <a:gd name="connsiteY37" fmla="*/ 219456 h 578637"/>
                <a:gd name="connsiteX38" fmla="*/ 348095 w 942455"/>
                <a:gd name="connsiteY38" fmla="*/ 146304 h 578637"/>
                <a:gd name="connsiteX39" fmla="*/ 348095 w 942455"/>
                <a:gd name="connsiteY39" fmla="*/ 64008 h 578637"/>
                <a:gd name="connsiteX40" fmla="*/ 338951 w 942455"/>
                <a:gd name="connsiteY40" fmla="*/ 54864 h 578637"/>
                <a:gd name="connsiteX41" fmla="*/ 329807 w 942455"/>
                <a:gd name="connsiteY41" fmla="*/ 128016 h 578637"/>
                <a:gd name="connsiteX42" fmla="*/ 302375 w 942455"/>
                <a:gd name="connsiteY42" fmla="*/ 173736 h 578637"/>
                <a:gd name="connsiteX43" fmla="*/ 229223 w 942455"/>
                <a:gd name="connsiteY43" fmla="*/ 237744 h 578637"/>
                <a:gd name="connsiteX44" fmla="*/ 201791 w 942455"/>
                <a:gd name="connsiteY44" fmla="*/ 256032 h 578637"/>
                <a:gd name="connsiteX45" fmla="*/ 128639 w 942455"/>
                <a:gd name="connsiteY45" fmla="*/ 347472 h 578637"/>
                <a:gd name="connsiteX46" fmla="*/ 119495 w 942455"/>
                <a:gd name="connsiteY46" fmla="*/ 374904 h 578637"/>
                <a:gd name="connsiteX47" fmla="*/ 110351 w 942455"/>
                <a:gd name="connsiteY47" fmla="*/ 411480 h 578637"/>
                <a:gd name="connsiteX48" fmla="*/ 128639 w 942455"/>
                <a:gd name="connsiteY48" fmla="*/ 429768 h 578637"/>
                <a:gd name="connsiteX49" fmla="*/ 82919 w 942455"/>
                <a:gd name="connsiteY49" fmla="*/ 457200 h 578637"/>
                <a:gd name="connsiteX50" fmla="*/ 118640 w 942455"/>
                <a:gd name="connsiteY50" fmla="*/ 430387 h 578637"/>
                <a:gd name="connsiteX51" fmla="*/ 118638 w 942455"/>
                <a:gd name="connsiteY51" fmla="*/ 430387 h 578637"/>
                <a:gd name="connsiteX52" fmla="*/ 118638 w 942455"/>
                <a:gd name="connsiteY52" fmla="*/ 430387 h 578637"/>
                <a:gd name="connsiteX53" fmla="*/ 118638 w 942455"/>
                <a:gd name="connsiteY53" fmla="*/ 430387 h 578637"/>
                <a:gd name="connsiteX54" fmla="*/ 83317 w 942455"/>
                <a:gd name="connsiteY54" fmla="*/ 578637 h 578637"/>
                <a:gd name="connsiteX55" fmla="*/ 118639 w 942455"/>
                <a:gd name="connsiteY55" fmla="*/ 430387 h 578637"/>
                <a:gd name="connsiteX0" fmla="*/ 118639 w 942455"/>
                <a:gd name="connsiteY0" fmla="*/ 430387 h 578637"/>
                <a:gd name="connsiteX1" fmla="*/ 0 w 942455"/>
                <a:gd name="connsiteY1" fmla="*/ 496784 h 578637"/>
                <a:gd name="connsiteX2" fmla="*/ 118639 w 942455"/>
                <a:gd name="connsiteY2" fmla="*/ 430387 h 578637"/>
                <a:gd name="connsiteX3" fmla="*/ 118639 w 942455"/>
                <a:gd name="connsiteY3" fmla="*/ 430387 h 578637"/>
                <a:gd name="connsiteX4" fmla="*/ 137783 w 942455"/>
                <a:gd name="connsiteY4" fmla="*/ 466344 h 578637"/>
                <a:gd name="connsiteX5" fmla="*/ 238367 w 942455"/>
                <a:gd name="connsiteY5" fmla="*/ 384048 h 578637"/>
                <a:gd name="connsiteX6" fmla="*/ 430391 w 942455"/>
                <a:gd name="connsiteY6" fmla="*/ 301752 h 578637"/>
                <a:gd name="connsiteX7" fmla="*/ 512687 w 942455"/>
                <a:gd name="connsiteY7" fmla="*/ 192024 h 578637"/>
                <a:gd name="connsiteX8" fmla="*/ 658991 w 942455"/>
                <a:gd name="connsiteY8" fmla="*/ 155448 h 578637"/>
                <a:gd name="connsiteX9" fmla="*/ 704711 w 942455"/>
                <a:gd name="connsiteY9" fmla="*/ 155448 h 578637"/>
                <a:gd name="connsiteX10" fmla="*/ 741287 w 942455"/>
                <a:gd name="connsiteY10" fmla="*/ 137160 h 578637"/>
                <a:gd name="connsiteX11" fmla="*/ 695567 w 942455"/>
                <a:gd name="connsiteY11" fmla="*/ 137160 h 578637"/>
                <a:gd name="connsiteX12" fmla="*/ 604127 w 942455"/>
                <a:gd name="connsiteY12" fmla="*/ 137160 h 578637"/>
                <a:gd name="connsiteX13" fmla="*/ 549263 w 942455"/>
                <a:gd name="connsiteY13" fmla="*/ 146304 h 578637"/>
                <a:gd name="connsiteX14" fmla="*/ 540119 w 942455"/>
                <a:gd name="connsiteY14" fmla="*/ 155448 h 578637"/>
                <a:gd name="connsiteX15" fmla="*/ 521831 w 942455"/>
                <a:gd name="connsiteY15" fmla="*/ 146304 h 578637"/>
                <a:gd name="connsiteX16" fmla="*/ 649847 w 942455"/>
                <a:gd name="connsiteY16" fmla="*/ 91440 h 578637"/>
                <a:gd name="connsiteX17" fmla="*/ 704711 w 942455"/>
                <a:gd name="connsiteY17" fmla="*/ 91440 h 578637"/>
                <a:gd name="connsiteX18" fmla="*/ 796151 w 942455"/>
                <a:gd name="connsiteY18" fmla="*/ 82296 h 578637"/>
                <a:gd name="connsiteX19" fmla="*/ 924167 w 942455"/>
                <a:gd name="connsiteY19" fmla="*/ 27432 h 578637"/>
                <a:gd name="connsiteX20" fmla="*/ 905879 w 942455"/>
                <a:gd name="connsiteY20" fmla="*/ 0 h 578637"/>
                <a:gd name="connsiteX21" fmla="*/ 869303 w 942455"/>
                <a:gd name="connsiteY21" fmla="*/ 27432 h 578637"/>
                <a:gd name="connsiteX22" fmla="*/ 832727 w 942455"/>
                <a:gd name="connsiteY22" fmla="*/ 36576 h 578637"/>
                <a:gd name="connsiteX23" fmla="*/ 759575 w 942455"/>
                <a:gd name="connsiteY23" fmla="*/ 64008 h 578637"/>
                <a:gd name="connsiteX24" fmla="*/ 704711 w 942455"/>
                <a:gd name="connsiteY24" fmla="*/ 64008 h 578637"/>
                <a:gd name="connsiteX25" fmla="*/ 594983 w 942455"/>
                <a:gd name="connsiteY25" fmla="*/ 64008 h 578637"/>
                <a:gd name="connsiteX26" fmla="*/ 540119 w 942455"/>
                <a:gd name="connsiteY26" fmla="*/ 100584 h 578637"/>
                <a:gd name="connsiteX27" fmla="*/ 503543 w 942455"/>
                <a:gd name="connsiteY27" fmla="*/ 146304 h 578637"/>
                <a:gd name="connsiteX28" fmla="*/ 457823 w 942455"/>
                <a:gd name="connsiteY28" fmla="*/ 182880 h 578637"/>
                <a:gd name="connsiteX29" fmla="*/ 412103 w 942455"/>
                <a:gd name="connsiteY29" fmla="*/ 256032 h 578637"/>
                <a:gd name="connsiteX30" fmla="*/ 338951 w 942455"/>
                <a:gd name="connsiteY30" fmla="*/ 301752 h 578637"/>
                <a:gd name="connsiteX31" fmla="*/ 238367 w 942455"/>
                <a:gd name="connsiteY31" fmla="*/ 347472 h 578637"/>
                <a:gd name="connsiteX32" fmla="*/ 201791 w 942455"/>
                <a:gd name="connsiteY32" fmla="*/ 374904 h 578637"/>
                <a:gd name="connsiteX33" fmla="*/ 156071 w 942455"/>
                <a:gd name="connsiteY33" fmla="*/ 402336 h 578637"/>
                <a:gd name="connsiteX34" fmla="*/ 137783 w 942455"/>
                <a:gd name="connsiteY34" fmla="*/ 402336 h 578637"/>
                <a:gd name="connsiteX35" fmla="*/ 156071 w 942455"/>
                <a:gd name="connsiteY35" fmla="*/ 365760 h 578637"/>
                <a:gd name="connsiteX36" fmla="*/ 210935 w 942455"/>
                <a:gd name="connsiteY36" fmla="*/ 301752 h 578637"/>
                <a:gd name="connsiteX37" fmla="*/ 302375 w 942455"/>
                <a:gd name="connsiteY37" fmla="*/ 219456 h 578637"/>
                <a:gd name="connsiteX38" fmla="*/ 348095 w 942455"/>
                <a:gd name="connsiteY38" fmla="*/ 146304 h 578637"/>
                <a:gd name="connsiteX39" fmla="*/ 348095 w 942455"/>
                <a:gd name="connsiteY39" fmla="*/ 64008 h 578637"/>
                <a:gd name="connsiteX40" fmla="*/ 338951 w 942455"/>
                <a:gd name="connsiteY40" fmla="*/ 54864 h 578637"/>
                <a:gd name="connsiteX41" fmla="*/ 329807 w 942455"/>
                <a:gd name="connsiteY41" fmla="*/ 128016 h 578637"/>
                <a:gd name="connsiteX42" fmla="*/ 302375 w 942455"/>
                <a:gd name="connsiteY42" fmla="*/ 173736 h 578637"/>
                <a:gd name="connsiteX43" fmla="*/ 229223 w 942455"/>
                <a:gd name="connsiteY43" fmla="*/ 237744 h 578637"/>
                <a:gd name="connsiteX44" fmla="*/ 201791 w 942455"/>
                <a:gd name="connsiteY44" fmla="*/ 256032 h 578637"/>
                <a:gd name="connsiteX45" fmla="*/ 128639 w 942455"/>
                <a:gd name="connsiteY45" fmla="*/ 347472 h 578637"/>
                <a:gd name="connsiteX46" fmla="*/ 119495 w 942455"/>
                <a:gd name="connsiteY46" fmla="*/ 374904 h 578637"/>
                <a:gd name="connsiteX47" fmla="*/ 110351 w 942455"/>
                <a:gd name="connsiteY47" fmla="*/ 411480 h 578637"/>
                <a:gd name="connsiteX48" fmla="*/ 128639 w 942455"/>
                <a:gd name="connsiteY48" fmla="*/ 429768 h 578637"/>
                <a:gd name="connsiteX49" fmla="*/ 82919 w 942455"/>
                <a:gd name="connsiteY49" fmla="*/ 457200 h 578637"/>
                <a:gd name="connsiteX50" fmla="*/ 118640 w 942455"/>
                <a:gd name="connsiteY50" fmla="*/ 430387 h 578637"/>
                <a:gd name="connsiteX51" fmla="*/ 118638 w 942455"/>
                <a:gd name="connsiteY51" fmla="*/ 430387 h 578637"/>
                <a:gd name="connsiteX52" fmla="*/ 118638 w 942455"/>
                <a:gd name="connsiteY52" fmla="*/ 430387 h 578637"/>
                <a:gd name="connsiteX53" fmla="*/ 118638 w 942455"/>
                <a:gd name="connsiteY53" fmla="*/ 430387 h 578637"/>
                <a:gd name="connsiteX54" fmla="*/ 83317 w 942455"/>
                <a:gd name="connsiteY54" fmla="*/ 578637 h 578637"/>
                <a:gd name="connsiteX55" fmla="*/ 118639 w 942455"/>
                <a:gd name="connsiteY55" fmla="*/ 430387 h 578637"/>
                <a:gd name="connsiteX0" fmla="*/ 118639 w 942455"/>
                <a:gd name="connsiteY0" fmla="*/ 430387 h 496784"/>
                <a:gd name="connsiteX1" fmla="*/ 0 w 942455"/>
                <a:gd name="connsiteY1" fmla="*/ 496784 h 496784"/>
                <a:gd name="connsiteX2" fmla="*/ 118639 w 942455"/>
                <a:gd name="connsiteY2" fmla="*/ 430387 h 496784"/>
                <a:gd name="connsiteX3" fmla="*/ 118639 w 942455"/>
                <a:gd name="connsiteY3" fmla="*/ 430387 h 496784"/>
                <a:gd name="connsiteX4" fmla="*/ 137783 w 942455"/>
                <a:gd name="connsiteY4" fmla="*/ 466344 h 496784"/>
                <a:gd name="connsiteX5" fmla="*/ 238367 w 942455"/>
                <a:gd name="connsiteY5" fmla="*/ 384048 h 496784"/>
                <a:gd name="connsiteX6" fmla="*/ 430391 w 942455"/>
                <a:gd name="connsiteY6" fmla="*/ 301752 h 496784"/>
                <a:gd name="connsiteX7" fmla="*/ 512687 w 942455"/>
                <a:gd name="connsiteY7" fmla="*/ 192024 h 496784"/>
                <a:gd name="connsiteX8" fmla="*/ 658991 w 942455"/>
                <a:gd name="connsiteY8" fmla="*/ 155448 h 496784"/>
                <a:gd name="connsiteX9" fmla="*/ 704711 w 942455"/>
                <a:gd name="connsiteY9" fmla="*/ 155448 h 496784"/>
                <a:gd name="connsiteX10" fmla="*/ 741287 w 942455"/>
                <a:gd name="connsiteY10" fmla="*/ 137160 h 496784"/>
                <a:gd name="connsiteX11" fmla="*/ 695567 w 942455"/>
                <a:gd name="connsiteY11" fmla="*/ 137160 h 496784"/>
                <a:gd name="connsiteX12" fmla="*/ 604127 w 942455"/>
                <a:gd name="connsiteY12" fmla="*/ 137160 h 496784"/>
                <a:gd name="connsiteX13" fmla="*/ 549263 w 942455"/>
                <a:gd name="connsiteY13" fmla="*/ 146304 h 496784"/>
                <a:gd name="connsiteX14" fmla="*/ 540119 w 942455"/>
                <a:gd name="connsiteY14" fmla="*/ 155448 h 496784"/>
                <a:gd name="connsiteX15" fmla="*/ 521831 w 942455"/>
                <a:gd name="connsiteY15" fmla="*/ 146304 h 496784"/>
                <a:gd name="connsiteX16" fmla="*/ 649847 w 942455"/>
                <a:gd name="connsiteY16" fmla="*/ 91440 h 496784"/>
                <a:gd name="connsiteX17" fmla="*/ 704711 w 942455"/>
                <a:gd name="connsiteY17" fmla="*/ 91440 h 496784"/>
                <a:gd name="connsiteX18" fmla="*/ 796151 w 942455"/>
                <a:gd name="connsiteY18" fmla="*/ 82296 h 496784"/>
                <a:gd name="connsiteX19" fmla="*/ 924167 w 942455"/>
                <a:gd name="connsiteY19" fmla="*/ 27432 h 496784"/>
                <a:gd name="connsiteX20" fmla="*/ 905879 w 942455"/>
                <a:gd name="connsiteY20" fmla="*/ 0 h 496784"/>
                <a:gd name="connsiteX21" fmla="*/ 869303 w 942455"/>
                <a:gd name="connsiteY21" fmla="*/ 27432 h 496784"/>
                <a:gd name="connsiteX22" fmla="*/ 832727 w 942455"/>
                <a:gd name="connsiteY22" fmla="*/ 36576 h 496784"/>
                <a:gd name="connsiteX23" fmla="*/ 759575 w 942455"/>
                <a:gd name="connsiteY23" fmla="*/ 64008 h 496784"/>
                <a:gd name="connsiteX24" fmla="*/ 704711 w 942455"/>
                <a:gd name="connsiteY24" fmla="*/ 64008 h 496784"/>
                <a:gd name="connsiteX25" fmla="*/ 594983 w 942455"/>
                <a:gd name="connsiteY25" fmla="*/ 64008 h 496784"/>
                <a:gd name="connsiteX26" fmla="*/ 540119 w 942455"/>
                <a:gd name="connsiteY26" fmla="*/ 100584 h 496784"/>
                <a:gd name="connsiteX27" fmla="*/ 503543 w 942455"/>
                <a:gd name="connsiteY27" fmla="*/ 146304 h 496784"/>
                <a:gd name="connsiteX28" fmla="*/ 457823 w 942455"/>
                <a:gd name="connsiteY28" fmla="*/ 182880 h 496784"/>
                <a:gd name="connsiteX29" fmla="*/ 412103 w 942455"/>
                <a:gd name="connsiteY29" fmla="*/ 256032 h 496784"/>
                <a:gd name="connsiteX30" fmla="*/ 338951 w 942455"/>
                <a:gd name="connsiteY30" fmla="*/ 301752 h 496784"/>
                <a:gd name="connsiteX31" fmla="*/ 238367 w 942455"/>
                <a:gd name="connsiteY31" fmla="*/ 347472 h 496784"/>
                <a:gd name="connsiteX32" fmla="*/ 201791 w 942455"/>
                <a:gd name="connsiteY32" fmla="*/ 374904 h 496784"/>
                <a:gd name="connsiteX33" fmla="*/ 156071 w 942455"/>
                <a:gd name="connsiteY33" fmla="*/ 402336 h 496784"/>
                <a:gd name="connsiteX34" fmla="*/ 137783 w 942455"/>
                <a:gd name="connsiteY34" fmla="*/ 402336 h 496784"/>
                <a:gd name="connsiteX35" fmla="*/ 156071 w 942455"/>
                <a:gd name="connsiteY35" fmla="*/ 365760 h 496784"/>
                <a:gd name="connsiteX36" fmla="*/ 210935 w 942455"/>
                <a:gd name="connsiteY36" fmla="*/ 301752 h 496784"/>
                <a:gd name="connsiteX37" fmla="*/ 302375 w 942455"/>
                <a:gd name="connsiteY37" fmla="*/ 219456 h 496784"/>
                <a:gd name="connsiteX38" fmla="*/ 348095 w 942455"/>
                <a:gd name="connsiteY38" fmla="*/ 146304 h 496784"/>
                <a:gd name="connsiteX39" fmla="*/ 348095 w 942455"/>
                <a:gd name="connsiteY39" fmla="*/ 64008 h 496784"/>
                <a:gd name="connsiteX40" fmla="*/ 338951 w 942455"/>
                <a:gd name="connsiteY40" fmla="*/ 54864 h 496784"/>
                <a:gd name="connsiteX41" fmla="*/ 329807 w 942455"/>
                <a:gd name="connsiteY41" fmla="*/ 128016 h 496784"/>
                <a:gd name="connsiteX42" fmla="*/ 302375 w 942455"/>
                <a:gd name="connsiteY42" fmla="*/ 173736 h 496784"/>
                <a:gd name="connsiteX43" fmla="*/ 229223 w 942455"/>
                <a:gd name="connsiteY43" fmla="*/ 237744 h 496784"/>
                <a:gd name="connsiteX44" fmla="*/ 201791 w 942455"/>
                <a:gd name="connsiteY44" fmla="*/ 256032 h 496784"/>
                <a:gd name="connsiteX45" fmla="*/ 128639 w 942455"/>
                <a:gd name="connsiteY45" fmla="*/ 347472 h 496784"/>
                <a:gd name="connsiteX46" fmla="*/ 119495 w 942455"/>
                <a:gd name="connsiteY46" fmla="*/ 374904 h 496784"/>
                <a:gd name="connsiteX47" fmla="*/ 110351 w 942455"/>
                <a:gd name="connsiteY47" fmla="*/ 411480 h 496784"/>
                <a:gd name="connsiteX48" fmla="*/ 128639 w 942455"/>
                <a:gd name="connsiteY48" fmla="*/ 429768 h 496784"/>
                <a:gd name="connsiteX49" fmla="*/ 82919 w 942455"/>
                <a:gd name="connsiteY49" fmla="*/ 457200 h 496784"/>
                <a:gd name="connsiteX50" fmla="*/ 118640 w 942455"/>
                <a:gd name="connsiteY50" fmla="*/ 430387 h 496784"/>
                <a:gd name="connsiteX51" fmla="*/ 118638 w 942455"/>
                <a:gd name="connsiteY51" fmla="*/ 430387 h 496784"/>
                <a:gd name="connsiteX52" fmla="*/ 118638 w 942455"/>
                <a:gd name="connsiteY52" fmla="*/ 430387 h 496784"/>
                <a:gd name="connsiteX53" fmla="*/ 118638 w 942455"/>
                <a:gd name="connsiteY53" fmla="*/ 430387 h 496784"/>
                <a:gd name="connsiteX54" fmla="*/ 118639 w 942455"/>
                <a:gd name="connsiteY54" fmla="*/ 430387 h 496784"/>
                <a:gd name="connsiteX55" fmla="*/ 118639 w 942455"/>
                <a:gd name="connsiteY55" fmla="*/ 430387 h 496784"/>
                <a:gd name="connsiteX0" fmla="*/ 37386 w 861202"/>
                <a:gd name="connsiteY0" fmla="*/ 430387 h 474067"/>
                <a:gd name="connsiteX1" fmla="*/ 37385 w 861202"/>
                <a:gd name="connsiteY1" fmla="*/ 430387 h 474067"/>
                <a:gd name="connsiteX2" fmla="*/ 37386 w 861202"/>
                <a:gd name="connsiteY2" fmla="*/ 430387 h 474067"/>
                <a:gd name="connsiteX3" fmla="*/ 37386 w 861202"/>
                <a:gd name="connsiteY3" fmla="*/ 430387 h 474067"/>
                <a:gd name="connsiteX4" fmla="*/ 56530 w 861202"/>
                <a:gd name="connsiteY4" fmla="*/ 466344 h 474067"/>
                <a:gd name="connsiteX5" fmla="*/ 157114 w 861202"/>
                <a:gd name="connsiteY5" fmla="*/ 384048 h 474067"/>
                <a:gd name="connsiteX6" fmla="*/ 349138 w 861202"/>
                <a:gd name="connsiteY6" fmla="*/ 301752 h 474067"/>
                <a:gd name="connsiteX7" fmla="*/ 431434 w 861202"/>
                <a:gd name="connsiteY7" fmla="*/ 192024 h 474067"/>
                <a:gd name="connsiteX8" fmla="*/ 577738 w 861202"/>
                <a:gd name="connsiteY8" fmla="*/ 155448 h 474067"/>
                <a:gd name="connsiteX9" fmla="*/ 623458 w 861202"/>
                <a:gd name="connsiteY9" fmla="*/ 155448 h 474067"/>
                <a:gd name="connsiteX10" fmla="*/ 660034 w 861202"/>
                <a:gd name="connsiteY10" fmla="*/ 137160 h 474067"/>
                <a:gd name="connsiteX11" fmla="*/ 614314 w 861202"/>
                <a:gd name="connsiteY11" fmla="*/ 137160 h 474067"/>
                <a:gd name="connsiteX12" fmla="*/ 522874 w 861202"/>
                <a:gd name="connsiteY12" fmla="*/ 137160 h 474067"/>
                <a:gd name="connsiteX13" fmla="*/ 468010 w 861202"/>
                <a:gd name="connsiteY13" fmla="*/ 146304 h 474067"/>
                <a:gd name="connsiteX14" fmla="*/ 458866 w 861202"/>
                <a:gd name="connsiteY14" fmla="*/ 155448 h 474067"/>
                <a:gd name="connsiteX15" fmla="*/ 440578 w 861202"/>
                <a:gd name="connsiteY15" fmla="*/ 146304 h 474067"/>
                <a:gd name="connsiteX16" fmla="*/ 568594 w 861202"/>
                <a:gd name="connsiteY16" fmla="*/ 91440 h 474067"/>
                <a:gd name="connsiteX17" fmla="*/ 623458 w 861202"/>
                <a:gd name="connsiteY17" fmla="*/ 91440 h 474067"/>
                <a:gd name="connsiteX18" fmla="*/ 714898 w 861202"/>
                <a:gd name="connsiteY18" fmla="*/ 82296 h 474067"/>
                <a:gd name="connsiteX19" fmla="*/ 842914 w 861202"/>
                <a:gd name="connsiteY19" fmla="*/ 27432 h 474067"/>
                <a:gd name="connsiteX20" fmla="*/ 824626 w 861202"/>
                <a:gd name="connsiteY20" fmla="*/ 0 h 474067"/>
                <a:gd name="connsiteX21" fmla="*/ 788050 w 861202"/>
                <a:gd name="connsiteY21" fmla="*/ 27432 h 474067"/>
                <a:gd name="connsiteX22" fmla="*/ 751474 w 861202"/>
                <a:gd name="connsiteY22" fmla="*/ 36576 h 474067"/>
                <a:gd name="connsiteX23" fmla="*/ 678322 w 861202"/>
                <a:gd name="connsiteY23" fmla="*/ 64008 h 474067"/>
                <a:gd name="connsiteX24" fmla="*/ 623458 w 861202"/>
                <a:gd name="connsiteY24" fmla="*/ 64008 h 474067"/>
                <a:gd name="connsiteX25" fmla="*/ 513730 w 861202"/>
                <a:gd name="connsiteY25" fmla="*/ 64008 h 474067"/>
                <a:gd name="connsiteX26" fmla="*/ 458866 w 861202"/>
                <a:gd name="connsiteY26" fmla="*/ 100584 h 474067"/>
                <a:gd name="connsiteX27" fmla="*/ 422290 w 861202"/>
                <a:gd name="connsiteY27" fmla="*/ 146304 h 474067"/>
                <a:gd name="connsiteX28" fmla="*/ 376570 w 861202"/>
                <a:gd name="connsiteY28" fmla="*/ 182880 h 474067"/>
                <a:gd name="connsiteX29" fmla="*/ 330850 w 861202"/>
                <a:gd name="connsiteY29" fmla="*/ 256032 h 474067"/>
                <a:gd name="connsiteX30" fmla="*/ 257698 w 861202"/>
                <a:gd name="connsiteY30" fmla="*/ 301752 h 474067"/>
                <a:gd name="connsiteX31" fmla="*/ 157114 w 861202"/>
                <a:gd name="connsiteY31" fmla="*/ 347472 h 474067"/>
                <a:gd name="connsiteX32" fmla="*/ 120538 w 861202"/>
                <a:gd name="connsiteY32" fmla="*/ 374904 h 474067"/>
                <a:gd name="connsiteX33" fmla="*/ 74818 w 861202"/>
                <a:gd name="connsiteY33" fmla="*/ 402336 h 474067"/>
                <a:gd name="connsiteX34" fmla="*/ 56530 w 861202"/>
                <a:gd name="connsiteY34" fmla="*/ 402336 h 474067"/>
                <a:gd name="connsiteX35" fmla="*/ 74818 w 861202"/>
                <a:gd name="connsiteY35" fmla="*/ 365760 h 474067"/>
                <a:gd name="connsiteX36" fmla="*/ 129682 w 861202"/>
                <a:gd name="connsiteY36" fmla="*/ 301752 h 474067"/>
                <a:gd name="connsiteX37" fmla="*/ 221122 w 861202"/>
                <a:gd name="connsiteY37" fmla="*/ 219456 h 474067"/>
                <a:gd name="connsiteX38" fmla="*/ 266842 w 861202"/>
                <a:gd name="connsiteY38" fmla="*/ 146304 h 474067"/>
                <a:gd name="connsiteX39" fmla="*/ 266842 w 861202"/>
                <a:gd name="connsiteY39" fmla="*/ 64008 h 474067"/>
                <a:gd name="connsiteX40" fmla="*/ 257698 w 861202"/>
                <a:gd name="connsiteY40" fmla="*/ 54864 h 474067"/>
                <a:gd name="connsiteX41" fmla="*/ 248554 w 861202"/>
                <a:gd name="connsiteY41" fmla="*/ 128016 h 474067"/>
                <a:gd name="connsiteX42" fmla="*/ 221122 w 861202"/>
                <a:gd name="connsiteY42" fmla="*/ 173736 h 474067"/>
                <a:gd name="connsiteX43" fmla="*/ 147970 w 861202"/>
                <a:gd name="connsiteY43" fmla="*/ 237744 h 474067"/>
                <a:gd name="connsiteX44" fmla="*/ 120538 w 861202"/>
                <a:gd name="connsiteY44" fmla="*/ 256032 h 474067"/>
                <a:gd name="connsiteX45" fmla="*/ 47386 w 861202"/>
                <a:gd name="connsiteY45" fmla="*/ 347472 h 474067"/>
                <a:gd name="connsiteX46" fmla="*/ 38242 w 861202"/>
                <a:gd name="connsiteY46" fmla="*/ 374904 h 474067"/>
                <a:gd name="connsiteX47" fmla="*/ 29098 w 861202"/>
                <a:gd name="connsiteY47" fmla="*/ 411480 h 474067"/>
                <a:gd name="connsiteX48" fmla="*/ 47386 w 861202"/>
                <a:gd name="connsiteY48" fmla="*/ 429768 h 474067"/>
                <a:gd name="connsiteX49" fmla="*/ 1666 w 861202"/>
                <a:gd name="connsiteY49" fmla="*/ 457200 h 474067"/>
                <a:gd name="connsiteX50" fmla="*/ 37387 w 861202"/>
                <a:gd name="connsiteY50" fmla="*/ 430387 h 474067"/>
                <a:gd name="connsiteX51" fmla="*/ 37385 w 861202"/>
                <a:gd name="connsiteY51" fmla="*/ 430387 h 474067"/>
                <a:gd name="connsiteX52" fmla="*/ 37385 w 861202"/>
                <a:gd name="connsiteY52" fmla="*/ 430387 h 474067"/>
                <a:gd name="connsiteX53" fmla="*/ 37385 w 861202"/>
                <a:gd name="connsiteY53" fmla="*/ 430387 h 474067"/>
                <a:gd name="connsiteX54" fmla="*/ 37386 w 861202"/>
                <a:gd name="connsiteY54" fmla="*/ 430387 h 474067"/>
                <a:gd name="connsiteX55" fmla="*/ 37386 w 861202"/>
                <a:gd name="connsiteY55" fmla="*/ 430387 h 474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861202" h="474067">
                  <a:moveTo>
                    <a:pt x="37386" y="430387"/>
                  </a:moveTo>
                  <a:lnTo>
                    <a:pt x="37385" y="430387"/>
                  </a:lnTo>
                  <a:lnTo>
                    <a:pt x="37386" y="430387"/>
                  </a:lnTo>
                  <a:lnTo>
                    <a:pt x="37386" y="430387"/>
                  </a:lnTo>
                  <a:cubicBezTo>
                    <a:pt x="40577" y="436380"/>
                    <a:pt x="36575" y="474067"/>
                    <a:pt x="56530" y="466344"/>
                  </a:cubicBezTo>
                  <a:cubicBezTo>
                    <a:pt x="76485" y="458621"/>
                    <a:pt x="108346" y="411480"/>
                    <a:pt x="157114" y="384048"/>
                  </a:cubicBezTo>
                  <a:cubicBezTo>
                    <a:pt x="205882" y="356616"/>
                    <a:pt x="303418" y="333756"/>
                    <a:pt x="349138" y="301752"/>
                  </a:cubicBezTo>
                  <a:cubicBezTo>
                    <a:pt x="394858" y="269748"/>
                    <a:pt x="393334" y="216408"/>
                    <a:pt x="431434" y="192024"/>
                  </a:cubicBezTo>
                  <a:cubicBezTo>
                    <a:pt x="469534" y="167640"/>
                    <a:pt x="545734" y="161544"/>
                    <a:pt x="577738" y="155448"/>
                  </a:cubicBezTo>
                  <a:cubicBezTo>
                    <a:pt x="609742" y="149352"/>
                    <a:pt x="609742" y="158496"/>
                    <a:pt x="623458" y="155448"/>
                  </a:cubicBezTo>
                  <a:cubicBezTo>
                    <a:pt x="637174" y="152400"/>
                    <a:pt x="661558" y="140208"/>
                    <a:pt x="660034" y="137160"/>
                  </a:cubicBezTo>
                  <a:cubicBezTo>
                    <a:pt x="658510" y="134112"/>
                    <a:pt x="614314" y="137160"/>
                    <a:pt x="614314" y="137160"/>
                  </a:cubicBezTo>
                  <a:cubicBezTo>
                    <a:pt x="591454" y="137160"/>
                    <a:pt x="547258" y="135636"/>
                    <a:pt x="522874" y="137160"/>
                  </a:cubicBezTo>
                  <a:cubicBezTo>
                    <a:pt x="498490" y="138684"/>
                    <a:pt x="478678" y="143256"/>
                    <a:pt x="468010" y="146304"/>
                  </a:cubicBezTo>
                  <a:cubicBezTo>
                    <a:pt x="457342" y="149352"/>
                    <a:pt x="463438" y="155448"/>
                    <a:pt x="458866" y="155448"/>
                  </a:cubicBezTo>
                  <a:cubicBezTo>
                    <a:pt x="454294" y="155448"/>
                    <a:pt x="422290" y="156972"/>
                    <a:pt x="440578" y="146304"/>
                  </a:cubicBezTo>
                  <a:cubicBezTo>
                    <a:pt x="458866" y="135636"/>
                    <a:pt x="538114" y="100584"/>
                    <a:pt x="568594" y="91440"/>
                  </a:cubicBezTo>
                  <a:cubicBezTo>
                    <a:pt x="599074" y="82296"/>
                    <a:pt x="599074" y="92964"/>
                    <a:pt x="623458" y="91440"/>
                  </a:cubicBezTo>
                  <a:cubicBezTo>
                    <a:pt x="647842" y="89916"/>
                    <a:pt x="678322" y="92964"/>
                    <a:pt x="714898" y="82296"/>
                  </a:cubicBezTo>
                  <a:cubicBezTo>
                    <a:pt x="751474" y="71628"/>
                    <a:pt x="824626" y="41148"/>
                    <a:pt x="842914" y="27432"/>
                  </a:cubicBezTo>
                  <a:cubicBezTo>
                    <a:pt x="861202" y="13716"/>
                    <a:pt x="833770" y="0"/>
                    <a:pt x="824626" y="0"/>
                  </a:cubicBezTo>
                  <a:cubicBezTo>
                    <a:pt x="815482" y="0"/>
                    <a:pt x="800242" y="21336"/>
                    <a:pt x="788050" y="27432"/>
                  </a:cubicBezTo>
                  <a:cubicBezTo>
                    <a:pt x="775858" y="33528"/>
                    <a:pt x="769762" y="30480"/>
                    <a:pt x="751474" y="36576"/>
                  </a:cubicBezTo>
                  <a:cubicBezTo>
                    <a:pt x="733186" y="42672"/>
                    <a:pt x="699658" y="59436"/>
                    <a:pt x="678322" y="64008"/>
                  </a:cubicBezTo>
                  <a:cubicBezTo>
                    <a:pt x="656986" y="68580"/>
                    <a:pt x="623458" y="64008"/>
                    <a:pt x="623458" y="64008"/>
                  </a:cubicBezTo>
                  <a:cubicBezTo>
                    <a:pt x="596026" y="64008"/>
                    <a:pt x="541162" y="57912"/>
                    <a:pt x="513730" y="64008"/>
                  </a:cubicBezTo>
                  <a:cubicBezTo>
                    <a:pt x="486298" y="70104"/>
                    <a:pt x="474106" y="86868"/>
                    <a:pt x="458866" y="100584"/>
                  </a:cubicBezTo>
                  <a:cubicBezTo>
                    <a:pt x="443626" y="114300"/>
                    <a:pt x="436006" y="132588"/>
                    <a:pt x="422290" y="146304"/>
                  </a:cubicBezTo>
                  <a:cubicBezTo>
                    <a:pt x="408574" y="160020"/>
                    <a:pt x="391810" y="164592"/>
                    <a:pt x="376570" y="182880"/>
                  </a:cubicBezTo>
                  <a:cubicBezTo>
                    <a:pt x="361330" y="201168"/>
                    <a:pt x="350662" y="236220"/>
                    <a:pt x="330850" y="256032"/>
                  </a:cubicBezTo>
                  <a:cubicBezTo>
                    <a:pt x="311038" y="275844"/>
                    <a:pt x="286654" y="286512"/>
                    <a:pt x="257698" y="301752"/>
                  </a:cubicBezTo>
                  <a:cubicBezTo>
                    <a:pt x="228742" y="316992"/>
                    <a:pt x="179974" y="335280"/>
                    <a:pt x="157114" y="347472"/>
                  </a:cubicBezTo>
                  <a:cubicBezTo>
                    <a:pt x="134254" y="359664"/>
                    <a:pt x="134254" y="365760"/>
                    <a:pt x="120538" y="374904"/>
                  </a:cubicBezTo>
                  <a:cubicBezTo>
                    <a:pt x="106822" y="384048"/>
                    <a:pt x="85486" y="397764"/>
                    <a:pt x="74818" y="402336"/>
                  </a:cubicBezTo>
                  <a:cubicBezTo>
                    <a:pt x="64150" y="406908"/>
                    <a:pt x="56530" y="408432"/>
                    <a:pt x="56530" y="402336"/>
                  </a:cubicBezTo>
                  <a:cubicBezTo>
                    <a:pt x="56530" y="396240"/>
                    <a:pt x="62626" y="382524"/>
                    <a:pt x="74818" y="365760"/>
                  </a:cubicBezTo>
                  <a:cubicBezTo>
                    <a:pt x="87010" y="348996"/>
                    <a:pt x="105298" y="326136"/>
                    <a:pt x="129682" y="301752"/>
                  </a:cubicBezTo>
                  <a:cubicBezTo>
                    <a:pt x="154066" y="277368"/>
                    <a:pt x="198262" y="245364"/>
                    <a:pt x="221122" y="219456"/>
                  </a:cubicBezTo>
                  <a:cubicBezTo>
                    <a:pt x="243982" y="193548"/>
                    <a:pt x="259222" y="172212"/>
                    <a:pt x="266842" y="146304"/>
                  </a:cubicBezTo>
                  <a:cubicBezTo>
                    <a:pt x="274462" y="120396"/>
                    <a:pt x="268366" y="79248"/>
                    <a:pt x="266842" y="64008"/>
                  </a:cubicBezTo>
                  <a:cubicBezTo>
                    <a:pt x="265318" y="48768"/>
                    <a:pt x="260746" y="44196"/>
                    <a:pt x="257698" y="54864"/>
                  </a:cubicBezTo>
                  <a:cubicBezTo>
                    <a:pt x="254650" y="65532"/>
                    <a:pt x="254650" y="108204"/>
                    <a:pt x="248554" y="128016"/>
                  </a:cubicBezTo>
                  <a:cubicBezTo>
                    <a:pt x="242458" y="147828"/>
                    <a:pt x="237886" y="155448"/>
                    <a:pt x="221122" y="173736"/>
                  </a:cubicBezTo>
                  <a:cubicBezTo>
                    <a:pt x="204358" y="192024"/>
                    <a:pt x="164734" y="224028"/>
                    <a:pt x="147970" y="237744"/>
                  </a:cubicBezTo>
                  <a:cubicBezTo>
                    <a:pt x="131206" y="251460"/>
                    <a:pt x="137302" y="237744"/>
                    <a:pt x="120538" y="256032"/>
                  </a:cubicBezTo>
                  <a:cubicBezTo>
                    <a:pt x="103774" y="274320"/>
                    <a:pt x="61102" y="327660"/>
                    <a:pt x="47386" y="347472"/>
                  </a:cubicBezTo>
                  <a:cubicBezTo>
                    <a:pt x="33670" y="367284"/>
                    <a:pt x="41290" y="364236"/>
                    <a:pt x="38242" y="374904"/>
                  </a:cubicBezTo>
                  <a:cubicBezTo>
                    <a:pt x="35194" y="385572"/>
                    <a:pt x="27574" y="402336"/>
                    <a:pt x="29098" y="411480"/>
                  </a:cubicBezTo>
                  <a:cubicBezTo>
                    <a:pt x="30622" y="420624"/>
                    <a:pt x="51958" y="422148"/>
                    <a:pt x="47386" y="429768"/>
                  </a:cubicBezTo>
                  <a:cubicBezTo>
                    <a:pt x="42814" y="437388"/>
                    <a:pt x="3332" y="457097"/>
                    <a:pt x="1666" y="457200"/>
                  </a:cubicBezTo>
                  <a:cubicBezTo>
                    <a:pt x="0" y="457303"/>
                    <a:pt x="31434" y="434856"/>
                    <a:pt x="37387" y="430387"/>
                  </a:cubicBezTo>
                  <a:cubicBezTo>
                    <a:pt x="43340" y="425918"/>
                    <a:pt x="26821" y="429886"/>
                    <a:pt x="37385" y="430387"/>
                  </a:cubicBezTo>
                  <a:lnTo>
                    <a:pt x="37385" y="430387"/>
                  </a:lnTo>
                  <a:lnTo>
                    <a:pt x="37385" y="430387"/>
                  </a:lnTo>
                  <a:lnTo>
                    <a:pt x="37386" y="430387"/>
                  </a:lnTo>
                  <a:lnTo>
                    <a:pt x="37386" y="430387"/>
                  </a:lnTo>
                  <a:close/>
                </a:path>
              </a:pathLst>
            </a:custGeom>
            <a:solidFill>
              <a:srgbClr val="8DAA44"/>
            </a:solidFill>
            <a:ln w="6350" cap="flat" cmpd="sng" algn="ctr">
              <a:solidFill>
                <a:srgbClr val="663300"/>
              </a:solidFill>
              <a:prstDash val="solid"/>
            </a:ln>
            <a:effectLst/>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0" cap="none" spc="0" normalizeH="0" baseline="0" noProof="0" dirty="0">
                <a:ln>
                  <a:noFill/>
                </a:ln>
                <a:solidFill>
                  <a:prstClr val="white"/>
                </a:solidFill>
                <a:effectLst/>
                <a:uLnTx/>
                <a:uFillTx/>
                <a:latin typeface="News Gothic MT" panose="020B0503020103020203" pitchFamily="34" charset="0"/>
                <a:ea typeface="MS PGothic" charset="0"/>
                <a:cs typeface="+mn-cs"/>
              </a:endParaRPr>
            </a:p>
          </p:txBody>
        </p:sp>
        <p:sp>
          <p:nvSpPr>
            <p:cNvPr id="15" name="Freeform 210">
              <a:extLst>
                <a:ext uri="{FF2B5EF4-FFF2-40B4-BE49-F238E27FC236}">
                  <a16:creationId xmlns:a16="http://schemas.microsoft.com/office/drawing/2014/main" id="{F843DEC1-726D-447E-B972-11D9740E3A72}"/>
                </a:ext>
              </a:extLst>
            </p:cNvPr>
            <p:cNvSpPr/>
            <p:nvPr/>
          </p:nvSpPr>
          <p:spPr>
            <a:xfrm rot="10221800" flipH="1" flipV="1">
              <a:off x="6303168" y="2008923"/>
              <a:ext cx="478288" cy="325896"/>
            </a:xfrm>
            <a:custGeom>
              <a:avLst/>
              <a:gdLst>
                <a:gd name="connsiteX0" fmla="*/ 19812 w 1226820"/>
                <a:gd name="connsiteY0" fmla="*/ 841248 h 864108"/>
                <a:gd name="connsiteX1" fmla="*/ 92964 w 1226820"/>
                <a:gd name="connsiteY1" fmla="*/ 649224 h 864108"/>
                <a:gd name="connsiteX2" fmla="*/ 193548 w 1226820"/>
                <a:gd name="connsiteY2" fmla="*/ 548640 h 864108"/>
                <a:gd name="connsiteX3" fmla="*/ 321564 w 1226820"/>
                <a:gd name="connsiteY3" fmla="*/ 493776 h 864108"/>
                <a:gd name="connsiteX4" fmla="*/ 422148 w 1226820"/>
                <a:gd name="connsiteY4" fmla="*/ 466344 h 864108"/>
                <a:gd name="connsiteX5" fmla="*/ 522732 w 1226820"/>
                <a:gd name="connsiteY5" fmla="*/ 384048 h 864108"/>
                <a:gd name="connsiteX6" fmla="*/ 714756 w 1226820"/>
                <a:gd name="connsiteY6" fmla="*/ 301752 h 864108"/>
                <a:gd name="connsiteX7" fmla="*/ 797052 w 1226820"/>
                <a:gd name="connsiteY7" fmla="*/ 192024 h 864108"/>
                <a:gd name="connsiteX8" fmla="*/ 943356 w 1226820"/>
                <a:gd name="connsiteY8" fmla="*/ 155448 h 864108"/>
                <a:gd name="connsiteX9" fmla="*/ 989076 w 1226820"/>
                <a:gd name="connsiteY9" fmla="*/ 155448 h 864108"/>
                <a:gd name="connsiteX10" fmla="*/ 1025652 w 1226820"/>
                <a:gd name="connsiteY10" fmla="*/ 137160 h 864108"/>
                <a:gd name="connsiteX11" fmla="*/ 979932 w 1226820"/>
                <a:gd name="connsiteY11" fmla="*/ 137160 h 864108"/>
                <a:gd name="connsiteX12" fmla="*/ 888492 w 1226820"/>
                <a:gd name="connsiteY12" fmla="*/ 137160 h 864108"/>
                <a:gd name="connsiteX13" fmla="*/ 833628 w 1226820"/>
                <a:gd name="connsiteY13" fmla="*/ 146304 h 864108"/>
                <a:gd name="connsiteX14" fmla="*/ 824484 w 1226820"/>
                <a:gd name="connsiteY14" fmla="*/ 155448 h 864108"/>
                <a:gd name="connsiteX15" fmla="*/ 806196 w 1226820"/>
                <a:gd name="connsiteY15" fmla="*/ 146304 h 864108"/>
                <a:gd name="connsiteX16" fmla="*/ 934212 w 1226820"/>
                <a:gd name="connsiteY16" fmla="*/ 91440 h 864108"/>
                <a:gd name="connsiteX17" fmla="*/ 989076 w 1226820"/>
                <a:gd name="connsiteY17" fmla="*/ 91440 h 864108"/>
                <a:gd name="connsiteX18" fmla="*/ 1080516 w 1226820"/>
                <a:gd name="connsiteY18" fmla="*/ 82296 h 864108"/>
                <a:gd name="connsiteX19" fmla="*/ 1208532 w 1226820"/>
                <a:gd name="connsiteY19" fmla="*/ 27432 h 864108"/>
                <a:gd name="connsiteX20" fmla="*/ 1190244 w 1226820"/>
                <a:gd name="connsiteY20" fmla="*/ 0 h 864108"/>
                <a:gd name="connsiteX21" fmla="*/ 1153668 w 1226820"/>
                <a:gd name="connsiteY21" fmla="*/ 27432 h 864108"/>
                <a:gd name="connsiteX22" fmla="*/ 1117092 w 1226820"/>
                <a:gd name="connsiteY22" fmla="*/ 36576 h 864108"/>
                <a:gd name="connsiteX23" fmla="*/ 1043940 w 1226820"/>
                <a:gd name="connsiteY23" fmla="*/ 64008 h 864108"/>
                <a:gd name="connsiteX24" fmla="*/ 989076 w 1226820"/>
                <a:gd name="connsiteY24" fmla="*/ 64008 h 864108"/>
                <a:gd name="connsiteX25" fmla="*/ 879348 w 1226820"/>
                <a:gd name="connsiteY25" fmla="*/ 64008 h 864108"/>
                <a:gd name="connsiteX26" fmla="*/ 824484 w 1226820"/>
                <a:gd name="connsiteY26" fmla="*/ 100584 h 864108"/>
                <a:gd name="connsiteX27" fmla="*/ 787908 w 1226820"/>
                <a:gd name="connsiteY27" fmla="*/ 146304 h 864108"/>
                <a:gd name="connsiteX28" fmla="*/ 742188 w 1226820"/>
                <a:gd name="connsiteY28" fmla="*/ 182880 h 864108"/>
                <a:gd name="connsiteX29" fmla="*/ 696468 w 1226820"/>
                <a:gd name="connsiteY29" fmla="*/ 256032 h 864108"/>
                <a:gd name="connsiteX30" fmla="*/ 623316 w 1226820"/>
                <a:gd name="connsiteY30" fmla="*/ 301752 h 864108"/>
                <a:gd name="connsiteX31" fmla="*/ 522732 w 1226820"/>
                <a:gd name="connsiteY31" fmla="*/ 347472 h 864108"/>
                <a:gd name="connsiteX32" fmla="*/ 486156 w 1226820"/>
                <a:gd name="connsiteY32" fmla="*/ 374904 h 864108"/>
                <a:gd name="connsiteX33" fmla="*/ 440436 w 1226820"/>
                <a:gd name="connsiteY33" fmla="*/ 402336 h 864108"/>
                <a:gd name="connsiteX34" fmla="*/ 422148 w 1226820"/>
                <a:gd name="connsiteY34" fmla="*/ 402336 h 864108"/>
                <a:gd name="connsiteX35" fmla="*/ 440436 w 1226820"/>
                <a:gd name="connsiteY35" fmla="*/ 365760 h 864108"/>
                <a:gd name="connsiteX36" fmla="*/ 495300 w 1226820"/>
                <a:gd name="connsiteY36" fmla="*/ 301752 h 864108"/>
                <a:gd name="connsiteX37" fmla="*/ 586740 w 1226820"/>
                <a:gd name="connsiteY37" fmla="*/ 219456 h 864108"/>
                <a:gd name="connsiteX38" fmla="*/ 632460 w 1226820"/>
                <a:gd name="connsiteY38" fmla="*/ 146304 h 864108"/>
                <a:gd name="connsiteX39" fmla="*/ 632460 w 1226820"/>
                <a:gd name="connsiteY39" fmla="*/ 64008 h 864108"/>
                <a:gd name="connsiteX40" fmla="*/ 623316 w 1226820"/>
                <a:gd name="connsiteY40" fmla="*/ 54864 h 864108"/>
                <a:gd name="connsiteX41" fmla="*/ 614172 w 1226820"/>
                <a:gd name="connsiteY41" fmla="*/ 128016 h 864108"/>
                <a:gd name="connsiteX42" fmla="*/ 586740 w 1226820"/>
                <a:gd name="connsiteY42" fmla="*/ 173736 h 864108"/>
                <a:gd name="connsiteX43" fmla="*/ 513588 w 1226820"/>
                <a:gd name="connsiteY43" fmla="*/ 237744 h 864108"/>
                <a:gd name="connsiteX44" fmla="*/ 486156 w 1226820"/>
                <a:gd name="connsiteY44" fmla="*/ 256032 h 864108"/>
                <a:gd name="connsiteX45" fmla="*/ 413004 w 1226820"/>
                <a:gd name="connsiteY45" fmla="*/ 347472 h 864108"/>
                <a:gd name="connsiteX46" fmla="*/ 403860 w 1226820"/>
                <a:gd name="connsiteY46" fmla="*/ 374904 h 864108"/>
                <a:gd name="connsiteX47" fmla="*/ 394716 w 1226820"/>
                <a:gd name="connsiteY47" fmla="*/ 411480 h 864108"/>
                <a:gd name="connsiteX48" fmla="*/ 413004 w 1226820"/>
                <a:gd name="connsiteY48" fmla="*/ 429768 h 864108"/>
                <a:gd name="connsiteX49" fmla="*/ 367284 w 1226820"/>
                <a:gd name="connsiteY49" fmla="*/ 457200 h 864108"/>
                <a:gd name="connsiteX50" fmla="*/ 220980 w 1226820"/>
                <a:gd name="connsiteY50" fmla="*/ 493776 h 864108"/>
                <a:gd name="connsiteX51" fmla="*/ 175260 w 1226820"/>
                <a:gd name="connsiteY51" fmla="*/ 530352 h 864108"/>
                <a:gd name="connsiteX52" fmla="*/ 92964 w 1226820"/>
                <a:gd name="connsiteY52" fmla="*/ 585216 h 864108"/>
                <a:gd name="connsiteX53" fmla="*/ 19812 w 1226820"/>
                <a:gd name="connsiteY53" fmla="*/ 704088 h 864108"/>
                <a:gd name="connsiteX54" fmla="*/ 1524 w 1226820"/>
                <a:gd name="connsiteY54" fmla="*/ 786384 h 864108"/>
                <a:gd name="connsiteX55" fmla="*/ 19812 w 1226820"/>
                <a:gd name="connsiteY55" fmla="*/ 841248 h 864108"/>
                <a:gd name="connsiteX0" fmla="*/ 218332 w 1253874"/>
                <a:gd name="connsiteY0" fmla="*/ 554512 h 811313"/>
                <a:gd name="connsiteX1" fmla="*/ 120018 w 1253874"/>
                <a:gd name="connsiteY1" fmla="*/ 649224 h 811313"/>
                <a:gd name="connsiteX2" fmla="*/ 220602 w 1253874"/>
                <a:gd name="connsiteY2" fmla="*/ 548640 h 811313"/>
                <a:gd name="connsiteX3" fmla="*/ 348618 w 1253874"/>
                <a:gd name="connsiteY3" fmla="*/ 493776 h 811313"/>
                <a:gd name="connsiteX4" fmla="*/ 449202 w 1253874"/>
                <a:gd name="connsiteY4" fmla="*/ 466344 h 811313"/>
                <a:gd name="connsiteX5" fmla="*/ 549786 w 1253874"/>
                <a:gd name="connsiteY5" fmla="*/ 384048 h 811313"/>
                <a:gd name="connsiteX6" fmla="*/ 741810 w 1253874"/>
                <a:gd name="connsiteY6" fmla="*/ 301752 h 811313"/>
                <a:gd name="connsiteX7" fmla="*/ 824106 w 1253874"/>
                <a:gd name="connsiteY7" fmla="*/ 192024 h 811313"/>
                <a:gd name="connsiteX8" fmla="*/ 970410 w 1253874"/>
                <a:gd name="connsiteY8" fmla="*/ 155448 h 811313"/>
                <a:gd name="connsiteX9" fmla="*/ 1016130 w 1253874"/>
                <a:gd name="connsiteY9" fmla="*/ 155448 h 811313"/>
                <a:gd name="connsiteX10" fmla="*/ 1052706 w 1253874"/>
                <a:gd name="connsiteY10" fmla="*/ 137160 h 811313"/>
                <a:gd name="connsiteX11" fmla="*/ 1006986 w 1253874"/>
                <a:gd name="connsiteY11" fmla="*/ 137160 h 811313"/>
                <a:gd name="connsiteX12" fmla="*/ 915546 w 1253874"/>
                <a:gd name="connsiteY12" fmla="*/ 137160 h 811313"/>
                <a:gd name="connsiteX13" fmla="*/ 860682 w 1253874"/>
                <a:gd name="connsiteY13" fmla="*/ 146304 h 811313"/>
                <a:gd name="connsiteX14" fmla="*/ 851538 w 1253874"/>
                <a:gd name="connsiteY14" fmla="*/ 155448 h 811313"/>
                <a:gd name="connsiteX15" fmla="*/ 833250 w 1253874"/>
                <a:gd name="connsiteY15" fmla="*/ 146304 h 811313"/>
                <a:gd name="connsiteX16" fmla="*/ 961266 w 1253874"/>
                <a:gd name="connsiteY16" fmla="*/ 91440 h 811313"/>
                <a:gd name="connsiteX17" fmla="*/ 1016130 w 1253874"/>
                <a:gd name="connsiteY17" fmla="*/ 91440 h 811313"/>
                <a:gd name="connsiteX18" fmla="*/ 1107570 w 1253874"/>
                <a:gd name="connsiteY18" fmla="*/ 82296 h 811313"/>
                <a:gd name="connsiteX19" fmla="*/ 1235586 w 1253874"/>
                <a:gd name="connsiteY19" fmla="*/ 27432 h 811313"/>
                <a:gd name="connsiteX20" fmla="*/ 1217298 w 1253874"/>
                <a:gd name="connsiteY20" fmla="*/ 0 h 811313"/>
                <a:gd name="connsiteX21" fmla="*/ 1180722 w 1253874"/>
                <a:gd name="connsiteY21" fmla="*/ 27432 h 811313"/>
                <a:gd name="connsiteX22" fmla="*/ 1144146 w 1253874"/>
                <a:gd name="connsiteY22" fmla="*/ 36576 h 811313"/>
                <a:gd name="connsiteX23" fmla="*/ 1070994 w 1253874"/>
                <a:gd name="connsiteY23" fmla="*/ 64008 h 811313"/>
                <a:gd name="connsiteX24" fmla="*/ 1016130 w 1253874"/>
                <a:gd name="connsiteY24" fmla="*/ 64008 h 811313"/>
                <a:gd name="connsiteX25" fmla="*/ 906402 w 1253874"/>
                <a:gd name="connsiteY25" fmla="*/ 64008 h 811313"/>
                <a:gd name="connsiteX26" fmla="*/ 851538 w 1253874"/>
                <a:gd name="connsiteY26" fmla="*/ 100584 h 811313"/>
                <a:gd name="connsiteX27" fmla="*/ 814962 w 1253874"/>
                <a:gd name="connsiteY27" fmla="*/ 146304 h 811313"/>
                <a:gd name="connsiteX28" fmla="*/ 769242 w 1253874"/>
                <a:gd name="connsiteY28" fmla="*/ 182880 h 811313"/>
                <a:gd name="connsiteX29" fmla="*/ 723522 w 1253874"/>
                <a:gd name="connsiteY29" fmla="*/ 256032 h 811313"/>
                <a:gd name="connsiteX30" fmla="*/ 650370 w 1253874"/>
                <a:gd name="connsiteY30" fmla="*/ 301752 h 811313"/>
                <a:gd name="connsiteX31" fmla="*/ 549786 w 1253874"/>
                <a:gd name="connsiteY31" fmla="*/ 347472 h 811313"/>
                <a:gd name="connsiteX32" fmla="*/ 513210 w 1253874"/>
                <a:gd name="connsiteY32" fmla="*/ 374904 h 811313"/>
                <a:gd name="connsiteX33" fmla="*/ 467490 w 1253874"/>
                <a:gd name="connsiteY33" fmla="*/ 402336 h 811313"/>
                <a:gd name="connsiteX34" fmla="*/ 449202 w 1253874"/>
                <a:gd name="connsiteY34" fmla="*/ 402336 h 811313"/>
                <a:gd name="connsiteX35" fmla="*/ 467490 w 1253874"/>
                <a:gd name="connsiteY35" fmla="*/ 365760 h 811313"/>
                <a:gd name="connsiteX36" fmla="*/ 522354 w 1253874"/>
                <a:gd name="connsiteY36" fmla="*/ 301752 h 811313"/>
                <a:gd name="connsiteX37" fmla="*/ 613794 w 1253874"/>
                <a:gd name="connsiteY37" fmla="*/ 219456 h 811313"/>
                <a:gd name="connsiteX38" fmla="*/ 659514 w 1253874"/>
                <a:gd name="connsiteY38" fmla="*/ 146304 h 811313"/>
                <a:gd name="connsiteX39" fmla="*/ 659514 w 1253874"/>
                <a:gd name="connsiteY39" fmla="*/ 64008 h 811313"/>
                <a:gd name="connsiteX40" fmla="*/ 650370 w 1253874"/>
                <a:gd name="connsiteY40" fmla="*/ 54864 h 811313"/>
                <a:gd name="connsiteX41" fmla="*/ 641226 w 1253874"/>
                <a:gd name="connsiteY41" fmla="*/ 128016 h 811313"/>
                <a:gd name="connsiteX42" fmla="*/ 613794 w 1253874"/>
                <a:gd name="connsiteY42" fmla="*/ 173736 h 811313"/>
                <a:gd name="connsiteX43" fmla="*/ 540642 w 1253874"/>
                <a:gd name="connsiteY43" fmla="*/ 237744 h 811313"/>
                <a:gd name="connsiteX44" fmla="*/ 513210 w 1253874"/>
                <a:gd name="connsiteY44" fmla="*/ 256032 h 811313"/>
                <a:gd name="connsiteX45" fmla="*/ 440058 w 1253874"/>
                <a:gd name="connsiteY45" fmla="*/ 347472 h 811313"/>
                <a:gd name="connsiteX46" fmla="*/ 430914 w 1253874"/>
                <a:gd name="connsiteY46" fmla="*/ 374904 h 811313"/>
                <a:gd name="connsiteX47" fmla="*/ 421770 w 1253874"/>
                <a:gd name="connsiteY47" fmla="*/ 411480 h 811313"/>
                <a:gd name="connsiteX48" fmla="*/ 440058 w 1253874"/>
                <a:gd name="connsiteY48" fmla="*/ 429768 h 811313"/>
                <a:gd name="connsiteX49" fmla="*/ 394338 w 1253874"/>
                <a:gd name="connsiteY49" fmla="*/ 457200 h 811313"/>
                <a:gd name="connsiteX50" fmla="*/ 248034 w 1253874"/>
                <a:gd name="connsiteY50" fmla="*/ 493776 h 811313"/>
                <a:gd name="connsiteX51" fmla="*/ 202314 w 1253874"/>
                <a:gd name="connsiteY51" fmla="*/ 530352 h 811313"/>
                <a:gd name="connsiteX52" fmla="*/ 120018 w 1253874"/>
                <a:gd name="connsiteY52" fmla="*/ 585216 h 811313"/>
                <a:gd name="connsiteX53" fmla="*/ 46866 w 1253874"/>
                <a:gd name="connsiteY53" fmla="*/ 704088 h 811313"/>
                <a:gd name="connsiteX54" fmla="*/ 28578 w 1253874"/>
                <a:gd name="connsiteY54" fmla="*/ 786384 h 811313"/>
                <a:gd name="connsiteX55" fmla="*/ 218332 w 1253874"/>
                <a:gd name="connsiteY55" fmla="*/ 554512 h 811313"/>
                <a:gd name="connsiteX0" fmla="*/ 187852 w 1223394"/>
                <a:gd name="connsiteY0" fmla="*/ 554512 h 709205"/>
                <a:gd name="connsiteX1" fmla="*/ 89538 w 1223394"/>
                <a:gd name="connsiteY1" fmla="*/ 649224 h 709205"/>
                <a:gd name="connsiteX2" fmla="*/ 190122 w 1223394"/>
                <a:gd name="connsiteY2" fmla="*/ 548640 h 709205"/>
                <a:gd name="connsiteX3" fmla="*/ 318138 w 1223394"/>
                <a:gd name="connsiteY3" fmla="*/ 493776 h 709205"/>
                <a:gd name="connsiteX4" fmla="*/ 418722 w 1223394"/>
                <a:gd name="connsiteY4" fmla="*/ 466344 h 709205"/>
                <a:gd name="connsiteX5" fmla="*/ 519306 w 1223394"/>
                <a:gd name="connsiteY5" fmla="*/ 384048 h 709205"/>
                <a:gd name="connsiteX6" fmla="*/ 711330 w 1223394"/>
                <a:gd name="connsiteY6" fmla="*/ 301752 h 709205"/>
                <a:gd name="connsiteX7" fmla="*/ 793626 w 1223394"/>
                <a:gd name="connsiteY7" fmla="*/ 192024 h 709205"/>
                <a:gd name="connsiteX8" fmla="*/ 939930 w 1223394"/>
                <a:gd name="connsiteY8" fmla="*/ 155448 h 709205"/>
                <a:gd name="connsiteX9" fmla="*/ 985650 w 1223394"/>
                <a:gd name="connsiteY9" fmla="*/ 155448 h 709205"/>
                <a:gd name="connsiteX10" fmla="*/ 1022226 w 1223394"/>
                <a:gd name="connsiteY10" fmla="*/ 137160 h 709205"/>
                <a:gd name="connsiteX11" fmla="*/ 976506 w 1223394"/>
                <a:gd name="connsiteY11" fmla="*/ 137160 h 709205"/>
                <a:gd name="connsiteX12" fmla="*/ 885066 w 1223394"/>
                <a:gd name="connsiteY12" fmla="*/ 137160 h 709205"/>
                <a:gd name="connsiteX13" fmla="*/ 830202 w 1223394"/>
                <a:gd name="connsiteY13" fmla="*/ 146304 h 709205"/>
                <a:gd name="connsiteX14" fmla="*/ 821058 w 1223394"/>
                <a:gd name="connsiteY14" fmla="*/ 155448 h 709205"/>
                <a:gd name="connsiteX15" fmla="*/ 802770 w 1223394"/>
                <a:gd name="connsiteY15" fmla="*/ 146304 h 709205"/>
                <a:gd name="connsiteX16" fmla="*/ 930786 w 1223394"/>
                <a:gd name="connsiteY16" fmla="*/ 91440 h 709205"/>
                <a:gd name="connsiteX17" fmla="*/ 985650 w 1223394"/>
                <a:gd name="connsiteY17" fmla="*/ 91440 h 709205"/>
                <a:gd name="connsiteX18" fmla="*/ 1077090 w 1223394"/>
                <a:gd name="connsiteY18" fmla="*/ 82296 h 709205"/>
                <a:gd name="connsiteX19" fmla="*/ 1205106 w 1223394"/>
                <a:gd name="connsiteY19" fmla="*/ 27432 h 709205"/>
                <a:gd name="connsiteX20" fmla="*/ 1186818 w 1223394"/>
                <a:gd name="connsiteY20" fmla="*/ 0 h 709205"/>
                <a:gd name="connsiteX21" fmla="*/ 1150242 w 1223394"/>
                <a:gd name="connsiteY21" fmla="*/ 27432 h 709205"/>
                <a:gd name="connsiteX22" fmla="*/ 1113666 w 1223394"/>
                <a:gd name="connsiteY22" fmla="*/ 36576 h 709205"/>
                <a:gd name="connsiteX23" fmla="*/ 1040514 w 1223394"/>
                <a:gd name="connsiteY23" fmla="*/ 64008 h 709205"/>
                <a:gd name="connsiteX24" fmla="*/ 985650 w 1223394"/>
                <a:gd name="connsiteY24" fmla="*/ 64008 h 709205"/>
                <a:gd name="connsiteX25" fmla="*/ 875922 w 1223394"/>
                <a:gd name="connsiteY25" fmla="*/ 64008 h 709205"/>
                <a:gd name="connsiteX26" fmla="*/ 821058 w 1223394"/>
                <a:gd name="connsiteY26" fmla="*/ 100584 h 709205"/>
                <a:gd name="connsiteX27" fmla="*/ 784482 w 1223394"/>
                <a:gd name="connsiteY27" fmla="*/ 146304 h 709205"/>
                <a:gd name="connsiteX28" fmla="*/ 738762 w 1223394"/>
                <a:gd name="connsiteY28" fmla="*/ 182880 h 709205"/>
                <a:gd name="connsiteX29" fmla="*/ 693042 w 1223394"/>
                <a:gd name="connsiteY29" fmla="*/ 256032 h 709205"/>
                <a:gd name="connsiteX30" fmla="*/ 619890 w 1223394"/>
                <a:gd name="connsiteY30" fmla="*/ 301752 h 709205"/>
                <a:gd name="connsiteX31" fmla="*/ 519306 w 1223394"/>
                <a:gd name="connsiteY31" fmla="*/ 347472 h 709205"/>
                <a:gd name="connsiteX32" fmla="*/ 482730 w 1223394"/>
                <a:gd name="connsiteY32" fmla="*/ 374904 h 709205"/>
                <a:gd name="connsiteX33" fmla="*/ 437010 w 1223394"/>
                <a:gd name="connsiteY33" fmla="*/ 402336 h 709205"/>
                <a:gd name="connsiteX34" fmla="*/ 418722 w 1223394"/>
                <a:gd name="connsiteY34" fmla="*/ 402336 h 709205"/>
                <a:gd name="connsiteX35" fmla="*/ 437010 w 1223394"/>
                <a:gd name="connsiteY35" fmla="*/ 365760 h 709205"/>
                <a:gd name="connsiteX36" fmla="*/ 491874 w 1223394"/>
                <a:gd name="connsiteY36" fmla="*/ 301752 h 709205"/>
                <a:gd name="connsiteX37" fmla="*/ 583314 w 1223394"/>
                <a:gd name="connsiteY37" fmla="*/ 219456 h 709205"/>
                <a:gd name="connsiteX38" fmla="*/ 629034 w 1223394"/>
                <a:gd name="connsiteY38" fmla="*/ 146304 h 709205"/>
                <a:gd name="connsiteX39" fmla="*/ 629034 w 1223394"/>
                <a:gd name="connsiteY39" fmla="*/ 64008 h 709205"/>
                <a:gd name="connsiteX40" fmla="*/ 619890 w 1223394"/>
                <a:gd name="connsiteY40" fmla="*/ 54864 h 709205"/>
                <a:gd name="connsiteX41" fmla="*/ 610746 w 1223394"/>
                <a:gd name="connsiteY41" fmla="*/ 128016 h 709205"/>
                <a:gd name="connsiteX42" fmla="*/ 583314 w 1223394"/>
                <a:gd name="connsiteY42" fmla="*/ 173736 h 709205"/>
                <a:gd name="connsiteX43" fmla="*/ 510162 w 1223394"/>
                <a:gd name="connsiteY43" fmla="*/ 237744 h 709205"/>
                <a:gd name="connsiteX44" fmla="*/ 482730 w 1223394"/>
                <a:gd name="connsiteY44" fmla="*/ 256032 h 709205"/>
                <a:gd name="connsiteX45" fmla="*/ 409578 w 1223394"/>
                <a:gd name="connsiteY45" fmla="*/ 347472 h 709205"/>
                <a:gd name="connsiteX46" fmla="*/ 400434 w 1223394"/>
                <a:gd name="connsiteY46" fmla="*/ 374904 h 709205"/>
                <a:gd name="connsiteX47" fmla="*/ 391290 w 1223394"/>
                <a:gd name="connsiteY47" fmla="*/ 411480 h 709205"/>
                <a:gd name="connsiteX48" fmla="*/ 409578 w 1223394"/>
                <a:gd name="connsiteY48" fmla="*/ 429768 h 709205"/>
                <a:gd name="connsiteX49" fmla="*/ 363858 w 1223394"/>
                <a:gd name="connsiteY49" fmla="*/ 457200 h 709205"/>
                <a:gd name="connsiteX50" fmla="*/ 217554 w 1223394"/>
                <a:gd name="connsiteY50" fmla="*/ 493776 h 709205"/>
                <a:gd name="connsiteX51" fmla="*/ 171834 w 1223394"/>
                <a:gd name="connsiteY51" fmla="*/ 530352 h 709205"/>
                <a:gd name="connsiteX52" fmla="*/ 89538 w 1223394"/>
                <a:gd name="connsiteY52" fmla="*/ 585216 h 709205"/>
                <a:gd name="connsiteX53" fmla="*/ 16386 w 1223394"/>
                <a:gd name="connsiteY53" fmla="*/ 704088 h 709205"/>
                <a:gd name="connsiteX54" fmla="*/ 187853 w 1223394"/>
                <a:gd name="connsiteY54" fmla="*/ 554512 h 709205"/>
                <a:gd name="connsiteX55" fmla="*/ 187852 w 1223394"/>
                <a:gd name="connsiteY55" fmla="*/ 554512 h 709205"/>
                <a:gd name="connsiteX0" fmla="*/ 110754 w 1146296"/>
                <a:gd name="connsiteY0" fmla="*/ 554512 h 649224"/>
                <a:gd name="connsiteX1" fmla="*/ 12440 w 1146296"/>
                <a:gd name="connsiteY1" fmla="*/ 649224 h 649224"/>
                <a:gd name="connsiteX2" fmla="*/ 113024 w 1146296"/>
                <a:gd name="connsiteY2" fmla="*/ 548640 h 649224"/>
                <a:gd name="connsiteX3" fmla="*/ 241040 w 1146296"/>
                <a:gd name="connsiteY3" fmla="*/ 493776 h 649224"/>
                <a:gd name="connsiteX4" fmla="*/ 341624 w 1146296"/>
                <a:gd name="connsiteY4" fmla="*/ 466344 h 649224"/>
                <a:gd name="connsiteX5" fmla="*/ 442208 w 1146296"/>
                <a:gd name="connsiteY5" fmla="*/ 384048 h 649224"/>
                <a:gd name="connsiteX6" fmla="*/ 634232 w 1146296"/>
                <a:gd name="connsiteY6" fmla="*/ 301752 h 649224"/>
                <a:gd name="connsiteX7" fmla="*/ 716528 w 1146296"/>
                <a:gd name="connsiteY7" fmla="*/ 192024 h 649224"/>
                <a:gd name="connsiteX8" fmla="*/ 862832 w 1146296"/>
                <a:gd name="connsiteY8" fmla="*/ 155448 h 649224"/>
                <a:gd name="connsiteX9" fmla="*/ 908552 w 1146296"/>
                <a:gd name="connsiteY9" fmla="*/ 155448 h 649224"/>
                <a:gd name="connsiteX10" fmla="*/ 945128 w 1146296"/>
                <a:gd name="connsiteY10" fmla="*/ 137160 h 649224"/>
                <a:gd name="connsiteX11" fmla="*/ 899408 w 1146296"/>
                <a:gd name="connsiteY11" fmla="*/ 137160 h 649224"/>
                <a:gd name="connsiteX12" fmla="*/ 807968 w 1146296"/>
                <a:gd name="connsiteY12" fmla="*/ 137160 h 649224"/>
                <a:gd name="connsiteX13" fmla="*/ 753104 w 1146296"/>
                <a:gd name="connsiteY13" fmla="*/ 146304 h 649224"/>
                <a:gd name="connsiteX14" fmla="*/ 743960 w 1146296"/>
                <a:gd name="connsiteY14" fmla="*/ 155448 h 649224"/>
                <a:gd name="connsiteX15" fmla="*/ 725672 w 1146296"/>
                <a:gd name="connsiteY15" fmla="*/ 146304 h 649224"/>
                <a:gd name="connsiteX16" fmla="*/ 853688 w 1146296"/>
                <a:gd name="connsiteY16" fmla="*/ 91440 h 649224"/>
                <a:gd name="connsiteX17" fmla="*/ 908552 w 1146296"/>
                <a:gd name="connsiteY17" fmla="*/ 91440 h 649224"/>
                <a:gd name="connsiteX18" fmla="*/ 999992 w 1146296"/>
                <a:gd name="connsiteY18" fmla="*/ 82296 h 649224"/>
                <a:gd name="connsiteX19" fmla="*/ 1128008 w 1146296"/>
                <a:gd name="connsiteY19" fmla="*/ 27432 h 649224"/>
                <a:gd name="connsiteX20" fmla="*/ 1109720 w 1146296"/>
                <a:gd name="connsiteY20" fmla="*/ 0 h 649224"/>
                <a:gd name="connsiteX21" fmla="*/ 1073144 w 1146296"/>
                <a:gd name="connsiteY21" fmla="*/ 27432 h 649224"/>
                <a:gd name="connsiteX22" fmla="*/ 1036568 w 1146296"/>
                <a:gd name="connsiteY22" fmla="*/ 36576 h 649224"/>
                <a:gd name="connsiteX23" fmla="*/ 963416 w 1146296"/>
                <a:gd name="connsiteY23" fmla="*/ 64008 h 649224"/>
                <a:gd name="connsiteX24" fmla="*/ 908552 w 1146296"/>
                <a:gd name="connsiteY24" fmla="*/ 64008 h 649224"/>
                <a:gd name="connsiteX25" fmla="*/ 798824 w 1146296"/>
                <a:gd name="connsiteY25" fmla="*/ 64008 h 649224"/>
                <a:gd name="connsiteX26" fmla="*/ 743960 w 1146296"/>
                <a:gd name="connsiteY26" fmla="*/ 100584 h 649224"/>
                <a:gd name="connsiteX27" fmla="*/ 707384 w 1146296"/>
                <a:gd name="connsiteY27" fmla="*/ 146304 h 649224"/>
                <a:gd name="connsiteX28" fmla="*/ 661664 w 1146296"/>
                <a:gd name="connsiteY28" fmla="*/ 182880 h 649224"/>
                <a:gd name="connsiteX29" fmla="*/ 615944 w 1146296"/>
                <a:gd name="connsiteY29" fmla="*/ 256032 h 649224"/>
                <a:gd name="connsiteX30" fmla="*/ 542792 w 1146296"/>
                <a:gd name="connsiteY30" fmla="*/ 301752 h 649224"/>
                <a:gd name="connsiteX31" fmla="*/ 442208 w 1146296"/>
                <a:gd name="connsiteY31" fmla="*/ 347472 h 649224"/>
                <a:gd name="connsiteX32" fmla="*/ 405632 w 1146296"/>
                <a:gd name="connsiteY32" fmla="*/ 374904 h 649224"/>
                <a:gd name="connsiteX33" fmla="*/ 359912 w 1146296"/>
                <a:gd name="connsiteY33" fmla="*/ 402336 h 649224"/>
                <a:gd name="connsiteX34" fmla="*/ 341624 w 1146296"/>
                <a:gd name="connsiteY34" fmla="*/ 402336 h 649224"/>
                <a:gd name="connsiteX35" fmla="*/ 359912 w 1146296"/>
                <a:gd name="connsiteY35" fmla="*/ 365760 h 649224"/>
                <a:gd name="connsiteX36" fmla="*/ 414776 w 1146296"/>
                <a:gd name="connsiteY36" fmla="*/ 301752 h 649224"/>
                <a:gd name="connsiteX37" fmla="*/ 506216 w 1146296"/>
                <a:gd name="connsiteY37" fmla="*/ 219456 h 649224"/>
                <a:gd name="connsiteX38" fmla="*/ 551936 w 1146296"/>
                <a:gd name="connsiteY38" fmla="*/ 146304 h 649224"/>
                <a:gd name="connsiteX39" fmla="*/ 551936 w 1146296"/>
                <a:gd name="connsiteY39" fmla="*/ 64008 h 649224"/>
                <a:gd name="connsiteX40" fmla="*/ 542792 w 1146296"/>
                <a:gd name="connsiteY40" fmla="*/ 54864 h 649224"/>
                <a:gd name="connsiteX41" fmla="*/ 533648 w 1146296"/>
                <a:gd name="connsiteY41" fmla="*/ 128016 h 649224"/>
                <a:gd name="connsiteX42" fmla="*/ 506216 w 1146296"/>
                <a:gd name="connsiteY42" fmla="*/ 173736 h 649224"/>
                <a:gd name="connsiteX43" fmla="*/ 433064 w 1146296"/>
                <a:gd name="connsiteY43" fmla="*/ 237744 h 649224"/>
                <a:gd name="connsiteX44" fmla="*/ 405632 w 1146296"/>
                <a:gd name="connsiteY44" fmla="*/ 256032 h 649224"/>
                <a:gd name="connsiteX45" fmla="*/ 332480 w 1146296"/>
                <a:gd name="connsiteY45" fmla="*/ 347472 h 649224"/>
                <a:gd name="connsiteX46" fmla="*/ 323336 w 1146296"/>
                <a:gd name="connsiteY46" fmla="*/ 374904 h 649224"/>
                <a:gd name="connsiteX47" fmla="*/ 314192 w 1146296"/>
                <a:gd name="connsiteY47" fmla="*/ 411480 h 649224"/>
                <a:gd name="connsiteX48" fmla="*/ 332480 w 1146296"/>
                <a:gd name="connsiteY48" fmla="*/ 429768 h 649224"/>
                <a:gd name="connsiteX49" fmla="*/ 286760 w 1146296"/>
                <a:gd name="connsiteY49" fmla="*/ 457200 h 649224"/>
                <a:gd name="connsiteX50" fmla="*/ 140456 w 1146296"/>
                <a:gd name="connsiteY50" fmla="*/ 493776 h 649224"/>
                <a:gd name="connsiteX51" fmla="*/ 94736 w 1146296"/>
                <a:gd name="connsiteY51" fmla="*/ 530352 h 649224"/>
                <a:gd name="connsiteX52" fmla="*/ 12440 w 1146296"/>
                <a:gd name="connsiteY52" fmla="*/ 585216 h 649224"/>
                <a:gd name="connsiteX53" fmla="*/ 20096 w 1146296"/>
                <a:gd name="connsiteY53" fmla="*/ 612769 h 649224"/>
                <a:gd name="connsiteX54" fmla="*/ 110755 w 1146296"/>
                <a:gd name="connsiteY54" fmla="*/ 554512 h 649224"/>
                <a:gd name="connsiteX55" fmla="*/ 110754 w 1146296"/>
                <a:gd name="connsiteY55" fmla="*/ 554512 h 649224"/>
                <a:gd name="connsiteX0" fmla="*/ 101388 w 1136930"/>
                <a:gd name="connsiteY0" fmla="*/ 554512 h 649224"/>
                <a:gd name="connsiteX1" fmla="*/ 3074 w 1136930"/>
                <a:gd name="connsiteY1" fmla="*/ 649224 h 649224"/>
                <a:gd name="connsiteX2" fmla="*/ 103658 w 1136930"/>
                <a:gd name="connsiteY2" fmla="*/ 548640 h 649224"/>
                <a:gd name="connsiteX3" fmla="*/ 231674 w 1136930"/>
                <a:gd name="connsiteY3" fmla="*/ 493776 h 649224"/>
                <a:gd name="connsiteX4" fmla="*/ 332258 w 1136930"/>
                <a:gd name="connsiteY4" fmla="*/ 466344 h 649224"/>
                <a:gd name="connsiteX5" fmla="*/ 432842 w 1136930"/>
                <a:gd name="connsiteY5" fmla="*/ 384048 h 649224"/>
                <a:gd name="connsiteX6" fmla="*/ 624866 w 1136930"/>
                <a:gd name="connsiteY6" fmla="*/ 301752 h 649224"/>
                <a:gd name="connsiteX7" fmla="*/ 707162 w 1136930"/>
                <a:gd name="connsiteY7" fmla="*/ 192024 h 649224"/>
                <a:gd name="connsiteX8" fmla="*/ 853466 w 1136930"/>
                <a:gd name="connsiteY8" fmla="*/ 155448 h 649224"/>
                <a:gd name="connsiteX9" fmla="*/ 899186 w 1136930"/>
                <a:gd name="connsiteY9" fmla="*/ 155448 h 649224"/>
                <a:gd name="connsiteX10" fmla="*/ 935762 w 1136930"/>
                <a:gd name="connsiteY10" fmla="*/ 137160 h 649224"/>
                <a:gd name="connsiteX11" fmla="*/ 890042 w 1136930"/>
                <a:gd name="connsiteY11" fmla="*/ 137160 h 649224"/>
                <a:gd name="connsiteX12" fmla="*/ 798602 w 1136930"/>
                <a:gd name="connsiteY12" fmla="*/ 137160 h 649224"/>
                <a:gd name="connsiteX13" fmla="*/ 743738 w 1136930"/>
                <a:gd name="connsiteY13" fmla="*/ 146304 h 649224"/>
                <a:gd name="connsiteX14" fmla="*/ 734594 w 1136930"/>
                <a:gd name="connsiteY14" fmla="*/ 155448 h 649224"/>
                <a:gd name="connsiteX15" fmla="*/ 716306 w 1136930"/>
                <a:gd name="connsiteY15" fmla="*/ 146304 h 649224"/>
                <a:gd name="connsiteX16" fmla="*/ 844322 w 1136930"/>
                <a:gd name="connsiteY16" fmla="*/ 91440 h 649224"/>
                <a:gd name="connsiteX17" fmla="*/ 899186 w 1136930"/>
                <a:gd name="connsiteY17" fmla="*/ 91440 h 649224"/>
                <a:gd name="connsiteX18" fmla="*/ 990626 w 1136930"/>
                <a:gd name="connsiteY18" fmla="*/ 82296 h 649224"/>
                <a:gd name="connsiteX19" fmla="*/ 1118642 w 1136930"/>
                <a:gd name="connsiteY19" fmla="*/ 27432 h 649224"/>
                <a:gd name="connsiteX20" fmla="*/ 1100354 w 1136930"/>
                <a:gd name="connsiteY20" fmla="*/ 0 h 649224"/>
                <a:gd name="connsiteX21" fmla="*/ 1063778 w 1136930"/>
                <a:gd name="connsiteY21" fmla="*/ 27432 h 649224"/>
                <a:gd name="connsiteX22" fmla="*/ 1027202 w 1136930"/>
                <a:gd name="connsiteY22" fmla="*/ 36576 h 649224"/>
                <a:gd name="connsiteX23" fmla="*/ 954050 w 1136930"/>
                <a:gd name="connsiteY23" fmla="*/ 64008 h 649224"/>
                <a:gd name="connsiteX24" fmla="*/ 899186 w 1136930"/>
                <a:gd name="connsiteY24" fmla="*/ 64008 h 649224"/>
                <a:gd name="connsiteX25" fmla="*/ 789458 w 1136930"/>
                <a:gd name="connsiteY25" fmla="*/ 64008 h 649224"/>
                <a:gd name="connsiteX26" fmla="*/ 734594 w 1136930"/>
                <a:gd name="connsiteY26" fmla="*/ 100584 h 649224"/>
                <a:gd name="connsiteX27" fmla="*/ 698018 w 1136930"/>
                <a:gd name="connsiteY27" fmla="*/ 146304 h 649224"/>
                <a:gd name="connsiteX28" fmla="*/ 652298 w 1136930"/>
                <a:gd name="connsiteY28" fmla="*/ 182880 h 649224"/>
                <a:gd name="connsiteX29" fmla="*/ 606578 w 1136930"/>
                <a:gd name="connsiteY29" fmla="*/ 256032 h 649224"/>
                <a:gd name="connsiteX30" fmla="*/ 533426 w 1136930"/>
                <a:gd name="connsiteY30" fmla="*/ 301752 h 649224"/>
                <a:gd name="connsiteX31" fmla="*/ 432842 w 1136930"/>
                <a:gd name="connsiteY31" fmla="*/ 347472 h 649224"/>
                <a:gd name="connsiteX32" fmla="*/ 396266 w 1136930"/>
                <a:gd name="connsiteY32" fmla="*/ 374904 h 649224"/>
                <a:gd name="connsiteX33" fmla="*/ 350546 w 1136930"/>
                <a:gd name="connsiteY33" fmla="*/ 402336 h 649224"/>
                <a:gd name="connsiteX34" fmla="*/ 332258 w 1136930"/>
                <a:gd name="connsiteY34" fmla="*/ 402336 h 649224"/>
                <a:gd name="connsiteX35" fmla="*/ 350546 w 1136930"/>
                <a:gd name="connsiteY35" fmla="*/ 365760 h 649224"/>
                <a:gd name="connsiteX36" fmla="*/ 405410 w 1136930"/>
                <a:gd name="connsiteY36" fmla="*/ 301752 h 649224"/>
                <a:gd name="connsiteX37" fmla="*/ 496850 w 1136930"/>
                <a:gd name="connsiteY37" fmla="*/ 219456 h 649224"/>
                <a:gd name="connsiteX38" fmla="*/ 542570 w 1136930"/>
                <a:gd name="connsiteY38" fmla="*/ 146304 h 649224"/>
                <a:gd name="connsiteX39" fmla="*/ 542570 w 1136930"/>
                <a:gd name="connsiteY39" fmla="*/ 64008 h 649224"/>
                <a:gd name="connsiteX40" fmla="*/ 533426 w 1136930"/>
                <a:gd name="connsiteY40" fmla="*/ 54864 h 649224"/>
                <a:gd name="connsiteX41" fmla="*/ 524282 w 1136930"/>
                <a:gd name="connsiteY41" fmla="*/ 128016 h 649224"/>
                <a:gd name="connsiteX42" fmla="*/ 496850 w 1136930"/>
                <a:gd name="connsiteY42" fmla="*/ 173736 h 649224"/>
                <a:gd name="connsiteX43" fmla="*/ 423698 w 1136930"/>
                <a:gd name="connsiteY43" fmla="*/ 237744 h 649224"/>
                <a:gd name="connsiteX44" fmla="*/ 396266 w 1136930"/>
                <a:gd name="connsiteY44" fmla="*/ 256032 h 649224"/>
                <a:gd name="connsiteX45" fmla="*/ 323114 w 1136930"/>
                <a:gd name="connsiteY45" fmla="*/ 347472 h 649224"/>
                <a:gd name="connsiteX46" fmla="*/ 313970 w 1136930"/>
                <a:gd name="connsiteY46" fmla="*/ 374904 h 649224"/>
                <a:gd name="connsiteX47" fmla="*/ 304826 w 1136930"/>
                <a:gd name="connsiteY47" fmla="*/ 411480 h 649224"/>
                <a:gd name="connsiteX48" fmla="*/ 323114 w 1136930"/>
                <a:gd name="connsiteY48" fmla="*/ 429768 h 649224"/>
                <a:gd name="connsiteX49" fmla="*/ 277394 w 1136930"/>
                <a:gd name="connsiteY49" fmla="*/ 457200 h 649224"/>
                <a:gd name="connsiteX50" fmla="*/ 131090 w 1136930"/>
                <a:gd name="connsiteY50" fmla="*/ 493776 h 649224"/>
                <a:gd name="connsiteX51" fmla="*/ 85370 w 1136930"/>
                <a:gd name="connsiteY51" fmla="*/ 530352 h 649224"/>
                <a:gd name="connsiteX52" fmla="*/ 3074 w 1136930"/>
                <a:gd name="connsiteY52" fmla="*/ 585216 h 649224"/>
                <a:gd name="connsiteX53" fmla="*/ 103816 w 1136930"/>
                <a:gd name="connsiteY53" fmla="*/ 555040 h 649224"/>
                <a:gd name="connsiteX54" fmla="*/ 101389 w 1136930"/>
                <a:gd name="connsiteY54" fmla="*/ 554512 h 649224"/>
                <a:gd name="connsiteX55" fmla="*/ 101388 w 1136930"/>
                <a:gd name="connsiteY55" fmla="*/ 554512 h 649224"/>
                <a:gd name="connsiteX0" fmla="*/ 101388 w 1136930"/>
                <a:gd name="connsiteY0" fmla="*/ 554512 h 589331"/>
                <a:gd name="connsiteX1" fmla="*/ 103816 w 1136930"/>
                <a:gd name="connsiteY1" fmla="*/ 555041 h 589331"/>
                <a:gd name="connsiteX2" fmla="*/ 103658 w 1136930"/>
                <a:gd name="connsiteY2" fmla="*/ 548640 h 589331"/>
                <a:gd name="connsiteX3" fmla="*/ 231674 w 1136930"/>
                <a:gd name="connsiteY3" fmla="*/ 493776 h 589331"/>
                <a:gd name="connsiteX4" fmla="*/ 332258 w 1136930"/>
                <a:gd name="connsiteY4" fmla="*/ 466344 h 589331"/>
                <a:gd name="connsiteX5" fmla="*/ 432842 w 1136930"/>
                <a:gd name="connsiteY5" fmla="*/ 384048 h 589331"/>
                <a:gd name="connsiteX6" fmla="*/ 624866 w 1136930"/>
                <a:gd name="connsiteY6" fmla="*/ 301752 h 589331"/>
                <a:gd name="connsiteX7" fmla="*/ 707162 w 1136930"/>
                <a:gd name="connsiteY7" fmla="*/ 192024 h 589331"/>
                <a:gd name="connsiteX8" fmla="*/ 853466 w 1136930"/>
                <a:gd name="connsiteY8" fmla="*/ 155448 h 589331"/>
                <a:gd name="connsiteX9" fmla="*/ 899186 w 1136930"/>
                <a:gd name="connsiteY9" fmla="*/ 155448 h 589331"/>
                <a:gd name="connsiteX10" fmla="*/ 935762 w 1136930"/>
                <a:gd name="connsiteY10" fmla="*/ 137160 h 589331"/>
                <a:gd name="connsiteX11" fmla="*/ 890042 w 1136930"/>
                <a:gd name="connsiteY11" fmla="*/ 137160 h 589331"/>
                <a:gd name="connsiteX12" fmla="*/ 798602 w 1136930"/>
                <a:gd name="connsiteY12" fmla="*/ 137160 h 589331"/>
                <a:gd name="connsiteX13" fmla="*/ 743738 w 1136930"/>
                <a:gd name="connsiteY13" fmla="*/ 146304 h 589331"/>
                <a:gd name="connsiteX14" fmla="*/ 734594 w 1136930"/>
                <a:gd name="connsiteY14" fmla="*/ 155448 h 589331"/>
                <a:gd name="connsiteX15" fmla="*/ 716306 w 1136930"/>
                <a:gd name="connsiteY15" fmla="*/ 146304 h 589331"/>
                <a:gd name="connsiteX16" fmla="*/ 844322 w 1136930"/>
                <a:gd name="connsiteY16" fmla="*/ 91440 h 589331"/>
                <a:gd name="connsiteX17" fmla="*/ 899186 w 1136930"/>
                <a:gd name="connsiteY17" fmla="*/ 91440 h 589331"/>
                <a:gd name="connsiteX18" fmla="*/ 990626 w 1136930"/>
                <a:gd name="connsiteY18" fmla="*/ 82296 h 589331"/>
                <a:gd name="connsiteX19" fmla="*/ 1118642 w 1136930"/>
                <a:gd name="connsiteY19" fmla="*/ 27432 h 589331"/>
                <a:gd name="connsiteX20" fmla="*/ 1100354 w 1136930"/>
                <a:gd name="connsiteY20" fmla="*/ 0 h 589331"/>
                <a:gd name="connsiteX21" fmla="*/ 1063778 w 1136930"/>
                <a:gd name="connsiteY21" fmla="*/ 27432 h 589331"/>
                <a:gd name="connsiteX22" fmla="*/ 1027202 w 1136930"/>
                <a:gd name="connsiteY22" fmla="*/ 36576 h 589331"/>
                <a:gd name="connsiteX23" fmla="*/ 954050 w 1136930"/>
                <a:gd name="connsiteY23" fmla="*/ 64008 h 589331"/>
                <a:gd name="connsiteX24" fmla="*/ 899186 w 1136930"/>
                <a:gd name="connsiteY24" fmla="*/ 64008 h 589331"/>
                <a:gd name="connsiteX25" fmla="*/ 789458 w 1136930"/>
                <a:gd name="connsiteY25" fmla="*/ 64008 h 589331"/>
                <a:gd name="connsiteX26" fmla="*/ 734594 w 1136930"/>
                <a:gd name="connsiteY26" fmla="*/ 100584 h 589331"/>
                <a:gd name="connsiteX27" fmla="*/ 698018 w 1136930"/>
                <a:gd name="connsiteY27" fmla="*/ 146304 h 589331"/>
                <a:gd name="connsiteX28" fmla="*/ 652298 w 1136930"/>
                <a:gd name="connsiteY28" fmla="*/ 182880 h 589331"/>
                <a:gd name="connsiteX29" fmla="*/ 606578 w 1136930"/>
                <a:gd name="connsiteY29" fmla="*/ 256032 h 589331"/>
                <a:gd name="connsiteX30" fmla="*/ 533426 w 1136930"/>
                <a:gd name="connsiteY30" fmla="*/ 301752 h 589331"/>
                <a:gd name="connsiteX31" fmla="*/ 432842 w 1136930"/>
                <a:gd name="connsiteY31" fmla="*/ 347472 h 589331"/>
                <a:gd name="connsiteX32" fmla="*/ 396266 w 1136930"/>
                <a:gd name="connsiteY32" fmla="*/ 374904 h 589331"/>
                <a:gd name="connsiteX33" fmla="*/ 350546 w 1136930"/>
                <a:gd name="connsiteY33" fmla="*/ 402336 h 589331"/>
                <a:gd name="connsiteX34" fmla="*/ 332258 w 1136930"/>
                <a:gd name="connsiteY34" fmla="*/ 402336 h 589331"/>
                <a:gd name="connsiteX35" fmla="*/ 350546 w 1136930"/>
                <a:gd name="connsiteY35" fmla="*/ 365760 h 589331"/>
                <a:gd name="connsiteX36" fmla="*/ 405410 w 1136930"/>
                <a:gd name="connsiteY36" fmla="*/ 301752 h 589331"/>
                <a:gd name="connsiteX37" fmla="*/ 496850 w 1136930"/>
                <a:gd name="connsiteY37" fmla="*/ 219456 h 589331"/>
                <a:gd name="connsiteX38" fmla="*/ 542570 w 1136930"/>
                <a:gd name="connsiteY38" fmla="*/ 146304 h 589331"/>
                <a:gd name="connsiteX39" fmla="*/ 542570 w 1136930"/>
                <a:gd name="connsiteY39" fmla="*/ 64008 h 589331"/>
                <a:gd name="connsiteX40" fmla="*/ 533426 w 1136930"/>
                <a:gd name="connsiteY40" fmla="*/ 54864 h 589331"/>
                <a:gd name="connsiteX41" fmla="*/ 524282 w 1136930"/>
                <a:gd name="connsiteY41" fmla="*/ 128016 h 589331"/>
                <a:gd name="connsiteX42" fmla="*/ 496850 w 1136930"/>
                <a:gd name="connsiteY42" fmla="*/ 173736 h 589331"/>
                <a:gd name="connsiteX43" fmla="*/ 423698 w 1136930"/>
                <a:gd name="connsiteY43" fmla="*/ 237744 h 589331"/>
                <a:gd name="connsiteX44" fmla="*/ 396266 w 1136930"/>
                <a:gd name="connsiteY44" fmla="*/ 256032 h 589331"/>
                <a:gd name="connsiteX45" fmla="*/ 323114 w 1136930"/>
                <a:gd name="connsiteY45" fmla="*/ 347472 h 589331"/>
                <a:gd name="connsiteX46" fmla="*/ 313970 w 1136930"/>
                <a:gd name="connsiteY46" fmla="*/ 374904 h 589331"/>
                <a:gd name="connsiteX47" fmla="*/ 304826 w 1136930"/>
                <a:gd name="connsiteY47" fmla="*/ 411480 h 589331"/>
                <a:gd name="connsiteX48" fmla="*/ 323114 w 1136930"/>
                <a:gd name="connsiteY48" fmla="*/ 429768 h 589331"/>
                <a:gd name="connsiteX49" fmla="*/ 277394 w 1136930"/>
                <a:gd name="connsiteY49" fmla="*/ 457200 h 589331"/>
                <a:gd name="connsiteX50" fmla="*/ 131090 w 1136930"/>
                <a:gd name="connsiteY50" fmla="*/ 493776 h 589331"/>
                <a:gd name="connsiteX51" fmla="*/ 85370 w 1136930"/>
                <a:gd name="connsiteY51" fmla="*/ 530352 h 589331"/>
                <a:gd name="connsiteX52" fmla="*/ 3074 w 1136930"/>
                <a:gd name="connsiteY52" fmla="*/ 585216 h 589331"/>
                <a:gd name="connsiteX53" fmla="*/ 103816 w 1136930"/>
                <a:gd name="connsiteY53" fmla="*/ 555040 h 589331"/>
                <a:gd name="connsiteX54" fmla="*/ 101389 w 1136930"/>
                <a:gd name="connsiteY54" fmla="*/ 554512 h 589331"/>
                <a:gd name="connsiteX55" fmla="*/ 101388 w 1136930"/>
                <a:gd name="connsiteY55" fmla="*/ 554512 h 589331"/>
                <a:gd name="connsiteX0" fmla="*/ 19040 w 1054582"/>
                <a:gd name="connsiteY0" fmla="*/ 554512 h 567361"/>
                <a:gd name="connsiteX1" fmla="*/ 21468 w 1054582"/>
                <a:gd name="connsiteY1" fmla="*/ 555041 h 567361"/>
                <a:gd name="connsiteX2" fmla="*/ 21310 w 1054582"/>
                <a:gd name="connsiteY2" fmla="*/ 548640 h 567361"/>
                <a:gd name="connsiteX3" fmla="*/ 149326 w 1054582"/>
                <a:gd name="connsiteY3" fmla="*/ 493776 h 567361"/>
                <a:gd name="connsiteX4" fmla="*/ 249910 w 1054582"/>
                <a:gd name="connsiteY4" fmla="*/ 466344 h 567361"/>
                <a:gd name="connsiteX5" fmla="*/ 350494 w 1054582"/>
                <a:gd name="connsiteY5" fmla="*/ 384048 h 567361"/>
                <a:gd name="connsiteX6" fmla="*/ 542518 w 1054582"/>
                <a:gd name="connsiteY6" fmla="*/ 301752 h 567361"/>
                <a:gd name="connsiteX7" fmla="*/ 624814 w 1054582"/>
                <a:gd name="connsiteY7" fmla="*/ 192024 h 567361"/>
                <a:gd name="connsiteX8" fmla="*/ 771118 w 1054582"/>
                <a:gd name="connsiteY8" fmla="*/ 155448 h 567361"/>
                <a:gd name="connsiteX9" fmla="*/ 816838 w 1054582"/>
                <a:gd name="connsiteY9" fmla="*/ 155448 h 567361"/>
                <a:gd name="connsiteX10" fmla="*/ 853414 w 1054582"/>
                <a:gd name="connsiteY10" fmla="*/ 137160 h 567361"/>
                <a:gd name="connsiteX11" fmla="*/ 807694 w 1054582"/>
                <a:gd name="connsiteY11" fmla="*/ 137160 h 567361"/>
                <a:gd name="connsiteX12" fmla="*/ 716254 w 1054582"/>
                <a:gd name="connsiteY12" fmla="*/ 137160 h 567361"/>
                <a:gd name="connsiteX13" fmla="*/ 661390 w 1054582"/>
                <a:gd name="connsiteY13" fmla="*/ 146304 h 567361"/>
                <a:gd name="connsiteX14" fmla="*/ 652246 w 1054582"/>
                <a:gd name="connsiteY14" fmla="*/ 155448 h 567361"/>
                <a:gd name="connsiteX15" fmla="*/ 633958 w 1054582"/>
                <a:gd name="connsiteY15" fmla="*/ 146304 h 567361"/>
                <a:gd name="connsiteX16" fmla="*/ 761974 w 1054582"/>
                <a:gd name="connsiteY16" fmla="*/ 91440 h 567361"/>
                <a:gd name="connsiteX17" fmla="*/ 816838 w 1054582"/>
                <a:gd name="connsiteY17" fmla="*/ 91440 h 567361"/>
                <a:gd name="connsiteX18" fmla="*/ 908278 w 1054582"/>
                <a:gd name="connsiteY18" fmla="*/ 82296 h 567361"/>
                <a:gd name="connsiteX19" fmla="*/ 1036294 w 1054582"/>
                <a:gd name="connsiteY19" fmla="*/ 27432 h 567361"/>
                <a:gd name="connsiteX20" fmla="*/ 1018006 w 1054582"/>
                <a:gd name="connsiteY20" fmla="*/ 0 h 567361"/>
                <a:gd name="connsiteX21" fmla="*/ 981430 w 1054582"/>
                <a:gd name="connsiteY21" fmla="*/ 27432 h 567361"/>
                <a:gd name="connsiteX22" fmla="*/ 944854 w 1054582"/>
                <a:gd name="connsiteY22" fmla="*/ 36576 h 567361"/>
                <a:gd name="connsiteX23" fmla="*/ 871702 w 1054582"/>
                <a:gd name="connsiteY23" fmla="*/ 64008 h 567361"/>
                <a:gd name="connsiteX24" fmla="*/ 816838 w 1054582"/>
                <a:gd name="connsiteY24" fmla="*/ 64008 h 567361"/>
                <a:gd name="connsiteX25" fmla="*/ 707110 w 1054582"/>
                <a:gd name="connsiteY25" fmla="*/ 64008 h 567361"/>
                <a:gd name="connsiteX26" fmla="*/ 652246 w 1054582"/>
                <a:gd name="connsiteY26" fmla="*/ 100584 h 567361"/>
                <a:gd name="connsiteX27" fmla="*/ 615670 w 1054582"/>
                <a:gd name="connsiteY27" fmla="*/ 146304 h 567361"/>
                <a:gd name="connsiteX28" fmla="*/ 569950 w 1054582"/>
                <a:gd name="connsiteY28" fmla="*/ 182880 h 567361"/>
                <a:gd name="connsiteX29" fmla="*/ 524230 w 1054582"/>
                <a:gd name="connsiteY29" fmla="*/ 256032 h 567361"/>
                <a:gd name="connsiteX30" fmla="*/ 451078 w 1054582"/>
                <a:gd name="connsiteY30" fmla="*/ 301752 h 567361"/>
                <a:gd name="connsiteX31" fmla="*/ 350494 w 1054582"/>
                <a:gd name="connsiteY31" fmla="*/ 347472 h 567361"/>
                <a:gd name="connsiteX32" fmla="*/ 313918 w 1054582"/>
                <a:gd name="connsiteY32" fmla="*/ 374904 h 567361"/>
                <a:gd name="connsiteX33" fmla="*/ 268198 w 1054582"/>
                <a:gd name="connsiteY33" fmla="*/ 402336 h 567361"/>
                <a:gd name="connsiteX34" fmla="*/ 249910 w 1054582"/>
                <a:gd name="connsiteY34" fmla="*/ 402336 h 567361"/>
                <a:gd name="connsiteX35" fmla="*/ 268198 w 1054582"/>
                <a:gd name="connsiteY35" fmla="*/ 365760 h 567361"/>
                <a:gd name="connsiteX36" fmla="*/ 323062 w 1054582"/>
                <a:gd name="connsiteY36" fmla="*/ 301752 h 567361"/>
                <a:gd name="connsiteX37" fmla="*/ 414502 w 1054582"/>
                <a:gd name="connsiteY37" fmla="*/ 219456 h 567361"/>
                <a:gd name="connsiteX38" fmla="*/ 460222 w 1054582"/>
                <a:gd name="connsiteY38" fmla="*/ 146304 h 567361"/>
                <a:gd name="connsiteX39" fmla="*/ 460222 w 1054582"/>
                <a:gd name="connsiteY39" fmla="*/ 64008 h 567361"/>
                <a:gd name="connsiteX40" fmla="*/ 451078 w 1054582"/>
                <a:gd name="connsiteY40" fmla="*/ 54864 h 567361"/>
                <a:gd name="connsiteX41" fmla="*/ 441934 w 1054582"/>
                <a:gd name="connsiteY41" fmla="*/ 128016 h 567361"/>
                <a:gd name="connsiteX42" fmla="*/ 414502 w 1054582"/>
                <a:gd name="connsiteY42" fmla="*/ 173736 h 567361"/>
                <a:gd name="connsiteX43" fmla="*/ 341350 w 1054582"/>
                <a:gd name="connsiteY43" fmla="*/ 237744 h 567361"/>
                <a:gd name="connsiteX44" fmla="*/ 313918 w 1054582"/>
                <a:gd name="connsiteY44" fmla="*/ 256032 h 567361"/>
                <a:gd name="connsiteX45" fmla="*/ 240766 w 1054582"/>
                <a:gd name="connsiteY45" fmla="*/ 347472 h 567361"/>
                <a:gd name="connsiteX46" fmla="*/ 231622 w 1054582"/>
                <a:gd name="connsiteY46" fmla="*/ 374904 h 567361"/>
                <a:gd name="connsiteX47" fmla="*/ 222478 w 1054582"/>
                <a:gd name="connsiteY47" fmla="*/ 411480 h 567361"/>
                <a:gd name="connsiteX48" fmla="*/ 240766 w 1054582"/>
                <a:gd name="connsiteY48" fmla="*/ 429768 h 567361"/>
                <a:gd name="connsiteX49" fmla="*/ 195046 w 1054582"/>
                <a:gd name="connsiteY49" fmla="*/ 457200 h 567361"/>
                <a:gd name="connsiteX50" fmla="*/ 48742 w 1054582"/>
                <a:gd name="connsiteY50" fmla="*/ 493776 h 567361"/>
                <a:gd name="connsiteX51" fmla="*/ 3022 w 1054582"/>
                <a:gd name="connsiteY51" fmla="*/ 530352 h 567361"/>
                <a:gd name="connsiteX52" fmla="*/ 37669 w 1054582"/>
                <a:gd name="connsiteY52" fmla="*/ 480583 h 567361"/>
                <a:gd name="connsiteX53" fmla="*/ 21468 w 1054582"/>
                <a:gd name="connsiteY53" fmla="*/ 555040 h 567361"/>
                <a:gd name="connsiteX54" fmla="*/ 19041 w 1054582"/>
                <a:gd name="connsiteY54" fmla="*/ 554512 h 567361"/>
                <a:gd name="connsiteX55" fmla="*/ 19040 w 1054582"/>
                <a:gd name="connsiteY55" fmla="*/ 554512 h 567361"/>
                <a:gd name="connsiteX0" fmla="*/ 112127 w 1054582"/>
                <a:gd name="connsiteY0" fmla="*/ 496784 h 567361"/>
                <a:gd name="connsiteX1" fmla="*/ 21468 w 1054582"/>
                <a:gd name="connsiteY1" fmla="*/ 555041 h 567361"/>
                <a:gd name="connsiteX2" fmla="*/ 21310 w 1054582"/>
                <a:gd name="connsiteY2" fmla="*/ 548640 h 567361"/>
                <a:gd name="connsiteX3" fmla="*/ 149326 w 1054582"/>
                <a:gd name="connsiteY3" fmla="*/ 493776 h 567361"/>
                <a:gd name="connsiteX4" fmla="*/ 249910 w 1054582"/>
                <a:gd name="connsiteY4" fmla="*/ 466344 h 567361"/>
                <a:gd name="connsiteX5" fmla="*/ 350494 w 1054582"/>
                <a:gd name="connsiteY5" fmla="*/ 384048 h 567361"/>
                <a:gd name="connsiteX6" fmla="*/ 542518 w 1054582"/>
                <a:gd name="connsiteY6" fmla="*/ 301752 h 567361"/>
                <a:gd name="connsiteX7" fmla="*/ 624814 w 1054582"/>
                <a:gd name="connsiteY7" fmla="*/ 192024 h 567361"/>
                <a:gd name="connsiteX8" fmla="*/ 771118 w 1054582"/>
                <a:gd name="connsiteY8" fmla="*/ 155448 h 567361"/>
                <a:gd name="connsiteX9" fmla="*/ 816838 w 1054582"/>
                <a:gd name="connsiteY9" fmla="*/ 155448 h 567361"/>
                <a:gd name="connsiteX10" fmla="*/ 853414 w 1054582"/>
                <a:gd name="connsiteY10" fmla="*/ 137160 h 567361"/>
                <a:gd name="connsiteX11" fmla="*/ 807694 w 1054582"/>
                <a:gd name="connsiteY11" fmla="*/ 137160 h 567361"/>
                <a:gd name="connsiteX12" fmla="*/ 716254 w 1054582"/>
                <a:gd name="connsiteY12" fmla="*/ 137160 h 567361"/>
                <a:gd name="connsiteX13" fmla="*/ 661390 w 1054582"/>
                <a:gd name="connsiteY13" fmla="*/ 146304 h 567361"/>
                <a:gd name="connsiteX14" fmla="*/ 652246 w 1054582"/>
                <a:gd name="connsiteY14" fmla="*/ 155448 h 567361"/>
                <a:gd name="connsiteX15" fmla="*/ 633958 w 1054582"/>
                <a:gd name="connsiteY15" fmla="*/ 146304 h 567361"/>
                <a:gd name="connsiteX16" fmla="*/ 761974 w 1054582"/>
                <a:gd name="connsiteY16" fmla="*/ 91440 h 567361"/>
                <a:gd name="connsiteX17" fmla="*/ 816838 w 1054582"/>
                <a:gd name="connsiteY17" fmla="*/ 91440 h 567361"/>
                <a:gd name="connsiteX18" fmla="*/ 908278 w 1054582"/>
                <a:gd name="connsiteY18" fmla="*/ 82296 h 567361"/>
                <a:gd name="connsiteX19" fmla="*/ 1036294 w 1054582"/>
                <a:gd name="connsiteY19" fmla="*/ 27432 h 567361"/>
                <a:gd name="connsiteX20" fmla="*/ 1018006 w 1054582"/>
                <a:gd name="connsiteY20" fmla="*/ 0 h 567361"/>
                <a:gd name="connsiteX21" fmla="*/ 981430 w 1054582"/>
                <a:gd name="connsiteY21" fmla="*/ 27432 h 567361"/>
                <a:gd name="connsiteX22" fmla="*/ 944854 w 1054582"/>
                <a:gd name="connsiteY22" fmla="*/ 36576 h 567361"/>
                <a:gd name="connsiteX23" fmla="*/ 871702 w 1054582"/>
                <a:gd name="connsiteY23" fmla="*/ 64008 h 567361"/>
                <a:gd name="connsiteX24" fmla="*/ 816838 w 1054582"/>
                <a:gd name="connsiteY24" fmla="*/ 64008 h 567361"/>
                <a:gd name="connsiteX25" fmla="*/ 707110 w 1054582"/>
                <a:gd name="connsiteY25" fmla="*/ 64008 h 567361"/>
                <a:gd name="connsiteX26" fmla="*/ 652246 w 1054582"/>
                <a:gd name="connsiteY26" fmla="*/ 100584 h 567361"/>
                <a:gd name="connsiteX27" fmla="*/ 615670 w 1054582"/>
                <a:gd name="connsiteY27" fmla="*/ 146304 h 567361"/>
                <a:gd name="connsiteX28" fmla="*/ 569950 w 1054582"/>
                <a:gd name="connsiteY28" fmla="*/ 182880 h 567361"/>
                <a:gd name="connsiteX29" fmla="*/ 524230 w 1054582"/>
                <a:gd name="connsiteY29" fmla="*/ 256032 h 567361"/>
                <a:gd name="connsiteX30" fmla="*/ 451078 w 1054582"/>
                <a:gd name="connsiteY30" fmla="*/ 301752 h 567361"/>
                <a:gd name="connsiteX31" fmla="*/ 350494 w 1054582"/>
                <a:gd name="connsiteY31" fmla="*/ 347472 h 567361"/>
                <a:gd name="connsiteX32" fmla="*/ 313918 w 1054582"/>
                <a:gd name="connsiteY32" fmla="*/ 374904 h 567361"/>
                <a:gd name="connsiteX33" fmla="*/ 268198 w 1054582"/>
                <a:gd name="connsiteY33" fmla="*/ 402336 h 567361"/>
                <a:gd name="connsiteX34" fmla="*/ 249910 w 1054582"/>
                <a:gd name="connsiteY34" fmla="*/ 402336 h 567361"/>
                <a:gd name="connsiteX35" fmla="*/ 268198 w 1054582"/>
                <a:gd name="connsiteY35" fmla="*/ 365760 h 567361"/>
                <a:gd name="connsiteX36" fmla="*/ 323062 w 1054582"/>
                <a:gd name="connsiteY36" fmla="*/ 301752 h 567361"/>
                <a:gd name="connsiteX37" fmla="*/ 414502 w 1054582"/>
                <a:gd name="connsiteY37" fmla="*/ 219456 h 567361"/>
                <a:gd name="connsiteX38" fmla="*/ 460222 w 1054582"/>
                <a:gd name="connsiteY38" fmla="*/ 146304 h 567361"/>
                <a:gd name="connsiteX39" fmla="*/ 460222 w 1054582"/>
                <a:gd name="connsiteY39" fmla="*/ 64008 h 567361"/>
                <a:gd name="connsiteX40" fmla="*/ 451078 w 1054582"/>
                <a:gd name="connsiteY40" fmla="*/ 54864 h 567361"/>
                <a:gd name="connsiteX41" fmla="*/ 441934 w 1054582"/>
                <a:gd name="connsiteY41" fmla="*/ 128016 h 567361"/>
                <a:gd name="connsiteX42" fmla="*/ 414502 w 1054582"/>
                <a:gd name="connsiteY42" fmla="*/ 173736 h 567361"/>
                <a:gd name="connsiteX43" fmla="*/ 341350 w 1054582"/>
                <a:gd name="connsiteY43" fmla="*/ 237744 h 567361"/>
                <a:gd name="connsiteX44" fmla="*/ 313918 w 1054582"/>
                <a:gd name="connsiteY44" fmla="*/ 256032 h 567361"/>
                <a:gd name="connsiteX45" fmla="*/ 240766 w 1054582"/>
                <a:gd name="connsiteY45" fmla="*/ 347472 h 567361"/>
                <a:gd name="connsiteX46" fmla="*/ 231622 w 1054582"/>
                <a:gd name="connsiteY46" fmla="*/ 374904 h 567361"/>
                <a:gd name="connsiteX47" fmla="*/ 222478 w 1054582"/>
                <a:gd name="connsiteY47" fmla="*/ 411480 h 567361"/>
                <a:gd name="connsiteX48" fmla="*/ 240766 w 1054582"/>
                <a:gd name="connsiteY48" fmla="*/ 429768 h 567361"/>
                <a:gd name="connsiteX49" fmla="*/ 195046 w 1054582"/>
                <a:gd name="connsiteY49" fmla="*/ 457200 h 567361"/>
                <a:gd name="connsiteX50" fmla="*/ 48742 w 1054582"/>
                <a:gd name="connsiteY50" fmla="*/ 493776 h 567361"/>
                <a:gd name="connsiteX51" fmla="*/ 3022 w 1054582"/>
                <a:gd name="connsiteY51" fmla="*/ 530352 h 567361"/>
                <a:gd name="connsiteX52" fmla="*/ 37669 w 1054582"/>
                <a:gd name="connsiteY52" fmla="*/ 480583 h 567361"/>
                <a:gd name="connsiteX53" fmla="*/ 21468 w 1054582"/>
                <a:gd name="connsiteY53" fmla="*/ 555040 h 567361"/>
                <a:gd name="connsiteX54" fmla="*/ 19041 w 1054582"/>
                <a:gd name="connsiteY54" fmla="*/ 554512 h 567361"/>
                <a:gd name="connsiteX55" fmla="*/ 112127 w 1054582"/>
                <a:gd name="connsiteY55" fmla="*/ 496784 h 567361"/>
                <a:gd name="connsiteX0" fmla="*/ 112127 w 1054582"/>
                <a:gd name="connsiteY0" fmla="*/ 496784 h 558851"/>
                <a:gd name="connsiteX1" fmla="*/ 21468 w 1054582"/>
                <a:gd name="connsiteY1" fmla="*/ 555041 h 558851"/>
                <a:gd name="connsiteX2" fmla="*/ 21310 w 1054582"/>
                <a:gd name="connsiteY2" fmla="*/ 548640 h 558851"/>
                <a:gd name="connsiteX3" fmla="*/ 149326 w 1054582"/>
                <a:gd name="connsiteY3" fmla="*/ 493776 h 558851"/>
                <a:gd name="connsiteX4" fmla="*/ 249910 w 1054582"/>
                <a:gd name="connsiteY4" fmla="*/ 466344 h 558851"/>
                <a:gd name="connsiteX5" fmla="*/ 350494 w 1054582"/>
                <a:gd name="connsiteY5" fmla="*/ 384048 h 558851"/>
                <a:gd name="connsiteX6" fmla="*/ 542518 w 1054582"/>
                <a:gd name="connsiteY6" fmla="*/ 301752 h 558851"/>
                <a:gd name="connsiteX7" fmla="*/ 624814 w 1054582"/>
                <a:gd name="connsiteY7" fmla="*/ 192024 h 558851"/>
                <a:gd name="connsiteX8" fmla="*/ 771118 w 1054582"/>
                <a:gd name="connsiteY8" fmla="*/ 155448 h 558851"/>
                <a:gd name="connsiteX9" fmla="*/ 816838 w 1054582"/>
                <a:gd name="connsiteY9" fmla="*/ 155448 h 558851"/>
                <a:gd name="connsiteX10" fmla="*/ 853414 w 1054582"/>
                <a:gd name="connsiteY10" fmla="*/ 137160 h 558851"/>
                <a:gd name="connsiteX11" fmla="*/ 807694 w 1054582"/>
                <a:gd name="connsiteY11" fmla="*/ 137160 h 558851"/>
                <a:gd name="connsiteX12" fmla="*/ 716254 w 1054582"/>
                <a:gd name="connsiteY12" fmla="*/ 137160 h 558851"/>
                <a:gd name="connsiteX13" fmla="*/ 661390 w 1054582"/>
                <a:gd name="connsiteY13" fmla="*/ 146304 h 558851"/>
                <a:gd name="connsiteX14" fmla="*/ 652246 w 1054582"/>
                <a:gd name="connsiteY14" fmla="*/ 155448 h 558851"/>
                <a:gd name="connsiteX15" fmla="*/ 633958 w 1054582"/>
                <a:gd name="connsiteY15" fmla="*/ 146304 h 558851"/>
                <a:gd name="connsiteX16" fmla="*/ 761974 w 1054582"/>
                <a:gd name="connsiteY16" fmla="*/ 91440 h 558851"/>
                <a:gd name="connsiteX17" fmla="*/ 816838 w 1054582"/>
                <a:gd name="connsiteY17" fmla="*/ 91440 h 558851"/>
                <a:gd name="connsiteX18" fmla="*/ 908278 w 1054582"/>
                <a:gd name="connsiteY18" fmla="*/ 82296 h 558851"/>
                <a:gd name="connsiteX19" fmla="*/ 1036294 w 1054582"/>
                <a:gd name="connsiteY19" fmla="*/ 27432 h 558851"/>
                <a:gd name="connsiteX20" fmla="*/ 1018006 w 1054582"/>
                <a:gd name="connsiteY20" fmla="*/ 0 h 558851"/>
                <a:gd name="connsiteX21" fmla="*/ 981430 w 1054582"/>
                <a:gd name="connsiteY21" fmla="*/ 27432 h 558851"/>
                <a:gd name="connsiteX22" fmla="*/ 944854 w 1054582"/>
                <a:gd name="connsiteY22" fmla="*/ 36576 h 558851"/>
                <a:gd name="connsiteX23" fmla="*/ 871702 w 1054582"/>
                <a:gd name="connsiteY23" fmla="*/ 64008 h 558851"/>
                <a:gd name="connsiteX24" fmla="*/ 816838 w 1054582"/>
                <a:gd name="connsiteY24" fmla="*/ 64008 h 558851"/>
                <a:gd name="connsiteX25" fmla="*/ 707110 w 1054582"/>
                <a:gd name="connsiteY25" fmla="*/ 64008 h 558851"/>
                <a:gd name="connsiteX26" fmla="*/ 652246 w 1054582"/>
                <a:gd name="connsiteY26" fmla="*/ 100584 h 558851"/>
                <a:gd name="connsiteX27" fmla="*/ 615670 w 1054582"/>
                <a:gd name="connsiteY27" fmla="*/ 146304 h 558851"/>
                <a:gd name="connsiteX28" fmla="*/ 569950 w 1054582"/>
                <a:gd name="connsiteY28" fmla="*/ 182880 h 558851"/>
                <a:gd name="connsiteX29" fmla="*/ 524230 w 1054582"/>
                <a:gd name="connsiteY29" fmla="*/ 256032 h 558851"/>
                <a:gd name="connsiteX30" fmla="*/ 451078 w 1054582"/>
                <a:gd name="connsiteY30" fmla="*/ 301752 h 558851"/>
                <a:gd name="connsiteX31" fmla="*/ 350494 w 1054582"/>
                <a:gd name="connsiteY31" fmla="*/ 347472 h 558851"/>
                <a:gd name="connsiteX32" fmla="*/ 313918 w 1054582"/>
                <a:gd name="connsiteY32" fmla="*/ 374904 h 558851"/>
                <a:gd name="connsiteX33" fmla="*/ 268198 w 1054582"/>
                <a:gd name="connsiteY33" fmla="*/ 402336 h 558851"/>
                <a:gd name="connsiteX34" fmla="*/ 249910 w 1054582"/>
                <a:gd name="connsiteY34" fmla="*/ 402336 h 558851"/>
                <a:gd name="connsiteX35" fmla="*/ 268198 w 1054582"/>
                <a:gd name="connsiteY35" fmla="*/ 365760 h 558851"/>
                <a:gd name="connsiteX36" fmla="*/ 323062 w 1054582"/>
                <a:gd name="connsiteY36" fmla="*/ 301752 h 558851"/>
                <a:gd name="connsiteX37" fmla="*/ 414502 w 1054582"/>
                <a:gd name="connsiteY37" fmla="*/ 219456 h 558851"/>
                <a:gd name="connsiteX38" fmla="*/ 460222 w 1054582"/>
                <a:gd name="connsiteY38" fmla="*/ 146304 h 558851"/>
                <a:gd name="connsiteX39" fmla="*/ 460222 w 1054582"/>
                <a:gd name="connsiteY39" fmla="*/ 64008 h 558851"/>
                <a:gd name="connsiteX40" fmla="*/ 451078 w 1054582"/>
                <a:gd name="connsiteY40" fmla="*/ 54864 h 558851"/>
                <a:gd name="connsiteX41" fmla="*/ 441934 w 1054582"/>
                <a:gd name="connsiteY41" fmla="*/ 128016 h 558851"/>
                <a:gd name="connsiteX42" fmla="*/ 414502 w 1054582"/>
                <a:gd name="connsiteY42" fmla="*/ 173736 h 558851"/>
                <a:gd name="connsiteX43" fmla="*/ 341350 w 1054582"/>
                <a:gd name="connsiteY43" fmla="*/ 237744 h 558851"/>
                <a:gd name="connsiteX44" fmla="*/ 313918 w 1054582"/>
                <a:gd name="connsiteY44" fmla="*/ 256032 h 558851"/>
                <a:gd name="connsiteX45" fmla="*/ 240766 w 1054582"/>
                <a:gd name="connsiteY45" fmla="*/ 347472 h 558851"/>
                <a:gd name="connsiteX46" fmla="*/ 231622 w 1054582"/>
                <a:gd name="connsiteY46" fmla="*/ 374904 h 558851"/>
                <a:gd name="connsiteX47" fmla="*/ 222478 w 1054582"/>
                <a:gd name="connsiteY47" fmla="*/ 411480 h 558851"/>
                <a:gd name="connsiteX48" fmla="*/ 240766 w 1054582"/>
                <a:gd name="connsiteY48" fmla="*/ 429768 h 558851"/>
                <a:gd name="connsiteX49" fmla="*/ 195046 w 1054582"/>
                <a:gd name="connsiteY49" fmla="*/ 457200 h 558851"/>
                <a:gd name="connsiteX50" fmla="*/ 48742 w 1054582"/>
                <a:gd name="connsiteY50" fmla="*/ 493776 h 558851"/>
                <a:gd name="connsiteX51" fmla="*/ 3022 w 1054582"/>
                <a:gd name="connsiteY51" fmla="*/ 530352 h 558851"/>
                <a:gd name="connsiteX52" fmla="*/ 37669 w 1054582"/>
                <a:gd name="connsiteY52" fmla="*/ 480583 h 558851"/>
                <a:gd name="connsiteX53" fmla="*/ 21468 w 1054582"/>
                <a:gd name="connsiteY53" fmla="*/ 555040 h 558851"/>
                <a:gd name="connsiteX54" fmla="*/ 37669 w 1054582"/>
                <a:gd name="connsiteY54" fmla="*/ 480583 h 558851"/>
                <a:gd name="connsiteX55" fmla="*/ 112127 w 1054582"/>
                <a:gd name="connsiteY55" fmla="*/ 496784 h 558851"/>
                <a:gd name="connsiteX0" fmla="*/ 112127 w 1054582"/>
                <a:gd name="connsiteY0" fmla="*/ 496784 h 558851"/>
                <a:gd name="connsiteX1" fmla="*/ 21468 w 1054582"/>
                <a:gd name="connsiteY1" fmla="*/ 555041 h 558851"/>
                <a:gd name="connsiteX2" fmla="*/ 21310 w 1054582"/>
                <a:gd name="connsiteY2" fmla="*/ 548640 h 558851"/>
                <a:gd name="connsiteX3" fmla="*/ 149326 w 1054582"/>
                <a:gd name="connsiteY3" fmla="*/ 493776 h 558851"/>
                <a:gd name="connsiteX4" fmla="*/ 249910 w 1054582"/>
                <a:gd name="connsiteY4" fmla="*/ 466344 h 558851"/>
                <a:gd name="connsiteX5" fmla="*/ 350494 w 1054582"/>
                <a:gd name="connsiteY5" fmla="*/ 384048 h 558851"/>
                <a:gd name="connsiteX6" fmla="*/ 542518 w 1054582"/>
                <a:gd name="connsiteY6" fmla="*/ 301752 h 558851"/>
                <a:gd name="connsiteX7" fmla="*/ 624814 w 1054582"/>
                <a:gd name="connsiteY7" fmla="*/ 192024 h 558851"/>
                <a:gd name="connsiteX8" fmla="*/ 771118 w 1054582"/>
                <a:gd name="connsiteY8" fmla="*/ 155448 h 558851"/>
                <a:gd name="connsiteX9" fmla="*/ 816838 w 1054582"/>
                <a:gd name="connsiteY9" fmla="*/ 155448 h 558851"/>
                <a:gd name="connsiteX10" fmla="*/ 853414 w 1054582"/>
                <a:gd name="connsiteY10" fmla="*/ 137160 h 558851"/>
                <a:gd name="connsiteX11" fmla="*/ 807694 w 1054582"/>
                <a:gd name="connsiteY11" fmla="*/ 137160 h 558851"/>
                <a:gd name="connsiteX12" fmla="*/ 716254 w 1054582"/>
                <a:gd name="connsiteY12" fmla="*/ 137160 h 558851"/>
                <a:gd name="connsiteX13" fmla="*/ 661390 w 1054582"/>
                <a:gd name="connsiteY13" fmla="*/ 146304 h 558851"/>
                <a:gd name="connsiteX14" fmla="*/ 652246 w 1054582"/>
                <a:gd name="connsiteY14" fmla="*/ 155448 h 558851"/>
                <a:gd name="connsiteX15" fmla="*/ 633958 w 1054582"/>
                <a:gd name="connsiteY15" fmla="*/ 146304 h 558851"/>
                <a:gd name="connsiteX16" fmla="*/ 761974 w 1054582"/>
                <a:gd name="connsiteY16" fmla="*/ 91440 h 558851"/>
                <a:gd name="connsiteX17" fmla="*/ 816838 w 1054582"/>
                <a:gd name="connsiteY17" fmla="*/ 91440 h 558851"/>
                <a:gd name="connsiteX18" fmla="*/ 908278 w 1054582"/>
                <a:gd name="connsiteY18" fmla="*/ 82296 h 558851"/>
                <a:gd name="connsiteX19" fmla="*/ 1036294 w 1054582"/>
                <a:gd name="connsiteY19" fmla="*/ 27432 h 558851"/>
                <a:gd name="connsiteX20" fmla="*/ 1018006 w 1054582"/>
                <a:gd name="connsiteY20" fmla="*/ 0 h 558851"/>
                <a:gd name="connsiteX21" fmla="*/ 981430 w 1054582"/>
                <a:gd name="connsiteY21" fmla="*/ 27432 h 558851"/>
                <a:gd name="connsiteX22" fmla="*/ 944854 w 1054582"/>
                <a:gd name="connsiteY22" fmla="*/ 36576 h 558851"/>
                <a:gd name="connsiteX23" fmla="*/ 871702 w 1054582"/>
                <a:gd name="connsiteY23" fmla="*/ 64008 h 558851"/>
                <a:gd name="connsiteX24" fmla="*/ 816838 w 1054582"/>
                <a:gd name="connsiteY24" fmla="*/ 64008 h 558851"/>
                <a:gd name="connsiteX25" fmla="*/ 707110 w 1054582"/>
                <a:gd name="connsiteY25" fmla="*/ 64008 h 558851"/>
                <a:gd name="connsiteX26" fmla="*/ 652246 w 1054582"/>
                <a:gd name="connsiteY26" fmla="*/ 100584 h 558851"/>
                <a:gd name="connsiteX27" fmla="*/ 615670 w 1054582"/>
                <a:gd name="connsiteY27" fmla="*/ 146304 h 558851"/>
                <a:gd name="connsiteX28" fmla="*/ 569950 w 1054582"/>
                <a:gd name="connsiteY28" fmla="*/ 182880 h 558851"/>
                <a:gd name="connsiteX29" fmla="*/ 524230 w 1054582"/>
                <a:gd name="connsiteY29" fmla="*/ 256032 h 558851"/>
                <a:gd name="connsiteX30" fmla="*/ 451078 w 1054582"/>
                <a:gd name="connsiteY30" fmla="*/ 301752 h 558851"/>
                <a:gd name="connsiteX31" fmla="*/ 350494 w 1054582"/>
                <a:gd name="connsiteY31" fmla="*/ 347472 h 558851"/>
                <a:gd name="connsiteX32" fmla="*/ 313918 w 1054582"/>
                <a:gd name="connsiteY32" fmla="*/ 374904 h 558851"/>
                <a:gd name="connsiteX33" fmla="*/ 268198 w 1054582"/>
                <a:gd name="connsiteY33" fmla="*/ 402336 h 558851"/>
                <a:gd name="connsiteX34" fmla="*/ 249910 w 1054582"/>
                <a:gd name="connsiteY34" fmla="*/ 402336 h 558851"/>
                <a:gd name="connsiteX35" fmla="*/ 268198 w 1054582"/>
                <a:gd name="connsiteY35" fmla="*/ 365760 h 558851"/>
                <a:gd name="connsiteX36" fmla="*/ 323062 w 1054582"/>
                <a:gd name="connsiteY36" fmla="*/ 301752 h 558851"/>
                <a:gd name="connsiteX37" fmla="*/ 414502 w 1054582"/>
                <a:gd name="connsiteY37" fmla="*/ 219456 h 558851"/>
                <a:gd name="connsiteX38" fmla="*/ 460222 w 1054582"/>
                <a:gd name="connsiteY38" fmla="*/ 146304 h 558851"/>
                <a:gd name="connsiteX39" fmla="*/ 460222 w 1054582"/>
                <a:gd name="connsiteY39" fmla="*/ 64008 h 558851"/>
                <a:gd name="connsiteX40" fmla="*/ 451078 w 1054582"/>
                <a:gd name="connsiteY40" fmla="*/ 54864 h 558851"/>
                <a:gd name="connsiteX41" fmla="*/ 441934 w 1054582"/>
                <a:gd name="connsiteY41" fmla="*/ 128016 h 558851"/>
                <a:gd name="connsiteX42" fmla="*/ 414502 w 1054582"/>
                <a:gd name="connsiteY42" fmla="*/ 173736 h 558851"/>
                <a:gd name="connsiteX43" fmla="*/ 341350 w 1054582"/>
                <a:gd name="connsiteY43" fmla="*/ 237744 h 558851"/>
                <a:gd name="connsiteX44" fmla="*/ 313918 w 1054582"/>
                <a:gd name="connsiteY44" fmla="*/ 256032 h 558851"/>
                <a:gd name="connsiteX45" fmla="*/ 240766 w 1054582"/>
                <a:gd name="connsiteY45" fmla="*/ 347472 h 558851"/>
                <a:gd name="connsiteX46" fmla="*/ 231622 w 1054582"/>
                <a:gd name="connsiteY46" fmla="*/ 374904 h 558851"/>
                <a:gd name="connsiteX47" fmla="*/ 222478 w 1054582"/>
                <a:gd name="connsiteY47" fmla="*/ 411480 h 558851"/>
                <a:gd name="connsiteX48" fmla="*/ 240766 w 1054582"/>
                <a:gd name="connsiteY48" fmla="*/ 429768 h 558851"/>
                <a:gd name="connsiteX49" fmla="*/ 195046 w 1054582"/>
                <a:gd name="connsiteY49" fmla="*/ 457200 h 558851"/>
                <a:gd name="connsiteX50" fmla="*/ 48742 w 1054582"/>
                <a:gd name="connsiteY50" fmla="*/ 493776 h 558851"/>
                <a:gd name="connsiteX51" fmla="*/ 3022 w 1054582"/>
                <a:gd name="connsiteY51" fmla="*/ 530352 h 558851"/>
                <a:gd name="connsiteX52" fmla="*/ 37669 w 1054582"/>
                <a:gd name="connsiteY52" fmla="*/ 480583 h 558851"/>
                <a:gd name="connsiteX53" fmla="*/ 21468 w 1054582"/>
                <a:gd name="connsiteY53" fmla="*/ 555040 h 558851"/>
                <a:gd name="connsiteX54" fmla="*/ 112127 w 1054582"/>
                <a:gd name="connsiteY54" fmla="*/ 496784 h 558851"/>
                <a:gd name="connsiteX55" fmla="*/ 112127 w 1054582"/>
                <a:gd name="connsiteY55" fmla="*/ 496784 h 558851"/>
                <a:gd name="connsiteX0" fmla="*/ 112127 w 1054582"/>
                <a:gd name="connsiteY0" fmla="*/ 496784 h 558851"/>
                <a:gd name="connsiteX1" fmla="*/ 21468 w 1054582"/>
                <a:gd name="connsiteY1" fmla="*/ 555041 h 558851"/>
                <a:gd name="connsiteX2" fmla="*/ 21310 w 1054582"/>
                <a:gd name="connsiteY2" fmla="*/ 548640 h 558851"/>
                <a:gd name="connsiteX3" fmla="*/ 149326 w 1054582"/>
                <a:gd name="connsiteY3" fmla="*/ 493776 h 558851"/>
                <a:gd name="connsiteX4" fmla="*/ 249910 w 1054582"/>
                <a:gd name="connsiteY4" fmla="*/ 466344 h 558851"/>
                <a:gd name="connsiteX5" fmla="*/ 350494 w 1054582"/>
                <a:gd name="connsiteY5" fmla="*/ 384048 h 558851"/>
                <a:gd name="connsiteX6" fmla="*/ 542518 w 1054582"/>
                <a:gd name="connsiteY6" fmla="*/ 301752 h 558851"/>
                <a:gd name="connsiteX7" fmla="*/ 624814 w 1054582"/>
                <a:gd name="connsiteY7" fmla="*/ 192024 h 558851"/>
                <a:gd name="connsiteX8" fmla="*/ 771118 w 1054582"/>
                <a:gd name="connsiteY8" fmla="*/ 155448 h 558851"/>
                <a:gd name="connsiteX9" fmla="*/ 816838 w 1054582"/>
                <a:gd name="connsiteY9" fmla="*/ 155448 h 558851"/>
                <a:gd name="connsiteX10" fmla="*/ 853414 w 1054582"/>
                <a:gd name="connsiteY10" fmla="*/ 137160 h 558851"/>
                <a:gd name="connsiteX11" fmla="*/ 807694 w 1054582"/>
                <a:gd name="connsiteY11" fmla="*/ 137160 h 558851"/>
                <a:gd name="connsiteX12" fmla="*/ 716254 w 1054582"/>
                <a:gd name="connsiteY12" fmla="*/ 137160 h 558851"/>
                <a:gd name="connsiteX13" fmla="*/ 661390 w 1054582"/>
                <a:gd name="connsiteY13" fmla="*/ 146304 h 558851"/>
                <a:gd name="connsiteX14" fmla="*/ 652246 w 1054582"/>
                <a:gd name="connsiteY14" fmla="*/ 155448 h 558851"/>
                <a:gd name="connsiteX15" fmla="*/ 633958 w 1054582"/>
                <a:gd name="connsiteY15" fmla="*/ 146304 h 558851"/>
                <a:gd name="connsiteX16" fmla="*/ 761974 w 1054582"/>
                <a:gd name="connsiteY16" fmla="*/ 91440 h 558851"/>
                <a:gd name="connsiteX17" fmla="*/ 816838 w 1054582"/>
                <a:gd name="connsiteY17" fmla="*/ 91440 h 558851"/>
                <a:gd name="connsiteX18" fmla="*/ 908278 w 1054582"/>
                <a:gd name="connsiteY18" fmla="*/ 82296 h 558851"/>
                <a:gd name="connsiteX19" fmla="*/ 1036294 w 1054582"/>
                <a:gd name="connsiteY19" fmla="*/ 27432 h 558851"/>
                <a:gd name="connsiteX20" fmla="*/ 1018006 w 1054582"/>
                <a:gd name="connsiteY20" fmla="*/ 0 h 558851"/>
                <a:gd name="connsiteX21" fmla="*/ 981430 w 1054582"/>
                <a:gd name="connsiteY21" fmla="*/ 27432 h 558851"/>
                <a:gd name="connsiteX22" fmla="*/ 944854 w 1054582"/>
                <a:gd name="connsiteY22" fmla="*/ 36576 h 558851"/>
                <a:gd name="connsiteX23" fmla="*/ 871702 w 1054582"/>
                <a:gd name="connsiteY23" fmla="*/ 64008 h 558851"/>
                <a:gd name="connsiteX24" fmla="*/ 816838 w 1054582"/>
                <a:gd name="connsiteY24" fmla="*/ 64008 h 558851"/>
                <a:gd name="connsiteX25" fmla="*/ 707110 w 1054582"/>
                <a:gd name="connsiteY25" fmla="*/ 64008 h 558851"/>
                <a:gd name="connsiteX26" fmla="*/ 652246 w 1054582"/>
                <a:gd name="connsiteY26" fmla="*/ 100584 h 558851"/>
                <a:gd name="connsiteX27" fmla="*/ 615670 w 1054582"/>
                <a:gd name="connsiteY27" fmla="*/ 146304 h 558851"/>
                <a:gd name="connsiteX28" fmla="*/ 569950 w 1054582"/>
                <a:gd name="connsiteY28" fmla="*/ 182880 h 558851"/>
                <a:gd name="connsiteX29" fmla="*/ 524230 w 1054582"/>
                <a:gd name="connsiteY29" fmla="*/ 256032 h 558851"/>
                <a:gd name="connsiteX30" fmla="*/ 451078 w 1054582"/>
                <a:gd name="connsiteY30" fmla="*/ 301752 h 558851"/>
                <a:gd name="connsiteX31" fmla="*/ 350494 w 1054582"/>
                <a:gd name="connsiteY31" fmla="*/ 347472 h 558851"/>
                <a:gd name="connsiteX32" fmla="*/ 313918 w 1054582"/>
                <a:gd name="connsiteY32" fmla="*/ 374904 h 558851"/>
                <a:gd name="connsiteX33" fmla="*/ 268198 w 1054582"/>
                <a:gd name="connsiteY33" fmla="*/ 402336 h 558851"/>
                <a:gd name="connsiteX34" fmla="*/ 249910 w 1054582"/>
                <a:gd name="connsiteY34" fmla="*/ 402336 h 558851"/>
                <a:gd name="connsiteX35" fmla="*/ 268198 w 1054582"/>
                <a:gd name="connsiteY35" fmla="*/ 365760 h 558851"/>
                <a:gd name="connsiteX36" fmla="*/ 323062 w 1054582"/>
                <a:gd name="connsiteY36" fmla="*/ 301752 h 558851"/>
                <a:gd name="connsiteX37" fmla="*/ 414502 w 1054582"/>
                <a:gd name="connsiteY37" fmla="*/ 219456 h 558851"/>
                <a:gd name="connsiteX38" fmla="*/ 460222 w 1054582"/>
                <a:gd name="connsiteY38" fmla="*/ 146304 h 558851"/>
                <a:gd name="connsiteX39" fmla="*/ 460222 w 1054582"/>
                <a:gd name="connsiteY39" fmla="*/ 64008 h 558851"/>
                <a:gd name="connsiteX40" fmla="*/ 451078 w 1054582"/>
                <a:gd name="connsiteY40" fmla="*/ 54864 h 558851"/>
                <a:gd name="connsiteX41" fmla="*/ 441934 w 1054582"/>
                <a:gd name="connsiteY41" fmla="*/ 128016 h 558851"/>
                <a:gd name="connsiteX42" fmla="*/ 414502 w 1054582"/>
                <a:gd name="connsiteY42" fmla="*/ 173736 h 558851"/>
                <a:gd name="connsiteX43" fmla="*/ 341350 w 1054582"/>
                <a:gd name="connsiteY43" fmla="*/ 237744 h 558851"/>
                <a:gd name="connsiteX44" fmla="*/ 313918 w 1054582"/>
                <a:gd name="connsiteY44" fmla="*/ 256032 h 558851"/>
                <a:gd name="connsiteX45" fmla="*/ 240766 w 1054582"/>
                <a:gd name="connsiteY45" fmla="*/ 347472 h 558851"/>
                <a:gd name="connsiteX46" fmla="*/ 231622 w 1054582"/>
                <a:gd name="connsiteY46" fmla="*/ 374904 h 558851"/>
                <a:gd name="connsiteX47" fmla="*/ 222478 w 1054582"/>
                <a:gd name="connsiteY47" fmla="*/ 411480 h 558851"/>
                <a:gd name="connsiteX48" fmla="*/ 240766 w 1054582"/>
                <a:gd name="connsiteY48" fmla="*/ 429768 h 558851"/>
                <a:gd name="connsiteX49" fmla="*/ 195046 w 1054582"/>
                <a:gd name="connsiteY49" fmla="*/ 457200 h 558851"/>
                <a:gd name="connsiteX50" fmla="*/ 48742 w 1054582"/>
                <a:gd name="connsiteY50" fmla="*/ 493776 h 558851"/>
                <a:gd name="connsiteX51" fmla="*/ 3022 w 1054582"/>
                <a:gd name="connsiteY51" fmla="*/ 530352 h 558851"/>
                <a:gd name="connsiteX52" fmla="*/ 37669 w 1054582"/>
                <a:gd name="connsiteY52" fmla="*/ 480583 h 558851"/>
                <a:gd name="connsiteX53" fmla="*/ 112127 w 1054582"/>
                <a:gd name="connsiteY53" fmla="*/ 496784 h 558851"/>
                <a:gd name="connsiteX54" fmla="*/ 112127 w 1054582"/>
                <a:gd name="connsiteY54" fmla="*/ 496784 h 558851"/>
                <a:gd name="connsiteX55" fmla="*/ 112127 w 1054582"/>
                <a:gd name="connsiteY55" fmla="*/ 496784 h 558851"/>
                <a:gd name="connsiteX0" fmla="*/ 112127 w 1054582"/>
                <a:gd name="connsiteY0" fmla="*/ 496784 h 558851"/>
                <a:gd name="connsiteX1" fmla="*/ 21468 w 1054582"/>
                <a:gd name="connsiteY1" fmla="*/ 555041 h 558851"/>
                <a:gd name="connsiteX2" fmla="*/ 21310 w 1054582"/>
                <a:gd name="connsiteY2" fmla="*/ 548640 h 558851"/>
                <a:gd name="connsiteX3" fmla="*/ 149326 w 1054582"/>
                <a:gd name="connsiteY3" fmla="*/ 493776 h 558851"/>
                <a:gd name="connsiteX4" fmla="*/ 249910 w 1054582"/>
                <a:gd name="connsiteY4" fmla="*/ 466344 h 558851"/>
                <a:gd name="connsiteX5" fmla="*/ 350494 w 1054582"/>
                <a:gd name="connsiteY5" fmla="*/ 384048 h 558851"/>
                <a:gd name="connsiteX6" fmla="*/ 542518 w 1054582"/>
                <a:gd name="connsiteY6" fmla="*/ 301752 h 558851"/>
                <a:gd name="connsiteX7" fmla="*/ 624814 w 1054582"/>
                <a:gd name="connsiteY7" fmla="*/ 192024 h 558851"/>
                <a:gd name="connsiteX8" fmla="*/ 771118 w 1054582"/>
                <a:gd name="connsiteY8" fmla="*/ 155448 h 558851"/>
                <a:gd name="connsiteX9" fmla="*/ 816838 w 1054582"/>
                <a:gd name="connsiteY9" fmla="*/ 155448 h 558851"/>
                <a:gd name="connsiteX10" fmla="*/ 853414 w 1054582"/>
                <a:gd name="connsiteY10" fmla="*/ 137160 h 558851"/>
                <a:gd name="connsiteX11" fmla="*/ 807694 w 1054582"/>
                <a:gd name="connsiteY11" fmla="*/ 137160 h 558851"/>
                <a:gd name="connsiteX12" fmla="*/ 716254 w 1054582"/>
                <a:gd name="connsiteY12" fmla="*/ 137160 h 558851"/>
                <a:gd name="connsiteX13" fmla="*/ 661390 w 1054582"/>
                <a:gd name="connsiteY13" fmla="*/ 146304 h 558851"/>
                <a:gd name="connsiteX14" fmla="*/ 652246 w 1054582"/>
                <a:gd name="connsiteY14" fmla="*/ 155448 h 558851"/>
                <a:gd name="connsiteX15" fmla="*/ 633958 w 1054582"/>
                <a:gd name="connsiteY15" fmla="*/ 146304 h 558851"/>
                <a:gd name="connsiteX16" fmla="*/ 761974 w 1054582"/>
                <a:gd name="connsiteY16" fmla="*/ 91440 h 558851"/>
                <a:gd name="connsiteX17" fmla="*/ 816838 w 1054582"/>
                <a:gd name="connsiteY17" fmla="*/ 91440 h 558851"/>
                <a:gd name="connsiteX18" fmla="*/ 908278 w 1054582"/>
                <a:gd name="connsiteY18" fmla="*/ 82296 h 558851"/>
                <a:gd name="connsiteX19" fmla="*/ 1036294 w 1054582"/>
                <a:gd name="connsiteY19" fmla="*/ 27432 h 558851"/>
                <a:gd name="connsiteX20" fmla="*/ 1018006 w 1054582"/>
                <a:gd name="connsiteY20" fmla="*/ 0 h 558851"/>
                <a:gd name="connsiteX21" fmla="*/ 981430 w 1054582"/>
                <a:gd name="connsiteY21" fmla="*/ 27432 h 558851"/>
                <a:gd name="connsiteX22" fmla="*/ 944854 w 1054582"/>
                <a:gd name="connsiteY22" fmla="*/ 36576 h 558851"/>
                <a:gd name="connsiteX23" fmla="*/ 871702 w 1054582"/>
                <a:gd name="connsiteY23" fmla="*/ 64008 h 558851"/>
                <a:gd name="connsiteX24" fmla="*/ 816838 w 1054582"/>
                <a:gd name="connsiteY24" fmla="*/ 64008 h 558851"/>
                <a:gd name="connsiteX25" fmla="*/ 707110 w 1054582"/>
                <a:gd name="connsiteY25" fmla="*/ 64008 h 558851"/>
                <a:gd name="connsiteX26" fmla="*/ 652246 w 1054582"/>
                <a:gd name="connsiteY26" fmla="*/ 100584 h 558851"/>
                <a:gd name="connsiteX27" fmla="*/ 615670 w 1054582"/>
                <a:gd name="connsiteY27" fmla="*/ 146304 h 558851"/>
                <a:gd name="connsiteX28" fmla="*/ 569950 w 1054582"/>
                <a:gd name="connsiteY28" fmla="*/ 182880 h 558851"/>
                <a:gd name="connsiteX29" fmla="*/ 524230 w 1054582"/>
                <a:gd name="connsiteY29" fmla="*/ 256032 h 558851"/>
                <a:gd name="connsiteX30" fmla="*/ 451078 w 1054582"/>
                <a:gd name="connsiteY30" fmla="*/ 301752 h 558851"/>
                <a:gd name="connsiteX31" fmla="*/ 350494 w 1054582"/>
                <a:gd name="connsiteY31" fmla="*/ 347472 h 558851"/>
                <a:gd name="connsiteX32" fmla="*/ 313918 w 1054582"/>
                <a:gd name="connsiteY32" fmla="*/ 374904 h 558851"/>
                <a:gd name="connsiteX33" fmla="*/ 268198 w 1054582"/>
                <a:gd name="connsiteY33" fmla="*/ 402336 h 558851"/>
                <a:gd name="connsiteX34" fmla="*/ 249910 w 1054582"/>
                <a:gd name="connsiteY34" fmla="*/ 402336 h 558851"/>
                <a:gd name="connsiteX35" fmla="*/ 268198 w 1054582"/>
                <a:gd name="connsiteY35" fmla="*/ 365760 h 558851"/>
                <a:gd name="connsiteX36" fmla="*/ 323062 w 1054582"/>
                <a:gd name="connsiteY36" fmla="*/ 301752 h 558851"/>
                <a:gd name="connsiteX37" fmla="*/ 414502 w 1054582"/>
                <a:gd name="connsiteY37" fmla="*/ 219456 h 558851"/>
                <a:gd name="connsiteX38" fmla="*/ 460222 w 1054582"/>
                <a:gd name="connsiteY38" fmla="*/ 146304 h 558851"/>
                <a:gd name="connsiteX39" fmla="*/ 460222 w 1054582"/>
                <a:gd name="connsiteY39" fmla="*/ 64008 h 558851"/>
                <a:gd name="connsiteX40" fmla="*/ 451078 w 1054582"/>
                <a:gd name="connsiteY40" fmla="*/ 54864 h 558851"/>
                <a:gd name="connsiteX41" fmla="*/ 441934 w 1054582"/>
                <a:gd name="connsiteY41" fmla="*/ 128016 h 558851"/>
                <a:gd name="connsiteX42" fmla="*/ 414502 w 1054582"/>
                <a:gd name="connsiteY42" fmla="*/ 173736 h 558851"/>
                <a:gd name="connsiteX43" fmla="*/ 341350 w 1054582"/>
                <a:gd name="connsiteY43" fmla="*/ 237744 h 558851"/>
                <a:gd name="connsiteX44" fmla="*/ 313918 w 1054582"/>
                <a:gd name="connsiteY44" fmla="*/ 256032 h 558851"/>
                <a:gd name="connsiteX45" fmla="*/ 240766 w 1054582"/>
                <a:gd name="connsiteY45" fmla="*/ 347472 h 558851"/>
                <a:gd name="connsiteX46" fmla="*/ 231622 w 1054582"/>
                <a:gd name="connsiteY46" fmla="*/ 374904 h 558851"/>
                <a:gd name="connsiteX47" fmla="*/ 222478 w 1054582"/>
                <a:gd name="connsiteY47" fmla="*/ 411480 h 558851"/>
                <a:gd name="connsiteX48" fmla="*/ 240766 w 1054582"/>
                <a:gd name="connsiteY48" fmla="*/ 429768 h 558851"/>
                <a:gd name="connsiteX49" fmla="*/ 195046 w 1054582"/>
                <a:gd name="connsiteY49" fmla="*/ 457200 h 558851"/>
                <a:gd name="connsiteX50" fmla="*/ 48742 w 1054582"/>
                <a:gd name="connsiteY50" fmla="*/ 493776 h 558851"/>
                <a:gd name="connsiteX51" fmla="*/ 37668 w 1054582"/>
                <a:gd name="connsiteY51" fmla="*/ 480583 h 558851"/>
                <a:gd name="connsiteX52" fmla="*/ 37669 w 1054582"/>
                <a:gd name="connsiteY52" fmla="*/ 480583 h 558851"/>
                <a:gd name="connsiteX53" fmla="*/ 112127 w 1054582"/>
                <a:gd name="connsiteY53" fmla="*/ 496784 h 558851"/>
                <a:gd name="connsiteX54" fmla="*/ 112127 w 1054582"/>
                <a:gd name="connsiteY54" fmla="*/ 496784 h 558851"/>
                <a:gd name="connsiteX55" fmla="*/ 112127 w 1054582"/>
                <a:gd name="connsiteY55" fmla="*/ 496784 h 558851"/>
                <a:gd name="connsiteX0" fmla="*/ 90659 w 1033114"/>
                <a:gd name="connsiteY0" fmla="*/ 496784 h 555041"/>
                <a:gd name="connsiteX1" fmla="*/ 0 w 1033114"/>
                <a:gd name="connsiteY1" fmla="*/ 555041 h 555041"/>
                <a:gd name="connsiteX2" fmla="*/ 90659 w 1033114"/>
                <a:gd name="connsiteY2" fmla="*/ 496784 h 555041"/>
                <a:gd name="connsiteX3" fmla="*/ 127858 w 1033114"/>
                <a:gd name="connsiteY3" fmla="*/ 493776 h 555041"/>
                <a:gd name="connsiteX4" fmla="*/ 228442 w 1033114"/>
                <a:gd name="connsiteY4" fmla="*/ 466344 h 555041"/>
                <a:gd name="connsiteX5" fmla="*/ 329026 w 1033114"/>
                <a:gd name="connsiteY5" fmla="*/ 384048 h 555041"/>
                <a:gd name="connsiteX6" fmla="*/ 521050 w 1033114"/>
                <a:gd name="connsiteY6" fmla="*/ 301752 h 555041"/>
                <a:gd name="connsiteX7" fmla="*/ 603346 w 1033114"/>
                <a:gd name="connsiteY7" fmla="*/ 192024 h 555041"/>
                <a:gd name="connsiteX8" fmla="*/ 749650 w 1033114"/>
                <a:gd name="connsiteY8" fmla="*/ 155448 h 555041"/>
                <a:gd name="connsiteX9" fmla="*/ 795370 w 1033114"/>
                <a:gd name="connsiteY9" fmla="*/ 155448 h 555041"/>
                <a:gd name="connsiteX10" fmla="*/ 831946 w 1033114"/>
                <a:gd name="connsiteY10" fmla="*/ 137160 h 555041"/>
                <a:gd name="connsiteX11" fmla="*/ 786226 w 1033114"/>
                <a:gd name="connsiteY11" fmla="*/ 137160 h 555041"/>
                <a:gd name="connsiteX12" fmla="*/ 694786 w 1033114"/>
                <a:gd name="connsiteY12" fmla="*/ 137160 h 555041"/>
                <a:gd name="connsiteX13" fmla="*/ 639922 w 1033114"/>
                <a:gd name="connsiteY13" fmla="*/ 146304 h 555041"/>
                <a:gd name="connsiteX14" fmla="*/ 630778 w 1033114"/>
                <a:gd name="connsiteY14" fmla="*/ 155448 h 555041"/>
                <a:gd name="connsiteX15" fmla="*/ 612490 w 1033114"/>
                <a:gd name="connsiteY15" fmla="*/ 146304 h 555041"/>
                <a:gd name="connsiteX16" fmla="*/ 740506 w 1033114"/>
                <a:gd name="connsiteY16" fmla="*/ 91440 h 555041"/>
                <a:gd name="connsiteX17" fmla="*/ 795370 w 1033114"/>
                <a:gd name="connsiteY17" fmla="*/ 91440 h 555041"/>
                <a:gd name="connsiteX18" fmla="*/ 886810 w 1033114"/>
                <a:gd name="connsiteY18" fmla="*/ 82296 h 555041"/>
                <a:gd name="connsiteX19" fmla="*/ 1014826 w 1033114"/>
                <a:gd name="connsiteY19" fmla="*/ 27432 h 555041"/>
                <a:gd name="connsiteX20" fmla="*/ 996538 w 1033114"/>
                <a:gd name="connsiteY20" fmla="*/ 0 h 555041"/>
                <a:gd name="connsiteX21" fmla="*/ 959962 w 1033114"/>
                <a:gd name="connsiteY21" fmla="*/ 27432 h 555041"/>
                <a:gd name="connsiteX22" fmla="*/ 923386 w 1033114"/>
                <a:gd name="connsiteY22" fmla="*/ 36576 h 555041"/>
                <a:gd name="connsiteX23" fmla="*/ 850234 w 1033114"/>
                <a:gd name="connsiteY23" fmla="*/ 64008 h 555041"/>
                <a:gd name="connsiteX24" fmla="*/ 795370 w 1033114"/>
                <a:gd name="connsiteY24" fmla="*/ 64008 h 555041"/>
                <a:gd name="connsiteX25" fmla="*/ 685642 w 1033114"/>
                <a:gd name="connsiteY25" fmla="*/ 64008 h 555041"/>
                <a:gd name="connsiteX26" fmla="*/ 630778 w 1033114"/>
                <a:gd name="connsiteY26" fmla="*/ 100584 h 555041"/>
                <a:gd name="connsiteX27" fmla="*/ 594202 w 1033114"/>
                <a:gd name="connsiteY27" fmla="*/ 146304 h 555041"/>
                <a:gd name="connsiteX28" fmla="*/ 548482 w 1033114"/>
                <a:gd name="connsiteY28" fmla="*/ 182880 h 555041"/>
                <a:gd name="connsiteX29" fmla="*/ 502762 w 1033114"/>
                <a:gd name="connsiteY29" fmla="*/ 256032 h 555041"/>
                <a:gd name="connsiteX30" fmla="*/ 429610 w 1033114"/>
                <a:gd name="connsiteY30" fmla="*/ 301752 h 555041"/>
                <a:gd name="connsiteX31" fmla="*/ 329026 w 1033114"/>
                <a:gd name="connsiteY31" fmla="*/ 347472 h 555041"/>
                <a:gd name="connsiteX32" fmla="*/ 292450 w 1033114"/>
                <a:gd name="connsiteY32" fmla="*/ 374904 h 555041"/>
                <a:gd name="connsiteX33" fmla="*/ 246730 w 1033114"/>
                <a:gd name="connsiteY33" fmla="*/ 402336 h 555041"/>
                <a:gd name="connsiteX34" fmla="*/ 228442 w 1033114"/>
                <a:gd name="connsiteY34" fmla="*/ 402336 h 555041"/>
                <a:gd name="connsiteX35" fmla="*/ 246730 w 1033114"/>
                <a:gd name="connsiteY35" fmla="*/ 365760 h 555041"/>
                <a:gd name="connsiteX36" fmla="*/ 301594 w 1033114"/>
                <a:gd name="connsiteY36" fmla="*/ 301752 h 555041"/>
                <a:gd name="connsiteX37" fmla="*/ 393034 w 1033114"/>
                <a:gd name="connsiteY37" fmla="*/ 219456 h 555041"/>
                <a:gd name="connsiteX38" fmla="*/ 438754 w 1033114"/>
                <a:gd name="connsiteY38" fmla="*/ 146304 h 555041"/>
                <a:gd name="connsiteX39" fmla="*/ 438754 w 1033114"/>
                <a:gd name="connsiteY39" fmla="*/ 64008 h 555041"/>
                <a:gd name="connsiteX40" fmla="*/ 429610 w 1033114"/>
                <a:gd name="connsiteY40" fmla="*/ 54864 h 555041"/>
                <a:gd name="connsiteX41" fmla="*/ 420466 w 1033114"/>
                <a:gd name="connsiteY41" fmla="*/ 128016 h 555041"/>
                <a:gd name="connsiteX42" fmla="*/ 393034 w 1033114"/>
                <a:gd name="connsiteY42" fmla="*/ 173736 h 555041"/>
                <a:gd name="connsiteX43" fmla="*/ 319882 w 1033114"/>
                <a:gd name="connsiteY43" fmla="*/ 237744 h 555041"/>
                <a:gd name="connsiteX44" fmla="*/ 292450 w 1033114"/>
                <a:gd name="connsiteY44" fmla="*/ 256032 h 555041"/>
                <a:gd name="connsiteX45" fmla="*/ 219298 w 1033114"/>
                <a:gd name="connsiteY45" fmla="*/ 347472 h 555041"/>
                <a:gd name="connsiteX46" fmla="*/ 210154 w 1033114"/>
                <a:gd name="connsiteY46" fmla="*/ 374904 h 555041"/>
                <a:gd name="connsiteX47" fmla="*/ 201010 w 1033114"/>
                <a:gd name="connsiteY47" fmla="*/ 411480 h 555041"/>
                <a:gd name="connsiteX48" fmla="*/ 219298 w 1033114"/>
                <a:gd name="connsiteY48" fmla="*/ 429768 h 555041"/>
                <a:gd name="connsiteX49" fmla="*/ 173578 w 1033114"/>
                <a:gd name="connsiteY49" fmla="*/ 457200 h 555041"/>
                <a:gd name="connsiteX50" fmla="*/ 27274 w 1033114"/>
                <a:gd name="connsiteY50" fmla="*/ 493776 h 555041"/>
                <a:gd name="connsiteX51" fmla="*/ 16200 w 1033114"/>
                <a:gd name="connsiteY51" fmla="*/ 480583 h 555041"/>
                <a:gd name="connsiteX52" fmla="*/ 16201 w 1033114"/>
                <a:gd name="connsiteY52" fmla="*/ 480583 h 555041"/>
                <a:gd name="connsiteX53" fmla="*/ 90659 w 1033114"/>
                <a:gd name="connsiteY53" fmla="*/ 496784 h 555041"/>
                <a:gd name="connsiteX54" fmla="*/ 90659 w 1033114"/>
                <a:gd name="connsiteY54" fmla="*/ 496784 h 555041"/>
                <a:gd name="connsiteX55" fmla="*/ 90659 w 1033114"/>
                <a:gd name="connsiteY55" fmla="*/ 496784 h 555041"/>
                <a:gd name="connsiteX0" fmla="*/ 89615 w 1032070"/>
                <a:gd name="connsiteY0" fmla="*/ 496784 h 498849"/>
                <a:gd name="connsiteX1" fmla="*/ 89615 w 1032070"/>
                <a:gd name="connsiteY1" fmla="*/ 496784 h 498849"/>
                <a:gd name="connsiteX2" fmla="*/ 89615 w 1032070"/>
                <a:gd name="connsiteY2" fmla="*/ 496784 h 498849"/>
                <a:gd name="connsiteX3" fmla="*/ 126814 w 1032070"/>
                <a:gd name="connsiteY3" fmla="*/ 493776 h 498849"/>
                <a:gd name="connsiteX4" fmla="*/ 227398 w 1032070"/>
                <a:gd name="connsiteY4" fmla="*/ 466344 h 498849"/>
                <a:gd name="connsiteX5" fmla="*/ 327982 w 1032070"/>
                <a:gd name="connsiteY5" fmla="*/ 384048 h 498849"/>
                <a:gd name="connsiteX6" fmla="*/ 520006 w 1032070"/>
                <a:gd name="connsiteY6" fmla="*/ 301752 h 498849"/>
                <a:gd name="connsiteX7" fmla="*/ 602302 w 1032070"/>
                <a:gd name="connsiteY7" fmla="*/ 192024 h 498849"/>
                <a:gd name="connsiteX8" fmla="*/ 748606 w 1032070"/>
                <a:gd name="connsiteY8" fmla="*/ 155448 h 498849"/>
                <a:gd name="connsiteX9" fmla="*/ 794326 w 1032070"/>
                <a:gd name="connsiteY9" fmla="*/ 155448 h 498849"/>
                <a:gd name="connsiteX10" fmla="*/ 830902 w 1032070"/>
                <a:gd name="connsiteY10" fmla="*/ 137160 h 498849"/>
                <a:gd name="connsiteX11" fmla="*/ 785182 w 1032070"/>
                <a:gd name="connsiteY11" fmla="*/ 137160 h 498849"/>
                <a:gd name="connsiteX12" fmla="*/ 693742 w 1032070"/>
                <a:gd name="connsiteY12" fmla="*/ 137160 h 498849"/>
                <a:gd name="connsiteX13" fmla="*/ 638878 w 1032070"/>
                <a:gd name="connsiteY13" fmla="*/ 146304 h 498849"/>
                <a:gd name="connsiteX14" fmla="*/ 629734 w 1032070"/>
                <a:gd name="connsiteY14" fmla="*/ 155448 h 498849"/>
                <a:gd name="connsiteX15" fmla="*/ 611446 w 1032070"/>
                <a:gd name="connsiteY15" fmla="*/ 146304 h 498849"/>
                <a:gd name="connsiteX16" fmla="*/ 739462 w 1032070"/>
                <a:gd name="connsiteY16" fmla="*/ 91440 h 498849"/>
                <a:gd name="connsiteX17" fmla="*/ 794326 w 1032070"/>
                <a:gd name="connsiteY17" fmla="*/ 91440 h 498849"/>
                <a:gd name="connsiteX18" fmla="*/ 885766 w 1032070"/>
                <a:gd name="connsiteY18" fmla="*/ 82296 h 498849"/>
                <a:gd name="connsiteX19" fmla="*/ 1013782 w 1032070"/>
                <a:gd name="connsiteY19" fmla="*/ 27432 h 498849"/>
                <a:gd name="connsiteX20" fmla="*/ 995494 w 1032070"/>
                <a:gd name="connsiteY20" fmla="*/ 0 h 498849"/>
                <a:gd name="connsiteX21" fmla="*/ 958918 w 1032070"/>
                <a:gd name="connsiteY21" fmla="*/ 27432 h 498849"/>
                <a:gd name="connsiteX22" fmla="*/ 922342 w 1032070"/>
                <a:gd name="connsiteY22" fmla="*/ 36576 h 498849"/>
                <a:gd name="connsiteX23" fmla="*/ 849190 w 1032070"/>
                <a:gd name="connsiteY23" fmla="*/ 64008 h 498849"/>
                <a:gd name="connsiteX24" fmla="*/ 794326 w 1032070"/>
                <a:gd name="connsiteY24" fmla="*/ 64008 h 498849"/>
                <a:gd name="connsiteX25" fmla="*/ 684598 w 1032070"/>
                <a:gd name="connsiteY25" fmla="*/ 64008 h 498849"/>
                <a:gd name="connsiteX26" fmla="*/ 629734 w 1032070"/>
                <a:gd name="connsiteY26" fmla="*/ 100584 h 498849"/>
                <a:gd name="connsiteX27" fmla="*/ 593158 w 1032070"/>
                <a:gd name="connsiteY27" fmla="*/ 146304 h 498849"/>
                <a:gd name="connsiteX28" fmla="*/ 547438 w 1032070"/>
                <a:gd name="connsiteY28" fmla="*/ 182880 h 498849"/>
                <a:gd name="connsiteX29" fmla="*/ 501718 w 1032070"/>
                <a:gd name="connsiteY29" fmla="*/ 256032 h 498849"/>
                <a:gd name="connsiteX30" fmla="*/ 428566 w 1032070"/>
                <a:gd name="connsiteY30" fmla="*/ 301752 h 498849"/>
                <a:gd name="connsiteX31" fmla="*/ 327982 w 1032070"/>
                <a:gd name="connsiteY31" fmla="*/ 347472 h 498849"/>
                <a:gd name="connsiteX32" fmla="*/ 291406 w 1032070"/>
                <a:gd name="connsiteY32" fmla="*/ 374904 h 498849"/>
                <a:gd name="connsiteX33" fmla="*/ 245686 w 1032070"/>
                <a:gd name="connsiteY33" fmla="*/ 402336 h 498849"/>
                <a:gd name="connsiteX34" fmla="*/ 227398 w 1032070"/>
                <a:gd name="connsiteY34" fmla="*/ 402336 h 498849"/>
                <a:gd name="connsiteX35" fmla="*/ 245686 w 1032070"/>
                <a:gd name="connsiteY35" fmla="*/ 365760 h 498849"/>
                <a:gd name="connsiteX36" fmla="*/ 300550 w 1032070"/>
                <a:gd name="connsiteY36" fmla="*/ 301752 h 498849"/>
                <a:gd name="connsiteX37" fmla="*/ 391990 w 1032070"/>
                <a:gd name="connsiteY37" fmla="*/ 219456 h 498849"/>
                <a:gd name="connsiteX38" fmla="*/ 437710 w 1032070"/>
                <a:gd name="connsiteY38" fmla="*/ 146304 h 498849"/>
                <a:gd name="connsiteX39" fmla="*/ 437710 w 1032070"/>
                <a:gd name="connsiteY39" fmla="*/ 64008 h 498849"/>
                <a:gd name="connsiteX40" fmla="*/ 428566 w 1032070"/>
                <a:gd name="connsiteY40" fmla="*/ 54864 h 498849"/>
                <a:gd name="connsiteX41" fmla="*/ 419422 w 1032070"/>
                <a:gd name="connsiteY41" fmla="*/ 128016 h 498849"/>
                <a:gd name="connsiteX42" fmla="*/ 391990 w 1032070"/>
                <a:gd name="connsiteY42" fmla="*/ 173736 h 498849"/>
                <a:gd name="connsiteX43" fmla="*/ 318838 w 1032070"/>
                <a:gd name="connsiteY43" fmla="*/ 237744 h 498849"/>
                <a:gd name="connsiteX44" fmla="*/ 291406 w 1032070"/>
                <a:gd name="connsiteY44" fmla="*/ 256032 h 498849"/>
                <a:gd name="connsiteX45" fmla="*/ 218254 w 1032070"/>
                <a:gd name="connsiteY45" fmla="*/ 347472 h 498849"/>
                <a:gd name="connsiteX46" fmla="*/ 209110 w 1032070"/>
                <a:gd name="connsiteY46" fmla="*/ 374904 h 498849"/>
                <a:gd name="connsiteX47" fmla="*/ 199966 w 1032070"/>
                <a:gd name="connsiteY47" fmla="*/ 411480 h 498849"/>
                <a:gd name="connsiteX48" fmla="*/ 218254 w 1032070"/>
                <a:gd name="connsiteY48" fmla="*/ 429768 h 498849"/>
                <a:gd name="connsiteX49" fmla="*/ 172534 w 1032070"/>
                <a:gd name="connsiteY49" fmla="*/ 457200 h 498849"/>
                <a:gd name="connsiteX50" fmla="*/ 26230 w 1032070"/>
                <a:gd name="connsiteY50" fmla="*/ 493776 h 498849"/>
                <a:gd name="connsiteX51" fmla="*/ 15156 w 1032070"/>
                <a:gd name="connsiteY51" fmla="*/ 480583 h 498849"/>
                <a:gd name="connsiteX52" fmla="*/ 15157 w 1032070"/>
                <a:gd name="connsiteY52" fmla="*/ 480583 h 498849"/>
                <a:gd name="connsiteX53" fmla="*/ 89615 w 1032070"/>
                <a:gd name="connsiteY53" fmla="*/ 496784 h 498849"/>
                <a:gd name="connsiteX54" fmla="*/ 89615 w 1032070"/>
                <a:gd name="connsiteY54" fmla="*/ 496784 h 498849"/>
                <a:gd name="connsiteX55" fmla="*/ 89615 w 1032070"/>
                <a:gd name="connsiteY55" fmla="*/ 496784 h 498849"/>
                <a:gd name="connsiteX0" fmla="*/ 89615 w 1032070"/>
                <a:gd name="connsiteY0" fmla="*/ 496784 h 498849"/>
                <a:gd name="connsiteX1" fmla="*/ 89615 w 1032070"/>
                <a:gd name="connsiteY1" fmla="*/ 496784 h 498849"/>
                <a:gd name="connsiteX2" fmla="*/ 89615 w 1032070"/>
                <a:gd name="connsiteY2" fmla="*/ 496784 h 498849"/>
                <a:gd name="connsiteX3" fmla="*/ 126814 w 1032070"/>
                <a:gd name="connsiteY3" fmla="*/ 493776 h 498849"/>
                <a:gd name="connsiteX4" fmla="*/ 227398 w 1032070"/>
                <a:gd name="connsiteY4" fmla="*/ 466344 h 498849"/>
                <a:gd name="connsiteX5" fmla="*/ 327982 w 1032070"/>
                <a:gd name="connsiteY5" fmla="*/ 384048 h 498849"/>
                <a:gd name="connsiteX6" fmla="*/ 520006 w 1032070"/>
                <a:gd name="connsiteY6" fmla="*/ 301752 h 498849"/>
                <a:gd name="connsiteX7" fmla="*/ 602302 w 1032070"/>
                <a:gd name="connsiteY7" fmla="*/ 192024 h 498849"/>
                <a:gd name="connsiteX8" fmla="*/ 748606 w 1032070"/>
                <a:gd name="connsiteY8" fmla="*/ 155448 h 498849"/>
                <a:gd name="connsiteX9" fmla="*/ 794326 w 1032070"/>
                <a:gd name="connsiteY9" fmla="*/ 155448 h 498849"/>
                <a:gd name="connsiteX10" fmla="*/ 830902 w 1032070"/>
                <a:gd name="connsiteY10" fmla="*/ 137160 h 498849"/>
                <a:gd name="connsiteX11" fmla="*/ 785182 w 1032070"/>
                <a:gd name="connsiteY11" fmla="*/ 137160 h 498849"/>
                <a:gd name="connsiteX12" fmla="*/ 693742 w 1032070"/>
                <a:gd name="connsiteY12" fmla="*/ 137160 h 498849"/>
                <a:gd name="connsiteX13" fmla="*/ 638878 w 1032070"/>
                <a:gd name="connsiteY13" fmla="*/ 146304 h 498849"/>
                <a:gd name="connsiteX14" fmla="*/ 629734 w 1032070"/>
                <a:gd name="connsiteY14" fmla="*/ 155448 h 498849"/>
                <a:gd name="connsiteX15" fmla="*/ 611446 w 1032070"/>
                <a:gd name="connsiteY15" fmla="*/ 146304 h 498849"/>
                <a:gd name="connsiteX16" fmla="*/ 739462 w 1032070"/>
                <a:gd name="connsiteY16" fmla="*/ 91440 h 498849"/>
                <a:gd name="connsiteX17" fmla="*/ 794326 w 1032070"/>
                <a:gd name="connsiteY17" fmla="*/ 91440 h 498849"/>
                <a:gd name="connsiteX18" fmla="*/ 885766 w 1032070"/>
                <a:gd name="connsiteY18" fmla="*/ 82296 h 498849"/>
                <a:gd name="connsiteX19" fmla="*/ 1013782 w 1032070"/>
                <a:gd name="connsiteY19" fmla="*/ 27432 h 498849"/>
                <a:gd name="connsiteX20" fmla="*/ 995494 w 1032070"/>
                <a:gd name="connsiteY20" fmla="*/ 0 h 498849"/>
                <a:gd name="connsiteX21" fmla="*/ 958918 w 1032070"/>
                <a:gd name="connsiteY21" fmla="*/ 27432 h 498849"/>
                <a:gd name="connsiteX22" fmla="*/ 922342 w 1032070"/>
                <a:gd name="connsiteY22" fmla="*/ 36576 h 498849"/>
                <a:gd name="connsiteX23" fmla="*/ 849190 w 1032070"/>
                <a:gd name="connsiteY23" fmla="*/ 64008 h 498849"/>
                <a:gd name="connsiteX24" fmla="*/ 794326 w 1032070"/>
                <a:gd name="connsiteY24" fmla="*/ 64008 h 498849"/>
                <a:gd name="connsiteX25" fmla="*/ 684598 w 1032070"/>
                <a:gd name="connsiteY25" fmla="*/ 64008 h 498849"/>
                <a:gd name="connsiteX26" fmla="*/ 629734 w 1032070"/>
                <a:gd name="connsiteY26" fmla="*/ 100584 h 498849"/>
                <a:gd name="connsiteX27" fmla="*/ 593158 w 1032070"/>
                <a:gd name="connsiteY27" fmla="*/ 146304 h 498849"/>
                <a:gd name="connsiteX28" fmla="*/ 547438 w 1032070"/>
                <a:gd name="connsiteY28" fmla="*/ 182880 h 498849"/>
                <a:gd name="connsiteX29" fmla="*/ 501718 w 1032070"/>
                <a:gd name="connsiteY29" fmla="*/ 256032 h 498849"/>
                <a:gd name="connsiteX30" fmla="*/ 428566 w 1032070"/>
                <a:gd name="connsiteY30" fmla="*/ 301752 h 498849"/>
                <a:gd name="connsiteX31" fmla="*/ 327982 w 1032070"/>
                <a:gd name="connsiteY31" fmla="*/ 347472 h 498849"/>
                <a:gd name="connsiteX32" fmla="*/ 291406 w 1032070"/>
                <a:gd name="connsiteY32" fmla="*/ 374904 h 498849"/>
                <a:gd name="connsiteX33" fmla="*/ 245686 w 1032070"/>
                <a:gd name="connsiteY33" fmla="*/ 402336 h 498849"/>
                <a:gd name="connsiteX34" fmla="*/ 227398 w 1032070"/>
                <a:gd name="connsiteY34" fmla="*/ 402336 h 498849"/>
                <a:gd name="connsiteX35" fmla="*/ 245686 w 1032070"/>
                <a:gd name="connsiteY35" fmla="*/ 365760 h 498849"/>
                <a:gd name="connsiteX36" fmla="*/ 300550 w 1032070"/>
                <a:gd name="connsiteY36" fmla="*/ 301752 h 498849"/>
                <a:gd name="connsiteX37" fmla="*/ 391990 w 1032070"/>
                <a:gd name="connsiteY37" fmla="*/ 219456 h 498849"/>
                <a:gd name="connsiteX38" fmla="*/ 437710 w 1032070"/>
                <a:gd name="connsiteY38" fmla="*/ 146304 h 498849"/>
                <a:gd name="connsiteX39" fmla="*/ 437710 w 1032070"/>
                <a:gd name="connsiteY39" fmla="*/ 64008 h 498849"/>
                <a:gd name="connsiteX40" fmla="*/ 428566 w 1032070"/>
                <a:gd name="connsiteY40" fmla="*/ 54864 h 498849"/>
                <a:gd name="connsiteX41" fmla="*/ 419422 w 1032070"/>
                <a:gd name="connsiteY41" fmla="*/ 128016 h 498849"/>
                <a:gd name="connsiteX42" fmla="*/ 391990 w 1032070"/>
                <a:gd name="connsiteY42" fmla="*/ 173736 h 498849"/>
                <a:gd name="connsiteX43" fmla="*/ 318838 w 1032070"/>
                <a:gd name="connsiteY43" fmla="*/ 237744 h 498849"/>
                <a:gd name="connsiteX44" fmla="*/ 291406 w 1032070"/>
                <a:gd name="connsiteY44" fmla="*/ 256032 h 498849"/>
                <a:gd name="connsiteX45" fmla="*/ 218254 w 1032070"/>
                <a:gd name="connsiteY45" fmla="*/ 347472 h 498849"/>
                <a:gd name="connsiteX46" fmla="*/ 209110 w 1032070"/>
                <a:gd name="connsiteY46" fmla="*/ 374904 h 498849"/>
                <a:gd name="connsiteX47" fmla="*/ 199966 w 1032070"/>
                <a:gd name="connsiteY47" fmla="*/ 411480 h 498849"/>
                <a:gd name="connsiteX48" fmla="*/ 218254 w 1032070"/>
                <a:gd name="connsiteY48" fmla="*/ 429768 h 498849"/>
                <a:gd name="connsiteX49" fmla="*/ 172534 w 1032070"/>
                <a:gd name="connsiteY49" fmla="*/ 457200 h 498849"/>
                <a:gd name="connsiteX50" fmla="*/ 26230 w 1032070"/>
                <a:gd name="connsiteY50" fmla="*/ 493776 h 498849"/>
                <a:gd name="connsiteX51" fmla="*/ 15156 w 1032070"/>
                <a:gd name="connsiteY51" fmla="*/ 480583 h 498849"/>
                <a:gd name="connsiteX52" fmla="*/ 89615 w 1032070"/>
                <a:gd name="connsiteY52" fmla="*/ 496784 h 498849"/>
                <a:gd name="connsiteX53" fmla="*/ 89615 w 1032070"/>
                <a:gd name="connsiteY53" fmla="*/ 496784 h 498849"/>
                <a:gd name="connsiteX54" fmla="*/ 89615 w 1032070"/>
                <a:gd name="connsiteY54" fmla="*/ 496784 h 498849"/>
                <a:gd name="connsiteX55" fmla="*/ 89615 w 1032070"/>
                <a:gd name="connsiteY55" fmla="*/ 496784 h 498849"/>
                <a:gd name="connsiteX0" fmla="*/ 77205 w 1019660"/>
                <a:gd name="connsiteY0" fmla="*/ 496784 h 500373"/>
                <a:gd name="connsiteX1" fmla="*/ 77205 w 1019660"/>
                <a:gd name="connsiteY1" fmla="*/ 496784 h 500373"/>
                <a:gd name="connsiteX2" fmla="*/ 77205 w 1019660"/>
                <a:gd name="connsiteY2" fmla="*/ 496784 h 500373"/>
                <a:gd name="connsiteX3" fmla="*/ 114404 w 1019660"/>
                <a:gd name="connsiteY3" fmla="*/ 493776 h 500373"/>
                <a:gd name="connsiteX4" fmla="*/ 214988 w 1019660"/>
                <a:gd name="connsiteY4" fmla="*/ 466344 h 500373"/>
                <a:gd name="connsiteX5" fmla="*/ 315572 w 1019660"/>
                <a:gd name="connsiteY5" fmla="*/ 384048 h 500373"/>
                <a:gd name="connsiteX6" fmla="*/ 507596 w 1019660"/>
                <a:gd name="connsiteY6" fmla="*/ 301752 h 500373"/>
                <a:gd name="connsiteX7" fmla="*/ 589892 w 1019660"/>
                <a:gd name="connsiteY7" fmla="*/ 192024 h 500373"/>
                <a:gd name="connsiteX8" fmla="*/ 736196 w 1019660"/>
                <a:gd name="connsiteY8" fmla="*/ 155448 h 500373"/>
                <a:gd name="connsiteX9" fmla="*/ 781916 w 1019660"/>
                <a:gd name="connsiteY9" fmla="*/ 155448 h 500373"/>
                <a:gd name="connsiteX10" fmla="*/ 818492 w 1019660"/>
                <a:gd name="connsiteY10" fmla="*/ 137160 h 500373"/>
                <a:gd name="connsiteX11" fmla="*/ 772772 w 1019660"/>
                <a:gd name="connsiteY11" fmla="*/ 137160 h 500373"/>
                <a:gd name="connsiteX12" fmla="*/ 681332 w 1019660"/>
                <a:gd name="connsiteY12" fmla="*/ 137160 h 500373"/>
                <a:gd name="connsiteX13" fmla="*/ 626468 w 1019660"/>
                <a:gd name="connsiteY13" fmla="*/ 146304 h 500373"/>
                <a:gd name="connsiteX14" fmla="*/ 617324 w 1019660"/>
                <a:gd name="connsiteY14" fmla="*/ 155448 h 500373"/>
                <a:gd name="connsiteX15" fmla="*/ 599036 w 1019660"/>
                <a:gd name="connsiteY15" fmla="*/ 146304 h 500373"/>
                <a:gd name="connsiteX16" fmla="*/ 727052 w 1019660"/>
                <a:gd name="connsiteY16" fmla="*/ 91440 h 500373"/>
                <a:gd name="connsiteX17" fmla="*/ 781916 w 1019660"/>
                <a:gd name="connsiteY17" fmla="*/ 91440 h 500373"/>
                <a:gd name="connsiteX18" fmla="*/ 873356 w 1019660"/>
                <a:gd name="connsiteY18" fmla="*/ 82296 h 500373"/>
                <a:gd name="connsiteX19" fmla="*/ 1001372 w 1019660"/>
                <a:gd name="connsiteY19" fmla="*/ 27432 h 500373"/>
                <a:gd name="connsiteX20" fmla="*/ 983084 w 1019660"/>
                <a:gd name="connsiteY20" fmla="*/ 0 h 500373"/>
                <a:gd name="connsiteX21" fmla="*/ 946508 w 1019660"/>
                <a:gd name="connsiteY21" fmla="*/ 27432 h 500373"/>
                <a:gd name="connsiteX22" fmla="*/ 909932 w 1019660"/>
                <a:gd name="connsiteY22" fmla="*/ 36576 h 500373"/>
                <a:gd name="connsiteX23" fmla="*/ 836780 w 1019660"/>
                <a:gd name="connsiteY23" fmla="*/ 64008 h 500373"/>
                <a:gd name="connsiteX24" fmla="*/ 781916 w 1019660"/>
                <a:gd name="connsiteY24" fmla="*/ 64008 h 500373"/>
                <a:gd name="connsiteX25" fmla="*/ 672188 w 1019660"/>
                <a:gd name="connsiteY25" fmla="*/ 64008 h 500373"/>
                <a:gd name="connsiteX26" fmla="*/ 617324 w 1019660"/>
                <a:gd name="connsiteY26" fmla="*/ 100584 h 500373"/>
                <a:gd name="connsiteX27" fmla="*/ 580748 w 1019660"/>
                <a:gd name="connsiteY27" fmla="*/ 146304 h 500373"/>
                <a:gd name="connsiteX28" fmla="*/ 535028 w 1019660"/>
                <a:gd name="connsiteY28" fmla="*/ 182880 h 500373"/>
                <a:gd name="connsiteX29" fmla="*/ 489308 w 1019660"/>
                <a:gd name="connsiteY29" fmla="*/ 256032 h 500373"/>
                <a:gd name="connsiteX30" fmla="*/ 416156 w 1019660"/>
                <a:gd name="connsiteY30" fmla="*/ 301752 h 500373"/>
                <a:gd name="connsiteX31" fmla="*/ 315572 w 1019660"/>
                <a:gd name="connsiteY31" fmla="*/ 347472 h 500373"/>
                <a:gd name="connsiteX32" fmla="*/ 278996 w 1019660"/>
                <a:gd name="connsiteY32" fmla="*/ 374904 h 500373"/>
                <a:gd name="connsiteX33" fmla="*/ 233276 w 1019660"/>
                <a:gd name="connsiteY33" fmla="*/ 402336 h 500373"/>
                <a:gd name="connsiteX34" fmla="*/ 214988 w 1019660"/>
                <a:gd name="connsiteY34" fmla="*/ 402336 h 500373"/>
                <a:gd name="connsiteX35" fmla="*/ 233276 w 1019660"/>
                <a:gd name="connsiteY35" fmla="*/ 365760 h 500373"/>
                <a:gd name="connsiteX36" fmla="*/ 288140 w 1019660"/>
                <a:gd name="connsiteY36" fmla="*/ 301752 h 500373"/>
                <a:gd name="connsiteX37" fmla="*/ 379580 w 1019660"/>
                <a:gd name="connsiteY37" fmla="*/ 219456 h 500373"/>
                <a:gd name="connsiteX38" fmla="*/ 425300 w 1019660"/>
                <a:gd name="connsiteY38" fmla="*/ 146304 h 500373"/>
                <a:gd name="connsiteX39" fmla="*/ 425300 w 1019660"/>
                <a:gd name="connsiteY39" fmla="*/ 64008 h 500373"/>
                <a:gd name="connsiteX40" fmla="*/ 416156 w 1019660"/>
                <a:gd name="connsiteY40" fmla="*/ 54864 h 500373"/>
                <a:gd name="connsiteX41" fmla="*/ 407012 w 1019660"/>
                <a:gd name="connsiteY41" fmla="*/ 128016 h 500373"/>
                <a:gd name="connsiteX42" fmla="*/ 379580 w 1019660"/>
                <a:gd name="connsiteY42" fmla="*/ 173736 h 500373"/>
                <a:gd name="connsiteX43" fmla="*/ 306428 w 1019660"/>
                <a:gd name="connsiteY43" fmla="*/ 237744 h 500373"/>
                <a:gd name="connsiteX44" fmla="*/ 278996 w 1019660"/>
                <a:gd name="connsiteY44" fmla="*/ 256032 h 500373"/>
                <a:gd name="connsiteX45" fmla="*/ 205844 w 1019660"/>
                <a:gd name="connsiteY45" fmla="*/ 347472 h 500373"/>
                <a:gd name="connsiteX46" fmla="*/ 196700 w 1019660"/>
                <a:gd name="connsiteY46" fmla="*/ 374904 h 500373"/>
                <a:gd name="connsiteX47" fmla="*/ 187556 w 1019660"/>
                <a:gd name="connsiteY47" fmla="*/ 411480 h 500373"/>
                <a:gd name="connsiteX48" fmla="*/ 205844 w 1019660"/>
                <a:gd name="connsiteY48" fmla="*/ 429768 h 500373"/>
                <a:gd name="connsiteX49" fmla="*/ 160124 w 1019660"/>
                <a:gd name="connsiteY49" fmla="*/ 457200 h 500373"/>
                <a:gd name="connsiteX50" fmla="*/ 13820 w 1019660"/>
                <a:gd name="connsiteY50" fmla="*/ 493776 h 500373"/>
                <a:gd name="connsiteX51" fmla="*/ 77205 w 1019660"/>
                <a:gd name="connsiteY51" fmla="*/ 496784 h 500373"/>
                <a:gd name="connsiteX52" fmla="*/ 77205 w 1019660"/>
                <a:gd name="connsiteY52" fmla="*/ 496784 h 500373"/>
                <a:gd name="connsiteX53" fmla="*/ 77205 w 1019660"/>
                <a:gd name="connsiteY53" fmla="*/ 496784 h 500373"/>
                <a:gd name="connsiteX54" fmla="*/ 77205 w 1019660"/>
                <a:gd name="connsiteY54" fmla="*/ 496784 h 500373"/>
                <a:gd name="connsiteX55" fmla="*/ 77205 w 1019660"/>
                <a:gd name="connsiteY55" fmla="*/ 496784 h 500373"/>
                <a:gd name="connsiteX0" fmla="*/ 13820 w 956275"/>
                <a:gd name="connsiteY0" fmla="*/ 496784 h 503380"/>
                <a:gd name="connsiteX1" fmla="*/ 13820 w 956275"/>
                <a:gd name="connsiteY1" fmla="*/ 496784 h 503380"/>
                <a:gd name="connsiteX2" fmla="*/ 13820 w 956275"/>
                <a:gd name="connsiteY2" fmla="*/ 496784 h 503380"/>
                <a:gd name="connsiteX3" fmla="*/ 51019 w 956275"/>
                <a:gd name="connsiteY3" fmla="*/ 493776 h 503380"/>
                <a:gd name="connsiteX4" fmla="*/ 151603 w 956275"/>
                <a:gd name="connsiteY4" fmla="*/ 466344 h 503380"/>
                <a:gd name="connsiteX5" fmla="*/ 252187 w 956275"/>
                <a:gd name="connsiteY5" fmla="*/ 384048 h 503380"/>
                <a:gd name="connsiteX6" fmla="*/ 444211 w 956275"/>
                <a:gd name="connsiteY6" fmla="*/ 301752 h 503380"/>
                <a:gd name="connsiteX7" fmla="*/ 526507 w 956275"/>
                <a:gd name="connsiteY7" fmla="*/ 192024 h 503380"/>
                <a:gd name="connsiteX8" fmla="*/ 672811 w 956275"/>
                <a:gd name="connsiteY8" fmla="*/ 155448 h 503380"/>
                <a:gd name="connsiteX9" fmla="*/ 718531 w 956275"/>
                <a:gd name="connsiteY9" fmla="*/ 155448 h 503380"/>
                <a:gd name="connsiteX10" fmla="*/ 755107 w 956275"/>
                <a:gd name="connsiteY10" fmla="*/ 137160 h 503380"/>
                <a:gd name="connsiteX11" fmla="*/ 709387 w 956275"/>
                <a:gd name="connsiteY11" fmla="*/ 137160 h 503380"/>
                <a:gd name="connsiteX12" fmla="*/ 617947 w 956275"/>
                <a:gd name="connsiteY12" fmla="*/ 137160 h 503380"/>
                <a:gd name="connsiteX13" fmla="*/ 563083 w 956275"/>
                <a:gd name="connsiteY13" fmla="*/ 146304 h 503380"/>
                <a:gd name="connsiteX14" fmla="*/ 553939 w 956275"/>
                <a:gd name="connsiteY14" fmla="*/ 155448 h 503380"/>
                <a:gd name="connsiteX15" fmla="*/ 535651 w 956275"/>
                <a:gd name="connsiteY15" fmla="*/ 146304 h 503380"/>
                <a:gd name="connsiteX16" fmla="*/ 663667 w 956275"/>
                <a:gd name="connsiteY16" fmla="*/ 91440 h 503380"/>
                <a:gd name="connsiteX17" fmla="*/ 718531 w 956275"/>
                <a:gd name="connsiteY17" fmla="*/ 91440 h 503380"/>
                <a:gd name="connsiteX18" fmla="*/ 809971 w 956275"/>
                <a:gd name="connsiteY18" fmla="*/ 82296 h 503380"/>
                <a:gd name="connsiteX19" fmla="*/ 937987 w 956275"/>
                <a:gd name="connsiteY19" fmla="*/ 27432 h 503380"/>
                <a:gd name="connsiteX20" fmla="*/ 919699 w 956275"/>
                <a:gd name="connsiteY20" fmla="*/ 0 h 503380"/>
                <a:gd name="connsiteX21" fmla="*/ 883123 w 956275"/>
                <a:gd name="connsiteY21" fmla="*/ 27432 h 503380"/>
                <a:gd name="connsiteX22" fmla="*/ 846547 w 956275"/>
                <a:gd name="connsiteY22" fmla="*/ 36576 h 503380"/>
                <a:gd name="connsiteX23" fmla="*/ 773395 w 956275"/>
                <a:gd name="connsiteY23" fmla="*/ 64008 h 503380"/>
                <a:gd name="connsiteX24" fmla="*/ 718531 w 956275"/>
                <a:gd name="connsiteY24" fmla="*/ 64008 h 503380"/>
                <a:gd name="connsiteX25" fmla="*/ 608803 w 956275"/>
                <a:gd name="connsiteY25" fmla="*/ 64008 h 503380"/>
                <a:gd name="connsiteX26" fmla="*/ 553939 w 956275"/>
                <a:gd name="connsiteY26" fmla="*/ 100584 h 503380"/>
                <a:gd name="connsiteX27" fmla="*/ 517363 w 956275"/>
                <a:gd name="connsiteY27" fmla="*/ 146304 h 503380"/>
                <a:gd name="connsiteX28" fmla="*/ 471643 w 956275"/>
                <a:gd name="connsiteY28" fmla="*/ 182880 h 503380"/>
                <a:gd name="connsiteX29" fmla="*/ 425923 w 956275"/>
                <a:gd name="connsiteY29" fmla="*/ 256032 h 503380"/>
                <a:gd name="connsiteX30" fmla="*/ 352771 w 956275"/>
                <a:gd name="connsiteY30" fmla="*/ 301752 h 503380"/>
                <a:gd name="connsiteX31" fmla="*/ 252187 w 956275"/>
                <a:gd name="connsiteY31" fmla="*/ 347472 h 503380"/>
                <a:gd name="connsiteX32" fmla="*/ 215611 w 956275"/>
                <a:gd name="connsiteY32" fmla="*/ 374904 h 503380"/>
                <a:gd name="connsiteX33" fmla="*/ 169891 w 956275"/>
                <a:gd name="connsiteY33" fmla="*/ 402336 h 503380"/>
                <a:gd name="connsiteX34" fmla="*/ 151603 w 956275"/>
                <a:gd name="connsiteY34" fmla="*/ 402336 h 503380"/>
                <a:gd name="connsiteX35" fmla="*/ 169891 w 956275"/>
                <a:gd name="connsiteY35" fmla="*/ 365760 h 503380"/>
                <a:gd name="connsiteX36" fmla="*/ 224755 w 956275"/>
                <a:gd name="connsiteY36" fmla="*/ 301752 h 503380"/>
                <a:gd name="connsiteX37" fmla="*/ 316195 w 956275"/>
                <a:gd name="connsiteY37" fmla="*/ 219456 h 503380"/>
                <a:gd name="connsiteX38" fmla="*/ 361915 w 956275"/>
                <a:gd name="connsiteY38" fmla="*/ 146304 h 503380"/>
                <a:gd name="connsiteX39" fmla="*/ 361915 w 956275"/>
                <a:gd name="connsiteY39" fmla="*/ 64008 h 503380"/>
                <a:gd name="connsiteX40" fmla="*/ 352771 w 956275"/>
                <a:gd name="connsiteY40" fmla="*/ 54864 h 503380"/>
                <a:gd name="connsiteX41" fmla="*/ 343627 w 956275"/>
                <a:gd name="connsiteY41" fmla="*/ 128016 h 503380"/>
                <a:gd name="connsiteX42" fmla="*/ 316195 w 956275"/>
                <a:gd name="connsiteY42" fmla="*/ 173736 h 503380"/>
                <a:gd name="connsiteX43" fmla="*/ 243043 w 956275"/>
                <a:gd name="connsiteY43" fmla="*/ 237744 h 503380"/>
                <a:gd name="connsiteX44" fmla="*/ 215611 w 956275"/>
                <a:gd name="connsiteY44" fmla="*/ 256032 h 503380"/>
                <a:gd name="connsiteX45" fmla="*/ 142459 w 956275"/>
                <a:gd name="connsiteY45" fmla="*/ 347472 h 503380"/>
                <a:gd name="connsiteX46" fmla="*/ 133315 w 956275"/>
                <a:gd name="connsiteY46" fmla="*/ 374904 h 503380"/>
                <a:gd name="connsiteX47" fmla="*/ 124171 w 956275"/>
                <a:gd name="connsiteY47" fmla="*/ 411480 h 503380"/>
                <a:gd name="connsiteX48" fmla="*/ 142459 w 956275"/>
                <a:gd name="connsiteY48" fmla="*/ 429768 h 503380"/>
                <a:gd name="connsiteX49" fmla="*/ 96739 w 956275"/>
                <a:gd name="connsiteY49" fmla="*/ 457200 h 503380"/>
                <a:gd name="connsiteX50" fmla="*/ 13820 w 956275"/>
                <a:gd name="connsiteY50" fmla="*/ 496783 h 503380"/>
                <a:gd name="connsiteX51" fmla="*/ 13820 w 956275"/>
                <a:gd name="connsiteY51" fmla="*/ 496784 h 503380"/>
                <a:gd name="connsiteX52" fmla="*/ 13820 w 956275"/>
                <a:gd name="connsiteY52" fmla="*/ 496784 h 503380"/>
                <a:gd name="connsiteX53" fmla="*/ 13820 w 956275"/>
                <a:gd name="connsiteY53" fmla="*/ 496784 h 503380"/>
                <a:gd name="connsiteX54" fmla="*/ 13820 w 956275"/>
                <a:gd name="connsiteY54" fmla="*/ 496784 h 503380"/>
                <a:gd name="connsiteX55" fmla="*/ 13820 w 956275"/>
                <a:gd name="connsiteY55" fmla="*/ 496784 h 503380"/>
                <a:gd name="connsiteX0" fmla="*/ 40672 w 956275"/>
                <a:gd name="connsiteY0" fmla="*/ 486851 h 503380"/>
                <a:gd name="connsiteX1" fmla="*/ 13820 w 956275"/>
                <a:gd name="connsiteY1" fmla="*/ 496784 h 503380"/>
                <a:gd name="connsiteX2" fmla="*/ 13820 w 956275"/>
                <a:gd name="connsiteY2" fmla="*/ 496784 h 503380"/>
                <a:gd name="connsiteX3" fmla="*/ 51019 w 956275"/>
                <a:gd name="connsiteY3" fmla="*/ 493776 h 503380"/>
                <a:gd name="connsiteX4" fmla="*/ 151603 w 956275"/>
                <a:gd name="connsiteY4" fmla="*/ 466344 h 503380"/>
                <a:gd name="connsiteX5" fmla="*/ 252187 w 956275"/>
                <a:gd name="connsiteY5" fmla="*/ 384048 h 503380"/>
                <a:gd name="connsiteX6" fmla="*/ 444211 w 956275"/>
                <a:gd name="connsiteY6" fmla="*/ 301752 h 503380"/>
                <a:gd name="connsiteX7" fmla="*/ 526507 w 956275"/>
                <a:gd name="connsiteY7" fmla="*/ 192024 h 503380"/>
                <a:gd name="connsiteX8" fmla="*/ 672811 w 956275"/>
                <a:gd name="connsiteY8" fmla="*/ 155448 h 503380"/>
                <a:gd name="connsiteX9" fmla="*/ 718531 w 956275"/>
                <a:gd name="connsiteY9" fmla="*/ 155448 h 503380"/>
                <a:gd name="connsiteX10" fmla="*/ 755107 w 956275"/>
                <a:gd name="connsiteY10" fmla="*/ 137160 h 503380"/>
                <a:gd name="connsiteX11" fmla="*/ 709387 w 956275"/>
                <a:gd name="connsiteY11" fmla="*/ 137160 h 503380"/>
                <a:gd name="connsiteX12" fmla="*/ 617947 w 956275"/>
                <a:gd name="connsiteY12" fmla="*/ 137160 h 503380"/>
                <a:gd name="connsiteX13" fmla="*/ 563083 w 956275"/>
                <a:gd name="connsiteY13" fmla="*/ 146304 h 503380"/>
                <a:gd name="connsiteX14" fmla="*/ 553939 w 956275"/>
                <a:gd name="connsiteY14" fmla="*/ 155448 h 503380"/>
                <a:gd name="connsiteX15" fmla="*/ 535651 w 956275"/>
                <a:gd name="connsiteY15" fmla="*/ 146304 h 503380"/>
                <a:gd name="connsiteX16" fmla="*/ 663667 w 956275"/>
                <a:gd name="connsiteY16" fmla="*/ 91440 h 503380"/>
                <a:gd name="connsiteX17" fmla="*/ 718531 w 956275"/>
                <a:gd name="connsiteY17" fmla="*/ 91440 h 503380"/>
                <a:gd name="connsiteX18" fmla="*/ 809971 w 956275"/>
                <a:gd name="connsiteY18" fmla="*/ 82296 h 503380"/>
                <a:gd name="connsiteX19" fmla="*/ 937987 w 956275"/>
                <a:gd name="connsiteY19" fmla="*/ 27432 h 503380"/>
                <a:gd name="connsiteX20" fmla="*/ 919699 w 956275"/>
                <a:gd name="connsiteY20" fmla="*/ 0 h 503380"/>
                <a:gd name="connsiteX21" fmla="*/ 883123 w 956275"/>
                <a:gd name="connsiteY21" fmla="*/ 27432 h 503380"/>
                <a:gd name="connsiteX22" fmla="*/ 846547 w 956275"/>
                <a:gd name="connsiteY22" fmla="*/ 36576 h 503380"/>
                <a:gd name="connsiteX23" fmla="*/ 773395 w 956275"/>
                <a:gd name="connsiteY23" fmla="*/ 64008 h 503380"/>
                <a:gd name="connsiteX24" fmla="*/ 718531 w 956275"/>
                <a:gd name="connsiteY24" fmla="*/ 64008 h 503380"/>
                <a:gd name="connsiteX25" fmla="*/ 608803 w 956275"/>
                <a:gd name="connsiteY25" fmla="*/ 64008 h 503380"/>
                <a:gd name="connsiteX26" fmla="*/ 553939 w 956275"/>
                <a:gd name="connsiteY26" fmla="*/ 100584 h 503380"/>
                <a:gd name="connsiteX27" fmla="*/ 517363 w 956275"/>
                <a:gd name="connsiteY27" fmla="*/ 146304 h 503380"/>
                <a:gd name="connsiteX28" fmla="*/ 471643 w 956275"/>
                <a:gd name="connsiteY28" fmla="*/ 182880 h 503380"/>
                <a:gd name="connsiteX29" fmla="*/ 425923 w 956275"/>
                <a:gd name="connsiteY29" fmla="*/ 256032 h 503380"/>
                <a:gd name="connsiteX30" fmla="*/ 352771 w 956275"/>
                <a:gd name="connsiteY30" fmla="*/ 301752 h 503380"/>
                <a:gd name="connsiteX31" fmla="*/ 252187 w 956275"/>
                <a:gd name="connsiteY31" fmla="*/ 347472 h 503380"/>
                <a:gd name="connsiteX32" fmla="*/ 215611 w 956275"/>
                <a:gd name="connsiteY32" fmla="*/ 374904 h 503380"/>
                <a:gd name="connsiteX33" fmla="*/ 169891 w 956275"/>
                <a:gd name="connsiteY33" fmla="*/ 402336 h 503380"/>
                <a:gd name="connsiteX34" fmla="*/ 151603 w 956275"/>
                <a:gd name="connsiteY34" fmla="*/ 402336 h 503380"/>
                <a:gd name="connsiteX35" fmla="*/ 169891 w 956275"/>
                <a:gd name="connsiteY35" fmla="*/ 365760 h 503380"/>
                <a:gd name="connsiteX36" fmla="*/ 224755 w 956275"/>
                <a:gd name="connsiteY36" fmla="*/ 301752 h 503380"/>
                <a:gd name="connsiteX37" fmla="*/ 316195 w 956275"/>
                <a:gd name="connsiteY37" fmla="*/ 219456 h 503380"/>
                <a:gd name="connsiteX38" fmla="*/ 361915 w 956275"/>
                <a:gd name="connsiteY38" fmla="*/ 146304 h 503380"/>
                <a:gd name="connsiteX39" fmla="*/ 361915 w 956275"/>
                <a:gd name="connsiteY39" fmla="*/ 64008 h 503380"/>
                <a:gd name="connsiteX40" fmla="*/ 352771 w 956275"/>
                <a:gd name="connsiteY40" fmla="*/ 54864 h 503380"/>
                <a:gd name="connsiteX41" fmla="*/ 343627 w 956275"/>
                <a:gd name="connsiteY41" fmla="*/ 128016 h 503380"/>
                <a:gd name="connsiteX42" fmla="*/ 316195 w 956275"/>
                <a:gd name="connsiteY42" fmla="*/ 173736 h 503380"/>
                <a:gd name="connsiteX43" fmla="*/ 243043 w 956275"/>
                <a:gd name="connsiteY43" fmla="*/ 237744 h 503380"/>
                <a:gd name="connsiteX44" fmla="*/ 215611 w 956275"/>
                <a:gd name="connsiteY44" fmla="*/ 256032 h 503380"/>
                <a:gd name="connsiteX45" fmla="*/ 142459 w 956275"/>
                <a:gd name="connsiteY45" fmla="*/ 347472 h 503380"/>
                <a:gd name="connsiteX46" fmla="*/ 133315 w 956275"/>
                <a:gd name="connsiteY46" fmla="*/ 374904 h 503380"/>
                <a:gd name="connsiteX47" fmla="*/ 124171 w 956275"/>
                <a:gd name="connsiteY47" fmla="*/ 411480 h 503380"/>
                <a:gd name="connsiteX48" fmla="*/ 142459 w 956275"/>
                <a:gd name="connsiteY48" fmla="*/ 429768 h 503380"/>
                <a:gd name="connsiteX49" fmla="*/ 96739 w 956275"/>
                <a:gd name="connsiteY49" fmla="*/ 457200 h 503380"/>
                <a:gd name="connsiteX50" fmla="*/ 13820 w 956275"/>
                <a:gd name="connsiteY50" fmla="*/ 496783 h 503380"/>
                <a:gd name="connsiteX51" fmla="*/ 13820 w 956275"/>
                <a:gd name="connsiteY51" fmla="*/ 496784 h 503380"/>
                <a:gd name="connsiteX52" fmla="*/ 13820 w 956275"/>
                <a:gd name="connsiteY52" fmla="*/ 496784 h 503380"/>
                <a:gd name="connsiteX53" fmla="*/ 13820 w 956275"/>
                <a:gd name="connsiteY53" fmla="*/ 496784 h 503380"/>
                <a:gd name="connsiteX54" fmla="*/ 13820 w 956275"/>
                <a:gd name="connsiteY54" fmla="*/ 496784 h 503380"/>
                <a:gd name="connsiteX55" fmla="*/ 40672 w 956275"/>
                <a:gd name="connsiteY55" fmla="*/ 486851 h 503380"/>
                <a:gd name="connsiteX0" fmla="*/ 40672 w 956275"/>
                <a:gd name="connsiteY0" fmla="*/ 486851 h 503380"/>
                <a:gd name="connsiteX1" fmla="*/ 13820 w 956275"/>
                <a:gd name="connsiteY1" fmla="*/ 496784 h 503380"/>
                <a:gd name="connsiteX2" fmla="*/ 13820 w 956275"/>
                <a:gd name="connsiteY2" fmla="*/ 496784 h 503380"/>
                <a:gd name="connsiteX3" fmla="*/ 51019 w 956275"/>
                <a:gd name="connsiteY3" fmla="*/ 493776 h 503380"/>
                <a:gd name="connsiteX4" fmla="*/ 151603 w 956275"/>
                <a:gd name="connsiteY4" fmla="*/ 466344 h 503380"/>
                <a:gd name="connsiteX5" fmla="*/ 252187 w 956275"/>
                <a:gd name="connsiteY5" fmla="*/ 384048 h 503380"/>
                <a:gd name="connsiteX6" fmla="*/ 444211 w 956275"/>
                <a:gd name="connsiteY6" fmla="*/ 301752 h 503380"/>
                <a:gd name="connsiteX7" fmla="*/ 526507 w 956275"/>
                <a:gd name="connsiteY7" fmla="*/ 192024 h 503380"/>
                <a:gd name="connsiteX8" fmla="*/ 672811 w 956275"/>
                <a:gd name="connsiteY8" fmla="*/ 155448 h 503380"/>
                <a:gd name="connsiteX9" fmla="*/ 718531 w 956275"/>
                <a:gd name="connsiteY9" fmla="*/ 155448 h 503380"/>
                <a:gd name="connsiteX10" fmla="*/ 755107 w 956275"/>
                <a:gd name="connsiteY10" fmla="*/ 137160 h 503380"/>
                <a:gd name="connsiteX11" fmla="*/ 709387 w 956275"/>
                <a:gd name="connsiteY11" fmla="*/ 137160 h 503380"/>
                <a:gd name="connsiteX12" fmla="*/ 617947 w 956275"/>
                <a:gd name="connsiteY12" fmla="*/ 137160 h 503380"/>
                <a:gd name="connsiteX13" fmla="*/ 563083 w 956275"/>
                <a:gd name="connsiteY13" fmla="*/ 146304 h 503380"/>
                <a:gd name="connsiteX14" fmla="*/ 553939 w 956275"/>
                <a:gd name="connsiteY14" fmla="*/ 155448 h 503380"/>
                <a:gd name="connsiteX15" fmla="*/ 535651 w 956275"/>
                <a:gd name="connsiteY15" fmla="*/ 146304 h 503380"/>
                <a:gd name="connsiteX16" fmla="*/ 663667 w 956275"/>
                <a:gd name="connsiteY16" fmla="*/ 91440 h 503380"/>
                <a:gd name="connsiteX17" fmla="*/ 718531 w 956275"/>
                <a:gd name="connsiteY17" fmla="*/ 91440 h 503380"/>
                <a:gd name="connsiteX18" fmla="*/ 809971 w 956275"/>
                <a:gd name="connsiteY18" fmla="*/ 82296 h 503380"/>
                <a:gd name="connsiteX19" fmla="*/ 937987 w 956275"/>
                <a:gd name="connsiteY19" fmla="*/ 27432 h 503380"/>
                <a:gd name="connsiteX20" fmla="*/ 919699 w 956275"/>
                <a:gd name="connsiteY20" fmla="*/ 0 h 503380"/>
                <a:gd name="connsiteX21" fmla="*/ 883123 w 956275"/>
                <a:gd name="connsiteY21" fmla="*/ 27432 h 503380"/>
                <a:gd name="connsiteX22" fmla="*/ 846547 w 956275"/>
                <a:gd name="connsiteY22" fmla="*/ 36576 h 503380"/>
                <a:gd name="connsiteX23" fmla="*/ 773395 w 956275"/>
                <a:gd name="connsiteY23" fmla="*/ 64008 h 503380"/>
                <a:gd name="connsiteX24" fmla="*/ 718531 w 956275"/>
                <a:gd name="connsiteY24" fmla="*/ 64008 h 503380"/>
                <a:gd name="connsiteX25" fmla="*/ 608803 w 956275"/>
                <a:gd name="connsiteY25" fmla="*/ 64008 h 503380"/>
                <a:gd name="connsiteX26" fmla="*/ 553939 w 956275"/>
                <a:gd name="connsiteY26" fmla="*/ 100584 h 503380"/>
                <a:gd name="connsiteX27" fmla="*/ 517363 w 956275"/>
                <a:gd name="connsiteY27" fmla="*/ 146304 h 503380"/>
                <a:gd name="connsiteX28" fmla="*/ 471643 w 956275"/>
                <a:gd name="connsiteY28" fmla="*/ 182880 h 503380"/>
                <a:gd name="connsiteX29" fmla="*/ 425923 w 956275"/>
                <a:gd name="connsiteY29" fmla="*/ 256032 h 503380"/>
                <a:gd name="connsiteX30" fmla="*/ 352771 w 956275"/>
                <a:gd name="connsiteY30" fmla="*/ 301752 h 503380"/>
                <a:gd name="connsiteX31" fmla="*/ 252187 w 956275"/>
                <a:gd name="connsiteY31" fmla="*/ 347472 h 503380"/>
                <a:gd name="connsiteX32" fmla="*/ 215611 w 956275"/>
                <a:gd name="connsiteY32" fmla="*/ 374904 h 503380"/>
                <a:gd name="connsiteX33" fmla="*/ 169891 w 956275"/>
                <a:gd name="connsiteY33" fmla="*/ 402336 h 503380"/>
                <a:gd name="connsiteX34" fmla="*/ 151603 w 956275"/>
                <a:gd name="connsiteY34" fmla="*/ 402336 h 503380"/>
                <a:gd name="connsiteX35" fmla="*/ 169891 w 956275"/>
                <a:gd name="connsiteY35" fmla="*/ 365760 h 503380"/>
                <a:gd name="connsiteX36" fmla="*/ 224755 w 956275"/>
                <a:gd name="connsiteY36" fmla="*/ 301752 h 503380"/>
                <a:gd name="connsiteX37" fmla="*/ 316195 w 956275"/>
                <a:gd name="connsiteY37" fmla="*/ 219456 h 503380"/>
                <a:gd name="connsiteX38" fmla="*/ 361915 w 956275"/>
                <a:gd name="connsiteY38" fmla="*/ 146304 h 503380"/>
                <a:gd name="connsiteX39" fmla="*/ 361915 w 956275"/>
                <a:gd name="connsiteY39" fmla="*/ 64008 h 503380"/>
                <a:gd name="connsiteX40" fmla="*/ 352771 w 956275"/>
                <a:gd name="connsiteY40" fmla="*/ 54864 h 503380"/>
                <a:gd name="connsiteX41" fmla="*/ 343627 w 956275"/>
                <a:gd name="connsiteY41" fmla="*/ 128016 h 503380"/>
                <a:gd name="connsiteX42" fmla="*/ 316195 w 956275"/>
                <a:gd name="connsiteY42" fmla="*/ 173736 h 503380"/>
                <a:gd name="connsiteX43" fmla="*/ 243043 w 956275"/>
                <a:gd name="connsiteY43" fmla="*/ 237744 h 503380"/>
                <a:gd name="connsiteX44" fmla="*/ 215611 w 956275"/>
                <a:gd name="connsiteY44" fmla="*/ 256032 h 503380"/>
                <a:gd name="connsiteX45" fmla="*/ 142459 w 956275"/>
                <a:gd name="connsiteY45" fmla="*/ 347472 h 503380"/>
                <a:gd name="connsiteX46" fmla="*/ 133315 w 956275"/>
                <a:gd name="connsiteY46" fmla="*/ 374904 h 503380"/>
                <a:gd name="connsiteX47" fmla="*/ 124171 w 956275"/>
                <a:gd name="connsiteY47" fmla="*/ 411480 h 503380"/>
                <a:gd name="connsiteX48" fmla="*/ 142459 w 956275"/>
                <a:gd name="connsiteY48" fmla="*/ 429768 h 503380"/>
                <a:gd name="connsiteX49" fmla="*/ 96739 w 956275"/>
                <a:gd name="connsiteY49" fmla="*/ 457200 h 503380"/>
                <a:gd name="connsiteX50" fmla="*/ 13820 w 956275"/>
                <a:gd name="connsiteY50" fmla="*/ 496783 h 503380"/>
                <a:gd name="connsiteX51" fmla="*/ 13820 w 956275"/>
                <a:gd name="connsiteY51" fmla="*/ 496784 h 503380"/>
                <a:gd name="connsiteX52" fmla="*/ 13820 w 956275"/>
                <a:gd name="connsiteY52" fmla="*/ 496784 h 503380"/>
                <a:gd name="connsiteX53" fmla="*/ 13820 w 956275"/>
                <a:gd name="connsiteY53" fmla="*/ 496784 h 503380"/>
                <a:gd name="connsiteX54" fmla="*/ 13820 w 956275"/>
                <a:gd name="connsiteY54" fmla="*/ 496784 h 503380"/>
                <a:gd name="connsiteX55" fmla="*/ 40672 w 956275"/>
                <a:gd name="connsiteY55" fmla="*/ 486851 h 503380"/>
                <a:gd name="connsiteX0" fmla="*/ 114797 w 956275"/>
                <a:gd name="connsiteY0" fmla="*/ 504512 h 504512"/>
                <a:gd name="connsiteX1" fmla="*/ 13820 w 956275"/>
                <a:gd name="connsiteY1" fmla="*/ 496784 h 504512"/>
                <a:gd name="connsiteX2" fmla="*/ 13820 w 956275"/>
                <a:gd name="connsiteY2" fmla="*/ 496784 h 504512"/>
                <a:gd name="connsiteX3" fmla="*/ 51019 w 956275"/>
                <a:gd name="connsiteY3" fmla="*/ 493776 h 504512"/>
                <a:gd name="connsiteX4" fmla="*/ 151603 w 956275"/>
                <a:gd name="connsiteY4" fmla="*/ 466344 h 504512"/>
                <a:gd name="connsiteX5" fmla="*/ 252187 w 956275"/>
                <a:gd name="connsiteY5" fmla="*/ 384048 h 504512"/>
                <a:gd name="connsiteX6" fmla="*/ 444211 w 956275"/>
                <a:gd name="connsiteY6" fmla="*/ 301752 h 504512"/>
                <a:gd name="connsiteX7" fmla="*/ 526507 w 956275"/>
                <a:gd name="connsiteY7" fmla="*/ 192024 h 504512"/>
                <a:gd name="connsiteX8" fmla="*/ 672811 w 956275"/>
                <a:gd name="connsiteY8" fmla="*/ 155448 h 504512"/>
                <a:gd name="connsiteX9" fmla="*/ 718531 w 956275"/>
                <a:gd name="connsiteY9" fmla="*/ 155448 h 504512"/>
                <a:gd name="connsiteX10" fmla="*/ 755107 w 956275"/>
                <a:gd name="connsiteY10" fmla="*/ 137160 h 504512"/>
                <a:gd name="connsiteX11" fmla="*/ 709387 w 956275"/>
                <a:gd name="connsiteY11" fmla="*/ 137160 h 504512"/>
                <a:gd name="connsiteX12" fmla="*/ 617947 w 956275"/>
                <a:gd name="connsiteY12" fmla="*/ 137160 h 504512"/>
                <a:gd name="connsiteX13" fmla="*/ 563083 w 956275"/>
                <a:gd name="connsiteY13" fmla="*/ 146304 h 504512"/>
                <a:gd name="connsiteX14" fmla="*/ 553939 w 956275"/>
                <a:gd name="connsiteY14" fmla="*/ 155448 h 504512"/>
                <a:gd name="connsiteX15" fmla="*/ 535651 w 956275"/>
                <a:gd name="connsiteY15" fmla="*/ 146304 h 504512"/>
                <a:gd name="connsiteX16" fmla="*/ 663667 w 956275"/>
                <a:gd name="connsiteY16" fmla="*/ 91440 h 504512"/>
                <a:gd name="connsiteX17" fmla="*/ 718531 w 956275"/>
                <a:gd name="connsiteY17" fmla="*/ 91440 h 504512"/>
                <a:gd name="connsiteX18" fmla="*/ 809971 w 956275"/>
                <a:gd name="connsiteY18" fmla="*/ 82296 h 504512"/>
                <a:gd name="connsiteX19" fmla="*/ 937987 w 956275"/>
                <a:gd name="connsiteY19" fmla="*/ 27432 h 504512"/>
                <a:gd name="connsiteX20" fmla="*/ 919699 w 956275"/>
                <a:gd name="connsiteY20" fmla="*/ 0 h 504512"/>
                <a:gd name="connsiteX21" fmla="*/ 883123 w 956275"/>
                <a:gd name="connsiteY21" fmla="*/ 27432 h 504512"/>
                <a:gd name="connsiteX22" fmla="*/ 846547 w 956275"/>
                <a:gd name="connsiteY22" fmla="*/ 36576 h 504512"/>
                <a:gd name="connsiteX23" fmla="*/ 773395 w 956275"/>
                <a:gd name="connsiteY23" fmla="*/ 64008 h 504512"/>
                <a:gd name="connsiteX24" fmla="*/ 718531 w 956275"/>
                <a:gd name="connsiteY24" fmla="*/ 64008 h 504512"/>
                <a:gd name="connsiteX25" fmla="*/ 608803 w 956275"/>
                <a:gd name="connsiteY25" fmla="*/ 64008 h 504512"/>
                <a:gd name="connsiteX26" fmla="*/ 553939 w 956275"/>
                <a:gd name="connsiteY26" fmla="*/ 100584 h 504512"/>
                <a:gd name="connsiteX27" fmla="*/ 517363 w 956275"/>
                <a:gd name="connsiteY27" fmla="*/ 146304 h 504512"/>
                <a:gd name="connsiteX28" fmla="*/ 471643 w 956275"/>
                <a:gd name="connsiteY28" fmla="*/ 182880 h 504512"/>
                <a:gd name="connsiteX29" fmla="*/ 425923 w 956275"/>
                <a:gd name="connsiteY29" fmla="*/ 256032 h 504512"/>
                <a:gd name="connsiteX30" fmla="*/ 352771 w 956275"/>
                <a:gd name="connsiteY30" fmla="*/ 301752 h 504512"/>
                <a:gd name="connsiteX31" fmla="*/ 252187 w 956275"/>
                <a:gd name="connsiteY31" fmla="*/ 347472 h 504512"/>
                <a:gd name="connsiteX32" fmla="*/ 215611 w 956275"/>
                <a:gd name="connsiteY32" fmla="*/ 374904 h 504512"/>
                <a:gd name="connsiteX33" fmla="*/ 169891 w 956275"/>
                <a:gd name="connsiteY33" fmla="*/ 402336 h 504512"/>
                <a:gd name="connsiteX34" fmla="*/ 151603 w 956275"/>
                <a:gd name="connsiteY34" fmla="*/ 402336 h 504512"/>
                <a:gd name="connsiteX35" fmla="*/ 169891 w 956275"/>
                <a:gd name="connsiteY35" fmla="*/ 365760 h 504512"/>
                <a:gd name="connsiteX36" fmla="*/ 224755 w 956275"/>
                <a:gd name="connsiteY36" fmla="*/ 301752 h 504512"/>
                <a:gd name="connsiteX37" fmla="*/ 316195 w 956275"/>
                <a:gd name="connsiteY37" fmla="*/ 219456 h 504512"/>
                <a:gd name="connsiteX38" fmla="*/ 361915 w 956275"/>
                <a:gd name="connsiteY38" fmla="*/ 146304 h 504512"/>
                <a:gd name="connsiteX39" fmla="*/ 361915 w 956275"/>
                <a:gd name="connsiteY39" fmla="*/ 64008 h 504512"/>
                <a:gd name="connsiteX40" fmla="*/ 352771 w 956275"/>
                <a:gd name="connsiteY40" fmla="*/ 54864 h 504512"/>
                <a:gd name="connsiteX41" fmla="*/ 343627 w 956275"/>
                <a:gd name="connsiteY41" fmla="*/ 128016 h 504512"/>
                <a:gd name="connsiteX42" fmla="*/ 316195 w 956275"/>
                <a:gd name="connsiteY42" fmla="*/ 173736 h 504512"/>
                <a:gd name="connsiteX43" fmla="*/ 243043 w 956275"/>
                <a:gd name="connsiteY43" fmla="*/ 237744 h 504512"/>
                <a:gd name="connsiteX44" fmla="*/ 215611 w 956275"/>
                <a:gd name="connsiteY44" fmla="*/ 256032 h 504512"/>
                <a:gd name="connsiteX45" fmla="*/ 142459 w 956275"/>
                <a:gd name="connsiteY45" fmla="*/ 347472 h 504512"/>
                <a:gd name="connsiteX46" fmla="*/ 133315 w 956275"/>
                <a:gd name="connsiteY46" fmla="*/ 374904 h 504512"/>
                <a:gd name="connsiteX47" fmla="*/ 124171 w 956275"/>
                <a:gd name="connsiteY47" fmla="*/ 411480 h 504512"/>
                <a:gd name="connsiteX48" fmla="*/ 142459 w 956275"/>
                <a:gd name="connsiteY48" fmla="*/ 429768 h 504512"/>
                <a:gd name="connsiteX49" fmla="*/ 96739 w 956275"/>
                <a:gd name="connsiteY49" fmla="*/ 457200 h 504512"/>
                <a:gd name="connsiteX50" fmla="*/ 13820 w 956275"/>
                <a:gd name="connsiteY50" fmla="*/ 496783 h 504512"/>
                <a:gd name="connsiteX51" fmla="*/ 13820 w 956275"/>
                <a:gd name="connsiteY51" fmla="*/ 496784 h 504512"/>
                <a:gd name="connsiteX52" fmla="*/ 13820 w 956275"/>
                <a:gd name="connsiteY52" fmla="*/ 496784 h 504512"/>
                <a:gd name="connsiteX53" fmla="*/ 13820 w 956275"/>
                <a:gd name="connsiteY53" fmla="*/ 496784 h 504512"/>
                <a:gd name="connsiteX54" fmla="*/ 13820 w 956275"/>
                <a:gd name="connsiteY54" fmla="*/ 496784 h 504512"/>
                <a:gd name="connsiteX55" fmla="*/ 114797 w 956275"/>
                <a:gd name="connsiteY55" fmla="*/ 504512 h 504512"/>
                <a:gd name="connsiteX0" fmla="*/ 114797 w 956275"/>
                <a:gd name="connsiteY0" fmla="*/ 504512 h 505800"/>
                <a:gd name="connsiteX1" fmla="*/ 13820 w 956275"/>
                <a:gd name="connsiteY1" fmla="*/ 496784 h 505800"/>
                <a:gd name="connsiteX2" fmla="*/ 13820 w 956275"/>
                <a:gd name="connsiteY2" fmla="*/ 496784 h 505800"/>
                <a:gd name="connsiteX3" fmla="*/ 51019 w 956275"/>
                <a:gd name="connsiteY3" fmla="*/ 493776 h 505800"/>
                <a:gd name="connsiteX4" fmla="*/ 151603 w 956275"/>
                <a:gd name="connsiteY4" fmla="*/ 466344 h 505800"/>
                <a:gd name="connsiteX5" fmla="*/ 252187 w 956275"/>
                <a:gd name="connsiteY5" fmla="*/ 384048 h 505800"/>
                <a:gd name="connsiteX6" fmla="*/ 444211 w 956275"/>
                <a:gd name="connsiteY6" fmla="*/ 301752 h 505800"/>
                <a:gd name="connsiteX7" fmla="*/ 526507 w 956275"/>
                <a:gd name="connsiteY7" fmla="*/ 192024 h 505800"/>
                <a:gd name="connsiteX8" fmla="*/ 672811 w 956275"/>
                <a:gd name="connsiteY8" fmla="*/ 155448 h 505800"/>
                <a:gd name="connsiteX9" fmla="*/ 718531 w 956275"/>
                <a:gd name="connsiteY9" fmla="*/ 155448 h 505800"/>
                <a:gd name="connsiteX10" fmla="*/ 755107 w 956275"/>
                <a:gd name="connsiteY10" fmla="*/ 137160 h 505800"/>
                <a:gd name="connsiteX11" fmla="*/ 709387 w 956275"/>
                <a:gd name="connsiteY11" fmla="*/ 137160 h 505800"/>
                <a:gd name="connsiteX12" fmla="*/ 617947 w 956275"/>
                <a:gd name="connsiteY12" fmla="*/ 137160 h 505800"/>
                <a:gd name="connsiteX13" fmla="*/ 563083 w 956275"/>
                <a:gd name="connsiteY13" fmla="*/ 146304 h 505800"/>
                <a:gd name="connsiteX14" fmla="*/ 553939 w 956275"/>
                <a:gd name="connsiteY14" fmla="*/ 155448 h 505800"/>
                <a:gd name="connsiteX15" fmla="*/ 535651 w 956275"/>
                <a:gd name="connsiteY15" fmla="*/ 146304 h 505800"/>
                <a:gd name="connsiteX16" fmla="*/ 663667 w 956275"/>
                <a:gd name="connsiteY16" fmla="*/ 91440 h 505800"/>
                <a:gd name="connsiteX17" fmla="*/ 718531 w 956275"/>
                <a:gd name="connsiteY17" fmla="*/ 91440 h 505800"/>
                <a:gd name="connsiteX18" fmla="*/ 809971 w 956275"/>
                <a:gd name="connsiteY18" fmla="*/ 82296 h 505800"/>
                <a:gd name="connsiteX19" fmla="*/ 937987 w 956275"/>
                <a:gd name="connsiteY19" fmla="*/ 27432 h 505800"/>
                <a:gd name="connsiteX20" fmla="*/ 919699 w 956275"/>
                <a:gd name="connsiteY20" fmla="*/ 0 h 505800"/>
                <a:gd name="connsiteX21" fmla="*/ 883123 w 956275"/>
                <a:gd name="connsiteY21" fmla="*/ 27432 h 505800"/>
                <a:gd name="connsiteX22" fmla="*/ 846547 w 956275"/>
                <a:gd name="connsiteY22" fmla="*/ 36576 h 505800"/>
                <a:gd name="connsiteX23" fmla="*/ 773395 w 956275"/>
                <a:gd name="connsiteY23" fmla="*/ 64008 h 505800"/>
                <a:gd name="connsiteX24" fmla="*/ 718531 w 956275"/>
                <a:gd name="connsiteY24" fmla="*/ 64008 h 505800"/>
                <a:gd name="connsiteX25" fmla="*/ 608803 w 956275"/>
                <a:gd name="connsiteY25" fmla="*/ 64008 h 505800"/>
                <a:gd name="connsiteX26" fmla="*/ 553939 w 956275"/>
                <a:gd name="connsiteY26" fmla="*/ 100584 h 505800"/>
                <a:gd name="connsiteX27" fmla="*/ 517363 w 956275"/>
                <a:gd name="connsiteY27" fmla="*/ 146304 h 505800"/>
                <a:gd name="connsiteX28" fmla="*/ 471643 w 956275"/>
                <a:gd name="connsiteY28" fmla="*/ 182880 h 505800"/>
                <a:gd name="connsiteX29" fmla="*/ 425923 w 956275"/>
                <a:gd name="connsiteY29" fmla="*/ 256032 h 505800"/>
                <a:gd name="connsiteX30" fmla="*/ 352771 w 956275"/>
                <a:gd name="connsiteY30" fmla="*/ 301752 h 505800"/>
                <a:gd name="connsiteX31" fmla="*/ 252187 w 956275"/>
                <a:gd name="connsiteY31" fmla="*/ 347472 h 505800"/>
                <a:gd name="connsiteX32" fmla="*/ 215611 w 956275"/>
                <a:gd name="connsiteY32" fmla="*/ 374904 h 505800"/>
                <a:gd name="connsiteX33" fmla="*/ 169891 w 956275"/>
                <a:gd name="connsiteY33" fmla="*/ 402336 h 505800"/>
                <a:gd name="connsiteX34" fmla="*/ 151603 w 956275"/>
                <a:gd name="connsiteY34" fmla="*/ 402336 h 505800"/>
                <a:gd name="connsiteX35" fmla="*/ 169891 w 956275"/>
                <a:gd name="connsiteY35" fmla="*/ 365760 h 505800"/>
                <a:gd name="connsiteX36" fmla="*/ 224755 w 956275"/>
                <a:gd name="connsiteY36" fmla="*/ 301752 h 505800"/>
                <a:gd name="connsiteX37" fmla="*/ 316195 w 956275"/>
                <a:gd name="connsiteY37" fmla="*/ 219456 h 505800"/>
                <a:gd name="connsiteX38" fmla="*/ 361915 w 956275"/>
                <a:gd name="connsiteY38" fmla="*/ 146304 h 505800"/>
                <a:gd name="connsiteX39" fmla="*/ 361915 w 956275"/>
                <a:gd name="connsiteY39" fmla="*/ 64008 h 505800"/>
                <a:gd name="connsiteX40" fmla="*/ 352771 w 956275"/>
                <a:gd name="connsiteY40" fmla="*/ 54864 h 505800"/>
                <a:gd name="connsiteX41" fmla="*/ 343627 w 956275"/>
                <a:gd name="connsiteY41" fmla="*/ 128016 h 505800"/>
                <a:gd name="connsiteX42" fmla="*/ 316195 w 956275"/>
                <a:gd name="connsiteY42" fmla="*/ 173736 h 505800"/>
                <a:gd name="connsiteX43" fmla="*/ 243043 w 956275"/>
                <a:gd name="connsiteY43" fmla="*/ 237744 h 505800"/>
                <a:gd name="connsiteX44" fmla="*/ 215611 w 956275"/>
                <a:gd name="connsiteY44" fmla="*/ 256032 h 505800"/>
                <a:gd name="connsiteX45" fmla="*/ 142459 w 956275"/>
                <a:gd name="connsiteY45" fmla="*/ 347472 h 505800"/>
                <a:gd name="connsiteX46" fmla="*/ 133315 w 956275"/>
                <a:gd name="connsiteY46" fmla="*/ 374904 h 505800"/>
                <a:gd name="connsiteX47" fmla="*/ 124171 w 956275"/>
                <a:gd name="connsiteY47" fmla="*/ 411480 h 505800"/>
                <a:gd name="connsiteX48" fmla="*/ 142459 w 956275"/>
                <a:gd name="connsiteY48" fmla="*/ 429768 h 505800"/>
                <a:gd name="connsiteX49" fmla="*/ 96739 w 956275"/>
                <a:gd name="connsiteY49" fmla="*/ 457200 h 505800"/>
                <a:gd name="connsiteX50" fmla="*/ 13820 w 956275"/>
                <a:gd name="connsiteY50" fmla="*/ 496783 h 505800"/>
                <a:gd name="connsiteX51" fmla="*/ 13820 w 956275"/>
                <a:gd name="connsiteY51" fmla="*/ 496784 h 505800"/>
                <a:gd name="connsiteX52" fmla="*/ 13820 w 956275"/>
                <a:gd name="connsiteY52" fmla="*/ 496784 h 505800"/>
                <a:gd name="connsiteX53" fmla="*/ 13820 w 956275"/>
                <a:gd name="connsiteY53" fmla="*/ 496784 h 505800"/>
                <a:gd name="connsiteX54" fmla="*/ 114796 w 956275"/>
                <a:gd name="connsiteY54" fmla="*/ 504511 h 505800"/>
                <a:gd name="connsiteX55" fmla="*/ 114797 w 956275"/>
                <a:gd name="connsiteY55" fmla="*/ 504512 h 505800"/>
                <a:gd name="connsiteX0" fmla="*/ 114797 w 956275"/>
                <a:gd name="connsiteY0" fmla="*/ 504512 h 505800"/>
                <a:gd name="connsiteX1" fmla="*/ 13820 w 956275"/>
                <a:gd name="connsiteY1" fmla="*/ 496784 h 505800"/>
                <a:gd name="connsiteX2" fmla="*/ 13820 w 956275"/>
                <a:gd name="connsiteY2" fmla="*/ 496784 h 505800"/>
                <a:gd name="connsiteX3" fmla="*/ 51019 w 956275"/>
                <a:gd name="connsiteY3" fmla="*/ 493776 h 505800"/>
                <a:gd name="connsiteX4" fmla="*/ 151603 w 956275"/>
                <a:gd name="connsiteY4" fmla="*/ 466344 h 505800"/>
                <a:gd name="connsiteX5" fmla="*/ 252187 w 956275"/>
                <a:gd name="connsiteY5" fmla="*/ 384048 h 505800"/>
                <a:gd name="connsiteX6" fmla="*/ 444211 w 956275"/>
                <a:gd name="connsiteY6" fmla="*/ 301752 h 505800"/>
                <a:gd name="connsiteX7" fmla="*/ 526507 w 956275"/>
                <a:gd name="connsiteY7" fmla="*/ 192024 h 505800"/>
                <a:gd name="connsiteX8" fmla="*/ 672811 w 956275"/>
                <a:gd name="connsiteY8" fmla="*/ 155448 h 505800"/>
                <a:gd name="connsiteX9" fmla="*/ 718531 w 956275"/>
                <a:gd name="connsiteY9" fmla="*/ 155448 h 505800"/>
                <a:gd name="connsiteX10" fmla="*/ 755107 w 956275"/>
                <a:gd name="connsiteY10" fmla="*/ 137160 h 505800"/>
                <a:gd name="connsiteX11" fmla="*/ 709387 w 956275"/>
                <a:gd name="connsiteY11" fmla="*/ 137160 h 505800"/>
                <a:gd name="connsiteX12" fmla="*/ 617947 w 956275"/>
                <a:gd name="connsiteY12" fmla="*/ 137160 h 505800"/>
                <a:gd name="connsiteX13" fmla="*/ 563083 w 956275"/>
                <a:gd name="connsiteY13" fmla="*/ 146304 h 505800"/>
                <a:gd name="connsiteX14" fmla="*/ 553939 w 956275"/>
                <a:gd name="connsiteY14" fmla="*/ 155448 h 505800"/>
                <a:gd name="connsiteX15" fmla="*/ 535651 w 956275"/>
                <a:gd name="connsiteY15" fmla="*/ 146304 h 505800"/>
                <a:gd name="connsiteX16" fmla="*/ 663667 w 956275"/>
                <a:gd name="connsiteY16" fmla="*/ 91440 h 505800"/>
                <a:gd name="connsiteX17" fmla="*/ 718531 w 956275"/>
                <a:gd name="connsiteY17" fmla="*/ 91440 h 505800"/>
                <a:gd name="connsiteX18" fmla="*/ 809971 w 956275"/>
                <a:gd name="connsiteY18" fmla="*/ 82296 h 505800"/>
                <a:gd name="connsiteX19" fmla="*/ 937987 w 956275"/>
                <a:gd name="connsiteY19" fmla="*/ 27432 h 505800"/>
                <a:gd name="connsiteX20" fmla="*/ 919699 w 956275"/>
                <a:gd name="connsiteY20" fmla="*/ 0 h 505800"/>
                <a:gd name="connsiteX21" fmla="*/ 883123 w 956275"/>
                <a:gd name="connsiteY21" fmla="*/ 27432 h 505800"/>
                <a:gd name="connsiteX22" fmla="*/ 846547 w 956275"/>
                <a:gd name="connsiteY22" fmla="*/ 36576 h 505800"/>
                <a:gd name="connsiteX23" fmla="*/ 773395 w 956275"/>
                <a:gd name="connsiteY23" fmla="*/ 64008 h 505800"/>
                <a:gd name="connsiteX24" fmla="*/ 718531 w 956275"/>
                <a:gd name="connsiteY24" fmla="*/ 64008 h 505800"/>
                <a:gd name="connsiteX25" fmla="*/ 608803 w 956275"/>
                <a:gd name="connsiteY25" fmla="*/ 64008 h 505800"/>
                <a:gd name="connsiteX26" fmla="*/ 553939 w 956275"/>
                <a:gd name="connsiteY26" fmla="*/ 100584 h 505800"/>
                <a:gd name="connsiteX27" fmla="*/ 517363 w 956275"/>
                <a:gd name="connsiteY27" fmla="*/ 146304 h 505800"/>
                <a:gd name="connsiteX28" fmla="*/ 471643 w 956275"/>
                <a:gd name="connsiteY28" fmla="*/ 182880 h 505800"/>
                <a:gd name="connsiteX29" fmla="*/ 425923 w 956275"/>
                <a:gd name="connsiteY29" fmla="*/ 256032 h 505800"/>
                <a:gd name="connsiteX30" fmla="*/ 352771 w 956275"/>
                <a:gd name="connsiteY30" fmla="*/ 301752 h 505800"/>
                <a:gd name="connsiteX31" fmla="*/ 252187 w 956275"/>
                <a:gd name="connsiteY31" fmla="*/ 347472 h 505800"/>
                <a:gd name="connsiteX32" fmla="*/ 215611 w 956275"/>
                <a:gd name="connsiteY32" fmla="*/ 374904 h 505800"/>
                <a:gd name="connsiteX33" fmla="*/ 169891 w 956275"/>
                <a:gd name="connsiteY33" fmla="*/ 402336 h 505800"/>
                <a:gd name="connsiteX34" fmla="*/ 151603 w 956275"/>
                <a:gd name="connsiteY34" fmla="*/ 402336 h 505800"/>
                <a:gd name="connsiteX35" fmla="*/ 169891 w 956275"/>
                <a:gd name="connsiteY35" fmla="*/ 365760 h 505800"/>
                <a:gd name="connsiteX36" fmla="*/ 224755 w 956275"/>
                <a:gd name="connsiteY36" fmla="*/ 301752 h 505800"/>
                <a:gd name="connsiteX37" fmla="*/ 316195 w 956275"/>
                <a:gd name="connsiteY37" fmla="*/ 219456 h 505800"/>
                <a:gd name="connsiteX38" fmla="*/ 361915 w 956275"/>
                <a:gd name="connsiteY38" fmla="*/ 146304 h 505800"/>
                <a:gd name="connsiteX39" fmla="*/ 361915 w 956275"/>
                <a:gd name="connsiteY39" fmla="*/ 64008 h 505800"/>
                <a:gd name="connsiteX40" fmla="*/ 352771 w 956275"/>
                <a:gd name="connsiteY40" fmla="*/ 54864 h 505800"/>
                <a:gd name="connsiteX41" fmla="*/ 343627 w 956275"/>
                <a:gd name="connsiteY41" fmla="*/ 128016 h 505800"/>
                <a:gd name="connsiteX42" fmla="*/ 316195 w 956275"/>
                <a:gd name="connsiteY42" fmla="*/ 173736 h 505800"/>
                <a:gd name="connsiteX43" fmla="*/ 243043 w 956275"/>
                <a:gd name="connsiteY43" fmla="*/ 237744 h 505800"/>
                <a:gd name="connsiteX44" fmla="*/ 215611 w 956275"/>
                <a:gd name="connsiteY44" fmla="*/ 256032 h 505800"/>
                <a:gd name="connsiteX45" fmla="*/ 142459 w 956275"/>
                <a:gd name="connsiteY45" fmla="*/ 347472 h 505800"/>
                <a:gd name="connsiteX46" fmla="*/ 133315 w 956275"/>
                <a:gd name="connsiteY46" fmla="*/ 374904 h 505800"/>
                <a:gd name="connsiteX47" fmla="*/ 124171 w 956275"/>
                <a:gd name="connsiteY47" fmla="*/ 411480 h 505800"/>
                <a:gd name="connsiteX48" fmla="*/ 142459 w 956275"/>
                <a:gd name="connsiteY48" fmla="*/ 429768 h 505800"/>
                <a:gd name="connsiteX49" fmla="*/ 96739 w 956275"/>
                <a:gd name="connsiteY49" fmla="*/ 457200 h 505800"/>
                <a:gd name="connsiteX50" fmla="*/ 13820 w 956275"/>
                <a:gd name="connsiteY50" fmla="*/ 496783 h 505800"/>
                <a:gd name="connsiteX51" fmla="*/ 13820 w 956275"/>
                <a:gd name="connsiteY51" fmla="*/ 496784 h 505800"/>
                <a:gd name="connsiteX52" fmla="*/ 13820 w 956275"/>
                <a:gd name="connsiteY52" fmla="*/ 496784 h 505800"/>
                <a:gd name="connsiteX53" fmla="*/ 132458 w 956275"/>
                <a:gd name="connsiteY53" fmla="*/ 430387 h 505800"/>
                <a:gd name="connsiteX54" fmla="*/ 114796 w 956275"/>
                <a:gd name="connsiteY54" fmla="*/ 504511 h 505800"/>
                <a:gd name="connsiteX55" fmla="*/ 114797 w 956275"/>
                <a:gd name="connsiteY55" fmla="*/ 504512 h 505800"/>
                <a:gd name="connsiteX0" fmla="*/ 114798 w 956275"/>
                <a:gd name="connsiteY0" fmla="*/ 504512 h 505800"/>
                <a:gd name="connsiteX1" fmla="*/ 13820 w 956275"/>
                <a:gd name="connsiteY1" fmla="*/ 496784 h 505800"/>
                <a:gd name="connsiteX2" fmla="*/ 13820 w 956275"/>
                <a:gd name="connsiteY2" fmla="*/ 496784 h 505800"/>
                <a:gd name="connsiteX3" fmla="*/ 51019 w 956275"/>
                <a:gd name="connsiteY3" fmla="*/ 493776 h 505800"/>
                <a:gd name="connsiteX4" fmla="*/ 151603 w 956275"/>
                <a:gd name="connsiteY4" fmla="*/ 466344 h 505800"/>
                <a:gd name="connsiteX5" fmla="*/ 252187 w 956275"/>
                <a:gd name="connsiteY5" fmla="*/ 384048 h 505800"/>
                <a:gd name="connsiteX6" fmla="*/ 444211 w 956275"/>
                <a:gd name="connsiteY6" fmla="*/ 301752 h 505800"/>
                <a:gd name="connsiteX7" fmla="*/ 526507 w 956275"/>
                <a:gd name="connsiteY7" fmla="*/ 192024 h 505800"/>
                <a:gd name="connsiteX8" fmla="*/ 672811 w 956275"/>
                <a:gd name="connsiteY8" fmla="*/ 155448 h 505800"/>
                <a:gd name="connsiteX9" fmla="*/ 718531 w 956275"/>
                <a:gd name="connsiteY9" fmla="*/ 155448 h 505800"/>
                <a:gd name="connsiteX10" fmla="*/ 755107 w 956275"/>
                <a:gd name="connsiteY10" fmla="*/ 137160 h 505800"/>
                <a:gd name="connsiteX11" fmla="*/ 709387 w 956275"/>
                <a:gd name="connsiteY11" fmla="*/ 137160 h 505800"/>
                <a:gd name="connsiteX12" fmla="*/ 617947 w 956275"/>
                <a:gd name="connsiteY12" fmla="*/ 137160 h 505800"/>
                <a:gd name="connsiteX13" fmla="*/ 563083 w 956275"/>
                <a:gd name="connsiteY13" fmla="*/ 146304 h 505800"/>
                <a:gd name="connsiteX14" fmla="*/ 553939 w 956275"/>
                <a:gd name="connsiteY14" fmla="*/ 155448 h 505800"/>
                <a:gd name="connsiteX15" fmla="*/ 535651 w 956275"/>
                <a:gd name="connsiteY15" fmla="*/ 146304 h 505800"/>
                <a:gd name="connsiteX16" fmla="*/ 663667 w 956275"/>
                <a:gd name="connsiteY16" fmla="*/ 91440 h 505800"/>
                <a:gd name="connsiteX17" fmla="*/ 718531 w 956275"/>
                <a:gd name="connsiteY17" fmla="*/ 91440 h 505800"/>
                <a:gd name="connsiteX18" fmla="*/ 809971 w 956275"/>
                <a:gd name="connsiteY18" fmla="*/ 82296 h 505800"/>
                <a:gd name="connsiteX19" fmla="*/ 937987 w 956275"/>
                <a:gd name="connsiteY19" fmla="*/ 27432 h 505800"/>
                <a:gd name="connsiteX20" fmla="*/ 919699 w 956275"/>
                <a:gd name="connsiteY20" fmla="*/ 0 h 505800"/>
                <a:gd name="connsiteX21" fmla="*/ 883123 w 956275"/>
                <a:gd name="connsiteY21" fmla="*/ 27432 h 505800"/>
                <a:gd name="connsiteX22" fmla="*/ 846547 w 956275"/>
                <a:gd name="connsiteY22" fmla="*/ 36576 h 505800"/>
                <a:gd name="connsiteX23" fmla="*/ 773395 w 956275"/>
                <a:gd name="connsiteY23" fmla="*/ 64008 h 505800"/>
                <a:gd name="connsiteX24" fmla="*/ 718531 w 956275"/>
                <a:gd name="connsiteY24" fmla="*/ 64008 h 505800"/>
                <a:gd name="connsiteX25" fmla="*/ 608803 w 956275"/>
                <a:gd name="connsiteY25" fmla="*/ 64008 h 505800"/>
                <a:gd name="connsiteX26" fmla="*/ 553939 w 956275"/>
                <a:gd name="connsiteY26" fmla="*/ 100584 h 505800"/>
                <a:gd name="connsiteX27" fmla="*/ 517363 w 956275"/>
                <a:gd name="connsiteY27" fmla="*/ 146304 h 505800"/>
                <a:gd name="connsiteX28" fmla="*/ 471643 w 956275"/>
                <a:gd name="connsiteY28" fmla="*/ 182880 h 505800"/>
                <a:gd name="connsiteX29" fmla="*/ 425923 w 956275"/>
                <a:gd name="connsiteY29" fmla="*/ 256032 h 505800"/>
                <a:gd name="connsiteX30" fmla="*/ 352771 w 956275"/>
                <a:gd name="connsiteY30" fmla="*/ 301752 h 505800"/>
                <a:gd name="connsiteX31" fmla="*/ 252187 w 956275"/>
                <a:gd name="connsiteY31" fmla="*/ 347472 h 505800"/>
                <a:gd name="connsiteX32" fmla="*/ 215611 w 956275"/>
                <a:gd name="connsiteY32" fmla="*/ 374904 h 505800"/>
                <a:gd name="connsiteX33" fmla="*/ 169891 w 956275"/>
                <a:gd name="connsiteY33" fmla="*/ 402336 h 505800"/>
                <a:gd name="connsiteX34" fmla="*/ 151603 w 956275"/>
                <a:gd name="connsiteY34" fmla="*/ 402336 h 505800"/>
                <a:gd name="connsiteX35" fmla="*/ 169891 w 956275"/>
                <a:gd name="connsiteY35" fmla="*/ 365760 h 505800"/>
                <a:gd name="connsiteX36" fmla="*/ 224755 w 956275"/>
                <a:gd name="connsiteY36" fmla="*/ 301752 h 505800"/>
                <a:gd name="connsiteX37" fmla="*/ 316195 w 956275"/>
                <a:gd name="connsiteY37" fmla="*/ 219456 h 505800"/>
                <a:gd name="connsiteX38" fmla="*/ 361915 w 956275"/>
                <a:gd name="connsiteY38" fmla="*/ 146304 h 505800"/>
                <a:gd name="connsiteX39" fmla="*/ 361915 w 956275"/>
                <a:gd name="connsiteY39" fmla="*/ 64008 h 505800"/>
                <a:gd name="connsiteX40" fmla="*/ 352771 w 956275"/>
                <a:gd name="connsiteY40" fmla="*/ 54864 h 505800"/>
                <a:gd name="connsiteX41" fmla="*/ 343627 w 956275"/>
                <a:gd name="connsiteY41" fmla="*/ 128016 h 505800"/>
                <a:gd name="connsiteX42" fmla="*/ 316195 w 956275"/>
                <a:gd name="connsiteY42" fmla="*/ 173736 h 505800"/>
                <a:gd name="connsiteX43" fmla="*/ 243043 w 956275"/>
                <a:gd name="connsiteY43" fmla="*/ 237744 h 505800"/>
                <a:gd name="connsiteX44" fmla="*/ 215611 w 956275"/>
                <a:gd name="connsiteY44" fmla="*/ 256032 h 505800"/>
                <a:gd name="connsiteX45" fmla="*/ 142459 w 956275"/>
                <a:gd name="connsiteY45" fmla="*/ 347472 h 505800"/>
                <a:gd name="connsiteX46" fmla="*/ 133315 w 956275"/>
                <a:gd name="connsiteY46" fmla="*/ 374904 h 505800"/>
                <a:gd name="connsiteX47" fmla="*/ 124171 w 956275"/>
                <a:gd name="connsiteY47" fmla="*/ 411480 h 505800"/>
                <a:gd name="connsiteX48" fmla="*/ 142459 w 956275"/>
                <a:gd name="connsiteY48" fmla="*/ 429768 h 505800"/>
                <a:gd name="connsiteX49" fmla="*/ 96739 w 956275"/>
                <a:gd name="connsiteY49" fmla="*/ 457200 h 505800"/>
                <a:gd name="connsiteX50" fmla="*/ 13820 w 956275"/>
                <a:gd name="connsiteY50" fmla="*/ 496783 h 505800"/>
                <a:gd name="connsiteX51" fmla="*/ 13820 w 956275"/>
                <a:gd name="connsiteY51" fmla="*/ 496784 h 505800"/>
                <a:gd name="connsiteX52" fmla="*/ 13820 w 956275"/>
                <a:gd name="connsiteY52" fmla="*/ 496784 h 505800"/>
                <a:gd name="connsiteX53" fmla="*/ 132458 w 956275"/>
                <a:gd name="connsiteY53" fmla="*/ 430387 h 505800"/>
                <a:gd name="connsiteX54" fmla="*/ 114796 w 956275"/>
                <a:gd name="connsiteY54" fmla="*/ 504511 h 505800"/>
                <a:gd name="connsiteX55" fmla="*/ 114798 w 956275"/>
                <a:gd name="connsiteY55" fmla="*/ 504512 h 505800"/>
                <a:gd name="connsiteX0" fmla="*/ 40672 w 956275"/>
                <a:gd name="connsiteY0" fmla="*/ 486852 h 504511"/>
                <a:gd name="connsiteX1" fmla="*/ 13820 w 956275"/>
                <a:gd name="connsiteY1" fmla="*/ 496784 h 504511"/>
                <a:gd name="connsiteX2" fmla="*/ 13820 w 956275"/>
                <a:gd name="connsiteY2" fmla="*/ 496784 h 504511"/>
                <a:gd name="connsiteX3" fmla="*/ 51019 w 956275"/>
                <a:gd name="connsiteY3" fmla="*/ 493776 h 504511"/>
                <a:gd name="connsiteX4" fmla="*/ 151603 w 956275"/>
                <a:gd name="connsiteY4" fmla="*/ 466344 h 504511"/>
                <a:gd name="connsiteX5" fmla="*/ 252187 w 956275"/>
                <a:gd name="connsiteY5" fmla="*/ 384048 h 504511"/>
                <a:gd name="connsiteX6" fmla="*/ 444211 w 956275"/>
                <a:gd name="connsiteY6" fmla="*/ 301752 h 504511"/>
                <a:gd name="connsiteX7" fmla="*/ 526507 w 956275"/>
                <a:gd name="connsiteY7" fmla="*/ 192024 h 504511"/>
                <a:gd name="connsiteX8" fmla="*/ 672811 w 956275"/>
                <a:gd name="connsiteY8" fmla="*/ 155448 h 504511"/>
                <a:gd name="connsiteX9" fmla="*/ 718531 w 956275"/>
                <a:gd name="connsiteY9" fmla="*/ 155448 h 504511"/>
                <a:gd name="connsiteX10" fmla="*/ 755107 w 956275"/>
                <a:gd name="connsiteY10" fmla="*/ 137160 h 504511"/>
                <a:gd name="connsiteX11" fmla="*/ 709387 w 956275"/>
                <a:gd name="connsiteY11" fmla="*/ 137160 h 504511"/>
                <a:gd name="connsiteX12" fmla="*/ 617947 w 956275"/>
                <a:gd name="connsiteY12" fmla="*/ 137160 h 504511"/>
                <a:gd name="connsiteX13" fmla="*/ 563083 w 956275"/>
                <a:gd name="connsiteY13" fmla="*/ 146304 h 504511"/>
                <a:gd name="connsiteX14" fmla="*/ 553939 w 956275"/>
                <a:gd name="connsiteY14" fmla="*/ 155448 h 504511"/>
                <a:gd name="connsiteX15" fmla="*/ 535651 w 956275"/>
                <a:gd name="connsiteY15" fmla="*/ 146304 h 504511"/>
                <a:gd name="connsiteX16" fmla="*/ 663667 w 956275"/>
                <a:gd name="connsiteY16" fmla="*/ 91440 h 504511"/>
                <a:gd name="connsiteX17" fmla="*/ 718531 w 956275"/>
                <a:gd name="connsiteY17" fmla="*/ 91440 h 504511"/>
                <a:gd name="connsiteX18" fmla="*/ 809971 w 956275"/>
                <a:gd name="connsiteY18" fmla="*/ 82296 h 504511"/>
                <a:gd name="connsiteX19" fmla="*/ 937987 w 956275"/>
                <a:gd name="connsiteY19" fmla="*/ 27432 h 504511"/>
                <a:gd name="connsiteX20" fmla="*/ 919699 w 956275"/>
                <a:gd name="connsiteY20" fmla="*/ 0 h 504511"/>
                <a:gd name="connsiteX21" fmla="*/ 883123 w 956275"/>
                <a:gd name="connsiteY21" fmla="*/ 27432 h 504511"/>
                <a:gd name="connsiteX22" fmla="*/ 846547 w 956275"/>
                <a:gd name="connsiteY22" fmla="*/ 36576 h 504511"/>
                <a:gd name="connsiteX23" fmla="*/ 773395 w 956275"/>
                <a:gd name="connsiteY23" fmla="*/ 64008 h 504511"/>
                <a:gd name="connsiteX24" fmla="*/ 718531 w 956275"/>
                <a:gd name="connsiteY24" fmla="*/ 64008 h 504511"/>
                <a:gd name="connsiteX25" fmla="*/ 608803 w 956275"/>
                <a:gd name="connsiteY25" fmla="*/ 64008 h 504511"/>
                <a:gd name="connsiteX26" fmla="*/ 553939 w 956275"/>
                <a:gd name="connsiteY26" fmla="*/ 100584 h 504511"/>
                <a:gd name="connsiteX27" fmla="*/ 517363 w 956275"/>
                <a:gd name="connsiteY27" fmla="*/ 146304 h 504511"/>
                <a:gd name="connsiteX28" fmla="*/ 471643 w 956275"/>
                <a:gd name="connsiteY28" fmla="*/ 182880 h 504511"/>
                <a:gd name="connsiteX29" fmla="*/ 425923 w 956275"/>
                <a:gd name="connsiteY29" fmla="*/ 256032 h 504511"/>
                <a:gd name="connsiteX30" fmla="*/ 352771 w 956275"/>
                <a:gd name="connsiteY30" fmla="*/ 301752 h 504511"/>
                <a:gd name="connsiteX31" fmla="*/ 252187 w 956275"/>
                <a:gd name="connsiteY31" fmla="*/ 347472 h 504511"/>
                <a:gd name="connsiteX32" fmla="*/ 215611 w 956275"/>
                <a:gd name="connsiteY32" fmla="*/ 374904 h 504511"/>
                <a:gd name="connsiteX33" fmla="*/ 169891 w 956275"/>
                <a:gd name="connsiteY33" fmla="*/ 402336 h 504511"/>
                <a:gd name="connsiteX34" fmla="*/ 151603 w 956275"/>
                <a:gd name="connsiteY34" fmla="*/ 402336 h 504511"/>
                <a:gd name="connsiteX35" fmla="*/ 169891 w 956275"/>
                <a:gd name="connsiteY35" fmla="*/ 365760 h 504511"/>
                <a:gd name="connsiteX36" fmla="*/ 224755 w 956275"/>
                <a:gd name="connsiteY36" fmla="*/ 301752 h 504511"/>
                <a:gd name="connsiteX37" fmla="*/ 316195 w 956275"/>
                <a:gd name="connsiteY37" fmla="*/ 219456 h 504511"/>
                <a:gd name="connsiteX38" fmla="*/ 361915 w 956275"/>
                <a:gd name="connsiteY38" fmla="*/ 146304 h 504511"/>
                <a:gd name="connsiteX39" fmla="*/ 361915 w 956275"/>
                <a:gd name="connsiteY39" fmla="*/ 64008 h 504511"/>
                <a:gd name="connsiteX40" fmla="*/ 352771 w 956275"/>
                <a:gd name="connsiteY40" fmla="*/ 54864 h 504511"/>
                <a:gd name="connsiteX41" fmla="*/ 343627 w 956275"/>
                <a:gd name="connsiteY41" fmla="*/ 128016 h 504511"/>
                <a:gd name="connsiteX42" fmla="*/ 316195 w 956275"/>
                <a:gd name="connsiteY42" fmla="*/ 173736 h 504511"/>
                <a:gd name="connsiteX43" fmla="*/ 243043 w 956275"/>
                <a:gd name="connsiteY43" fmla="*/ 237744 h 504511"/>
                <a:gd name="connsiteX44" fmla="*/ 215611 w 956275"/>
                <a:gd name="connsiteY44" fmla="*/ 256032 h 504511"/>
                <a:gd name="connsiteX45" fmla="*/ 142459 w 956275"/>
                <a:gd name="connsiteY45" fmla="*/ 347472 h 504511"/>
                <a:gd name="connsiteX46" fmla="*/ 133315 w 956275"/>
                <a:gd name="connsiteY46" fmla="*/ 374904 h 504511"/>
                <a:gd name="connsiteX47" fmla="*/ 124171 w 956275"/>
                <a:gd name="connsiteY47" fmla="*/ 411480 h 504511"/>
                <a:gd name="connsiteX48" fmla="*/ 142459 w 956275"/>
                <a:gd name="connsiteY48" fmla="*/ 429768 h 504511"/>
                <a:gd name="connsiteX49" fmla="*/ 96739 w 956275"/>
                <a:gd name="connsiteY49" fmla="*/ 457200 h 504511"/>
                <a:gd name="connsiteX50" fmla="*/ 13820 w 956275"/>
                <a:gd name="connsiteY50" fmla="*/ 496783 h 504511"/>
                <a:gd name="connsiteX51" fmla="*/ 13820 w 956275"/>
                <a:gd name="connsiteY51" fmla="*/ 496784 h 504511"/>
                <a:gd name="connsiteX52" fmla="*/ 13820 w 956275"/>
                <a:gd name="connsiteY52" fmla="*/ 496784 h 504511"/>
                <a:gd name="connsiteX53" fmla="*/ 132458 w 956275"/>
                <a:gd name="connsiteY53" fmla="*/ 430387 h 504511"/>
                <a:gd name="connsiteX54" fmla="*/ 114796 w 956275"/>
                <a:gd name="connsiteY54" fmla="*/ 504511 h 504511"/>
                <a:gd name="connsiteX55" fmla="*/ 40672 w 956275"/>
                <a:gd name="connsiteY55" fmla="*/ 486852 h 504511"/>
                <a:gd name="connsiteX0" fmla="*/ 40672 w 956275"/>
                <a:gd name="connsiteY0" fmla="*/ 486852 h 504512"/>
                <a:gd name="connsiteX1" fmla="*/ 13820 w 956275"/>
                <a:gd name="connsiteY1" fmla="*/ 496784 h 504512"/>
                <a:gd name="connsiteX2" fmla="*/ 13820 w 956275"/>
                <a:gd name="connsiteY2" fmla="*/ 496784 h 504512"/>
                <a:gd name="connsiteX3" fmla="*/ 51019 w 956275"/>
                <a:gd name="connsiteY3" fmla="*/ 493776 h 504512"/>
                <a:gd name="connsiteX4" fmla="*/ 151603 w 956275"/>
                <a:gd name="connsiteY4" fmla="*/ 466344 h 504512"/>
                <a:gd name="connsiteX5" fmla="*/ 252187 w 956275"/>
                <a:gd name="connsiteY5" fmla="*/ 384048 h 504512"/>
                <a:gd name="connsiteX6" fmla="*/ 444211 w 956275"/>
                <a:gd name="connsiteY6" fmla="*/ 301752 h 504512"/>
                <a:gd name="connsiteX7" fmla="*/ 526507 w 956275"/>
                <a:gd name="connsiteY7" fmla="*/ 192024 h 504512"/>
                <a:gd name="connsiteX8" fmla="*/ 672811 w 956275"/>
                <a:gd name="connsiteY8" fmla="*/ 155448 h 504512"/>
                <a:gd name="connsiteX9" fmla="*/ 718531 w 956275"/>
                <a:gd name="connsiteY9" fmla="*/ 155448 h 504512"/>
                <a:gd name="connsiteX10" fmla="*/ 755107 w 956275"/>
                <a:gd name="connsiteY10" fmla="*/ 137160 h 504512"/>
                <a:gd name="connsiteX11" fmla="*/ 709387 w 956275"/>
                <a:gd name="connsiteY11" fmla="*/ 137160 h 504512"/>
                <a:gd name="connsiteX12" fmla="*/ 617947 w 956275"/>
                <a:gd name="connsiteY12" fmla="*/ 137160 h 504512"/>
                <a:gd name="connsiteX13" fmla="*/ 563083 w 956275"/>
                <a:gd name="connsiteY13" fmla="*/ 146304 h 504512"/>
                <a:gd name="connsiteX14" fmla="*/ 553939 w 956275"/>
                <a:gd name="connsiteY14" fmla="*/ 155448 h 504512"/>
                <a:gd name="connsiteX15" fmla="*/ 535651 w 956275"/>
                <a:gd name="connsiteY15" fmla="*/ 146304 h 504512"/>
                <a:gd name="connsiteX16" fmla="*/ 663667 w 956275"/>
                <a:gd name="connsiteY16" fmla="*/ 91440 h 504512"/>
                <a:gd name="connsiteX17" fmla="*/ 718531 w 956275"/>
                <a:gd name="connsiteY17" fmla="*/ 91440 h 504512"/>
                <a:gd name="connsiteX18" fmla="*/ 809971 w 956275"/>
                <a:gd name="connsiteY18" fmla="*/ 82296 h 504512"/>
                <a:gd name="connsiteX19" fmla="*/ 937987 w 956275"/>
                <a:gd name="connsiteY19" fmla="*/ 27432 h 504512"/>
                <a:gd name="connsiteX20" fmla="*/ 919699 w 956275"/>
                <a:gd name="connsiteY20" fmla="*/ 0 h 504512"/>
                <a:gd name="connsiteX21" fmla="*/ 883123 w 956275"/>
                <a:gd name="connsiteY21" fmla="*/ 27432 h 504512"/>
                <a:gd name="connsiteX22" fmla="*/ 846547 w 956275"/>
                <a:gd name="connsiteY22" fmla="*/ 36576 h 504512"/>
                <a:gd name="connsiteX23" fmla="*/ 773395 w 956275"/>
                <a:gd name="connsiteY23" fmla="*/ 64008 h 504512"/>
                <a:gd name="connsiteX24" fmla="*/ 718531 w 956275"/>
                <a:gd name="connsiteY24" fmla="*/ 64008 h 504512"/>
                <a:gd name="connsiteX25" fmla="*/ 608803 w 956275"/>
                <a:gd name="connsiteY25" fmla="*/ 64008 h 504512"/>
                <a:gd name="connsiteX26" fmla="*/ 553939 w 956275"/>
                <a:gd name="connsiteY26" fmla="*/ 100584 h 504512"/>
                <a:gd name="connsiteX27" fmla="*/ 517363 w 956275"/>
                <a:gd name="connsiteY27" fmla="*/ 146304 h 504512"/>
                <a:gd name="connsiteX28" fmla="*/ 471643 w 956275"/>
                <a:gd name="connsiteY28" fmla="*/ 182880 h 504512"/>
                <a:gd name="connsiteX29" fmla="*/ 425923 w 956275"/>
                <a:gd name="connsiteY29" fmla="*/ 256032 h 504512"/>
                <a:gd name="connsiteX30" fmla="*/ 352771 w 956275"/>
                <a:gd name="connsiteY30" fmla="*/ 301752 h 504512"/>
                <a:gd name="connsiteX31" fmla="*/ 252187 w 956275"/>
                <a:gd name="connsiteY31" fmla="*/ 347472 h 504512"/>
                <a:gd name="connsiteX32" fmla="*/ 215611 w 956275"/>
                <a:gd name="connsiteY32" fmla="*/ 374904 h 504512"/>
                <a:gd name="connsiteX33" fmla="*/ 169891 w 956275"/>
                <a:gd name="connsiteY33" fmla="*/ 402336 h 504512"/>
                <a:gd name="connsiteX34" fmla="*/ 151603 w 956275"/>
                <a:gd name="connsiteY34" fmla="*/ 402336 h 504512"/>
                <a:gd name="connsiteX35" fmla="*/ 169891 w 956275"/>
                <a:gd name="connsiteY35" fmla="*/ 365760 h 504512"/>
                <a:gd name="connsiteX36" fmla="*/ 224755 w 956275"/>
                <a:gd name="connsiteY36" fmla="*/ 301752 h 504512"/>
                <a:gd name="connsiteX37" fmla="*/ 316195 w 956275"/>
                <a:gd name="connsiteY37" fmla="*/ 219456 h 504512"/>
                <a:gd name="connsiteX38" fmla="*/ 361915 w 956275"/>
                <a:gd name="connsiteY38" fmla="*/ 146304 h 504512"/>
                <a:gd name="connsiteX39" fmla="*/ 361915 w 956275"/>
                <a:gd name="connsiteY39" fmla="*/ 64008 h 504512"/>
                <a:gd name="connsiteX40" fmla="*/ 352771 w 956275"/>
                <a:gd name="connsiteY40" fmla="*/ 54864 h 504512"/>
                <a:gd name="connsiteX41" fmla="*/ 343627 w 956275"/>
                <a:gd name="connsiteY41" fmla="*/ 128016 h 504512"/>
                <a:gd name="connsiteX42" fmla="*/ 316195 w 956275"/>
                <a:gd name="connsiteY42" fmla="*/ 173736 h 504512"/>
                <a:gd name="connsiteX43" fmla="*/ 243043 w 956275"/>
                <a:gd name="connsiteY43" fmla="*/ 237744 h 504512"/>
                <a:gd name="connsiteX44" fmla="*/ 215611 w 956275"/>
                <a:gd name="connsiteY44" fmla="*/ 256032 h 504512"/>
                <a:gd name="connsiteX45" fmla="*/ 142459 w 956275"/>
                <a:gd name="connsiteY45" fmla="*/ 347472 h 504512"/>
                <a:gd name="connsiteX46" fmla="*/ 133315 w 956275"/>
                <a:gd name="connsiteY46" fmla="*/ 374904 h 504512"/>
                <a:gd name="connsiteX47" fmla="*/ 124171 w 956275"/>
                <a:gd name="connsiteY47" fmla="*/ 411480 h 504512"/>
                <a:gd name="connsiteX48" fmla="*/ 142459 w 956275"/>
                <a:gd name="connsiteY48" fmla="*/ 429768 h 504512"/>
                <a:gd name="connsiteX49" fmla="*/ 96739 w 956275"/>
                <a:gd name="connsiteY49" fmla="*/ 457200 h 504512"/>
                <a:gd name="connsiteX50" fmla="*/ 13820 w 956275"/>
                <a:gd name="connsiteY50" fmla="*/ 496783 h 504512"/>
                <a:gd name="connsiteX51" fmla="*/ 13820 w 956275"/>
                <a:gd name="connsiteY51" fmla="*/ 496784 h 504512"/>
                <a:gd name="connsiteX52" fmla="*/ 13820 w 956275"/>
                <a:gd name="connsiteY52" fmla="*/ 496784 h 504512"/>
                <a:gd name="connsiteX53" fmla="*/ 132458 w 956275"/>
                <a:gd name="connsiteY53" fmla="*/ 430387 h 504512"/>
                <a:gd name="connsiteX54" fmla="*/ 114798 w 956275"/>
                <a:gd name="connsiteY54" fmla="*/ 504512 h 504512"/>
                <a:gd name="connsiteX55" fmla="*/ 40672 w 956275"/>
                <a:gd name="connsiteY55" fmla="*/ 486852 h 504512"/>
                <a:gd name="connsiteX0" fmla="*/ 40672 w 956275"/>
                <a:gd name="connsiteY0" fmla="*/ 486852 h 504512"/>
                <a:gd name="connsiteX1" fmla="*/ 13820 w 956275"/>
                <a:gd name="connsiteY1" fmla="*/ 496784 h 504512"/>
                <a:gd name="connsiteX2" fmla="*/ 13820 w 956275"/>
                <a:gd name="connsiteY2" fmla="*/ 496784 h 504512"/>
                <a:gd name="connsiteX3" fmla="*/ 51019 w 956275"/>
                <a:gd name="connsiteY3" fmla="*/ 493776 h 504512"/>
                <a:gd name="connsiteX4" fmla="*/ 151603 w 956275"/>
                <a:gd name="connsiteY4" fmla="*/ 466344 h 504512"/>
                <a:gd name="connsiteX5" fmla="*/ 252187 w 956275"/>
                <a:gd name="connsiteY5" fmla="*/ 384048 h 504512"/>
                <a:gd name="connsiteX6" fmla="*/ 444211 w 956275"/>
                <a:gd name="connsiteY6" fmla="*/ 301752 h 504512"/>
                <a:gd name="connsiteX7" fmla="*/ 526507 w 956275"/>
                <a:gd name="connsiteY7" fmla="*/ 192024 h 504512"/>
                <a:gd name="connsiteX8" fmla="*/ 672811 w 956275"/>
                <a:gd name="connsiteY8" fmla="*/ 155448 h 504512"/>
                <a:gd name="connsiteX9" fmla="*/ 718531 w 956275"/>
                <a:gd name="connsiteY9" fmla="*/ 155448 h 504512"/>
                <a:gd name="connsiteX10" fmla="*/ 755107 w 956275"/>
                <a:gd name="connsiteY10" fmla="*/ 137160 h 504512"/>
                <a:gd name="connsiteX11" fmla="*/ 709387 w 956275"/>
                <a:gd name="connsiteY11" fmla="*/ 137160 h 504512"/>
                <a:gd name="connsiteX12" fmla="*/ 617947 w 956275"/>
                <a:gd name="connsiteY12" fmla="*/ 137160 h 504512"/>
                <a:gd name="connsiteX13" fmla="*/ 563083 w 956275"/>
                <a:gd name="connsiteY13" fmla="*/ 146304 h 504512"/>
                <a:gd name="connsiteX14" fmla="*/ 553939 w 956275"/>
                <a:gd name="connsiteY14" fmla="*/ 155448 h 504512"/>
                <a:gd name="connsiteX15" fmla="*/ 535651 w 956275"/>
                <a:gd name="connsiteY15" fmla="*/ 146304 h 504512"/>
                <a:gd name="connsiteX16" fmla="*/ 663667 w 956275"/>
                <a:gd name="connsiteY16" fmla="*/ 91440 h 504512"/>
                <a:gd name="connsiteX17" fmla="*/ 718531 w 956275"/>
                <a:gd name="connsiteY17" fmla="*/ 91440 h 504512"/>
                <a:gd name="connsiteX18" fmla="*/ 809971 w 956275"/>
                <a:gd name="connsiteY18" fmla="*/ 82296 h 504512"/>
                <a:gd name="connsiteX19" fmla="*/ 937987 w 956275"/>
                <a:gd name="connsiteY19" fmla="*/ 27432 h 504512"/>
                <a:gd name="connsiteX20" fmla="*/ 919699 w 956275"/>
                <a:gd name="connsiteY20" fmla="*/ 0 h 504512"/>
                <a:gd name="connsiteX21" fmla="*/ 883123 w 956275"/>
                <a:gd name="connsiteY21" fmla="*/ 27432 h 504512"/>
                <a:gd name="connsiteX22" fmla="*/ 846547 w 956275"/>
                <a:gd name="connsiteY22" fmla="*/ 36576 h 504512"/>
                <a:gd name="connsiteX23" fmla="*/ 773395 w 956275"/>
                <a:gd name="connsiteY23" fmla="*/ 64008 h 504512"/>
                <a:gd name="connsiteX24" fmla="*/ 718531 w 956275"/>
                <a:gd name="connsiteY24" fmla="*/ 64008 h 504512"/>
                <a:gd name="connsiteX25" fmla="*/ 608803 w 956275"/>
                <a:gd name="connsiteY25" fmla="*/ 64008 h 504512"/>
                <a:gd name="connsiteX26" fmla="*/ 553939 w 956275"/>
                <a:gd name="connsiteY26" fmla="*/ 100584 h 504512"/>
                <a:gd name="connsiteX27" fmla="*/ 517363 w 956275"/>
                <a:gd name="connsiteY27" fmla="*/ 146304 h 504512"/>
                <a:gd name="connsiteX28" fmla="*/ 471643 w 956275"/>
                <a:gd name="connsiteY28" fmla="*/ 182880 h 504512"/>
                <a:gd name="connsiteX29" fmla="*/ 425923 w 956275"/>
                <a:gd name="connsiteY29" fmla="*/ 256032 h 504512"/>
                <a:gd name="connsiteX30" fmla="*/ 352771 w 956275"/>
                <a:gd name="connsiteY30" fmla="*/ 301752 h 504512"/>
                <a:gd name="connsiteX31" fmla="*/ 252187 w 956275"/>
                <a:gd name="connsiteY31" fmla="*/ 347472 h 504512"/>
                <a:gd name="connsiteX32" fmla="*/ 215611 w 956275"/>
                <a:gd name="connsiteY32" fmla="*/ 374904 h 504512"/>
                <a:gd name="connsiteX33" fmla="*/ 169891 w 956275"/>
                <a:gd name="connsiteY33" fmla="*/ 402336 h 504512"/>
                <a:gd name="connsiteX34" fmla="*/ 151603 w 956275"/>
                <a:gd name="connsiteY34" fmla="*/ 402336 h 504512"/>
                <a:gd name="connsiteX35" fmla="*/ 169891 w 956275"/>
                <a:gd name="connsiteY35" fmla="*/ 365760 h 504512"/>
                <a:gd name="connsiteX36" fmla="*/ 224755 w 956275"/>
                <a:gd name="connsiteY36" fmla="*/ 301752 h 504512"/>
                <a:gd name="connsiteX37" fmla="*/ 316195 w 956275"/>
                <a:gd name="connsiteY37" fmla="*/ 219456 h 504512"/>
                <a:gd name="connsiteX38" fmla="*/ 361915 w 956275"/>
                <a:gd name="connsiteY38" fmla="*/ 146304 h 504512"/>
                <a:gd name="connsiteX39" fmla="*/ 361915 w 956275"/>
                <a:gd name="connsiteY39" fmla="*/ 64008 h 504512"/>
                <a:gd name="connsiteX40" fmla="*/ 352771 w 956275"/>
                <a:gd name="connsiteY40" fmla="*/ 54864 h 504512"/>
                <a:gd name="connsiteX41" fmla="*/ 343627 w 956275"/>
                <a:gd name="connsiteY41" fmla="*/ 128016 h 504512"/>
                <a:gd name="connsiteX42" fmla="*/ 316195 w 956275"/>
                <a:gd name="connsiteY42" fmla="*/ 173736 h 504512"/>
                <a:gd name="connsiteX43" fmla="*/ 243043 w 956275"/>
                <a:gd name="connsiteY43" fmla="*/ 237744 h 504512"/>
                <a:gd name="connsiteX44" fmla="*/ 215611 w 956275"/>
                <a:gd name="connsiteY44" fmla="*/ 256032 h 504512"/>
                <a:gd name="connsiteX45" fmla="*/ 142459 w 956275"/>
                <a:gd name="connsiteY45" fmla="*/ 347472 h 504512"/>
                <a:gd name="connsiteX46" fmla="*/ 133315 w 956275"/>
                <a:gd name="connsiteY46" fmla="*/ 374904 h 504512"/>
                <a:gd name="connsiteX47" fmla="*/ 124171 w 956275"/>
                <a:gd name="connsiteY47" fmla="*/ 411480 h 504512"/>
                <a:gd name="connsiteX48" fmla="*/ 142459 w 956275"/>
                <a:gd name="connsiteY48" fmla="*/ 429768 h 504512"/>
                <a:gd name="connsiteX49" fmla="*/ 96739 w 956275"/>
                <a:gd name="connsiteY49" fmla="*/ 457200 h 504512"/>
                <a:gd name="connsiteX50" fmla="*/ 13820 w 956275"/>
                <a:gd name="connsiteY50" fmla="*/ 496783 h 504512"/>
                <a:gd name="connsiteX51" fmla="*/ 13820 w 956275"/>
                <a:gd name="connsiteY51" fmla="*/ 496784 h 504512"/>
                <a:gd name="connsiteX52" fmla="*/ 13820 w 956275"/>
                <a:gd name="connsiteY52" fmla="*/ 496784 h 504512"/>
                <a:gd name="connsiteX53" fmla="*/ 132458 w 956275"/>
                <a:gd name="connsiteY53" fmla="*/ 430387 h 504512"/>
                <a:gd name="connsiteX54" fmla="*/ 114797 w 956275"/>
                <a:gd name="connsiteY54" fmla="*/ 504512 h 504512"/>
                <a:gd name="connsiteX55" fmla="*/ 40672 w 956275"/>
                <a:gd name="connsiteY55" fmla="*/ 486852 h 504512"/>
                <a:gd name="connsiteX0" fmla="*/ 40672 w 956275"/>
                <a:gd name="connsiteY0" fmla="*/ 486852 h 578638"/>
                <a:gd name="connsiteX1" fmla="*/ 13820 w 956275"/>
                <a:gd name="connsiteY1" fmla="*/ 496784 h 578638"/>
                <a:gd name="connsiteX2" fmla="*/ 13820 w 956275"/>
                <a:gd name="connsiteY2" fmla="*/ 496784 h 578638"/>
                <a:gd name="connsiteX3" fmla="*/ 51019 w 956275"/>
                <a:gd name="connsiteY3" fmla="*/ 493776 h 578638"/>
                <a:gd name="connsiteX4" fmla="*/ 151603 w 956275"/>
                <a:gd name="connsiteY4" fmla="*/ 466344 h 578638"/>
                <a:gd name="connsiteX5" fmla="*/ 252187 w 956275"/>
                <a:gd name="connsiteY5" fmla="*/ 384048 h 578638"/>
                <a:gd name="connsiteX6" fmla="*/ 444211 w 956275"/>
                <a:gd name="connsiteY6" fmla="*/ 301752 h 578638"/>
                <a:gd name="connsiteX7" fmla="*/ 526507 w 956275"/>
                <a:gd name="connsiteY7" fmla="*/ 192024 h 578638"/>
                <a:gd name="connsiteX8" fmla="*/ 672811 w 956275"/>
                <a:gd name="connsiteY8" fmla="*/ 155448 h 578638"/>
                <a:gd name="connsiteX9" fmla="*/ 718531 w 956275"/>
                <a:gd name="connsiteY9" fmla="*/ 155448 h 578638"/>
                <a:gd name="connsiteX10" fmla="*/ 755107 w 956275"/>
                <a:gd name="connsiteY10" fmla="*/ 137160 h 578638"/>
                <a:gd name="connsiteX11" fmla="*/ 709387 w 956275"/>
                <a:gd name="connsiteY11" fmla="*/ 137160 h 578638"/>
                <a:gd name="connsiteX12" fmla="*/ 617947 w 956275"/>
                <a:gd name="connsiteY12" fmla="*/ 137160 h 578638"/>
                <a:gd name="connsiteX13" fmla="*/ 563083 w 956275"/>
                <a:gd name="connsiteY13" fmla="*/ 146304 h 578638"/>
                <a:gd name="connsiteX14" fmla="*/ 553939 w 956275"/>
                <a:gd name="connsiteY14" fmla="*/ 155448 h 578638"/>
                <a:gd name="connsiteX15" fmla="*/ 535651 w 956275"/>
                <a:gd name="connsiteY15" fmla="*/ 146304 h 578638"/>
                <a:gd name="connsiteX16" fmla="*/ 663667 w 956275"/>
                <a:gd name="connsiteY16" fmla="*/ 91440 h 578638"/>
                <a:gd name="connsiteX17" fmla="*/ 718531 w 956275"/>
                <a:gd name="connsiteY17" fmla="*/ 91440 h 578638"/>
                <a:gd name="connsiteX18" fmla="*/ 809971 w 956275"/>
                <a:gd name="connsiteY18" fmla="*/ 82296 h 578638"/>
                <a:gd name="connsiteX19" fmla="*/ 937987 w 956275"/>
                <a:gd name="connsiteY19" fmla="*/ 27432 h 578638"/>
                <a:gd name="connsiteX20" fmla="*/ 919699 w 956275"/>
                <a:gd name="connsiteY20" fmla="*/ 0 h 578638"/>
                <a:gd name="connsiteX21" fmla="*/ 883123 w 956275"/>
                <a:gd name="connsiteY21" fmla="*/ 27432 h 578638"/>
                <a:gd name="connsiteX22" fmla="*/ 846547 w 956275"/>
                <a:gd name="connsiteY22" fmla="*/ 36576 h 578638"/>
                <a:gd name="connsiteX23" fmla="*/ 773395 w 956275"/>
                <a:gd name="connsiteY23" fmla="*/ 64008 h 578638"/>
                <a:gd name="connsiteX24" fmla="*/ 718531 w 956275"/>
                <a:gd name="connsiteY24" fmla="*/ 64008 h 578638"/>
                <a:gd name="connsiteX25" fmla="*/ 608803 w 956275"/>
                <a:gd name="connsiteY25" fmla="*/ 64008 h 578638"/>
                <a:gd name="connsiteX26" fmla="*/ 553939 w 956275"/>
                <a:gd name="connsiteY26" fmla="*/ 100584 h 578638"/>
                <a:gd name="connsiteX27" fmla="*/ 517363 w 956275"/>
                <a:gd name="connsiteY27" fmla="*/ 146304 h 578638"/>
                <a:gd name="connsiteX28" fmla="*/ 471643 w 956275"/>
                <a:gd name="connsiteY28" fmla="*/ 182880 h 578638"/>
                <a:gd name="connsiteX29" fmla="*/ 425923 w 956275"/>
                <a:gd name="connsiteY29" fmla="*/ 256032 h 578638"/>
                <a:gd name="connsiteX30" fmla="*/ 352771 w 956275"/>
                <a:gd name="connsiteY30" fmla="*/ 301752 h 578638"/>
                <a:gd name="connsiteX31" fmla="*/ 252187 w 956275"/>
                <a:gd name="connsiteY31" fmla="*/ 347472 h 578638"/>
                <a:gd name="connsiteX32" fmla="*/ 215611 w 956275"/>
                <a:gd name="connsiteY32" fmla="*/ 374904 h 578638"/>
                <a:gd name="connsiteX33" fmla="*/ 169891 w 956275"/>
                <a:gd name="connsiteY33" fmla="*/ 402336 h 578638"/>
                <a:gd name="connsiteX34" fmla="*/ 151603 w 956275"/>
                <a:gd name="connsiteY34" fmla="*/ 402336 h 578638"/>
                <a:gd name="connsiteX35" fmla="*/ 169891 w 956275"/>
                <a:gd name="connsiteY35" fmla="*/ 365760 h 578638"/>
                <a:gd name="connsiteX36" fmla="*/ 224755 w 956275"/>
                <a:gd name="connsiteY36" fmla="*/ 301752 h 578638"/>
                <a:gd name="connsiteX37" fmla="*/ 316195 w 956275"/>
                <a:gd name="connsiteY37" fmla="*/ 219456 h 578638"/>
                <a:gd name="connsiteX38" fmla="*/ 361915 w 956275"/>
                <a:gd name="connsiteY38" fmla="*/ 146304 h 578638"/>
                <a:gd name="connsiteX39" fmla="*/ 361915 w 956275"/>
                <a:gd name="connsiteY39" fmla="*/ 64008 h 578638"/>
                <a:gd name="connsiteX40" fmla="*/ 352771 w 956275"/>
                <a:gd name="connsiteY40" fmla="*/ 54864 h 578638"/>
                <a:gd name="connsiteX41" fmla="*/ 343627 w 956275"/>
                <a:gd name="connsiteY41" fmla="*/ 128016 h 578638"/>
                <a:gd name="connsiteX42" fmla="*/ 316195 w 956275"/>
                <a:gd name="connsiteY42" fmla="*/ 173736 h 578638"/>
                <a:gd name="connsiteX43" fmla="*/ 243043 w 956275"/>
                <a:gd name="connsiteY43" fmla="*/ 237744 h 578638"/>
                <a:gd name="connsiteX44" fmla="*/ 215611 w 956275"/>
                <a:gd name="connsiteY44" fmla="*/ 256032 h 578638"/>
                <a:gd name="connsiteX45" fmla="*/ 142459 w 956275"/>
                <a:gd name="connsiteY45" fmla="*/ 347472 h 578638"/>
                <a:gd name="connsiteX46" fmla="*/ 133315 w 956275"/>
                <a:gd name="connsiteY46" fmla="*/ 374904 h 578638"/>
                <a:gd name="connsiteX47" fmla="*/ 124171 w 956275"/>
                <a:gd name="connsiteY47" fmla="*/ 411480 h 578638"/>
                <a:gd name="connsiteX48" fmla="*/ 142459 w 956275"/>
                <a:gd name="connsiteY48" fmla="*/ 429768 h 578638"/>
                <a:gd name="connsiteX49" fmla="*/ 96739 w 956275"/>
                <a:gd name="connsiteY49" fmla="*/ 457200 h 578638"/>
                <a:gd name="connsiteX50" fmla="*/ 13820 w 956275"/>
                <a:gd name="connsiteY50" fmla="*/ 496783 h 578638"/>
                <a:gd name="connsiteX51" fmla="*/ 13820 w 956275"/>
                <a:gd name="connsiteY51" fmla="*/ 496784 h 578638"/>
                <a:gd name="connsiteX52" fmla="*/ 13820 w 956275"/>
                <a:gd name="connsiteY52" fmla="*/ 496784 h 578638"/>
                <a:gd name="connsiteX53" fmla="*/ 132458 w 956275"/>
                <a:gd name="connsiteY53" fmla="*/ 430387 h 578638"/>
                <a:gd name="connsiteX54" fmla="*/ 97137 w 956275"/>
                <a:gd name="connsiteY54" fmla="*/ 578638 h 578638"/>
                <a:gd name="connsiteX55" fmla="*/ 40672 w 956275"/>
                <a:gd name="connsiteY55" fmla="*/ 486852 h 578638"/>
                <a:gd name="connsiteX0" fmla="*/ 40672 w 956275"/>
                <a:gd name="connsiteY0" fmla="*/ 486852 h 503380"/>
                <a:gd name="connsiteX1" fmla="*/ 13820 w 956275"/>
                <a:gd name="connsiteY1" fmla="*/ 496784 h 503380"/>
                <a:gd name="connsiteX2" fmla="*/ 13820 w 956275"/>
                <a:gd name="connsiteY2" fmla="*/ 496784 h 503380"/>
                <a:gd name="connsiteX3" fmla="*/ 51019 w 956275"/>
                <a:gd name="connsiteY3" fmla="*/ 493776 h 503380"/>
                <a:gd name="connsiteX4" fmla="*/ 151603 w 956275"/>
                <a:gd name="connsiteY4" fmla="*/ 466344 h 503380"/>
                <a:gd name="connsiteX5" fmla="*/ 252187 w 956275"/>
                <a:gd name="connsiteY5" fmla="*/ 384048 h 503380"/>
                <a:gd name="connsiteX6" fmla="*/ 444211 w 956275"/>
                <a:gd name="connsiteY6" fmla="*/ 301752 h 503380"/>
                <a:gd name="connsiteX7" fmla="*/ 526507 w 956275"/>
                <a:gd name="connsiteY7" fmla="*/ 192024 h 503380"/>
                <a:gd name="connsiteX8" fmla="*/ 672811 w 956275"/>
                <a:gd name="connsiteY8" fmla="*/ 155448 h 503380"/>
                <a:gd name="connsiteX9" fmla="*/ 718531 w 956275"/>
                <a:gd name="connsiteY9" fmla="*/ 155448 h 503380"/>
                <a:gd name="connsiteX10" fmla="*/ 755107 w 956275"/>
                <a:gd name="connsiteY10" fmla="*/ 137160 h 503380"/>
                <a:gd name="connsiteX11" fmla="*/ 709387 w 956275"/>
                <a:gd name="connsiteY11" fmla="*/ 137160 h 503380"/>
                <a:gd name="connsiteX12" fmla="*/ 617947 w 956275"/>
                <a:gd name="connsiteY12" fmla="*/ 137160 h 503380"/>
                <a:gd name="connsiteX13" fmla="*/ 563083 w 956275"/>
                <a:gd name="connsiteY13" fmla="*/ 146304 h 503380"/>
                <a:gd name="connsiteX14" fmla="*/ 553939 w 956275"/>
                <a:gd name="connsiteY14" fmla="*/ 155448 h 503380"/>
                <a:gd name="connsiteX15" fmla="*/ 535651 w 956275"/>
                <a:gd name="connsiteY15" fmla="*/ 146304 h 503380"/>
                <a:gd name="connsiteX16" fmla="*/ 663667 w 956275"/>
                <a:gd name="connsiteY16" fmla="*/ 91440 h 503380"/>
                <a:gd name="connsiteX17" fmla="*/ 718531 w 956275"/>
                <a:gd name="connsiteY17" fmla="*/ 91440 h 503380"/>
                <a:gd name="connsiteX18" fmla="*/ 809971 w 956275"/>
                <a:gd name="connsiteY18" fmla="*/ 82296 h 503380"/>
                <a:gd name="connsiteX19" fmla="*/ 937987 w 956275"/>
                <a:gd name="connsiteY19" fmla="*/ 27432 h 503380"/>
                <a:gd name="connsiteX20" fmla="*/ 919699 w 956275"/>
                <a:gd name="connsiteY20" fmla="*/ 0 h 503380"/>
                <a:gd name="connsiteX21" fmla="*/ 883123 w 956275"/>
                <a:gd name="connsiteY21" fmla="*/ 27432 h 503380"/>
                <a:gd name="connsiteX22" fmla="*/ 846547 w 956275"/>
                <a:gd name="connsiteY22" fmla="*/ 36576 h 503380"/>
                <a:gd name="connsiteX23" fmla="*/ 773395 w 956275"/>
                <a:gd name="connsiteY23" fmla="*/ 64008 h 503380"/>
                <a:gd name="connsiteX24" fmla="*/ 718531 w 956275"/>
                <a:gd name="connsiteY24" fmla="*/ 64008 h 503380"/>
                <a:gd name="connsiteX25" fmla="*/ 608803 w 956275"/>
                <a:gd name="connsiteY25" fmla="*/ 64008 h 503380"/>
                <a:gd name="connsiteX26" fmla="*/ 553939 w 956275"/>
                <a:gd name="connsiteY26" fmla="*/ 100584 h 503380"/>
                <a:gd name="connsiteX27" fmla="*/ 517363 w 956275"/>
                <a:gd name="connsiteY27" fmla="*/ 146304 h 503380"/>
                <a:gd name="connsiteX28" fmla="*/ 471643 w 956275"/>
                <a:gd name="connsiteY28" fmla="*/ 182880 h 503380"/>
                <a:gd name="connsiteX29" fmla="*/ 425923 w 956275"/>
                <a:gd name="connsiteY29" fmla="*/ 256032 h 503380"/>
                <a:gd name="connsiteX30" fmla="*/ 352771 w 956275"/>
                <a:gd name="connsiteY30" fmla="*/ 301752 h 503380"/>
                <a:gd name="connsiteX31" fmla="*/ 252187 w 956275"/>
                <a:gd name="connsiteY31" fmla="*/ 347472 h 503380"/>
                <a:gd name="connsiteX32" fmla="*/ 215611 w 956275"/>
                <a:gd name="connsiteY32" fmla="*/ 374904 h 503380"/>
                <a:gd name="connsiteX33" fmla="*/ 169891 w 956275"/>
                <a:gd name="connsiteY33" fmla="*/ 402336 h 503380"/>
                <a:gd name="connsiteX34" fmla="*/ 151603 w 956275"/>
                <a:gd name="connsiteY34" fmla="*/ 402336 h 503380"/>
                <a:gd name="connsiteX35" fmla="*/ 169891 w 956275"/>
                <a:gd name="connsiteY35" fmla="*/ 365760 h 503380"/>
                <a:gd name="connsiteX36" fmla="*/ 224755 w 956275"/>
                <a:gd name="connsiteY36" fmla="*/ 301752 h 503380"/>
                <a:gd name="connsiteX37" fmla="*/ 316195 w 956275"/>
                <a:gd name="connsiteY37" fmla="*/ 219456 h 503380"/>
                <a:gd name="connsiteX38" fmla="*/ 361915 w 956275"/>
                <a:gd name="connsiteY38" fmla="*/ 146304 h 503380"/>
                <a:gd name="connsiteX39" fmla="*/ 361915 w 956275"/>
                <a:gd name="connsiteY39" fmla="*/ 64008 h 503380"/>
                <a:gd name="connsiteX40" fmla="*/ 352771 w 956275"/>
                <a:gd name="connsiteY40" fmla="*/ 54864 h 503380"/>
                <a:gd name="connsiteX41" fmla="*/ 343627 w 956275"/>
                <a:gd name="connsiteY41" fmla="*/ 128016 h 503380"/>
                <a:gd name="connsiteX42" fmla="*/ 316195 w 956275"/>
                <a:gd name="connsiteY42" fmla="*/ 173736 h 503380"/>
                <a:gd name="connsiteX43" fmla="*/ 243043 w 956275"/>
                <a:gd name="connsiteY43" fmla="*/ 237744 h 503380"/>
                <a:gd name="connsiteX44" fmla="*/ 215611 w 956275"/>
                <a:gd name="connsiteY44" fmla="*/ 256032 h 503380"/>
                <a:gd name="connsiteX45" fmla="*/ 142459 w 956275"/>
                <a:gd name="connsiteY45" fmla="*/ 347472 h 503380"/>
                <a:gd name="connsiteX46" fmla="*/ 133315 w 956275"/>
                <a:gd name="connsiteY46" fmla="*/ 374904 h 503380"/>
                <a:gd name="connsiteX47" fmla="*/ 124171 w 956275"/>
                <a:gd name="connsiteY47" fmla="*/ 411480 h 503380"/>
                <a:gd name="connsiteX48" fmla="*/ 142459 w 956275"/>
                <a:gd name="connsiteY48" fmla="*/ 429768 h 503380"/>
                <a:gd name="connsiteX49" fmla="*/ 96739 w 956275"/>
                <a:gd name="connsiteY49" fmla="*/ 457200 h 503380"/>
                <a:gd name="connsiteX50" fmla="*/ 13820 w 956275"/>
                <a:gd name="connsiteY50" fmla="*/ 496783 h 503380"/>
                <a:gd name="connsiteX51" fmla="*/ 13820 w 956275"/>
                <a:gd name="connsiteY51" fmla="*/ 496784 h 503380"/>
                <a:gd name="connsiteX52" fmla="*/ 13820 w 956275"/>
                <a:gd name="connsiteY52" fmla="*/ 496784 h 503380"/>
                <a:gd name="connsiteX53" fmla="*/ 132458 w 956275"/>
                <a:gd name="connsiteY53" fmla="*/ 430387 h 503380"/>
                <a:gd name="connsiteX54" fmla="*/ 40672 w 956275"/>
                <a:gd name="connsiteY54" fmla="*/ 486852 h 503380"/>
                <a:gd name="connsiteX55" fmla="*/ 40672 w 956275"/>
                <a:gd name="connsiteY55" fmla="*/ 486852 h 503380"/>
                <a:gd name="connsiteX0" fmla="*/ 40672 w 956275"/>
                <a:gd name="connsiteY0" fmla="*/ 486852 h 503380"/>
                <a:gd name="connsiteX1" fmla="*/ 13820 w 956275"/>
                <a:gd name="connsiteY1" fmla="*/ 496784 h 503380"/>
                <a:gd name="connsiteX2" fmla="*/ 13820 w 956275"/>
                <a:gd name="connsiteY2" fmla="*/ 496784 h 503380"/>
                <a:gd name="connsiteX3" fmla="*/ 51019 w 956275"/>
                <a:gd name="connsiteY3" fmla="*/ 493776 h 503380"/>
                <a:gd name="connsiteX4" fmla="*/ 151603 w 956275"/>
                <a:gd name="connsiteY4" fmla="*/ 466344 h 503380"/>
                <a:gd name="connsiteX5" fmla="*/ 252187 w 956275"/>
                <a:gd name="connsiteY5" fmla="*/ 384048 h 503380"/>
                <a:gd name="connsiteX6" fmla="*/ 444211 w 956275"/>
                <a:gd name="connsiteY6" fmla="*/ 301752 h 503380"/>
                <a:gd name="connsiteX7" fmla="*/ 526507 w 956275"/>
                <a:gd name="connsiteY7" fmla="*/ 192024 h 503380"/>
                <a:gd name="connsiteX8" fmla="*/ 672811 w 956275"/>
                <a:gd name="connsiteY8" fmla="*/ 155448 h 503380"/>
                <a:gd name="connsiteX9" fmla="*/ 718531 w 956275"/>
                <a:gd name="connsiteY9" fmla="*/ 155448 h 503380"/>
                <a:gd name="connsiteX10" fmla="*/ 755107 w 956275"/>
                <a:gd name="connsiteY10" fmla="*/ 137160 h 503380"/>
                <a:gd name="connsiteX11" fmla="*/ 709387 w 956275"/>
                <a:gd name="connsiteY11" fmla="*/ 137160 h 503380"/>
                <a:gd name="connsiteX12" fmla="*/ 617947 w 956275"/>
                <a:gd name="connsiteY12" fmla="*/ 137160 h 503380"/>
                <a:gd name="connsiteX13" fmla="*/ 563083 w 956275"/>
                <a:gd name="connsiteY13" fmla="*/ 146304 h 503380"/>
                <a:gd name="connsiteX14" fmla="*/ 553939 w 956275"/>
                <a:gd name="connsiteY14" fmla="*/ 155448 h 503380"/>
                <a:gd name="connsiteX15" fmla="*/ 535651 w 956275"/>
                <a:gd name="connsiteY15" fmla="*/ 146304 h 503380"/>
                <a:gd name="connsiteX16" fmla="*/ 663667 w 956275"/>
                <a:gd name="connsiteY16" fmla="*/ 91440 h 503380"/>
                <a:gd name="connsiteX17" fmla="*/ 718531 w 956275"/>
                <a:gd name="connsiteY17" fmla="*/ 91440 h 503380"/>
                <a:gd name="connsiteX18" fmla="*/ 809971 w 956275"/>
                <a:gd name="connsiteY18" fmla="*/ 82296 h 503380"/>
                <a:gd name="connsiteX19" fmla="*/ 937987 w 956275"/>
                <a:gd name="connsiteY19" fmla="*/ 27432 h 503380"/>
                <a:gd name="connsiteX20" fmla="*/ 919699 w 956275"/>
                <a:gd name="connsiteY20" fmla="*/ 0 h 503380"/>
                <a:gd name="connsiteX21" fmla="*/ 883123 w 956275"/>
                <a:gd name="connsiteY21" fmla="*/ 27432 h 503380"/>
                <a:gd name="connsiteX22" fmla="*/ 846547 w 956275"/>
                <a:gd name="connsiteY22" fmla="*/ 36576 h 503380"/>
                <a:gd name="connsiteX23" fmla="*/ 773395 w 956275"/>
                <a:gd name="connsiteY23" fmla="*/ 64008 h 503380"/>
                <a:gd name="connsiteX24" fmla="*/ 718531 w 956275"/>
                <a:gd name="connsiteY24" fmla="*/ 64008 h 503380"/>
                <a:gd name="connsiteX25" fmla="*/ 608803 w 956275"/>
                <a:gd name="connsiteY25" fmla="*/ 64008 h 503380"/>
                <a:gd name="connsiteX26" fmla="*/ 553939 w 956275"/>
                <a:gd name="connsiteY26" fmla="*/ 100584 h 503380"/>
                <a:gd name="connsiteX27" fmla="*/ 517363 w 956275"/>
                <a:gd name="connsiteY27" fmla="*/ 146304 h 503380"/>
                <a:gd name="connsiteX28" fmla="*/ 471643 w 956275"/>
                <a:gd name="connsiteY28" fmla="*/ 182880 h 503380"/>
                <a:gd name="connsiteX29" fmla="*/ 425923 w 956275"/>
                <a:gd name="connsiteY29" fmla="*/ 256032 h 503380"/>
                <a:gd name="connsiteX30" fmla="*/ 352771 w 956275"/>
                <a:gd name="connsiteY30" fmla="*/ 301752 h 503380"/>
                <a:gd name="connsiteX31" fmla="*/ 252187 w 956275"/>
                <a:gd name="connsiteY31" fmla="*/ 347472 h 503380"/>
                <a:gd name="connsiteX32" fmla="*/ 215611 w 956275"/>
                <a:gd name="connsiteY32" fmla="*/ 374904 h 503380"/>
                <a:gd name="connsiteX33" fmla="*/ 169891 w 956275"/>
                <a:gd name="connsiteY33" fmla="*/ 402336 h 503380"/>
                <a:gd name="connsiteX34" fmla="*/ 151603 w 956275"/>
                <a:gd name="connsiteY34" fmla="*/ 402336 h 503380"/>
                <a:gd name="connsiteX35" fmla="*/ 169891 w 956275"/>
                <a:gd name="connsiteY35" fmla="*/ 365760 h 503380"/>
                <a:gd name="connsiteX36" fmla="*/ 224755 w 956275"/>
                <a:gd name="connsiteY36" fmla="*/ 301752 h 503380"/>
                <a:gd name="connsiteX37" fmla="*/ 316195 w 956275"/>
                <a:gd name="connsiteY37" fmla="*/ 219456 h 503380"/>
                <a:gd name="connsiteX38" fmla="*/ 361915 w 956275"/>
                <a:gd name="connsiteY38" fmla="*/ 146304 h 503380"/>
                <a:gd name="connsiteX39" fmla="*/ 361915 w 956275"/>
                <a:gd name="connsiteY39" fmla="*/ 64008 h 503380"/>
                <a:gd name="connsiteX40" fmla="*/ 352771 w 956275"/>
                <a:gd name="connsiteY40" fmla="*/ 54864 h 503380"/>
                <a:gd name="connsiteX41" fmla="*/ 343627 w 956275"/>
                <a:gd name="connsiteY41" fmla="*/ 128016 h 503380"/>
                <a:gd name="connsiteX42" fmla="*/ 316195 w 956275"/>
                <a:gd name="connsiteY42" fmla="*/ 173736 h 503380"/>
                <a:gd name="connsiteX43" fmla="*/ 243043 w 956275"/>
                <a:gd name="connsiteY43" fmla="*/ 237744 h 503380"/>
                <a:gd name="connsiteX44" fmla="*/ 215611 w 956275"/>
                <a:gd name="connsiteY44" fmla="*/ 256032 h 503380"/>
                <a:gd name="connsiteX45" fmla="*/ 142459 w 956275"/>
                <a:gd name="connsiteY45" fmla="*/ 347472 h 503380"/>
                <a:gd name="connsiteX46" fmla="*/ 133315 w 956275"/>
                <a:gd name="connsiteY46" fmla="*/ 374904 h 503380"/>
                <a:gd name="connsiteX47" fmla="*/ 124171 w 956275"/>
                <a:gd name="connsiteY47" fmla="*/ 411480 h 503380"/>
                <a:gd name="connsiteX48" fmla="*/ 142459 w 956275"/>
                <a:gd name="connsiteY48" fmla="*/ 429768 h 503380"/>
                <a:gd name="connsiteX49" fmla="*/ 96739 w 956275"/>
                <a:gd name="connsiteY49" fmla="*/ 457200 h 503380"/>
                <a:gd name="connsiteX50" fmla="*/ 13820 w 956275"/>
                <a:gd name="connsiteY50" fmla="*/ 496783 h 503380"/>
                <a:gd name="connsiteX51" fmla="*/ 13820 w 956275"/>
                <a:gd name="connsiteY51" fmla="*/ 496784 h 503380"/>
                <a:gd name="connsiteX52" fmla="*/ 40672 w 956275"/>
                <a:gd name="connsiteY52" fmla="*/ 486851 h 503380"/>
                <a:gd name="connsiteX53" fmla="*/ 132458 w 956275"/>
                <a:gd name="connsiteY53" fmla="*/ 430387 h 503380"/>
                <a:gd name="connsiteX54" fmla="*/ 40672 w 956275"/>
                <a:gd name="connsiteY54" fmla="*/ 486852 h 503380"/>
                <a:gd name="connsiteX55" fmla="*/ 40672 w 956275"/>
                <a:gd name="connsiteY55" fmla="*/ 486852 h 503380"/>
                <a:gd name="connsiteX0" fmla="*/ 97137 w 956275"/>
                <a:gd name="connsiteY0" fmla="*/ 578637 h 578637"/>
                <a:gd name="connsiteX1" fmla="*/ 13820 w 956275"/>
                <a:gd name="connsiteY1" fmla="*/ 496784 h 578637"/>
                <a:gd name="connsiteX2" fmla="*/ 13820 w 956275"/>
                <a:gd name="connsiteY2" fmla="*/ 496784 h 578637"/>
                <a:gd name="connsiteX3" fmla="*/ 51019 w 956275"/>
                <a:gd name="connsiteY3" fmla="*/ 493776 h 578637"/>
                <a:gd name="connsiteX4" fmla="*/ 151603 w 956275"/>
                <a:gd name="connsiteY4" fmla="*/ 466344 h 578637"/>
                <a:gd name="connsiteX5" fmla="*/ 252187 w 956275"/>
                <a:gd name="connsiteY5" fmla="*/ 384048 h 578637"/>
                <a:gd name="connsiteX6" fmla="*/ 444211 w 956275"/>
                <a:gd name="connsiteY6" fmla="*/ 301752 h 578637"/>
                <a:gd name="connsiteX7" fmla="*/ 526507 w 956275"/>
                <a:gd name="connsiteY7" fmla="*/ 192024 h 578637"/>
                <a:gd name="connsiteX8" fmla="*/ 672811 w 956275"/>
                <a:gd name="connsiteY8" fmla="*/ 155448 h 578637"/>
                <a:gd name="connsiteX9" fmla="*/ 718531 w 956275"/>
                <a:gd name="connsiteY9" fmla="*/ 155448 h 578637"/>
                <a:gd name="connsiteX10" fmla="*/ 755107 w 956275"/>
                <a:gd name="connsiteY10" fmla="*/ 137160 h 578637"/>
                <a:gd name="connsiteX11" fmla="*/ 709387 w 956275"/>
                <a:gd name="connsiteY11" fmla="*/ 137160 h 578637"/>
                <a:gd name="connsiteX12" fmla="*/ 617947 w 956275"/>
                <a:gd name="connsiteY12" fmla="*/ 137160 h 578637"/>
                <a:gd name="connsiteX13" fmla="*/ 563083 w 956275"/>
                <a:gd name="connsiteY13" fmla="*/ 146304 h 578637"/>
                <a:gd name="connsiteX14" fmla="*/ 553939 w 956275"/>
                <a:gd name="connsiteY14" fmla="*/ 155448 h 578637"/>
                <a:gd name="connsiteX15" fmla="*/ 535651 w 956275"/>
                <a:gd name="connsiteY15" fmla="*/ 146304 h 578637"/>
                <a:gd name="connsiteX16" fmla="*/ 663667 w 956275"/>
                <a:gd name="connsiteY16" fmla="*/ 91440 h 578637"/>
                <a:gd name="connsiteX17" fmla="*/ 718531 w 956275"/>
                <a:gd name="connsiteY17" fmla="*/ 91440 h 578637"/>
                <a:gd name="connsiteX18" fmla="*/ 809971 w 956275"/>
                <a:gd name="connsiteY18" fmla="*/ 82296 h 578637"/>
                <a:gd name="connsiteX19" fmla="*/ 937987 w 956275"/>
                <a:gd name="connsiteY19" fmla="*/ 27432 h 578637"/>
                <a:gd name="connsiteX20" fmla="*/ 919699 w 956275"/>
                <a:gd name="connsiteY20" fmla="*/ 0 h 578637"/>
                <a:gd name="connsiteX21" fmla="*/ 883123 w 956275"/>
                <a:gd name="connsiteY21" fmla="*/ 27432 h 578637"/>
                <a:gd name="connsiteX22" fmla="*/ 846547 w 956275"/>
                <a:gd name="connsiteY22" fmla="*/ 36576 h 578637"/>
                <a:gd name="connsiteX23" fmla="*/ 773395 w 956275"/>
                <a:gd name="connsiteY23" fmla="*/ 64008 h 578637"/>
                <a:gd name="connsiteX24" fmla="*/ 718531 w 956275"/>
                <a:gd name="connsiteY24" fmla="*/ 64008 h 578637"/>
                <a:gd name="connsiteX25" fmla="*/ 608803 w 956275"/>
                <a:gd name="connsiteY25" fmla="*/ 64008 h 578637"/>
                <a:gd name="connsiteX26" fmla="*/ 553939 w 956275"/>
                <a:gd name="connsiteY26" fmla="*/ 100584 h 578637"/>
                <a:gd name="connsiteX27" fmla="*/ 517363 w 956275"/>
                <a:gd name="connsiteY27" fmla="*/ 146304 h 578637"/>
                <a:gd name="connsiteX28" fmla="*/ 471643 w 956275"/>
                <a:gd name="connsiteY28" fmla="*/ 182880 h 578637"/>
                <a:gd name="connsiteX29" fmla="*/ 425923 w 956275"/>
                <a:gd name="connsiteY29" fmla="*/ 256032 h 578637"/>
                <a:gd name="connsiteX30" fmla="*/ 352771 w 956275"/>
                <a:gd name="connsiteY30" fmla="*/ 301752 h 578637"/>
                <a:gd name="connsiteX31" fmla="*/ 252187 w 956275"/>
                <a:gd name="connsiteY31" fmla="*/ 347472 h 578637"/>
                <a:gd name="connsiteX32" fmla="*/ 215611 w 956275"/>
                <a:gd name="connsiteY32" fmla="*/ 374904 h 578637"/>
                <a:gd name="connsiteX33" fmla="*/ 169891 w 956275"/>
                <a:gd name="connsiteY33" fmla="*/ 402336 h 578637"/>
                <a:gd name="connsiteX34" fmla="*/ 151603 w 956275"/>
                <a:gd name="connsiteY34" fmla="*/ 402336 h 578637"/>
                <a:gd name="connsiteX35" fmla="*/ 169891 w 956275"/>
                <a:gd name="connsiteY35" fmla="*/ 365760 h 578637"/>
                <a:gd name="connsiteX36" fmla="*/ 224755 w 956275"/>
                <a:gd name="connsiteY36" fmla="*/ 301752 h 578637"/>
                <a:gd name="connsiteX37" fmla="*/ 316195 w 956275"/>
                <a:gd name="connsiteY37" fmla="*/ 219456 h 578637"/>
                <a:gd name="connsiteX38" fmla="*/ 361915 w 956275"/>
                <a:gd name="connsiteY38" fmla="*/ 146304 h 578637"/>
                <a:gd name="connsiteX39" fmla="*/ 361915 w 956275"/>
                <a:gd name="connsiteY39" fmla="*/ 64008 h 578637"/>
                <a:gd name="connsiteX40" fmla="*/ 352771 w 956275"/>
                <a:gd name="connsiteY40" fmla="*/ 54864 h 578637"/>
                <a:gd name="connsiteX41" fmla="*/ 343627 w 956275"/>
                <a:gd name="connsiteY41" fmla="*/ 128016 h 578637"/>
                <a:gd name="connsiteX42" fmla="*/ 316195 w 956275"/>
                <a:gd name="connsiteY42" fmla="*/ 173736 h 578637"/>
                <a:gd name="connsiteX43" fmla="*/ 243043 w 956275"/>
                <a:gd name="connsiteY43" fmla="*/ 237744 h 578637"/>
                <a:gd name="connsiteX44" fmla="*/ 215611 w 956275"/>
                <a:gd name="connsiteY44" fmla="*/ 256032 h 578637"/>
                <a:gd name="connsiteX45" fmla="*/ 142459 w 956275"/>
                <a:gd name="connsiteY45" fmla="*/ 347472 h 578637"/>
                <a:gd name="connsiteX46" fmla="*/ 133315 w 956275"/>
                <a:gd name="connsiteY46" fmla="*/ 374904 h 578637"/>
                <a:gd name="connsiteX47" fmla="*/ 124171 w 956275"/>
                <a:gd name="connsiteY47" fmla="*/ 411480 h 578637"/>
                <a:gd name="connsiteX48" fmla="*/ 142459 w 956275"/>
                <a:gd name="connsiteY48" fmla="*/ 429768 h 578637"/>
                <a:gd name="connsiteX49" fmla="*/ 96739 w 956275"/>
                <a:gd name="connsiteY49" fmla="*/ 457200 h 578637"/>
                <a:gd name="connsiteX50" fmla="*/ 13820 w 956275"/>
                <a:gd name="connsiteY50" fmla="*/ 496783 h 578637"/>
                <a:gd name="connsiteX51" fmla="*/ 13820 w 956275"/>
                <a:gd name="connsiteY51" fmla="*/ 496784 h 578637"/>
                <a:gd name="connsiteX52" fmla="*/ 40672 w 956275"/>
                <a:gd name="connsiteY52" fmla="*/ 486851 h 578637"/>
                <a:gd name="connsiteX53" fmla="*/ 132458 w 956275"/>
                <a:gd name="connsiteY53" fmla="*/ 430387 h 578637"/>
                <a:gd name="connsiteX54" fmla="*/ 40672 w 956275"/>
                <a:gd name="connsiteY54" fmla="*/ 486852 h 578637"/>
                <a:gd name="connsiteX55" fmla="*/ 97137 w 956275"/>
                <a:gd name="connsiteY55" fmla="*/ 578637 h 578637"/>
                <a:gd name="connsiteX0" fmla="*/ 97137 w 956275"/>
                <a:gd name="connsiteY0" fmla="*/ 578637 h 578637"/>
                <a:gd name="connsiteX1" fmla="*/ 13820 w 956275"/>
                <a:gd name="connsiteY1" fmla="*/ 496784 h 578637"/>
                <a:gd name="connsiteX2" fmla="*/ 13820 w 956275"/>
                <a:gd name="connsiteY2" fmla="*/ 496784 h 578637"/>
                <a:gd name="connsiteX3" fmla="*/ 51019 w 956275"/>
                <a:gd name="connsiteY3" fmla="*/ 493776 h 578637"/>
                <a:gd name="connsiteX4" fmla="*/ 151603 w 956275"/>
                <a:gd name="connsiteY4" fmla="*/ 466344 h 578637"/>
                <a:gd name="connsiteX5" fmla="*/ 252187 w 956275"/>
                <a:gd name="connsiteY5" fmla="*/ 384048 h 578637"/>
                <a:gd name="connsiteX6" fmla="*/ 444211 w 956275"/>
                <a:gd name="connsiteY6" fmla="*/ 301752 h 578637"/>
                <a:gd name="connsiteX7" fmla="*/ 526507 w 956275"/>
                <a:gd name="connsiteY7" fmla="*/ 192024 h 578637"/>
                <a:gd name="connsiteX8" fmla="*/ 672811 w 956275"/>
                <a:gd name="connsiteY8" fmla="*/ 155448 h 578637"/>
                <a:gd name="connsiteX9" fmla="*/ 718531 w 956275"/>
                <a:gd name="connsiteY9" fmla="*/ 155448 h 578637"/>
                <a:gd name="connsiteX10" fmla="*/ 755107 w 956275"/>
                <a:gd name="connsiteY10" fmla="*/ 137160 h 578637"/>
                <a:gd name="connsiteX11" fmla="*/ 709387 w 956275"/>
                <a:gd name="connsiteY11" fmla="*/ 137160 h 578637"/>
                <a:gd name="connsiteX12" fmla="*/ 617947 w 956275"/>
                <a:gd name="connsiteY12" fmla="*/ 137160 h 578637"/>
                <a:gd name="connsiteX13" fmla="*/ 563083 w 956275"/>
                <a:gd name="connsiteY13" fmla="*/ 146304 h 578637"/>
                <a:gd name="connsiteX14" fmla="*/ 553939 w 956275"/>
                <a:gd name="connsiteY14" fmla="*/ 155448 h 578637"/>
                <a:gd name="connsiteX15" fmla="*/ 535651 w 956275"/>
                <a:gd name="connsiteY15" fmla="*/ 146304 h 578637"/>
                <a:gd name="connsiteX16" fmla="*/ 663667 w 956275"/>
                <a:gd name="connsiteY16" fmla="*/ 91440 h 578637"/>
                <a:gd name="connsiteX17" fmla="*/ 718531 w 956275"/>
                <a:gd name="connsiteY17" fmla="*/ 91440 h 578637"/>
                <a:gd name="connsiteX18" fmla="*/ 809971 w 956275"/>
                <a:gd name="connsiteY18" fmla="*/ 82296 h 578637"/>
                <a:gd name="connsiteX19" fmla="*/ 937987 w 956275"/>
                <a:gd name="connsiteY19" fmla="*/ 27432 h 578637"/>
                <a:gd name="connsiteX20" fmla="*/ 919699 w 956275"/>
                <a:gd name="connsiteY20" fmla="*/ 0 h 578637"/>
                <a:gd name="connsiteX21" fmla="*/ 883123 w 956275"/>
                <a:gd name="connsiteY21" fmla="*/ 27432 h 578637"/>
                <a:gd name="connsiteX22" fmla="*/ 846547 w 956275"/>
                <a:gd name="connsiteY22" fmla="*/ 36576 h 578637"/>
                <a:gd name="connsiteX23" fmla="*/ 773395 w 956275"/>
                <a:gd name="connsiteY23" fmla="*/ 64008 h 578637"/>
                <a:gd name="connsiteX24" fmla="*/ 718531 w 956275"/>
                <a:gd name="connsiteY24" fmla="*/ 64008 h 578637"/>
                <a:gd name="connsiteX25" fmla="*/ 608803 w 956275"/>
                <a:gd name="connsiteY25" fmla="*/ 64008 h 578637"/>
                <a:gd name="connsiteX26" fmla="*/ 553939 w 956275"/>
                <a:gd name="connsiteY26" fmla="*/ 100584 h 578637"/>
                <a:gd name="connsiteX27" fmla="*/ 517363 w 956275"/>
                <a:gd name="connsiteY27" fmla="*/ 146304 h 578637"/>
                <a:gd name="connsiteX28" fmla="*/ 471643 w 956275"/>
                <a:gd name="connsiteY28" fmla="*/ 182880 h 578637"/>
                <a:gd name="connsiteX29" fmla="*/ 425923 w 956275"/>
                <a:gd name="connsiteY29" fmla="*/ 256032 h 578637"/>
                <a:gd name="connsiteX30" fmla="*/ 352771 w 956275"/>
                <a:gd name="connsiteY30" fmla="*/ 301752 h 578637"/>
                <a:gd name="connsiteX31" fmla="*/ 252187 w 956275"/>
                <a:gd name="connsiteY31" fmla="*/ 347472 h 578637"/>
                <a:gd name="connsiteX32" fmla="*/ 215611 w 956275"/>
                <a:gd name="connsiteY32" fmla="*/ 374904 h 578637"/>
                <a:gd name="connsiteX33" fmla="*/ 169891 w 956275"/>
                <a:gd name="connsiteY33" fmla="*/ 402336 h 578637"/>
                <a:gd name="connsiteX34" fmla="*/ 151603 w 956275"/>
                <a:gd name="connsiteY34" fmla="*/ 402336 h 578637"/>
                <a:gd name="connsiteX35" fmla="*/ 169891 w 956275"/>
                <a:gd name="connsiteY35" fmla="*/ 365760 h 578637"/>
                <a:gd name="connsiteX36" fmla="*/ 224755 w 956275"/>
                <a:gd name="connsiteY36" fmla="*/ 301752 h 578637"/>
                <a:gd name="connsiteX37" fmla="*/ 316195 w 956275"/>
                <a:gd name="connsiteY37" fmla="*/ 219456 h 578637"/>
                <a:gd name="connsiteX38" fmla="*/ 361915 w 956275"/>
                <a:gd name="connsiteY38" fmla="*/ 146304 h 578637"/>
                <a:gd name="connsiteX39" fmla="*/ 361915 w 956275"/>
                <a:gd name="connsiteY39" fmla="*/ 64008 h 578637"/>
                <a:gd name="connsiteX40" fmla="*/ 352771 w 956275"/>
                <a:gd name="connsiteY40" fmla="*/ 54864 h 578637"/>
                <a:gd name="connsiteX41" fmla="*/ 343627 w 956275"/>
                <a:gd name="connsiteY41" fmla="*/ 128016 h 578637"/>
                <a:gd name="connsiteX42" fmla="*/ 316195 w 956275"/>
                <a:gd name="connsiteY42" fmla="*/ 173736 h 578637"/>
                <a:gd name="connsiteX43" fmla="*/ 243043 w 956275"/>
                <a:gd name="connsiteY43" fmla="*/ 237744 h 578637"/>
                <a:gd name="connsiteX44" fmla="*/ 215611 w 956275"/>
                <a:gd name="connsiteY44" fmla="*/ 256032 h 578637"/>
                <a:gd name="connsiteX45" fmla="*/ 142459 w 956275"/>
                <a:gd name="connsiteY45" fmla="*/ 347472 h 578637"/>
                <a:gd name="connsiteX46" fmla="*/ 133315 w 956275"/>
                <a:gd name="connsiteY46" fmla="*/ 374904 h 578637"/>
                <a:gd name="connsiteX47" fmla="*/ 124171 w 956275"/>
                <a:gd name="connsiteY47" fmla="*/ 411480 h 578637"/>
                <a:gd name="connsiteX48" fmla="*/ 142459 w 956275"/>
                <a:gd name="connsiteY48" fmla="*/ 429768 h 578637"/>
                <a:gd name="connsiteX49" fmla="*/ 96739 w 956275"/>
                <a:gd name="connsiteY49" fmla="*/ 457200 h 578637"/>
                <a:gd name="connsiteX50" fmla="*/ 13820 w 956275"/>
                <a:gd name="connsiteY50" fmla="*/ 496783 h 578637"/>
                <a:gd name="connsiteX51" fmla="*/ 13820 w 956275"/>
                <a:gd name="connsiteY51" fmla="*/ 496784 h 578637"/>
                <a:gd name="connsiteX52" fmla="*/ 40672 w 956275"/>
                <a:gd name="connsiteY52" fmla="*/ 486851 h 578637"/>
                <a:gd name="connsiteX53" fmla="*/ 132458 w 956275"/>
                <a:gd name="connsiteY53" fmla="*/ 430387 h 578637"/>
                <a:gd name="connsiteX54" fmla="*/ 97137 w 956275"/>
                <a:gd name="connsiteY54" fmla="*/ 578637 h 578637"/>
                <a:gd name="connsiteX55" fmla="*/ 97137 w 956275"/>
                <a:gd name="connsiteY55" fmla="*/ 578637 h 578637"/>
                <a:gd name="connsiteX0" fmla="*/ 97137 w 956275"/>
                <a:gd name="connsiteY0" fmla="*/ 578637 h 578637"/>
                <a:gd name="connsiteX1" fmla="*/ 13820 w 956275"/>
                <a:gd name="connsiteY1" fmla="*/ 496784 h 578637"/>
                <a:gd name="connsiteX2" fmla="*/ 13820 w 956275"/>
                <a:gd name="connsiteY2" fmla="*/ 496784 h 578637"/>
                <a:gd name="connsiteX3" fmla="*/ 51019 w 956275"/>
                <a:gd name="connsiteY3" fmla="*/ 493776 h 578637"/>
                <a:gd name="connsiteX4" fmla="*/ 151603 w 956275"/>
                <a:gd name="connsiteY4" fmla="*/ 466344 h 578637"/>
                <a:gd name="connsiteX5" fmla="*/ 252187 w 956275"/>
                <a:gd name="connsiteY5" fmla="*/ 384048 h 578637"/>
                <a:gd name="connsiteX6" fmla="*/ 444211 w 956275"/>
                <a:gd name="connsiteY6" fmla="*/ 301752 h 578637"/>
                <a:gd name="connsiteX7" fmla="*/ 526507 w 956275"/>
                <a:gd name="connsiteY7" fmla="*/ 192024 h 578637"/>
                <a:gd name="connsiteX8" fmla="*/ 672811 w 956275"/>
                <a:gd name="connsiteY8" fmla="*/ 155448 h 578637"/>
                <a:gd name="connsiteX9" fmla="*/ 718531 w 956275"/>
                <a:gd name="connsiteY9" fmla="*/ 155448 h 578637"/>
                <a:gd name="connsiteX10" fmla="*/ 755107 w 956275"/>
                <a:gd name="connsiteY10" fmla="*/ 137160 h 578637"/>
                <a:gd name="connsiteX11" fmla="*/ 709387 w 956275"/>
                <a:gd name="connsiteY11" fmla="*/ 137160 h 578637"/>
                <a:gd name="connsiteX12" fmla="*/ 617947 w 956275"/>
                <a:gd name="connsiteY12" fmla="*/ 137160 h 578637"/>
                <a:gd name="connsiteX13" fmla="*/ 563083 w 956275"/>
                <a:gd name="connsiteY13" fmla="*/ 146304 h 578637"/>
                <a:gd name="connsiteX14" fmla="*/ 553939 w 956275"/>
                <a:gd name="connsiteY14" fmla="*/ 155448 h 578637"/>
                <a:gd name="connsiteX15" fmla="*/ 535651 w 956275"/>
                <a:gd name="connsiteY15" fmla="*/ 146304 h 578637"/>
                <a:gd name="connsiteX16" fmla="*/ 663667 w 956275"/>
                <a:gd name="connsiteY16" fmla="*/ 91440 h 578637"/>
                <a:gd name="connsiteX17" fmla="*/ 718531 w 956275"/>
                <a:gd name="connsiteY17" fmla="*/ 91440 h 578637"/>
                <a:gd name="connsiteX18" fmla="*/ 809971 w 956275"/>
                <a:gd name="connsiteY18" fmla="*/ 82296 h 578637"/>
                <a:gd name="connsiteX19" fmla="*/ 937987 w 956275"/>
                <a:gd name="connsiteY19" fmla="*/ 27432 h 578637"/>
                <a:gd name="connsiteX20" fmla="*/ 919699 w 956275"/>
                <a:gd name="connsiteY20" fmla="*/ 0 h 578637"/>
                <a:gd name="connsiteX21" fmla="*/ 883123 w 956275"/>
                <a:gd name="connsiteY21" fmla="*/ 27432 h 578637"/>
                <a:gd name="connsiteX22" fmla="*/ 846547 w 956275"/>
                <a:gd name="connsiteY22" fmla="*/ 36576 h 578637"/>
                <a:gd name="connsiteX23" fmla="*/ 773395 w 956275"/>
                <a:gd name="connsiteY23" fmla="*/ 64008 h 578637"/>
                <a:gd name="connsiteX24" fmla="*/ 718531 w 956275"/>
                <a:gd name="connsiteY24" fmla="*/ 64008 h 578637"/>
                <a:gd name="connsiteX25" fmla="*/ 608803 w 956275"/>
                <a:gd name="connsiteY25" fmla="*/ 64008 h 578637"/>
                <a:gd name="connsiteX26" fmla="*/ 553939 w 956275"/>
                <a:gd name="connsiteY26" fmla="*/ 100584 h 578637"/>
                <a:gd name="connsiteX27" fmla="*/ 517363 w 956275"/>
                <a:gd name="connsiteY27" fmla="*/ 146304 h 578637"/>
                <a:gd name="connsiteX28" fmla="*/ 471643 w 956275"/>
                <a:gd name="connsiteY28" fmla="*/ 182880 h 578637"/>
                <a:gd name="connsiteX29" fmla="*/ 425923 w 956275"/>
                <a:gd name="connsiteY29" fmla="*/ 256032 h 578637"/>
                <a:gd name="connsiteX30" fmla="*/ 352771 w 956275"/>
                <a:gd name="connsiteY30" fmla="*/ 301752 h 578637"/>
                <a:gd name="connsiteX31" fmla="*/ 252187 w 956275"/>
                <a:gd name="connsiteY31" fmla="*/ 347472 h 578637"/>
                <a:gd name="connsiteX32" fmla="*/ 215611 w 956275"/>
                <a:gd name="connsiteY32" fmla="*/ 374904 h 578637"/>
                <a:gd name="connsiteX33" fmla="*/ 169891 w 956275"/>
                <a:gd name="connsiteY33" fmla="*/ 402336 h 578637"/>
                <a:gd name="connsiteX34" fmla="*/ 151603 w 956275"/>
                <a:gd name="connsiteY34" fmla="*/ 402336 h 578637"/>
                <a:gd name="connsiteX35" fmla="*/ 169891 w 956275"/>
                <a:gd name="connsiteY35" fmla="*/ 365760 h 578637"/>
                <a:gd name="connsiteX36" fmla="*/ 224755 w 956275"/>
                <a:gd name="connsiteY36" fmla="*/ 301752 h 578637"/>
                <a:gd name="connsiteX37" fmla="*/ 316195 w 956275"/>
                <a:gd name="connsiteY37" fmla="*/ 219456 h 578637"/>
                <a:gd name="connsiteX38" fmla="*/ 361915 w 956275"/>
                <a:gd name="connsiteY38" fmla="*/ 146304 h 578637"/>
                <a:gd name="connsiteX39" fmla="*/ 361915 w 956275"/>
                <a:gd name="connsiteY39" fmla="*/ 64008 h 578637"/>
                <a:gd name="connsiteX40" fmla="*/ 352771 w 956275"/>
                <a:gd name="connsiteY40" fmla="*/ 54864 h 578637"/>
                <a:gd name="connsiteX41" fmla="*/ 343627 w 956275"/>
                <a:gd name="connsiteY41" fmla="*/ 128016 h 578637"/>
                <a:gd name="connsiteX42" fmla="*/ 316195 w 956275"/>
                <a:gd name="connsiteY42" fmla="*/ 173736 h 578637"/>
                <a:gd name="connsiteX43" fmla="*/ 243043 w 956275"/>
                <a:gd name="connsiteY43" fmla="*/ 237744 h 578637"/>
                <a:gd name="connsiteX44" fmla="*/ 215611 w 956275"/>
                <a:gd name="connsiteY44" fmla="*/ 256032 h 578637"/>
                <a:gd name="connsiteX45" fmla="*/ 142459 w 956275"/>
                <a:gd name="connsiteY45" fmla="*/ 347472 h 578637"/>
                <a:gd name="connsiteX46" fmla="*/ 133315 w 956275"/>
                <a:gd name="connsiteY46" fmla="*/ 374904 h 578637"/>
                <a:gd name="connsiteX47" fmla="*/ 124171 w 956275"/>
                <a:gd name="connsiteY47" fmla="*/ 411480 h 578637"/>
                <a:gd name="connsiteX48" fmla="*/ 142459 w 956275"/>
                <a:gd name="connsiteY48" fmla="*/ 429768 h 578637"/>
                <a:gd name="connsiteX49" fmla="*/ 96739 w 956275"/>
                <a:gd name="connsiteY49" fmla="*/ 457200 h 578637"/>
                <a:gd name="connsiteX50" fmla="*/ 13820 w 956275"/>
                <a:gd name="connsiteY50" fmla="*/ 496783 h 578637"/>
                <a:gd name="connsiteX51" fmla="*/ 13820 w 956275"/>
                <a:gd name="connsiteY51" fmla="*/ 496784 h 578637"/>
                <a:gd name="connsiteX52" fmla="*/ 23012 w 956275"/>
                <a:gd name="connsiteY52" fmla="*/ 560977 h 578637"/>
                <a:gd name="connsiteX53" fmla="*/ 132458 w 956275"/>
                <a:gd name="connsiteY53" fmla="*/ 430387 h 578637"/>
                <a:gd name="connsiteX54" fmla="*/ 97137 w 956275"/>
                <a:gd name="connsiteY54" fmla="*/ 578637 h 578637"/>
                <a:gd name="connsiteX55" fmla="*/ 97137 w 956275"/>
                <a:gd name="connsiteY55" fmla="*/ 578637 h 578637"/>
                <a:gd name="connsiteX0" fmla="*/ 97137 w 956275"/>
                <a:gd name="connsiteY0" fmla="*/ 578637 h 578637"/>
                <a:gd name="connsiteX1" fmla="*/ 13820 w 956275"/>
                <a:gd name="connsiteY1" fmla="*/ 496784 h 578637"/>
                <a:gd name="connsiteX2" fmla="*/ 13820 w 956275"/>
                <a:gd name="connsiteY2" fmla="*/ 496784 h 578637"/>
                <a:gd name="connsiteX3" fmla="*/ 51019 w 956275"/>
                <a:gd name="connsiteY3" fmla="*/ 493776 h 578637"/>
                <a:gd name="connsiteX4" fmla="*/ 151603 w 956275"/>
                <a:gd name="connsiteY4" fmla="*/ 466344 h 578637"/>
                <a:gd name="connsiteX5" fmla="*/ 252187 w 956275"/>
                <a:gd name="connsiteY5" fmla="*/ 384048 h 578637"/>
                <a:gd name="connsiteX6" fmla="*/ 444211 w 956275"/>
                <a:gd name="connsiteY6" fmla="*/ 301752 h 578637"/>
                <a:gd name="connsiteX7" fmla="*/ 526507 w 956275"/>
                <a:gd name="connsiteY7" fmla="*/ 192024 h 578637"/>
                <a:gd name="connsiteX8" fmla="*/ 672811 w 956275"/>
                <a:gd name="connsiteY8" fmla="*/ 155448 h 578637"/>
                <a:gd name="connsiteX9" fmla="*/ 718531 w 956275"/>
                <a:gd name="connsiteY9" fmla="*/ 155448 h 578637"/>
                <a:gd name="connsiteX10" fmla="*/ 755107 w 956275"/>
                <a:gd name="connsiteY10" fmla="*/ 137160 h 578637"/>
                <a:gd name="connsiteX11" fmla="*/ 709387 w 956275"/>
                <a:gd name="connsiteY11" fmla="*/ 137160 h 578637"/>
                <a:gd name="connsiteX12" fmla="*/ 617947 w 956275"/>
                <a:gd name="connsiteY12" fmla="*/ 137160 h 578637"/>
                <a:gd name="connsiteX13" fmla="*/ 563083 w 956275"/>
                <a:gd name="connsiteY13" fmla="*/ 146304 h 578637"/>
                <a:gd name="connsiteX14" fmla="*/ 553939 w 956275"/>
                <a:gd name="connsiteY14" fmla="*/ 155448 h 578637"/>
                <a:gd name="connsiteX15" fmla="*/ 535651 w 956275"/>
                <a:gd name="connsiteY15" fmla="*/ 146304 h 578637"/>
                <a:gd name="connsiteX16" fmla="*/ 663667 w 956275"/>
                <a:gd name="connsiteY16" fmla="*/ 91440 h 578637"/>
                <a:gd name="connsiteX17" fmla="*/ 718531 w 956275"/>
                <a:gd name="connsiteY17" fmla="*/ 91440 h 578637"/>
                <a:gd name="connsiteX18" fmla="*/ 809971 w 956275"/>
                <a:gd name="connsiteY18" fmla="*/ 82296 h 578637"/>
                <a:gd name="connsiteX19" fmla="*/ 937987 w 956275"/>
                <a:gd name="connsiteY19" fmla="*/ 27432 h 578637"/>
                <a:gd name="connsiteX20" fmla="*/ 919699 w 956275"/>
                <a:gd name="connsiteY20" fmla="*/ 0 h 578637"/>
                <a:gd name="connsiteX21" fmla="*/ 883123 w 956275"/>
                <a:gd name="connsiteY21" fmla="*/ 27432 h 578637"/>
                <a:gd name="connsiteX22" fmla="*/ 846547 w 956275"/>
                <a:gd name="connsiteY22" fmla="*/ 36576 h 578637"/>
                <a:gd name="connsiteX23" fmla="*/ 773395 w 956275"/>
                <a:gd name="connsiteY23" fmla="*/ 64008 h 578637"/>
                <a:gd name="connsiteX24" fmla="*/ 718531 w 956275"/>
                <a:gd name="connsiteY24" fmla="*/ 64008 h 578637"/>
                <a:gd name="connsiteX25" fmla="*/ 608803 w 956275"/>
                <a:gd name="connsiteY25" fmla="*/ 64008 h 578637"/>
                <a:gd name="connsiteX26" fmla="*/ 553939 w 956275"/>
                <a:gd name="connsiteY26" fmla="*/ 100584 h 578637"/>
                <a:gd name="connsiteX27" fmla="*/ 517363 w 956275"/>
                <a:gd name="connsiteY27" fmla="*/ 146304 h 578637"/>
                <a:gd name="connsiteX28" fmla="*/ 471643 w 956275"/>
                <a:gd name="connsiteY28" fmla="*/ 182880 h 578637"/>
                <a:gd name="connsiteX29" fmla="*/ 425923 w 956275"/>
                <a:gd name="connsiteY29" fmla="*/ 256032 h 578637"/>
                <a:gd name="connsiteX30" fmla="*/ 352771 w 956275"/>
                <a:gd name="connsiteY30" fmla="*/ 301752 h 578637"/>
                <a:gd name="connsiteX31" fmla="*/ 252187 w 956275"/>
                <a:gd name="connsiteY31" fmla="*/ 347472 h 578637"/>
                <a:gd name="connsiteX32" fmla="*/ 215611 w 956275"/>
                <a:gd name="connsiteY32" fmla="*/ 374904 h 578637"/>
                <a:gd name="connsiteX33" fmla="*/ 169891 w 956275"/>
                <a:gd name="connsiteY33" fmla="*/ 402336 h 578637"/>
                <a:gd name="connsiteX34" fmla="*/ 151603 w 956275"/>
                <a:gd name="connsiteY34" fmla="*/ 402336 h 578637"/>
                <a:gd name="connsiteX35" fmla="*/ 169891 w 956275"/>
                <a:gd name="connsiteY35" fmla="*/ 365760 h 578637"/>
                <a:gd name="connsiteX36" fmla="*/ 224755 w 956275"/>
                <a:gd name="connsiteY36" fmla="*/ 301752 h 578637"/>
                <a:gd name="connsiteX37" fmla="*/ 316195 w 956275"/>
                <a:gd name="connsiteY37" fmla="*/ 219456 h 578637"/>
                <a:gd name="connsiteX38" fmla="*/ 361915 w 956275"/>
                <a:gd name="connsiteY38" fmla="*/ 146304 h 578637"/>
                <a:gd name="connsiteX39" fmla="*/ 361915 w 956275"/>
                <a:gd name="connsiteY39" fmla="*/ 64008 h 578637"/>
                <a:gd name="connsiteX40" fmla="*/ 352771 w 956275"/>
                <a:gd name="connsiteY40" fmla="*/ 54864 h 578637"/>
                <a:gd name="connsiteX41" fmla="*/ 343627 w 956275"/>
                <a:gd name="connsiteY41" fmla="*/ 128016 h 578637"/>
                <a:gd name="connsiteX42" fmla="*/ 316195 w 956275"/>
                <a:gd name="connsiteY42" fmla="*/ 173736 h 578637"/>
                <a:gd name="connsiteX43" fmla="*/ 243043 w 956275"/>
                <a:gd name="connsiteY43" fmla="*/ 237744 h 578637"/>
                <a:gd name="connsiteX44" fmla="*/ 215611 w 956275"/>
                <a:gd name="connsiteY44" fmla="*/ 256032 h 578637"/>
                <a:gd name="connsiteX45" fmla="*/ 142459 w 956275"/>
                <a:gd name="connsiteY45" fmla="*/ 347472 h 578637"/>
                <a:gd name="connsiteX46" fmla="*/ 133315 w 956275"/>
                <a:gd name="connsiteY46" fmla="*/ 374904 h 578637"/>
                <a:gd name="connsiteX47" fmla="*/ 124171 w 956275"/>
                <a:gd name="connsiteY47" fmla="*/ 411480 h 578637"/>
                <a:gd name="connsiteX48" fmla="*/ 142459 w 956275"/>
                <a:gd name="connsiteY48" fmla="*/ 429768 h 578637"/>
                <a:gd name="connsiteX49" fmla="*/ 96739 w 956275"/>
                <a:gd name="connsiteY49" fmla="*/ 457200 h 578637"/>
                <a:gd name="connsiteX50" fmla="*/ 13820 w 956275"/>
                <a:gd name="connsiteY50" fmla="*/ 496783 h 578637"/>
                <a:gd name="connsiteX51" fmla="*/ 13820 w 956275"/>
                <a:gd name="connsiteY51" fmla="*/ 496784 h 578637"/>
                <a:gd name="connsiteX52" fmla="*/ 132458 w 956275"/>
                <a:gd name="connsiteY52" fmla="*/ 430387 h 578637"/>
                <a:gd name="connsiteX53" fmla="*/ 132458 w 956275"/>
                <a:gd name="connsiteY53" fmla="*/ 430387 h 578637"/>
                <a:gd name="connsiteX54" fmla="*/ 97137 w 956275"/>
                <a:gd name="connsiteY54" fmla="*/ 578637 h 578637"/>
                <a:gd name="connsiteX55" fmla="*/ 97137 w 956275"/>
                <a:gd name="connsiteY55" fmla="*/ 578637 h 578637"/>
                <a:gd name="connsiteX0" fmla="*/ 89270 w 948408"/>
                <a:gd name="connsiteY0" fmla="*/ 578637 h 578637"/>
                <a:gd name="connsiteX1" fmla="*/ 5953 w 948408"/>
                <a:gd name="connsiteY1" fmla="*/ 496784 h 578637"/>
                <a:gd name="connsiteX2" fmla="*/ 5953 w 948408"/>
                <a:gd name="connsiteY2" fmla="*/ 496784 h 578637"/>
                <a:gd name="connsiteX3" fmla="*/ 43152 w 948408"/>
                <a:gd name="connsiteY3" fmla="*/ 493776 h 578637"/>
                <a:gd name="connsiteX4" fmla="*/ 143736 w 948408"/>
                <a:gd name="connsiteY4" fmla="*/ 466344 h 578637"/>
                <a:gd name="connsiteX5" fmla="*/ 244320 w 948408"/>
                <a:gd name="connsiteY5" fmla="*/ 384048 h 578637"/>
                <a:gd name="connsiteX6" fmla="*/ 436344 w 948408"/>
                <a:gd name="connsiteY6" fmla="*/ 301752 h 578637"/>
                <a:gd name="connsiteX7" fmla="*/ 518640 w 948408"/>
                <a:gd name="connsiteY7" fmla="*/ 192024 h 578637"/>
                <a:gd name="connsiteX8" fmla="*/ 664944 w 948408"/>
                <a:gd name="connsiteY8" fmla="*/ 155448 h 578637"/>
                <a:gd name="connsiteX9" fmla="*/ 710664 w 948408"/>
                <a:gd name="connsiteY9" fmla="*/ 155448 h 578637"/>
                <a:gd name="connsiteX10" fmla="*/ 747240 w 948408"/>
                <a:gd name="connsiteY10" fmla="*/ 137160 h 578637"/>
                <a:gd name="connsiteX11" fmla="*/ 701520 w 948408"/>
                <a:gd name="connsiteY11" fmla="*/ 137160 h 578637"/>
                <a:gd name="connsiteX12" fmla="*/ 610080 w 948408"/>
                <a:gd name="connsiteY12" fmla="*/ 137160 h 578637"/>
                <a:gd name="connsiteX13" fmla="*/ 555216 w 948408"/>
                <a:gd name="connsiteY13" fmla="*/ 146304 h 578637"/>
                <a:gd name="connsiteX14" fmla="*/ 546072 w 948408"/>
                <a:gd name="connsiteY14" fmla="*/ 155448 h 578637"/>
                <a:gd name="connsiteX15" fmla="*/ 527784 w 948408"/>
                <a:gd name="connsiteY15" fmla="*/ 146304 h 578637"/>
                <a:gd name="connsiteX16" fmla="*/ 655800 w 948408"/>
                <a:gd name="connsiteY16" fmla="*/ 91440 h 578637"/>
                <a:gd name="connsiteX17" fmla="*/ 710664 w 948408"/>
                <a:gd name="connsiteY17" fmla="*/ 91440 h 578637"/>
                <a:gd name="connsiteX18" fmla="*/ 802104 w 948408"/>
                <a:gd name="connsiteY18" fmla="*/ 82296 h 578637"/>
                <a:gd name="connsiteX19" fmla="*/ 930120 w 948408"/>
                <a:gd name="connsiteY19" fmla="*/ 27432 h 578637"/>
                <a:gd name="connsiteX20" fmla="*/ 911832 w 948408"/>
                <a:gd name="connsiteY20" fmla="*/ 0 h 578637"/>
                <a:gd name="connsiteX21" fmla="*/ 875256 w 948408"/>
                <a:gd name="connsiteY21" fmla="*/ 27432 h 578637"/>
                <a:gd name="connsiteX22" fmla="*/ 838680 w 948408"/>
                <a:gd name="connsiteY22" fmla="*/ 36576 h 578637"/>
                <a:gd name="connsiteX23" fmla="*/ 765528 w 948408"/>
                <a:gd name="connsiteY23" fmla="*/ 64008 h 578637"/>
                <a:gd name="connsiteX24" fmla="*/ 710664 w 948408"/>
                <a:gd name="connsiteY24" fmla="*/ 64008 h 578637"/>
                <a:gd name="connsiteX25" fmla="*/ 600936 w 948408"/>
                <a:gd name="connsiteY25" fmla="*/ 64008 h 578637"/>
                <a:gd name="connsiteX26" fmla="*/ 546072 w 948408"/>
                <a:gd name="connsiteY26" fmla="*/ 100584 h 578637"/>
                <a:gd name="connsiteX27" fmla="*/ 509496 w 948408"/>
                <a:gd name="connsiteY27" fmla="*/ 146304 h 578637"/>
                <a:gd name="connsiteX28" fmla="*/ 463776 w 948408"/>
                <a:gd name="connsiteY28" fmla="*/ 182880 h 578637"/>
                <a:gd name="connsiteX29" fmla="*/ 418056 w 948408"/>
                <a:gd name="connsiteY29" fmla="*/ 256032 h 578637"/>
                <a:gd name="connsiteX30" fmla="*/ 344904 w 948408"/>
                <a:gd name="connsiteY30" fmla="*/ 301752 h 578637"/>
                <a:gd name="connsiteX31" fmla="*/ 244320 w 948408"/>
                <a:gd name="connsiteY31" fmla="*/ 347472 h 578637"/>
                <a:gd name="connsiteX32" fmla="*/ 207744 w 948408"/>
                <a:gd name="connsiteY32" fmla="*/ 374904 h 578637"/>
                <a:gd name="connsiteX33" fmla="*/ 162024 w 948408"/>
                <a:gd name="connsiteY33" fmla="*/ 402336 h 578637"/>
                <a:gd name="connsiteX34" fmla="*/ 143736 w 948408"/>
                <a:gd name="connsiteY34" fmla="*/ 402336 h 578637"/>
                <a:gd name="connsiteX35" fmla="*/ 162024 w 948408"/>
                <a:gd name="connsiteY35" fmla="*/ 365760 h 578637"/>
                <a:gd name="connsiteX36" fmla="*/ 216888 w 948408"/>
                <a:gd name="connsiteY36" fmla="*/ 301752 h 578637"/>
                <a:gd name="connsiteX37" fmla="*/ 308328 w 948408"/>
                <a:gd name="connsiteY37" fmla="*/ 219456 h 578637"/>
                <a:gd name="connsiteX38" fmla="*/ 354048 w 948408"/>
                <a:gd name="connsiteY38" fmla="*/ 146304 h 578637"/>
                <a:gd name="connsiteX39" fmla="*/ 354048 w 948408"/>
                <a:gd name="connsiteY39" fmla="*/ 64008 h 578637"/>
                <a:gd name="connsiteX40" fmla="*/ 344904 w 948408"/>
                <a:gd name="connsiteY40" fmla="*/ 54864 h 578637"/>
                <a:gd name="connsiteX41" fmla="*/ 335760 w 948408"/>
                <a:gd name="connsiteY41" fmla="*/ 128016 h 578637"/>
                <a:gd name="connsiteX42" fmla="*/ 308328 w 948408"/>
                <a:gd name="connsiteY42" fmla="*/ 173736 h 578637"/>
                <a:gd name="connsiteX43" fmla="*/ 235176 w 948408"/>
                <a:gd name="connsiteY43" fmla="*/ 237744 h 578637"/>
                <a:gd name="connsiteX44" fmla="*/ 207744 w 948408"/>
                <a:gd name="connsiteY44" fmla="*/ 256032 h 578637"/>
                <a:gd name="connsiteX45" fmla="*/ 134592 w 948408"/>
                <a:gd name="connsiteY45" fmla="*/ 347472 h 578637"/>
                <a:gd name="connsiteX46" fmla="*/ 125448 w 948408"/>
                <a:gd name="connsiteY46" fmla="*/ 374904 h 578637"/>
                <a:gd name="connsiteX47" fmla="*/ 116304 w 948408"/>
                <a:gd name="connsiteY47" fmla="*/ 411480 h 578637"/>
                <a:gd name="connsiteX48" fmla="*/ 134592 w 948408"/>
                <a:gd name="connsiteY48" fmla="*/ 429768 h 578637"/>
                <a:gd name="connsiteX49" fmla="*/ 88872 w 948408"/>
                <a:gd name="connsiteY49" fmla="*/ 457200 h 578637"/>
                <a:gd name="connsiteX50" fmla="*/ 5953 w 948408"/>
                <a:gd name="connsiteY50" fmla="*/ 496783 h 578637"/>
                <a:gd name="connsiteX51" fmla="*/ 124591 w 948408"/>
                <a:gd name="connsiteY51" fmla="*/ 430387 h 578637"/>
                <a:gd name="connsiteX52" fmla="*/ 124591 w 948408"/>
                <a:gd name="connsiteY52" fmla="*/ 430387 h 578637"/>
                <a:gd name="connsiteX53" fmla="*/ 124591 w 948408"/>
                <a:gd name="connsiteY53" fmla="*/ 430387 h 578637"/>
                <a:gd name="connsiteX54" fmla="*/ 89270 w 948408"/>
                <a:gd name="connsiteY54" fmla="*/ 578637 h 578637"/>
                <a:gd name="connsiteX55" fmla="*/ 89270 w 948408"/>
                <a:gd name="connsiteY55" fmla="*/ 578637 h 578637"/>
                <a:gd name="connsiteX0" fmla="*/ 83317 w 942455"/>
                <a:gd name="connsiteY0" fmla="*/ 578637 h 578637"/>
                <a:gd name="connsiteX1" fmla="*/ 0 w 942455"/>
                <a:gd name="connsiteY1" fmla="*/ 496784 h 578637"/>
                <a:gd name="connsiteX2" fmla="*/ 0 w 942455"/>
                <a:gd name="connsiteY2" fmla="*/ 496784 h 578637"/>
                <a:gd name="connsiteX3" fmla="*/ 37199 w 942455"/>
                <a:gd name="connsiteY3" fmla="*/ 493776 h 578637"/>
                <a:gd name="connsiteX4" fmla="*/ 137783 w 942455"/>
                <a:gd name="connsiteY4" fmla="*/ 466344 h 578637"/>
                <a:gd name="connsiteX5" fmla="*/ 238367 w 942455"/>
                <a:gd name="connsiteY5" fmla="*/ 384048 h 578637"/>
                <a:gd name="connsiteX6" fmla="*/ 430391 w 942455"/>
                <a:gd name="connsiteY6" fmla="*/ 301752 h 578637"/>
                <a:gd name="connsiteX7" fmla="*/ 512687 w 942455"/>
                <a:gd name="connsiteY7" fmla="*/ 192024 h 578637"/>
                <a:gd name="connsiteX8" fmla="*/ 658991 w 942455"/>
                <a:gd name="connsiteY8" fmla="*/ 155448 h 578637"/>
                <a:gd name="connsiteX9" fmla="*/ 704711 w 942455"/>
                <a:gd name="connsiteY9" fmla="*/ 155448 h 578637"/>
                <a:gd name="connsiteX10" fmla="*/ 741287 w 942455"/>
                <a:gd name="connsiteY10" fmla="*/ 137160 h 578637"/>
                <a:gd name="connsiteX11" fmla="*/ 695567 w 942455"/>
                <a:gd name="connsiteY11" fmla="*/ 137160 h 578637"/>
                <a:gd name="connsiteX12" fmla="*/ 604127 w 942455"/>
                <a:gd name="connsiteY12" fmla="*/ 137160 h 578637"/>
                <a:gd name="connsiteX13" fmla="*/ 549263 w 942455"/>
                <a:gd name="connsiteY13" fmla="*/ 146304 h 578637"/>
                <a:gd name="connsiteX14" fmla="*/ 540119 w 942455"/>
                <a:gd name="connsiteY14" fmla="*/ 155448 h 578637"/>
                <a:gd name="connsiteX15" fmla="*/ 521831 w 942455"/>
                <a:gd name="connsiteY15" fmla="*/ 146304 h 578637"/>
                <a:gd name="connsiteX16" fmla="*/ 649847 w 942455"/>
                <a:gd name="connsiteY16" fmla="*/ 91440 h 578637"/>
                <a:gd name="connsiteX17" fmla="*/ 704711 w 942455"/>
                <a:gd name="connsiteY17" fmla="*/ 91440 h 578637"/>
                <a:gd name="connsiteX18" fmla="*/ 796151 w 942455"/>
                <a:gd name="connsiteY18" fmla="*/ 82296 h 578637"/>
                <a:gd name="connsiteX19" fmla="*/ 924167 w 942455"/>
                <a:gd name="connsiteY19" fmla="*/ 27432 h 578637"/>
                <a:gd name="connsiteX20" fmla="*/ 905879 w 942455"/>
                <a:gd name="connsiteY20" fmla="*/ 0 h 578637"/>
                <a:gd name="connsiteX21" fmla="*/ 869303 w 942455"/>
                <a:gd name="connsiteY21" fmla="*/ 27432 h 578637"/>
                <a:gd name="connsiteX22" fmla="*/ 832727 w 942455"/>
                <a:gd name="connsiteY22" fmla="*/ 36576 h 578637"/>
                <a:gd name="connsiteX23" fmla="*/ 759575 w 942455"/>
                <a:gd name="connsiteY23" fmla="*/ 64008 h 578637"/>
                <a:gd name="connsiteX24" fmla="*/ 704711 w 942455"/>
                <a:gd name="connsiteY24" fmla="*/ 64008 h 578637"/>
                <a:gd name="connsiteX25" fmla="*/ 594983 w 942455"/>
                <a:gd name="connsiteY25" fmla="*/ 64008 h 578637"/>
                <a:gd name="connsiteX26" fmla="*/ 540119 w 942455"/>
                <a:gd name="connsiteY26" fmla="*/ 100584 h 578637"/>
                <a:gd name="connsiteX27" fmla="*/ 503543 w 942455"/>
                <a:gd name="connsiteY27" fmla="*/ 146304 h 578637"/>
                <a:gd name="connsiteX28" fmla="*/ 457823 w 942455"/>
                <a:gd name="connsiteY28" fmla="*/ 182880 h 578637"/>
                <a:gd name="connsiteX29" fmla="*/ 412103 w 942455"/>
                <a:gd name="connsiteY29" fmla="*/ 256032 h 578637"/>
                <a:gd name="connsiteX30" fmla="*/ 338951 w 942455"/>
                <a:gd name="connsiteY30" fmla="*/ 301752 h 578637"/>
                <a:gd name="connsiteX31" fmla="*/ 238367 w 942455"/>
                <a:gd name="connsiteY31" fmla="*/ 347472 h 578637"/>
                <a:gd name="connsiteX32" fmla="*/ 201791 w 942455"/>
                <a:gd name="connsiteY32" fmla="*/ 374904 h 578637"/>
                <a:gd name="connsiteX33" fmla="*/ 156071 w 942455"/>
                <a:gd name="connsiteY33" fmla="*/ 402336 h 578637"/>
                <a:gd name="connsiteX34" fmla="*/ 137783 w 942455"/>
                <a:gd name="connsiteY34" fmla="*/ 402336 h 578637"/>
                <a:gd name="connsiteX35" fmla="*/ 156071 w 942455"/>
                <a:gd name="connsiteY35" fmla="*/ 365760 h 578637"/>
                <a:gd name="connsiteX36" fmla="*/ 210935 w 942455"/>
                <a:gd name="connsiteY36" fmla="*/ 301752 h 578637"/>
                <a:gd name="connsiteX37" fmla="*/ 302375 w 942455"/>
                <a:gd name="connsiteY37" fmla="*/ 219456 h 578637"/>
                <a:gd name="connsiteX38" fmla="*/ 348095 w 942455"/>
                <a:gd name="connsiteY38" fmla="*/ 146304 h 578637"/>
                <a:gd name="connsiteX39" fmla="*/ 348095 w 942455"/>
                <a:gd name="connsiteY39" fmla="*/ 64008 h 578637"/>
                <a:gd name="connsiteX40" fmla="*/ 338951 w 942455"/>
                <a:gd name="connsiteY40" fmla="*/ 54864 h 578637"/>
                <a:gd name="connsiteX41" fmla="*/ 329807 w 942455"/>
                <a:gd name="connsiteY41" fmla="*/ 128016 h 578637"/>
                <a:gd name="connsiteX42" fmla="*/ 302375 w 942455"/>
                <a:gd name="connsiteY42" fmla="*/ 173736 h 578637"/>
                <a:gd name="connsiteX43" fmla="*/ 229223 w 942455"/>
                <a:gd name="connsiteY43" fmla="*/ 237744 h 578637"/>
                <a:gd name="connsiteX44" fmla="*/ 201791 w 942455"/>
                <a:gd name="connsiteY44" fmla="*/ 256032 h 578637"/>
                <a:gd name="connsiteX45" fmla="*/ 128639 w 942455"/>
                <a:gd name="connsiteY45" fmla="*/ 347472 h 578637"/>
                <a:gd name="connsiteX46" fmla="*/ 119495 w 942455"/>
                <a:gd name="connsiteY46" fmla="*/ 374904 h 578637"/>
                <a:gd name="connsiteX47" fmla="*/ 110351 w 942455"/>
                <a:gd name="connsiteY47" fmla="*/ 411480 h 578637"/>
                <a:gd name="connsiteX48" fmla="*/ 128639 w 942455"/>
                <a:gd name="connsiteY48" fmla="*/ 429768 h 578637"/>
                <a:gd name="connsiteX49" fmla="*/ 82919 w 942455"/>
                <a:gd name="connsiteY49" fmla="*/ 457200 h 578637"/>
                <a:gd name="connsiteX50" fmla="*/ 118640 w 942455"/>
                <a:gd name="connsiteY50" fmla="*/ 430387 h 578637"/>
                <a:gd name="connsiteX51" fmla="*/ 118638 w 942455"/>
                <a:gd name="connsiteY51" fmla="*/ 430387 h 578637"/>
                <a:gd name="connsiteX52" fmla="*/ 118638 w 942455"/>
                <a:gd name="connsiteY52" fmla="*/ 430387 h 578637"/>
                <a:gd name="connsiteX53" fmla="*/ 118638 w 942455"/>
                <a:gd name="connsiteY53" fmla="*/ 430387 h 578637"/>
                <a:gd name="connsiteX54" fmla="*/ 83317 w 942455"/>
                <a:gd name="connsiteY54" fmla="*/ 578637 h 578637"/>
                <a:gd name="connsiteX55" fmla="*/ 83317 w 942455"/>
                <a:gd name="connsiteY55" fmla="*/ 578637 h 578637"/>
                <a:gd name="connsiteX0" fmla="*/ 118639 w 942455"/>
                <a:gd name="connsiteY0" fmla="*/ 430387 h 578637"/>
                <a:gd name="connsiteX1" fmla="*/ 0 w 942455"/>
                <a:gd name="connsiteY1" fmla="*/ 496784 h 578637"/>
                <a:gd name="connsiteX2" fmla="*/ 0 w 942455"/>
                <a:gd name="connsiteY2" fmla="*/ 496784 h 578637"/>
                <a:gd name="connsiteX3" fmla="*/ 37199 w 942455"/>
                <a:gd name="connsiteY3" fmla="*/ 493776 h 578637"/>
                <a:gd name="connsiteX4" fmla="*/ 137783 w 942455"/>
                <a:gd name="connsiteY4" fmla="*/ 466344 h 578637"/>
                <a:gd name="connsiteX5" fmla="*/ 238367 w 942455"/>
                <a:gd name="connsiteY5" fmla="*/ 384048 h 578637"/>
                <a:gd name="connsiteX6" fmla="*/ 430391 w 942455"/>
                <a:gd name="connsiteY6" fmla="*/ 301752 h 578637"/>
                <a:gd name="connsiteX7" fmla="*/ 512687 w 942455"/>
                <a:gd name="connsiteY7" fmla="*/ 192024 h 578637"/>
                <a:gd name="connsiteX8" fmla="*/ 658991 w 942455"/>
                <a:gd name="connsiteY8" fmla="*/ 155448 h 578637"/>
                <a:gd name="connsiteX9" fmla="*/ 704711 w 942455"/>
                <a:gd name="connsiteY9" fmla="*/ 155448 h 578637"/>
                <a:gd name="connsiteX10" fmla="*/ 741287 w 942455"/>
                <a:gd name="connsiteY10" fmla="*/ 137160 h 578637"/>
                <a:gd name="connsiteX11" fmla="*/ 695567 w 942455"/>
                <a:gd name="connsiteY11" fmla="*/ 137160 h 578637"/>
                <a:gd name="connsiteX12" fmla="*/ 604127 w 942455"/>
                <a:gd name="connsiteY12" fmla="*/ 137160 h 578637"/>
                <a:gd name="connsiteX13" fmla="*/ 549263 w 942455"/>
                <a:gd name="connsiteY13" fmla="*/ 146304 h 578637"/>
                <a:gd name="connsiteX14" fmla="*/ 540119 w 942455"/>
                <a:gd name="connsiteY14" fmla="*/ 155448 h 578637"/>
                <a:gd name="connsiteX15" fmla="*/ 521831 w 942455"/>
                <a:gd name="connsiteY15" fmla="*/ 146304 h 578637"/>
                <a:gd name="connsiteX16" fmla="*/ 649847 w 942455"/>
                <a:gd name="connsiteY16" fmla="*/ 91440 h 578637"/>
                <a:gd name="connsiteX17" fmla="*/ 704711 w 942455"/>
                <a:gd name="connsiteY17" fmla="*/ 91440 h 578637"/>
                <a:gd name="connsiteX18" fmla="*/ 796151 w 942455"/>
                <a:gd name="connsiteY18" fmla="*/ 82296 h 578637"/>
                <a:gd name="connsiteX19" fmla="*/ 924167 w 942455"/>
                <a:gd name="connsiteY19" fmla="*/ 27432 h 578637"/>
                <a:gd name="connsiteX20" fmla="*/ 905879 w 942455"/>
                <a:gd name="connsiteY20" fmla="*/ 0 h 578637"/>
                <a:gd name="connsiteX21" fmla="*/ 869303 w 942455"/>
                <a:gd name="connsiteY21" fmla="*/ 27432 h 578637"/>
                <a:gd name="connsiteX22" fmla="*/ 832727 w 942455"/>
                <a:gd name="connsiteY22" fmla="*/ 36576 h 578637"/>
                <a:gd name="connsiteX23" fmla="*/ 759575 w 942455"/>
                <a:gd name="connsiteY23" fmla="*/ 64008 h 578637"/>
                <a:gd name="connsiteX24" fmla="*/ 704711 w 942455"/>
                <a:gd name="connsiteY24" fmla="*/ 64008 h 578637"/>
                <a:gd name="connsiteX25" fmla="*/ 594983 w 942455"/>
                <a:gd name="connsiteY25" fmla="*/ 64008 h 578637"/>
                <a:gd name="connsiteX26" fmla="*/ 540119 w 942455"/>
                <a:gd name="connsiteY26" fmla="*/ 100584 h 578637"/>
                <a:gd name="connsiteX27" fmla="*/ 503543 w 942455"/>
                <a:gd name="connsiteY27" fmla="*/ 146304 h 578637"/>
                <a:gd name="connsiteX28" fmla="*/ 457823 w 942455"/>
                <a:gd name="connsiteY28" fmla="*/ 182880 h 578637"/>
                <a:gd name="connsiteX29" fmla="*/ 412103 w 942455"/>
                <a:gd name="connsiteY29" fmla="*/ 256032 h 578637"/>
                <a:gd name="connsiteX30" fmla="*/ 338951 w 942455"/>
                <a:gd name="connsiteY30" fmla="*/ 301752 h 578637"/>
                <a:gd name="connsiteX31" fmla="*/ 238367 w 942455"/>
                <a:gd name="connsiteY31" fmla="*/ 347472 h 578637"/>
                <a:gd name="connsiteX32" fmla="*/ 201791 w 942455"/>
                <a:gd name="connsiteY32" fmla="*/ 374904 h 578637"/>
                <a:gd name="connsiteX33" fmla="*/ 156071 w 942455"/>
                <a:gd name="connsiteY33" fmla="*/ 402336 h 578637"/>
                <a:gd name="connsiteX34" fmla="*/ 137783 w 942455"/>
                <a:gd name="connsiteY34" fmla="*/ 402336 h 578637"/>
                <a:gd name="connsiteX35" fmla="*/ 156071 w 942455"/>
                <a:gd name="connsiteY35" fmla="*/ 365760 h 578637"/>
                <a:gd name="connsiteX36" fmla="*/ 210935 w 942455"/>
                <a:gd name="connsiteY36" fmla="*/ 301752 h 578637"/>
                <a:gd name="connsiteX37" fmla="*/ 302375 w 942455"/>
                <a:gd name="connsiteY37" fmla="*/ 219456 h 578637"/>
                <a:gd name="connsiteX38" fmla="*/ 348095 w 942455"/>
                <a:gd name="connsiteY38" fmla="*/ 146304 h 578637"/>
                <a:gd name="connsiteX39" fmla="*/ 348095 w 942455"/>
                <a:gd name="connsiteY39" fmla="*/ 64008 h 578637"/>
                <a:gd name="connsiteX40" fmla="*/ 338951 w 942455"/>
                <a:gd name="connsiteY40" fmla="*/ 54864 h 578637"/>
                <a:gd name="connsiteX41" fmla="*/ 329807 w 942455"/>
                <a:gd name="connsiteY41" fmla="*/ 128016 h 578637"/>
                <a:gd name="connsiteX42" fmla="*/ 302375 w 942455"/>
                <a:gd name="connsiteY42" fmla="*/ 173736 h 578637"/>
                <a:gd name="connsiteX43" fmla="*/ 229223 w 942455"/>
                <a:gd name="connsiteY43" fmla="*/ 237744 h 578637"/>
                <a:gd name="connsiteX44" fmla="*/ 201791 w 942455"/>
                <a:gd name="connsiteY44" fmla="*/ 256032 h 578637"/>
                <a:gd name="connsiteX45" fmla="*/ 128639 w 942455"/>
                <a:gd name="connsiteY45" fmla="*/ 347472 h 578637"/>
                <a:gd name="connsiteX46" fmla="*/ 119495 w 942455"/>
                <a:gd name="connsiteY46" fmla="*/ 374904 h 578637"/>
                <a:gd name="connsiteX47" fmla="*/ 110351 w 942455"/>
                <a:gd name="connsiteY47" fmla="*/ 411480 h 578637"/>
                <a:gd name="connsiteX48" fmla="*/ 128639 w 942455"/>
                <a:gd name="connsiteY48" fmla="*/ 429768 h 578637"/>
                <a:gd name="connsiteX49" fmla="*/ 82919 w 942455"/>
                <a:gd name="connsiteY49" fmla="*/ 457200 h 578637"/>
                <a:gd name="connsiteX50" fmla="*/ 118640 w 942455"/>
                <a:gd name="connsiteY50" fmla="*/ 430387 h 578637"/>
                <a:gd name="connsiteX51" fmla="*/ 118638 w 942455"/>
                <a:gd name="connsiteY51" fmla="*/ 430387 h 578637"/>
                <a:gd name="connsiteX52" fmla="*/ 118638 w 942455"/>
                <a:gd name="connsiteY52" fmla="*/ 430387 h 578637"/>
                <a:gd name="connsiteX53" fmla="*/ 118638 w 942455"/>
                <a:gd name="connsiteY53" fmla="*/ 430387 h 578637"/>
                <a:gd name="connsiteX54" fmla="*/ 83317 w 942455"/>
                <a:gd name="connsiteY54" fmla="*/ 578637 h 578637"/>
                <a:gd name="connsiteX55" fmla="*/ 118639 w 942455"/>
                <a:gd name="connsiteY55" fmla="*/ 430387 h 578637"/>
                <a:gd name="connsiteX0" fmla="*/ 118639 w 942455"/>
                <a:gd name="connsiteY0" fmla="*/ 430387 h 578637"/>
                <a:gd name="connsiteX1" fmla="*/ 0 w 942455"/>
                <a:gd name="connsiteY1" fmla="*/ 496784 h 578637"/>
                <a:gd name="connsiteX2" fmla="*/ 0 w 942455"/>
                <a:gd name="connsiteY2" fmla="*/ 496784 h 578637"/>
                <a:gd name="connsiteX3" fmla="*/ 118639 w 942455"/>
                <a:gd name="connsiteY3" fmla="*/ 430387 h 578637"/>
                <a:gd name="connsiteX4" fmla="*/ 137783 w 942455"/>
                <a:gd name="connsiteY4" fmla="*/ 466344 h 578637"/>
                <a:gd name="connsiteX5" fmla="*/ 238367 w 942455"/>
                <a:gd name="connsiteY5" fmla="*/ 384048 h 578637"/>
                <a:gd name="connsiteX6" fmla="*/ 430391 w 942455"/>
                <a:gd name="connsiteY6" fmla="*/ 301752 h 578637"/>
                <a:gd name="connsiteX7" fmla="*/ 512687 w 942455"/>
                <a:gd name="connsiteY7" fmla="*/ 192024 h 578637"/>
                <a:gd name="connsiteX8" fmla="*/ 658991 w 942455"/>
                <a:gd name="connsiteY8" fmla="*/ 155448 h 578637"/>
                <a:gd name="connsiteX9" fmla="*/ 704711 w 942455"/>
                <a:gd name="connsiteY9" fmla="*/ 155448 h 578637"/>
                <a:gd name="connsiteX10" fmla="*/ 741287 w 942455"/>
                <a:gd name="connsiteY10" fmla="*/ 137160 h 578637"/>
                <a:gd name="connsiteX11" fmla="*/ 695567 w 942455"/>
                <a:gd name="connsiteY11" fmla="*/ 137160 h 578637"/>
                <a:gd name="connsiteX12" fmla="*/ 604127 w 942455"/>
                <a:gd name="connsiteY12" fmla="*/ 137160 h 578637"/>
                <a:gd name="connsiteX13" fmla="*/ 549263 w 942455"/>
                <a:gd name="connsiteY13" fmla="*/ 146304 h 578637"/>
                <a:gd name="connsiteX14" fmla="*/ 540119 w 942455"/>
                <a:gd name="connsiteY14" fmla="*/ 155448 h 578637"/>
                <a:gd name="connsiteX15" fmla="*/ 521831 w 942455"/>
                <a:gd name="connsiteY15" fmla="*/ 146304 h 578637"/>
                <a:gd name="connsiteX16" fmla="*/ 649847 w 942455"/>
                <a:gd name="connsiteY16" fmla="*/ 91440 h 578637"/>
                <a:gd name="connsiteX17" fmla="*/ 704711 w 942455"/>
                <a:gd name="connsiteY17" fmla="*/ 91440 h 578637"/>
                <a:gd name="connsiteX18" fmla="*/ 796151 w 942455"/>
                <a:gd name="connsiteY18" fmla="*/ 82296 h 578637"/>
                <a:gd name="connsiteX19" fmla="*/ 924167 w 942455"/>
                <a:gd name="connsiteY19" fmla="*/ 27432 h 578637"/>
                <a:gd name="connsiteX20" fmla="*/ 905879 w 942455"/>
                <a:gd name="connsiteY20" fmla="*/ 0 h 578637"/>
                <a:gd name="connsiteX21" fmla="*/ 869303 w 942455"/>
                <a:gd name="connsiteY21" fmla="*/ 27432 h 578637"/>
                <a:gd name="connsiteX22" fmla="*/ 832727 w 942455"/>
                <a:gd name="connsiteY22" fmla="*/ 36576 h 578637"/>
                <a:gd name="connsiteX23" fmla="*/ 759575 w 942455"/>
                <a:gd name="connsiteY23" fmla="*/ 64008 h 578637"/>
                <a:gd name="connsiteX24" fmla="*/ 704711 w 942455"/>
                <a:gd name="connsiteY24" fmla="*/ 64008 h 578637"/>
                <a:gd name="connsiteX25" fmla="*/ 594983 w 942455"/>
                <a:gd name="connsiteY25" fmla="*/ 64008 h 578637"/>
                <a:gd name="connsiteX26" fmla="*/ 540119 w 942455"/>
                <a:gd name="connsiteY26" fmla="*/ 100584 h 578637"/>
                <a:gd name="connsiteX27" fmla="*/ 503543 w 942455"/>
                <a:gd name="connsiteY27" fmla="*/ 146304 h 578637"/>
                <a:gd name="connsiteX28" fmla="*/ 457823 w 942455"/>
                <a:gd name="connsiteY28" fmla="*/ 182880 h 578637"/>
                <a:gd name="connsiteX29" fmla="*/ 412103 w 942455"/>
                <a:gd name="connsiteY29" fmla="*/ 256032 h 578637"/>
                <a:gd name="connsiteX30" fmla="*/ 338951 w 942455"/>
                <a:gd name="connsiteY30" fmla="*/ 301752 h 578637"/>
                <a:gd name="connsiteX31" fmla="*/ 238367 w 942455"/>
                <a:gd name="connsiteY31" fmla="*/ 347472 h 578637"/>
                <a:gd name="connsiteX32" fmla="*/ 201791 w 942455"/>
                <a:gd name="connsiteY32" fmla="*/ 374904 h 578637"/>
                <a:gd name="connsiteX33" fmla="*/ 156071 w 942455"/>
                <a:gd name="connsiteY33" fmla="*/ 402336 h 578637"/>
                <a:gd name="connsiteX34" fmla="*/ 137783 w 942455"/>
                <a:gd name="connsiteY34" fmla="*/ 402336 h 578637"/>
                <a:gd name="connsiteX35" fmla="*/ 156071 w 942455"/>
                <a:gd name="connsiteY35" fmla="*/ 365760 h 578637"/>
                <a:gd name="connsiteX36" fmla="*/ 210935 w 942455"/>
                <a:gd name="connsiteY36" fmla="*/ 301752 h 578637"/>
                <a:gd name="connsiteX37" fmla="*/ 302375 w 942455"/>
                <a:gd name="connsiteY37" fmla="*/ 219456 h 578637"/>
                <a:gd name="connsiteX38" fmla="*/ 348095 w 942455"/>
                <a:gd name="connsiteY38" fmla="*/ 146304 h 578637"/>
                <a:gd name="connsiteX39" fmla="*/ 348095 w 942455"/>
                <a:gd name="connsiteY39" fmla="*/ 64008 h 578637"/>
                <a:gd name="connsiteX40" fmla="*/ 338951 w 942455"/>
                <a:gd name="connsiteY40" fmla="*/ 54864 h 578637"/>
                <a:gd name="connsiteX41" fmla="*/ 329807 w 942455"/>
                <a:gd name="connsiteY41" fmla="*/ 128016 h 578637"/>
                <a:gd name="connsiteX42" fmla="*/ 302375 w 942455"/>
                <a:gd name="connsiteY42" fmla="*/ 173736 h 578637"/>
                <a:gd name="connsiteX43" fmla="*/ 229223 w 942455"/>
                <a:gd name="connsiteY43" fmla="*/ 237744 h 578637"/>
                <a:gd name="connsiteX44" fmla="*/ 201791 w 942455"/>
                <a:gd name="connsiteY44" fmla="*/ 256032 h 578637"/>
                <a:gd name="connsiteX45" fmla="*/ 128639 w 942455"/>
                <a:gd name="connsiteY45" fmla="*/ 347472 h 578637"/>
                <a:gd name="connsiteX46" fmla="*/ 119495 w 942455"/>
                <a:gd name="connsiteY46" fmla="*/ 374904 h 578637"/>
                <a:gd name="connsiteX47" fmla="*/ 110351 w 942455"/>
                <a:gd name="connsiteY47" fmla="*/ 411480 h 578637"/>
                <a:gd name="connsiteX48" fmla="*/ 128639 w 942455"/>
                <a:gd name="connsiteY48" fmla="*/ 429768 h 578637"/>
                <a:gd name="connsiteX49" fmla="*/ 82919 w 942455"/>
                <a:gd name="connsiteY49" fmla="*/ 457200 h 578637"/>
                <a:gd name="connsiteX50" fmla="*/ 118640 w 942455"/>
                <a:gd name="connsiteY50" fmla="*/ 430387 h 578637"/>
                <a:gd name="connsiteX51" fmla="*/ 118638 w 942455"/>
                <a:gd name="connsiteY51" fmla="*/ 430387 h 578637"/>
                <a:gd name="connsiteX52" fmla="*/ 118638 w 942455"/>
                <a:gd name="connsiteY52" fmla="*/ 430387 h 578637"/>
                <a:gd name="connsiteX53" fmla="*/ 118638 w 942455"/>
                <a:gd name="connsiteY53" fmla="*/ 430387 h 578637"/>
                <a:gd name="connsiteX54" fmla="*/ 83317 w 942455"/>
                <a:gd name="connsiteY54" fmla="*/ 578637 h 578637"/>
                <a:gd name="connsiteX55" fmla="*/ 118639 w 942455"/>
                <a:gd name="connsiteY55" fmla="*/ 430387 h 578637"/>
                <a:gd name="connsiteX0" fmla="*/ 118639 w 942455"/>
                <a:gd name="connsiteY0" fmla="*/ 430387 h 578637"/>
                <a:gd name="connsiteX1" fmla="*/ 0 w 942455"/>
                <a:gd name="connsiteY1" fmla="*/ 496784 h 578637"/>
                <a:gd name="connsiteX2" fmla="*/ 118639 w 942455"/>
                <a:gd name="connsiteY2" fmla="*/ 430387 h 578637"/>
                <a:gd name="connsiteX3" fmla="*/ 118639 w 942455"/>
                <a:gd name="connsiteY3" fmla="*/ 430387 h 578637"/>
                <a:gd name="connsiteX4" fmla="*/ 137783 w 942455"/>
                <a:gd name="connsiteY4" fmla="*/ 466344 h 578637"/>
                <a:gd name="connsiteX5" fmla="*/ 238367 w 942455"/>
                <a:gd name="connsiteY5" fmla="*/ 384048 h 578637"/>
                <a:gd name="connsiteX6" fmla="*/ 430391 w 942455"/>
                <a:gd name="connsiteY6" fmla="*/ 301752 h 578637"/>
                <a:gd name="connsiteX7" fmla="*/ 512687 w 942455"/>
                <a:gd name="connsiteY7" fmla="*/ 192024 h 578637"/>
                <a:gd name="connsiteX8" fmla="*/ 658991 w 942455"/>
                <a:gd name="connsiteY8" fmla="*/ 155448 h 578637"/>
                <a:gd name="connsiteX9" fmla="*/ 704711 w 942455"/>
                <a:gd name="connsiteY9" fmla="*/ 155448 h 578637"/>
                <a:gd name="connsiteX10" fmla="*/ 741287 w 942455"/>
                <a:gd name="connsiteY10" fmla="*/ 137160 h 578637"/>
                <a:gd name="connsiteX11" fmla="*/ 695567 w 942455"/>
                <a:gd name="connsiteY11" fmla="*/ 137160 h 578637"/>
                <a:gd name="connsiteX12" fmla="*/ 604127 w 942455"/>
                <a:gd name="connsiteY12" fmla="*/ 137160 h 578637"/>
                <a:gd name="connsiteX13" fmla="*/ 549263 w 942455"/>
                <a:gd name="connsiteY13" fmla="*/ 146304 h 578637"/>
                <a:gd name="connsiteX14" fmla="*/ 540119 w 942455"/>
                <a:gd name="connsiteY14" fmla="*/ 155448 h 578637"/>
                <a:gd name="connsiteX15" fmla="*/ 521831 w 942455"/>
                <a:gd name="connsiteY15" fmla="*/ 146304 h 578637"/>
                <a:gd name="connsiteX16" fmla="*/ 649847 w 942455"/>
                <a:gd name="connsiteY16" fmla="*/ 91440 h 578637"/>
                <a:gd name="connsiteX17" fmla="*/ 704711 w 942455"/>
                <a:gd name="connsiteY17" fmla="*/ 91440 h 578637"/>
                <a:gd name="connsiteX18" fmla="*/ 796151 w 942455"/>
                <a:gd name="connsiteY18" fmla="*/ 82296 h 578637"/>
                <a:gd name="connsiteX19" fmla="*/ 924167 w 942455"/>
                <a:gd name="connsiteY19" fmla="*/ 27432 h 578637"/>
                <a:gd name="connsiteX20" fmla="*/ 905879 w 942455"/>
                <a:gd name="connsiteY20" fmla="*/ 0 h 578637"/>
                <a:gd name="connsiteX21" fmla="*/ 869303 w 942455"/>
                <a:gd name="connsiteY21" fmla="*/ 27432 h 578637"/>
                <a:gd name="connsiteX22" fmla="*/ 832727 w 942455"/>
                <a:gd name="connsiteY22" fmla="*/ 36576 h 578637"/>
                <a:gd name="connsiteX23" fmla="*/ 759575 w 942455"/>
                <a:gd name="connsiteY23" fmla="*/ 64008 h 578637"/>
                <a:gd name="connsiteX24" fmla="*/ 704711 w 942455"/>
                <a:gd name="connsiteY24" fmla="*/ 64008 h 578637"/>
                <a:gd name="connsiteX25" fmla="*/ 594983 w 942455"/>
                <a:gd name="connsiteY25" fmla="*/ 64008 h 578637"/>
                <a:gd name="connsiteX26" fmla="*/ 540119 w 942455"/>
                <a:gd name="connsiteY26" fmla="*/ 100584 h 578637"/>
                <a:gd name="connsiteX27" fmla="*/ 503543 w 942455"/>
                <a:gd name="connsiteY27" fmla="*/ 146304 h 578637"/>
                <a:gd name="connsiteX28" fmla="*/ 457823 w 942455"/>
                <a:gd name="connsiteY28" fmla="*/ 182880 h 578637"/>
                <a:gd name="connsiteX29" fmla="*/ 412103 w 942455"/>
                <a:gd name="connsiteY29" fmla="*/ 256032 h 578637"/>
                <a:gd name="connsiteX30" fmla="*/ 338951 w 942455"/>
                <a:gd name="connsiteY30" fmla="*/ 301752 h 578637"/>
                <a:gd name="connsiteX31" fmla="*/ 238367 w 942455"/>
                <a:gd name="connsiteY31" fmla="*/ 347472 h 578637"/>
                <a:gd name="connsiteX32" fmla="*/ 201791 w 942455"/>
                <a:gd name="connsiteY32" fmla="*/ 374904 h 578637"/>
                <a:gd name="connsiteX33" fmla="*/ 156071 w 942455"/>
                <a:gd name="connsiteY33" fmla="*/ 402336 h 578637"/>
                <a:gd name="connsiteX34" fmla="*/ 137783 w 942455"/>
                <a:gd name="connsiteY34" fmla="*/ 402336 h 578637"/>
                <a:gd name="connsiteX35" fmla="*/ 156071 w 942455"/>
                <a:gd name="connsiteY35" fmla="*/ 365760 h 578637"/>
                <a:gd name="connsiteX36" fmla="*/ 210935 w 942455"/>
                <a:gd name="connsiteY36" fmla="*/ 301752 h 578637"/>
                <a:gd name="connsiteX37" fmla="*/ 302375 w 942455"/>
                <a:gd name="connsiteY37" fmla="*/ 219456 h 578637"/>
                <a:gd name="connsiteX38" fmla="*/ 348095 w 942455"/>
                <a:gd name="connsiteY38" fmla="*/ 146304 h 578637"/>
                <a:gd name="connsiteX39" fmla="*/ 348095 w 942455"/>
                <a:gd name="connsiteY39" fmla="*/ 64008 h 578637"/>
                <a:gd name="connsiteX40" fmla="*/ 338951 w 942455"/>
                <a:gd name="connsiteY40" fmla="*/ 54864 h 578637"/>
                <a:gd name="connsiteX41" fmla="*/ 329807 w 942455"/>
                <a:gd name="connsiteY41" fmla="*/ 128016 h 578637"/>
                <a:gd name="connsiteX42" fmla="*/ 302375 w 942455"/>
                <a:gd name="connsiteY42" fmla="*/ 173736 h 578637"/>
                <a:gd name="connsiteX43" fmla="*/ 229223 w 942455"/>
                <a:gd name="connsiteY43" fmla="*/ 237744 h 578637"/>
                <a:gd name="connsiteX44" fmla="*/ 201791 w 942455"/>
                <a:gd name="connsiteY44" fmla="*/ 256032 h 578637"/>
                <a:gd name="connsiteX45" fmla="*/ 128639 w 942455"/>
                <a:gd name="connsiteY45" fmla="*/ 347472 h 578637"/>
                <a:gd name="connsiteX46" fmla="*/ 119495 w 942455"/>
                <a:gd name="connsiteY46" fmla="*/ 374904 h 578637"/>
                <a:gd name="connsiteX47" fmla="*/ 110351 w 942455"/>
                <a:gd name="connsiteY47" fmla="*/ 411480 h 578637"/>
                <a:gd name="connsiteX48" fmla="*/ 128639 w 942455"/>
                <a:gd name="connsiteY48" fmla="*/ 429768 h 578637"/>
                <a:gd name="connsiteX49" fmla="*/ 82919 w 942455"/>
                <a:gd name="connsiteY49" fmla="*/ 457200 h 578637"/>
                <a:gd name="connsiteX50" fmla="*/ 118640 w 942455"/>
                <a:gd name="connsiteY50" fmla="*/ 430387 h 578637"/>
                <a:gd name="connsiteX51" fmla="*/ 118638 w 942455"/>
                <a:gd name="connsiteY51" fmla="*/ 430387 h 578637"/>
                <a:gd name="connsiteX52" fmla="*/ 118638 w 942455"/>
                <a:gd name="connsiteY52" fmla="*/ 430387 h 578637"/>
                <a:gd name="connsiteX53" fmla="*/ 118638 w 942455"/>
                <a:gd name="connsiteY53" fmla="*/ 430387 h 578637"/>
                <a:gd name="connsiteX54" fmla="*/ 83317 w 942455"/>
                <a:gd name="connsiteY54" fmla="*/ 578637 h 578637"/>
                <a:gd name="connsiteX55" fmla="*/ 118639 w 942455"/>
                <a:gd name="connsiteY55" fmla="*/ 430387 h 578637"/>
                <a:gd name="connsiteX0" fmla="*/ 118639 w 942455"/>
                <a:gd name="connsiteY0" fmla="*/ 430387 h 496784"/>
                <a:gd name="connsiteX1" fmla="*/ 0 w 942455"/>
                <a:gd name="connsiteY1" fmla="*/ 496784 h 496784"/>
                <a:gd name="connsiteX2" fmla="*/ 118639 w 942455"/>
                <a:gd name="connsiteY2" fmla="*/ 430387 h 496784"/>
                <a:gd name="connsiteX3" fmla="*/ 118639 w 942455"/>
                <a:gd name="connsiteY3" fmla="*/ 430387 h 496784"/>
                <a:gd name="connsiteX4" fmla="*/ 137783 w 942455"/>
                <a:gd name="connsiteY4" fmla="*/ 466344 h 496784"/>
                <a:gd name="connsiteX5" fmla="*/ 238367 w 942455"/>
                <a:gd name="connsiteY5" fmla="*/ 384048 h 496784"/>
                <a:gd name="connsiteX6" fmla="*/ 430391 w 942455"/>
                <a:gd name="connsiteY6" fmla="*/ 301752 h 496784"/>
                <a:gd name="connsiteX7" fmla="*/ 512687 w 942455"/>
                <a:gd name="connsiteY7" fmla="*/ 192024 h 496784"/>
                <a:gd name="connsiteX8" fmla="*/ 658991 w 942455"/>
                <a:gd name="connsiteY8" fmla="*/ 155448 h 496784"/>
                <a:gd name="connsiteX9" fmla="*/ 704711 w 942455"/>
                <a:gd name="connsiteY9" fmla="*/ 155448 h 496784"/>
                <a:gd name="connsiteX10" fmla="*/ 741287 w 942455"/>
                <a:gd name="connsiteY10" fmla="*/ 137160 h 496784"/>
                <a:gd name="connsiteX11" fmla="*/ 695567 w 942455"/>
                <a:gd name="connsiteY11" fmla="*/ 137160 h 496784"/>
                <a:gd name="connsiteX12" fmla="*/ 604127 w 942455"/>
                <a:gd name="connsiteY12" fmla="*/ 137160 h 496784"/>
                <a:gd name="connsiteX13" fmla="*/ 549263 w 942455"/>
                <a:gd name="connsiteY13" fmla="*/ 146304 h 496784"/>
                <a:gd name="connsiteX14" fmla="*/ 540119 w 942455"/>
                <a:gd name="connsiteY14" fmla="*/ 155448 h 496784"/>
                <a:gd name="connsiteX15" fmla="*/ 521831 w 942455"/>
                <a:gd name="connsiteY15" fmla="*/ 146304 h 496784"/>
                <a:gd name="connsiteX16" fmla="*/ 649847 w 942455"/>
                <a:gd name="connsiteY16" fmla="*/ 91440 h 496784"/>
                <a:gd name="connsiteX17" fmla="*/ 704711 w 942455"/>
                <a:gd name="connsiteY17" fmla="*/ 91440 h 496784"/>
                <a:gd name="connsiteX18" fmla="*/ 796151 w 942455"/>
                <a:gd name="connsiteY18" fmla="*/ 82296 h 496784"/>
                <a:gd name="connsiteX19" fmla="*/ 924167 w 942455"/>
                <a:gd name="connsiteY19" fmla="*/ 27432 h 496784"/>
                <a:gd name="connsiteX20" fmla="*/ 905879 w 942455"/>
                <a:gd name="connsiteY20" fmla="*/ 0 h 496784"/>
                <a:gd name="connsiteX21" fmla="*/ 869303 w 942455"/>
                <a:gd name="connsiteY21" fmla="*/ 27432 h 496784"/>
                <a:gd name="connsiteX22" fmla="*/ 832727 w 942455"/>
                <a:gd name="connsiteY22" fmla="*/ 36576 h 496784"/>
                <a:gd name="connsiteX23" fmla="*/ 759575 w 942455"/>
                <a:gd name="connsiteY23" fmla="*/ 64008 h 496784"/>
                <a:gd name="connsiteX24" fmla="*/ 704711 w 942455"/>
                <a:gd name="connsiteY24" fmla="*/ 64008 h 496784"/>
                <a:gd name="connsiteX25" fmla="*/ 594983 w 942455"/>
                <a:gd name="connsiteY25" fmla="*/ 64008 h 496784"/>
                <a:gd name="connsiteX26" fmla="*/ 540119 w 942455"/>
                <a:gd name="connsiteY26" fmla="*/ 100584 h 496784"/>
                <a:gd name="connsiteX27" fmla="*/ 503543 w 942455"/>
                <a:gd name="connsiteY27" fmla="*/ 146304 h 496784"/>
                <a:gd name="connsiteX28" fmla="*/ 457823 w 942455"/>
                <a:gd name="connsiteY28" fmla="*/ 182880 h 496784"/>
                <a:gd name="connsiteX29" fmla="*/ 412103 w 942455"/>
                <a:gd name="connsiteY29" fmla="*/ 256032 h 496784"/>
                <a:gd name="connsiteX30" fmla="*/ 338951 w 942455"/>
                <a:gd name="connsiteY30" fmla="*/ 301752 h 496784"/>
                <a:gd name="connsiteX31" fmla="*/ 238367 w 942455"/>
                <a:gd name="connsiteY31" fmla="*/ 347472 h 496784"/>
                <a:gd name="connsiteX32" fmla="*/ 201791 w 942455"/>
                <a:gd name="connsiteY32" fmla="*/ 374904 h 496784"/>
                <a:gd name="connsiteX33" fmla="*/ 156071 w 942455"/>
                <a:gd name="connsiteY33" fmla="*/ 402336 h 496784"/>
                <a:gd name="connsiteX34" fmla="*/ 137783 w 942455"/>
                <a:gd name="connsiteY34" fmla="*/ 402336 h 496784"/>
                <a:gd name="connsiteX35" fmla="*/ 156071 w 942455"/>
                <a:gd name="connsiteY35" fmla="*/ 365760 h 496784"/>
                <a:gd name="connsiteX36" fmla="*/ 210935 w 942455"/>
                <a:gd name="connsiteY36" fmla="*/ 301752 h 496784"/>
                <a:gd name="connsiteX37" fmla="*/ 302375 w 942455"/>
                <a:gd name="connsiteY37" fmla="*/ 219456 h 496784"/>
                <a:gd name="connsiteX38" fmla="*/ 348095 w 942455"/>
                <a:gd name="connsiteY38" fmla="*/ 146304 h 496784"/>
                <a:gd name="connsiteX39" fmla="*/ 348095 w 942455"/>
                <a:gd name="connsiteY39" fmla="*/ 64008 h 496784"/>
                <a:gd name="connsiteX40" fmla="*/ 338951 w 942455"/>
                <a:gd name="connsiteY40" fmla="*/ 54864 h 496784"/>
                <a:gd name="connsiteX41" fmla="*/ 329807 w 942455"/>
                <a:gd name="connsiteY41" fmla="*/ 128016 h 496784"/>
                <a:gd name="connsiteX42" fmla="*/ 302375 w 942455"/>
                <a:gd name="connsiteY42" fmla="*/ 173736 h 496784"/>
                <a:gd name="connsiteX43" fmla="*/ 229223 w 942455"/>
                <a:gd name="connsiteY43" fmla="*/ 237744 h 496784"/>
                <a:gd name="connsiteX44" fmla="*/ 201791 w 942455"/>
                <a:gd name="connsiteY44" fmla="*/ 256032 h 496784"/>
                <a:gd name="connsiteX45" fmla="*/ 128639 w 942455"/>
                <a:gd name="connsiteY45" fmla="*/ 347472 h 496784"/>
                <a:gd name="connsiteX46" fmla="*/ 119495 w 942455"/>
                <a:gd name="connsiteY46" fmla="*/ 374904 h 496784"/>
                <a:gd name="connsiteX47" fmla="*/ 110351 w 942455"/>
                <a:gd name="connsiteY47" fmla="*/ 411480 h 496784"/>
                <a:gd name="connsiteX48" fmla="*/ 128639 w 942455"/>
                <a:gd name="connsiteY48" fmla="*/ 429768 h 496784"/>
                <a:gd name="connsiteX49" fmla="*/ 82919 w 942455"/>
                <a:gd name="connsiteY49" fmla="*/ 457200 h 496784"/>
                <a:gd name="connsiteX50" fmla="*/ 118640 w 942455"/>
                <a:gd name="connsiteY50" fmla="*/ 430387 h 496784"/>
                <a:gd name="connsiteX51" fmla="*/ 118638 w 942455"/>
                <a:gd name="connsiteY51" fmla="*/ 430387 h 496784"/>
                <a:gd name="connsiteX52" fmla="*/ 118638 w 942455"/>
                <a:gd name="connsiteY52" fmla="*/ 430387 h 496784"/>
                <a:gd name="connsiteX53" fmla="*/ 118638 w 942455"/>
                <a:gd name="connsiteY53" fmla="*/ 430387 h 496784"/>
                <a:gd name="connsiteX54" fmla="*/ 118639 w 942455"/>
                <a:gd name="connsiteY54" fmla="*/ 430387 h 496784"/>
                <a:gd name="connsiteX55" fmla="*/ 118639 w 942455"/>
                <a:gd name="connsiteY55" fmla="*/ 430387 h 496784"/>
                <a:gd name="connsiteX0" fmla="*/ 37386 w 861202"/>
                <a:gd name="connsiteY0" fmla="*/ 430387 h 474067"/>
                <a:gd name="connsiteX1" fmla="*/ 37385 w 861202"/>
                <a:gd name="connsiteY1" fmla="*/ 430387 h 474067"/>
                <a:gd name="connsiteX2" fmla="*/ 37386 w 861202"/>
                <a:gd name="connsiteY2" fmla="*/ 430387 h 474067"/>
                <a:gd name="connsiteX3" fmla="*/ 37386 w 861202"/>
                <a:gd name="connsiteY3" fmla="*/ 430387 h 474067"/>
                <a:gd name="connsiteX4" fmla="*/ 56530 w 861202"/>
                <a:gd name="connsiteY4" fmla="*/ 466344 h 474067"/>
                <a:gd name="connsiteX5" fmla="*/ 157114 w 861202"/>
                <a:gd name="connsiteY5" fmla="*/ 384048 h 474067"/>
                <a:gd name="connsiteX6" fmla="*/ 349138 w 861202"/>
                <a:gd name="connsiteY6" fmla="*/ 301752 h 474067"/>
                <a:gd name="connsiteX7" fmla="*/ 431434 w 861202"/>
                <a:gd name="connsiteY7" fmla="*/ 192024 h 474067"/>
                <a:gd name="connsiteX8" fmla="*/ 577738 w 861202"/>
                <a:gd name="connsiteY8" fmla="*/ 155448 h 474067"/>
                <a:gd name="connsiteX9" fmla="*/ 623458 w 861202"/>
                <a:gd name="connsiteY9" fmla="*/ 155448 h 474067"/>
                <a:gd name="connsiteX10" fmla="*/ 660034 w 861202"/>
                <a:gd name="connsiteY10" fmla="*/ 137160 h 474067"/>
                <a:gd name="connsiteX11" fmla="*/ 614314 w 861202"/>
                <a:gd name="connsiteY11" fmla="*/ 137160 h 474067"/>
                <a:gd name="connsiteX12" fmla="*/ 522874 w 861202"/>
                <a:gd name="connsiteY12" fmla="*/ 137160 h 474067"/>
                <a:gd name="connsiteX13" fmla="*/ 468010 w 861202"/>
                <a:gd name="connsiteY13" fmla="*/ 146304 h 474067"/>
                <a:gd name="connsiteX14" fmla="*/ 458866 w 861202"/>
                <a:gd name="connsiteY14" fmla="*/ 155448 h 474067"/>
                <a:gd name="connsiteX15" fmla="*/ 440578 w 861202"/>
                <a:gd name="connsiteY15" fmla="*/ 146304 h 474067"/>
                <a:gd name="connsiteX16" fmla="*/ 568594 w 861202"/>
                <a:gd name="connsiteY16" fmla="*/ 91440 h 474067"/>
                <a:gd name="connsiteX17" fmla="*/ 623458 w 861202"/>
                <a:gd name="connsiteY17" fmla="*/ 91440 h 474067"/>
                <a:gd name="connsiteX18" fmla="*/ 714898 w 861202"/>
                <a:gd name="connsiteY18" fmla="*/ 82296 h 474067"/>
                <a:gd name="connsiteX19" fmla="*/ 842914 w 861202"/>
                <a:gd name="connsiteY19" fmla="*/ 27432 h 474067"/>
                <a:gd name="connsiteX20" fmla="*/ 824626 w 861202"/>
                <a:gd name="connsiteY20" fmla="*/ 0 h 474067"/>
                <a:gd name="connsiteX21" fmla="*/ 788050 w 861202"/>
                <a:gd name="connsiteY21" fmla="*/ 27432 h 474067"/>
                <a:gd name="connsiteX22" fmla="*/ 751474 w 861202"/>
                <a:gd name="connsiteY22" fmla="*/ 36576 h 474067"/>
                <a:gd name="connsiteX23" fmla="*/ 678322 w 861202"/>
                <a:gd name="connsiteY23" fmla="*/ 64008 h 474067"/>
                <a:gd name="connsiteX24" fmla="*/ 623458 w 861202"/>
                <a:gd name="connsiteY24" fmla="*/ 64008 h 474067"/>
                <a:gd name="connsiteX25" fmla="*/ 513730 w 861202"/>
                <a:gd name="connsiteY25" fmla="*/ 64008 h 474067"/>
                <a:gd name="connsiteX26" fmla="*/ 458866 w 861202"/>
                <a:gd name="connsiteY26" fmla="*/ 100584 h 474067"/>
                <a:gd name="connsiteX27" fmla="*/ 422290 w 861202"/>
                <a:gd name="connsiteY27" fmla="*/ 146304 h 474067"/>
                <a:gd name="connsiteX28" fmla="*/ 376570 w 861202"/>
                <a:gd name="connsiteY28" fmla="*/ 182880 h 474067"/>
                <a:gd name="connsiteX29" fmla="*/ 330850 w 861202"/>
                <a:gd name="connsiteY29" fmla="*/ 256032 h 474067"/>
                <a:gd name="connsiteX30" fmla="*/ 257698 w 861202"/>
                <a:gd name="connsiteY30" fmla="*/ 301752 h 474067"/>
                <a:gd name="connsiteX31" fmla="*/ 157114 w 861202"/>
                <a:gd name="connsiteY31" fmla="*/ 347472 h 474067"/>
                <a:gd name="connsiteX32" fmla="*/ 120538 w 861202"/>
                <a:gd name="connsiteY32" fmla="*/ 374904 h 474067"/>
                <a:gd name="connsiteX33" fmla="*/ 74818 w 861202"/>
                <a:gd name="connsiteY33" fmla="*/ 402336 h 474067"/>
                <a:gd name="connsiteX34" fmla="*/ 56530 w 861202"/>
                <a:gd name="connsiteY34" fmla="*/ 402336 h 474067"/>
                <a:gd name="connsiteX35" fmla="*/ 74818 w 861202"/>
                <a:gd name="connsiteY35" fmla="*/ 365760 h 474067"/>
                <a:gd name="connsiteX36" fmla="*/ 129682 w 861202"/>
                <a:gd name="connsiteY36" fmla="*/ 301752 h 474067"/>
                <a:gd name="connsiteX37" fmla="*/ 221122 w 861202"/>
                <a:gd name="connsiteY37" fmla="*/ 219456 h 474067"/>
                <a:gd name="connsiteX38" fmla="*/ 266842 w 861202"/>
                <a:gd name="connsiteY38" fmla="*/ 146304 h 474067"/>
                <a:gd name="connsiteX39" fmla="*/ 266842 w 861202"/>
                <a:gd name="connsiteY39" fmla="*/ 64008 h 474067"/>
                <a:gd name="connsiteX40" fmla="*/ 257698 w 861202"/>
                <a:gd name="connsiteY40" fmla="*/ 54864 h 474067"/>
                <a:gd name="connsiteX41" fmla="*/ 248554 w 861202"/>
                <a:gd name="connsiteY41" fmla="*/ 128016 h 474067"/>
                <a:gd name="connsiteX42" fmla="*/ 221122 w 861202"/>
                <a:gd name="connsiteY42" fmla="*/ 173736 h 474067"/>
                <a:gd name="connsiteX43" fmla="*/ 147970 w 861202"/>
                <a:gd name="connsiteY43" fmla="*/ 237744 h 474067"/>
                <a:gd name="connsiteX44" fmla="*/ 120538 w 861202"/>
                <a:gd name="connsiteY44" fmla="*/ 256032 h 474067"/>
                <a:gd name="connsiteX45" fmla="*/ 47386 w 861202"/>
                <a:gd name="connsiteY45" fmla="*/ 347472 h 474067"/>
                <a:gd name="connsiteX46" fmla="*/ 38242 w 861202"/>
                <a:gd name="connsiteY46" fmla="*/ 374904 h 474067"/>
                <a:gd name="connsiteX47" fmla="*/ 29098 w 861202"/>
                <a:gd name="connsiteY47" fmla="*/ 411480 h 474067"/>
                <a:gd name="connsiteX48" fmla="*/ 47386 w 861202"/>
                <a:gd name="connsiteY48" fmla="*/ 429768 h 474067"/>
                <a:gd name="connsiteX49" fmla="*/ 1666 w 861202"/>
                <a:gd name="connsiteY49" fmla="*/ 457200 h 474067"/>
                <a:gd name="connsiteX50" fmla="*/ 37387 w 861202"/>
                <a:gd name="connsiteY50" fmla="*/ 430387 h 474067"/>
                <a:gd name="connsiteX51" fmla="*/ 37385 w 861202"/>
                <a:gd name="connsiteY51" fmla="*/ 430387 h 474067"/>
                <a:gd name="connsiteX52" fmla="*/ 37385 w 861202"/>
                <a:gd name="connsiteY52" fmla="*/ 430387 h 474067"/>
                <a:gd name="connsiteX53" fmla="*/ 37385 w 861202"/>
                <a:gd name="connsiteY53" fmla="*/ 430387 h 474067"/>
                <a:gd name="connsiteX54" fmla="*/ 37386 w 861202"/>
                <a:gd name="connsiteY54" fmla="*/ 430387 h 474067"/>
                <a:gd name="connsiteX55" fmla="*/ 37386 w 861202"/>
                <a:gd name="connsiteY55" fmla="*/ 430387 h 474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861202" h="474067">
                  <a:moveTo>
                    <a:pt x="37386" y="430387"/>
                  </a:moveTo>
                  <a:lnTo>
                    <a:pt x="37385" y="430387"/>
                  </a:lnTo>
                  <a:lnTo>
                    <a:pt x="37386" y="430387"/>
                  </a:lnTo>
                  <a:lnTo>
                    <a:pt x="37386" y="430387"/>
                  </a:lnTo>
                  <a:cubicBezTo>
                    <a:pt x="40577" y="436380"/>
                    <a:pt x="36575" y="474067"/>
                    <a:pt x="56530" y="466344"/>
                  </a:cubicBezTo>
                  <a:cubicBezTo>
                    <a:pt x="76485" y="458621"/>
                    <a:pt x="108346" y="411480"/>
                    <a:pt x="157114" y="384048"/>
                  </a:cubicBezTo>
                  <a:cubicBezTo>
                    <a:pt x="205882" y="356616"/>
                    <a:pt x="303418" y="333756"/>
                    <a:pt x="349138" y="301752"/>
                  </a:cubicBezTo>
                  <a:cubicBezTo>
                    <a:pt x="394858" y="269748"/>
                    <a:pt x="393334" y="216408"/>
                    <a:pt x="431434" y="192024"/>
                  </a:cubicBezTo>
                  <a:cubicBezTo>
                    <a:pt x="469534" y="167640"/>
                    <a:pt x="545734" y="161544"/>
                    <a:pt x="577738" y="155448"/>
                  </a:cubicBezTo>
                  <a:cubicBezTo>
                    <a:pt x="609742" y="149352"/>
                    <a:pt x="609742" y="158496"/>
                    <a:pt x="623458" y="155448"/>
                  </a:cubicBezTo>
                  <a:cubicBezTo>
                    <a:pt x="637174" y="152400"/>
                    <a:pt x="661558" y="140208"/>
                    <a:pt x="660034" y="137160"/>
                  </a:cubicBezTo>
                  <a:cubicBezTo>
                    <a:pt x="658510" y="134112"/>
                    <a:pt x="614314" y="137160"/>
                    <a:pt x="614314" y="137160"/>
                  </a:cubicBezTo>
                  <a:cubicBezTo>
                    <a:pt x="591454" y="137160"/>
                    <a:pt x="547258" y="135636"/>
                    <a:pt x="522874" y="137160"/>
                  </a:cubicBezTo>
                  <a:cubicBezTo>
                    <a:pt x="498490" y="138684"/>
                    <a:pt x="478678" y="143256"/>
                    <a:pt x="468010" y="146304"/>
                  </a:cubicBezTo>
                  <a:cubicBezTo>
                    <a:pt x="457342" y="149352"/>
                    <a:pt x="463438" y="155448"/>
                    <a:pt x="458866" y="155448"/>
                  </a:cubicBezTo>
                  <a:cubicBezTo>
                    <a:pt x="454294" y="155448"/>
                    <a:pt x="422290" y="156972"/>
                    <a:pt x="440578" y="146304"/>
                  </a:cubicBezTo>
                  <a:cubicBezTo>
                    <a:pt x="458866" y="135636"/>
                    <a:pt x="538114" y="100584"/>
                    <a:pt x="568594" y="91440"/>
                  </a:cubicBezTo>
                  <a:cubicBezTo>
                    <a:pt x="599074" y="82296"/>
                    <a:pt x="599074" y="92964"/>
                    <a:pt x="623458" y="91440"/>
                  </a:cubicBezTo>
                  <a:cubicBezTo>
                    <a:pt x="647842" y="89916"/>
                    <a:pt x="678322" y="92964"/>
                    <a:pt x="714898" y="82296"/>
                  </a:cubicBezTo>
                  <a:cubicBezTo>
                    <a:pt x="751474" y="71628"/>
                    <a:pt x="824626" y="41148"/>
                    <a:pt x="842914" y="27432"/>
                  </a:cubicBezTo>
                  <a:cubicBezTo>
                    <a:pt x="861202" y="13716"/>
                    <a:pt x="833770" y="0"/>
                    <a:pt x="824626" y="0"/>
                  </a:cubicBezTo>
                  <a:cubicBezTo>
                    <a:pt x="815482" y="0"/>
                    <a:pt x="800242" y="21336"/>
                    <a:pt x="788050" y="27432"/>
                  </a:cubicBezTo>
                  <a:cubicBezTo>
                    <a:pt x="775858" y="33528"/>
                    <a:pt x="769762" y="30480"/>
                    <a:pt x="751474" y="36576"/>
                  </a:cubicBezTo>
                  <a:cubicBezTo>
                    <a:pt x="733186" y="42672"/>
                    <a:pt x="699658" y="59436"/>
                    <a:pt x="678322" y="64008"/>
                  </a:cubicBezTo>
                  <a:cubicBezTo>
                    <a:pt x="656986" y="68580"/>
                    <a:pt x="623458" y="64008"/>
                    <a:pt x="623458" y="64008"/>
                  </a:cubicBezTo>
                  <a:cubicBezTo>
                    <a:pt x="596026" y="64008"/>
                    <a:pt x="541162" y="57912"/>
                    <a:pt x="513730" y="64008"/>
                  </a:cubicBezTo>
                  <a:cubicBezTo>
                    <a:pt x="486298" y="70104"/>
                    <a:pt x="474106" y="86868"/>
                    <a:pt x="458866" y="100584"/>
                  </a:cubicBezTo>
                  <a:cubicBezTo>
                    <a:pt x="443626" y="114300"/>
                    <a:pt x="436006" y="132588"/>
                    <a:pt x="422290" y="146304"/>
                  </a:cubicBezTo>
                  <a:cubicBezTo>
                    <a:pt x="408574" y="160020"/>
                    <a:pt x="391810" y="164592"/>
                    <a:pt x="376570" y="182880"/>
                  </a:cubicBezTo>
                  <a:cubicBezTo>
                    <a:pt x="361330" y="201168"/>
                    <a:pt x="350662" y="236220"/>
                    <a:pt x="330850" y="256032"/>
                  </a:cubicBezTo>
                  <a:cubicBezTo>
                    <a:pt x="311038" y="275844"/>
                    <a:pt x="286654" y="286512"/>
                    <a:pt x="257698" y="301752"/>
                  </a:cubicBezTo>
                  <a:cubicBezTo>
                    <a:pt x="228742" y="316992"/>
                    <a:pt x="179974" y="335280"/>
                    <a:pt x="157114" y="347472"/>
                  </a:cubicBezTo>
                  <a:cubicBezTo>
                    <a:pt x="134254" y="359664"/>
                    <a:pt x="134254" y="365760"/>
                    <a:pt x="120538" y="374904"/>
                  </a:cubicBezTo>
                  <a:cubicBezTo>
                    <a:pt x="106822" y="384048"/>
                    <a:pt x="85486" y="397764"/>
                    <a:pt x="74818" y="402336"/>
                  </a:cubicBezTo>
                  <a:cubicBezTo>
                    <a:pt x="64150" y="406908"/>
                    <a:pt x="56530" y="408432"/>
                    <a:pt x="56530" y="402336"/>
                  </a:cubicBezTo>
                  <a:cubicBezTo>
                    <a:pt x="56530" y="396240"/>
                    <a:pt x="62626" y="382524"/>
                    <a:pt x="74818" y="365760"/>
                  </a:cubicBezTo>
                  <a:cubicBezTo>
                    <a:pt x="87010" y="348996"/>
                    <a:pt x="105298" y="326136"/>
                    <a:pt x="129682" y="301752"/>
                  </a:cubicBezTo>
                  <a:cubicBezTo>
                    <a:pt x="154066" y="277368"/>
                    <a:pt x="198262" y="245364"/>
                    <a:pt x="221122" y="219456"/>
                  </a:cubicBezTo>
                  <a:cubicBezTo>
                    <a:pt x="243982" y="193548"/>
                    <a:pt x="259222" y="172212"/>
                    <a:pt x="266842" y="146304"/>
                  </a:cubicBezTo>
                  <a:cubicBezTo>
                    <a:pt x="274462" y="120396"/>
                    <a:pt x="268366" y="79248"/>
                    <a:pt x="266842" y="64008"/>
                  </a:cubicBezTo>
                  <a:cubicBezTo>
                    <a:pt x="265318" y="48768"/>
                    <a:pt x="260746" y="44196"/>
                    <a:pt x="257698" y="54864"/>
                  </a:cubicBezTo>
                  <a:cubicBezTo>
                    <a:pt x="254650" y="65532"/>
                    <a:pt x="254650" y="108204"/>
                    <a:pt x="248554" y="128016"/>
                  </a:cubicBezTo>
                  <a:cubicBezTo>
                    <a:pt x="242458" y="147828"/>
                    <a:pt x="237886" y="155448"/>
                    <a:pt x="221122" y="173736"/>
                  </a:cubicBezTo>
                  <a:cubicBezTo>
                    <a:pt x="204358" y="192024"/>
                    <a:pt x="164734" y="224028"/>
                    <a:pt x="147970" y="237744"/>
                  </a:cubicBezTo>
                  <a:cubicBezTo>
                    <a:pt x="131206" y="251460"/>
                    <a:pt x="137302" y="237744"/>
                    <a:pt x="120538" y="256032"/>
                  </a:cubicBezTo>
                  <a:cubicBezTo>
                    <a:pt x="103774" y="274320"/>
                    <a:pt x="61102" y="327660"/>
                    <a:pt x="47386" y="347472"/>
                  </a:cubicBezTo>
                  <a:cubicBezTo>
                    <a:pt x="33670" y="367284"/>
                    <a:pt x="41290" y="364236"/>
                    <a:pt x="38242" y="374904"/>
                  </a:cubicBezTo>
                  <a:cubicBezTo>
                    <a:pt x="35194" y="385572"/>
                    <a:pt x="27574" y="402336"/>
                    <a:pt x="29098" y="411480"/>
                  </a:cubicBezTo>
                  <a:cubicBezTo>
                    <a:pt x="30622" y="420624"/>
                    <a:pt x="51958" y="422148"/>
                    <a:pt x="47386" y="429768"/>
                  </a:cubicBezTo>
                  <a:cubicBezTo>
                    <a:pt x="42814" y="437388"/>
                    <a:pt x="3332" y="457097"/>
                    <a:pt x="1666" y="457200"/>
                  </a:cubicBezTo>
                  <a:cubicBezTo>
                    <a:pt x="0" y="457303"/>
                    <a:pt x="31434" y="434856"/>
                    <a:pt x="37387" y="430387"/>
                  </a:cubicBezTo>
                  <a:cubicBezTo>
                    <a:pt x="43340" y="425918"/>
                    <a:pt x="26821" y="429886"/>
                    <a:pt x="37385" y="430387"/>
                  </a:cubicBezTo>
                  <a:lnTo>
                    <a:pt x="37385" y="430387"/>
                  </a:lnTo>
                  <a:lnTo>
                    <a:pt x="37385" y="430387"/>
                  </a:lnTo>
                  <a:lnTo>
                    <a:pt x="37386" y="430387"/>
                  </a:lnTo>
                  <a:lnTo>
                    <a:pt x="37386" y="430387"/>
                  </a:lnTo>
                  <a:close/>
                </a:path>
              </a:pathLst>
            </a:custGeom>
            <a:solidFill>
              <a:srgbClr val="8DAA44"/>
            </a:solidFill>
            <a:ln w="6350" cap="flat" cmpd="sng" algn="ctr">
              <a:solidFill>
                <a:srgbClr val="663300"/>
              </a:solidFill>
              <a:prstDash val="solid"/>
            </a:ln>
            <a:effectLst/>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0" cap="none" spc="0" normalizeH="0" baseline="0" noProof="0" dirty="0">
                <a:ln>
                  <a:noFill/>
                </a:ln>
                <a:solidFill>
                  <a:prstClr val="white"/>
                </a:solidFill>
                <a:effectLst/>
                <a:uLnTx/>
                <a:uFillTx/>
                <a:latin typeface="News Gothic MT" panose="020B0503020103020203" pitchFamily="34" charset="0"/>
                <a:ea typeface="MS PGothic" charset="0"/>
                <a:cs typeface="+mn-cs"/>
              </a:endParaRPr>
            </a:p>
          </p:txBody>
        </p:sp>
        <p:sp>
          <p:nvSpPr>
            <p:cNvPr id="17" name="Freeform 212">
              <a:extLst>
                <a:ext uri="{FF2B5EF4-FFF2-40B4-BE49-F238E27FC236}">
                  <a16:creationId xmlns:a16="http://schemas.microsoft.com/office/drawing/2014/main" id="{F267A4F0-B5E6-4B36-86E3-000201BA87F9}"/>
                </a:ext>
              </a:extLst>
            </p:cNvPr>
            <p:cNvSpPr/>
            <p:nvPr/>
          </p:nvSpPr>
          <p:spPr>
            <a:xfrm rot="9022234" flipH="1" flipV="1">
              <a:off x="5637603" y="2483255"/>
              <a:ext cx="1002609" cy="992893"/>
            </a:xfrm>
            <a:custGeom>
              <a:avLst/>
              <a:gdLst>
                <a:gd name="connsiteX0" fmla="*/ 19812 w 1226820"/>
                <a:gd name="connsiteY0" fmla="*/ 841248 h 864108"/>
                <a:gd name="connsiteX1" fmla="*/ 92964 w 1226820"/>
                <a:gd name="connsiteY1" fmla="*/ 649224 h 864108"/>
                <a:gd name="connsiteX2" fmla="*/ 193548 w 1226820"/>
                <a:gd name="connsiteY2" fmla="*/ 548640 h 864108"/>
                <a:gd name="connsiteX3" fmla="*/ 321564 w 1226820"/>
                <a:gd name="connsiteY3" fmla="*/ 493776 h 864108"/>
                <a:gd name="connsiteX4" fmla="*/ 422148 w 1226820"/>
                <a:gd name="connsiteY4" fmla="*/ 466344 h 864108"/>
                <a:gd name="connsiteX5" fmla="*/ 522732 w 1226820"/>
                <a:gd name="connsiteY5" fmla="*/ 384048 h 864108"/>
                <a:gd name="connsiteX6" fmla="*/ 714756 w 1226820"/>
                <a:gd name="connsiteY6" fmla="*/ 301752 h 864108"/>
                <a:gd name="connsiteX7" fmla="*/ 797052 w 1226820"/>
                <a:gd name="connsiteY7" fmla="*/ 192024 h 864108"/>
                <a:gd name="connsiteX8" fmla="*/ 943356 w 1226820"/>
                <a:gd name="connsiteY8" fmla="*/ 155448 h 864108"/>
                <a:gd name="connsiteX9" fmla="*/ 989076 w 1226820"/>
                <a:gd name="connsiteY9" fmla="*/ 155448 h 864108"/>
                <a:gd name="connsiteX10" fmla="*/ 1025652 w 1226820"/>
                <a:gd name="connsiteY10" fmla="*/ 137160 h 864108"/>
                <a:gd name="connsiteX11" fmla="*/ 979932 w 1226820"/>
                <a:gd name="connsiteY11" fmla="*/ 137160 h 864108"/>
                <a:gd name="connsiteX12" fmla="*/ 888492 w 1226820"/>
                <a:gd name="connsiteY12" fmla="*/ 137160 h 864108"/>
                <a:gd name="connsiteX13" fmla="*/ 833628 w 1226820"/>
                <a:gd name="connsiteY13" fmla="*/ 146304 h 864108"/>
                <a:gd name="connsiteX14" fmla="*/ 824484 w 1226820"/>
                <a:gd name="connsiteY14" fmla="*/ 155448 h 864108"/>
                <a:gd name="connsiteX15" fmla="*/ 806196 w 1226820"/>
                <a:gd name="connsiteY15" fmla="*/ 146304 h 864108"/>
                <a:gd name="connsiteX16" fmla="*/ 934212 w 1226820"/>
                <a:gd name="connsiteY16" fmla="*/ 91440 h 864108"/>
                <a:gd name="connsiteX17" fmla="*/ 989076 w 1226820"/>
                <a:gd name="connsiteY17" fmla="*/ 91440 h 864108"/>
                <a:gd name="connsiteX18" fmla="*/ 1080516 w 1226820"/>
                <a:gd name="connsiteY18" fmla="*/ 82296 h 864108"/>
                <a:gd name="connsiteX19" fmla="*/ 1208532 w 1226820"/>
                <a:gd name="connsiteY19" fmla="*/ 27432 h 864108"/>
                <a:gd name="connsiteX20" fmla="*/ 1190244 w 1226820"/>
                <a:gd name="connsiteY20" fmla="*/ 0 h 864108"/>
                <a:gd name="connsiteX21" fmla="*/ 1153668 w 1226820"/>
                <a:gd name="connsiteY21" fmla="*/ 27432 h 864108"/>
                <a:gd name="connsiteX22" fmla="*/ 1117092 w 1226820"/>
                <a:gd name="connsiteY22" fmla="*/ 36576 h 864108"/>
                <a:gd name="connsiteX23" fmla="*/ 1043940 w 1226820"/>
                <a:gd name="connsiteY23" fmla="*/ 64008 h 864108"/>
                <a:gd name="connsiteX24" fmla="*/ 989076 w 1226820"/>
                <a:gd name="connsiteY24" fmla="*/ 64008 h 864108"/>
                <a:gd name="connsiteX25" fmla="*/ 879348 w 1226820"/>
                <a:gd name="connsiteY25" fmla="*/ 64008 h 864108"/>
                <a:gd name="connsiteX26" fmla="*/ 824484 w 1226820"/>
                <a:gd name="connsiteY26" fmla="*/ 100584 h 864108"/>
                <a:gd name="connsiteX27" fmla="*/ 787908 w 1226820"/>
                <a:gd name="connsiteY27" fmla="*/ 146304 h 864108"/>
                <a:gd name="connsiteX28" fmla="*/ 742188 w 1226820"/>
                <a:gd name="connsiteY28" fmla="*/ 182880 h 864108"/>
                <a:gd name="connsiteX29" fmla="*/ 696468 w 1226820"/>
                <a:gd name="connsiteY29" fmla="*/ 256032 h 864108"/>
                <a:gd name="connsiteX30" fmla="*/ 623316 w 1226820"/>
                <a:gd name="connsiteY30" fmla="*/ 301752 h 864108"/>
                <a:gd name="connsiteX31" fmla="*/ 522732 w 1226820"/>
                <a:gd name="connsiteY31" fmla="*/ 347472 h 864108"/>
                <a:gd name="connsiteX32" fmla="*/ 486156 w 1226820"/>
                <a:gd name="connsiteY32" fmla="*/ 374904 h 864108"/>
                <a:gd name="connsiteX33" fmla="*/ 440436 w 1226820"/>
                <a:gd name="connsiteY33" fmla="*/ 402336 h 864108"/>
                <a:gd name="connsiteX34" fmla="*/ 422148 w 1226820"/>
                <a:gd name="connsiteY34" fmla="*/ 402336 h 864108"/>
                <a:gd name="connsiteX35" fmla="*/ 440436 w 1226820"/>
                <a:gd name="connsiteY35" fmla="*/ 365760 h 864108"/>
                <a:gd name="connsiteX36" fmla="*/ 495300 w 1226820"/>
                <a:gd name="connsiteY36" fmla="*/ 301752 h 864108"/>
                <a:gd name="connsiteX37" fmla="*/ 586740 w 1226820"/>
                <a:gd name="connsiteY37" fmla="*/ 219456 h 864108"/>
                <a:gd name="connsiteX38" fmla="*/ 632460 w 1226820"/>
                <a:gd name="connsiteY38" fmla="*/ 146304 h 864108"/>
                <a:gd name="connsiteX39" fmla="*/ 632460 w 1226820"/>
                <a:gd name="connsiteY39" fmla="*/ 64008 h 864108"/>
                <a:gd name="connsiteX40" fmla="*/ 623316 w 1226820"/>
                <a:gd name="connsiteY40" fmla="*/ 54864 h 864108"/>
                <a:gd name="connsiteX41" fmla="*/ 614172 w 1226820"/>
                <a:gd name="connsiteY41" fmla="*/ 128016 h 864108"/>
                <a:gd name="connsiteX42" fmla="*/ 586740 w 1226820"/>
                <a:gd name="connsiteY42" fmla="*/ 173736 h 864108"/>
                <a:gd name="connsiteX43" fmla="*/ 513588 w 1226820"/>
                <a:gd name="connsiteY43" fmla="*/ 237744 h 864108"/>
                <a:gd name="connsiteX44" fmla="*/ 486156 w 1226820"/>
                <a:gd name="connsiteY44" fmla="*/ 256032 h 864108"/>
                <a:gd name="connsiteX45" fmla="*/ 413004 w 1226820"/>
                <a:gd name="connsiteY45" fmla="*/ 347472 h 864108"/>
                <a:gd name="connsiteX46" fmla="*/ 403860 w 1226820"/>
                <a:gd name="connsiteY46" fmla="*/ 374904 h 864108"/>
                <a:gd name="connsiteX47" fmla="*/ 394716 w 1226820"/>
                <a:gd name="connsiteY47" fmla="*/ 411480 h 864108"/>
                <a:gd name="connsiteX48" fmla="*/ 413004 w 1226820"/>
                <a:gd name="connsiteY48" fmla="*/ 429768 h 864108"/>
                <a:gd name="connsiteX49" fmla="*/ 367284 w 1226820"/>
                <a:gd name="connsiteY49" fmla="*/ 457200 h 864108"/>
                <a:gd name="connsiteX50" fmla="*/ 220980 w 1226820"/>
                <a:gd name="connsiteY50" fmla="*/ 493776 h 864108"/>
                <a:gd name="connsiteX51" fmla="*/ 175260 w 1226820"/>
                <a:gd name="connsiteY51" fmla="*/ 530352 h 864108"/>
                <a:gd name="connsiteX52" fmla="*/ 92964 w 1226820"/>
                <a:gd name="connsiteY52" fmla="*/ 585216 h 864108"/>
                <a:gd name="connsiteX53" fmla="*/ 19812 w 1226820"/>
                <a:gd name="connsiteY53" fmla="*/ 704088 h 864108"/>
                <a:gd name="connsiteX54" fmla="*/ 1524 w 1226820"/>
                <a:gd name="connsiteY54" fmla="*/ 786384 h 864108"/>
                <a:gd name="connsiteX55" fmla="*/ 19812 w 1226820"/>
                <a:gd name="connsiteY55" fmla="*/ 841248 h 864108"/>
                <a:gd name="connsiteX0" fmla="*/ 218332 w 1253874"/>
                <a:gd name="connsiteY0" fmla="*/ 554512 h 811313"/>
                <a:gd name="connsiteX1" fmla="*/ 120018 w 1253874"/>
                <a:gd name="connsiteY1" fmla="*/ 649224 h 811313"/>
                <a:gd name="connsiteX2" fmla="*/ 220602 w 1253874"/>
                <a:gd name="connsiteY2" fmla="*/ 548640 h 811313"/>
                <a:gd name="connsiteX3" fmla="*/ 348618 w 1253874"/>
                <a:gd name="connsiteY3" fmla="*/ 493776 h 811313"/>
                <a:gd name="connsiteX4" fmla="*/ 449202 w 1253874"/>
                <a:gd name="connsiteY4" fmla="*/ 466344 h 811313"/>
                <a:gd name="connsiteX5" fmla="*/ 549786 w 1253874"/>
                <a:gd name="connsiteY5" fmla="*/ 384048 h 811313"/>
                <a:gd name="connsiteX6" fmla="*/ 741810 w 1253874"/>
                <a:gd name="connsiteY6" fmla="*/ 301752 h 811313"/>
                <a:gd name="connsiteX7" fmla="*/ 824106 w 1253874"/>
                <a:gd name="connsiteY7" fmla="*/ 192024 h 811313"/>
                <a:gd name="connsiteX8" fmla="*/ 970410 w 1253874"/>
                <a:gd name="connsiteY8" fmla="*/ 155448 h 811313"/>
                <a:gd name="connsiteX9" fmla="*/ 1016130 w 1253874"/>
                <a:gd name="connsiteY9" fmla="*/ 155448 h 811313"/>
                <a:gd name="connsiteX10" fmla="*/ 1052706 w 1253874"/>
                <a:gd name="connsiteY10" fmla="*/ 137160 h 811313"/>
                <a:gd name="connsiteX11" fmla="*/ 1006986 w 1253874"/>
                <a:gd name="connsiteY11" fmla="*/ 137160 h 811313"/>
                <a:gd name="connsiteX12" fmla="*/ 915546 w 1253874"/>
                <a:gd name="connsiteY12" fmla="*/ 137160 h 811313"/>
                <a:gd name="connsiteX13" fmla="*/ 860682 w 1253874"/>
                <a:gd name="connsiteY13" fmla="*/ 146304 h 811313"/>
                <a:gd name="connsiteX14" fmla="*/ 851538 w 1253874"/>
                <a:gd name="connsiteY14" fmla="*/ 155448 h 811313"/>
                <a:gd name="connsiteX15" fmla="*/ 833250 w 1253874"/>
                <a:gd name="connsiteY15" fmla="*/ 146304 h 811313"/>
                <a:gd name="connsiteX16" fmla="*/ 961266 w 1253874"/>
                <a:gd name="connsiteY16" fmla="*/ 91440 h 811313"/>
                <a:gd name="connsiteX17" fmla="*/ 1016130 w 1253874"/>
                <a:gd name="connsiteY17" fmla="*/ 91440 h 811313"/>
                <a:gd name="connsiteX18" fmla="*/ 1107570 w 1253874"/>
                <a:gd name="connsiteY18" fmla="*/ 82296 h 811313"/>
                <a:gd name="connsiteX19" fmla="*/ 1235586 w 1253874"/>
                <a:gd name="connsiteY19" fmla="*/ 27432 h 811313"/>
                <a:gd name="connsiteX20" fmla="*/ 1217298 w 1253874"/>
                <a:gd name="connsiteY20" fmla="*/ 0 h 811313"/>
                <a:gd name="connsiteX21" fmla="*/ 1180722 w 1253874"/>
                <a:gd name="connsiteY21" fmla="*/ 27432 h 811313"/>
                <a:gd name="connsiteX22" fmla="*/ 1144146 w 1253874"/>
                <a:gd name="connsiteY22" fmla="*/ 36576 h 811313"/>
                <a:gd name="connsiteX23" fmla="*/ 1070994 w 1253874"/>
                <a:gd name="connsiteY23" fmla="*/ 64008 h 811313"/>
                <a:gd name="connsiteX24" fmla="*/ 1016130 w 1253874"/>
                <a:gd name="connsiteY24" fmla="*/ 64008 h 811313"/>
                <a:gd name="connsiteX25" fmla="*/ 906402 w 1253874"/>
                <a:gd name="connsiteY25" fmla="*/ 64008 h 811313"/>
                <a:gd name="connsiteX26" fmla="*/ 851538 w 1253874"/>
                <a:gd name="connsiteY26" fmla="*/ 100584 h 811313"/>
                <a:gd name="connsiteX27" fmla="*/ 814962 w 1253874"/>
                <a:gd name="connsiteY27" fmla="*/ 146304 h 811313"/>
                <a:gd name="connsiteX28" fmla="*/ 769242 w 1253874"/>
                <a:gd name="connsiteY28" fmla="*/ 182880 h 811313"/>
                <a:gd name="connsiteX29" fmla="*/ 723522 w 1253874"/>
                <a:gd name="connsiteY29" fmla="*/ 256032 h 811313"/>
                <a:gd name="connsiteX30" fmla="*/ 650370 w 1253874"/>
                <a:gd name="connsiteY30" fmla="*/ 301752 h 811313"/>
                <a:gd name="connsiteX31" fmla="*/ 549786 w 1253874"/>
                <a:gd name="connsiteY31" fmla="*/ 347472 h 811313"/>
                <a:gd name="connsiteX32" fmla="*/ 513210 w 1253874"/>
                <a:gd name="connsiteY32" fmla="*/ 374904 h 811313"/>
                <a:gd name="connsiteX33" fmla="*/ 467490 w 1253874"/>
                <a:gd name="connsiteY33" fmla="*/ 402336 h 811313"/>
                <a:gd name="connsiteX34" fmla="*/ 449202 w 1253874"/>
                <a:gd name="connsiteY34" fmla="*/ 402336 h 811313"/>
                <a:gd name="connsiteX35" fmla="*/ 467490 w 1253874"/>
                <a:gd name="connsiteY35" fmla="*/ 365760 h 811313"/>
                <a:gd name="connsiteX36" fmla="*/ 522354 w 1253874"/>
                <a:gd name="connsiteY36" fmla="*/ 301752 h 811313"/>
                <a:gd name="connsiteX37" fmla="*/ 613794 w 1253874"/>
                <a:gd name="connsiteY37" fmla="*/ 219456 h 811313"/>
                <a:gd name="connsiteX38" fmla="*/ 659514 w 1253874"/>
                <a:gd name="connsiteY38" fmla="*/ 146304 h 811313"/>
                <a:gd name="connsiteX39" fmla="*/ 659514 w 1253874"/>
                <a:gd name="connsiteY39" fmla="*/ 64008 h 811313"/>
                <a:gd name="connsiteX40" fmla="*/ 650370 w 1253874"/>
                <a:gd name="connsiteY40" fmla="*/ 54864 h 811313"/>
                <a:gd name="connsiteX41" fmla="*/ 641226 w 1253874"/>
                <a:gd name="connsiteY41" fmla="*/ 128016 h 811313"/>
                <a:gd name="connsiteX42" fmla="*/ 613794 w 1253874"/>
                <a:gd name="connsiteY42" fmla="*/ 173736 h 811313"/>
                <a:gd name="connsiteX43" fmla="*/ 540642 w 1253874"/>
                <a:gd name="connsiteY43" fmla="*/ 237744 h 811313"/>
                <a:gd name="connsiteX44" fmla="*/ 513210 w 1253874"/>
                <a:gd name="connsiteY44" fmla="*/ 256032 h 811313"/>
                <a:gd name="connsiteX45" fmla="*/ 440058 w 1253874"/>
                <a:gd name="connsiteY45" fmla="*/ 347472 h 811313"/>
                <a:gd name="connsiteX46" fmla="*/ 430914 w 1253874"/>
                <a:gd name="connsiteY46" fmla="*/ 374904 h 811313"/>
                <a:gd name="connsiteX47" fmla="*/ 421770 w 1253874"/>
                <a:gd name="connsiteY47" fmla="*/ 411480 h 811313"/>
                <a:gd name="connsiteX48" fmla="*/ 440058 w 1253874"/>
                <a:gd name="connsiteY48" fmla="*/ 429768 h 811313"/>
                <a:gd name="connsiteX49" fmla="*/ 394338 w 1253874"/>
                <a:gd name="connsiteY49" fmla="*/ 457200 h 811313"/>
                <a:gd name="connsiteX50" fmla="*/ 248034 w 1253874"/>
                <a:gd name="connsiteY50" fmla="*/ 493776 h 811313"/>
                <a:gd name="connsiteX51" fmla="*/ 202314 w 1253874"/>
                <a:gd name="connsiteY51" fmla="*/ 530352 h 811313"/>
                <a:gd name="connsiteX52" fmla="*/ 120018 w 1253874"/>
                <a:gd name="connsiteY52" fmla="*/ 585216 h 811313"/>
                <a:gd name="connsiteX53" fmla="*/ 46866 w 1253874"/>
                <a:gd name="connsiteY53" fmla="*/ 704088 h 811313"/>
                <a:gd name="connsiteX54" fmla="*/ 28578 w 1253874"/>
                <a:gd name="connsiteY54" fmla="*/ 786384 h 811313"/>
                <a:gd name="connsiteX55" fmla="*/ 218332 w 1253874"/>
                <a:gd name="connsiteY55" fmla="*/ 554512 h 811313"/>
                <a:gd name="connsiteX0" fmla="*/ 187852 w 1223394"/>
                <a:gd name="connsiteY0" fmla="*/ 554512 h 709205"/>
                <a:gd name="connsiteX1" fmla="*/ 89538 w 1223394"/>
                <a:gd name="connsiteY1" fmla="*/ 649224 h 709205"/>
                <a:gd name="connsiteX2" fmla="*/ 190122 w 1223394"/>
                <a:gd name="connsiteY2" fmla="*/ 548640 h 709205"/>
                <a:gd name="connsiteX3" fmla="*/ 318138 w 1223394"/>
                <a:gd name="connsiteY3" fmla="*/ 493776 h 709205"/>
                <a:gd name="connsiteX4" fmla="*/ 418722 w 1223394"/>
                <a:gd name="connsiteY4" fmla="*/ 466344 h 709205"/>
                <a:gd name="connsiteX5" fmla="*/ 519306 w 1223394"/>
                <a:gd name="connsiteY5" fmla="*/ 384048 h 709205"/>
                <a:gd name="connsiteX6" fmla="*/ 711330 w 1223394"/>
                <a:gd name="connsiteY6" fmla="*/ 301752 h 709205"/>
                <a:gd name="connsiteX7" fmla="*/ 793626 w 1223394"/>
                <a:gd name="connsiteY7" fmla="*/ 192024 h 709205"/>
                <a:gd name="connsiteX8" fmla="*/ 939930 w 1223394"/>
                <a:gd name="connsiteY8" fmla="*/ 155448 h 709205"/>
                <a:gd name="connsiteX9" fmla="*/ 985650 w 1223394"/>
                <a:gd name="connsiteY9" fmla="*/ 155448 h 709205"/>
                <a:gd name="connsiteX10" fmla="*/ 1022226 w 1223394"/>
                <a:gd name="connsiteY10" fmla="*/ 137160 h 709205"/>
                <a:gd name="connsiteX11" fmla="*/ 976506 w 1223394"/>
                <a:gd name="connsiteY11" fmla="*/ 137160 h 709205"/>
                <a:gd name="connsiteX12" fmla="*/ 885066 w 1223394"/>
                <a:gd name="connsiteY12" fmla="*/ 137160 h 709205"/>
                <a:gd name="connsiteX13" fmla="*/ 830202 w 1223394"/>
                <a:gd name="connsiteY13" fmla="*/ 146304 h 709205"/>
                <a:gd name="connsiteX14" fmla="*/ 821058 w 1223394"/>
                <a:gd name="connsiteY14" fmla="*/ 155448 h 709205"/>
                <a:gd name="connsiteX15" fmla="*/ 802770 w 1223394"/>
                <a:gd name="connsiteY15" fmla="*/ 146304 h 709205"/>
                <a:gd name="connsiteX16" fmla="*/ 930786 w 1223394"/>
                <a:gd name="connsiteY16" fmla="*/ 91440 h 709205"/>
                <a:gd name="connsiteX17" fmla="*/ 985650 w 1223394"/>
                <a:gd name="connsiteY17" fmla="*/ 91440 h 709205"/>
                <a:gd name="connsiteX18" fmla="*/ 1077090 w 1223394"/>
                <a:gd name="connsiteY18" fmla="*/ 82296 h 709205"/>
                <a:gd name="connsiteX19" fmla="*/ 1205106 w 1223394"/>
                <a:gd name="connsiteY19" fmla="*/ 27432 h 709205"/>
                <a:gd name="connsiteX20" fmla="*/ 1186818 w 1223394"/>
                <a:gd name="connsiteY20" fmla="*/ 0 h 709205"/>
                <a:gd name="connsiteX21" fmla="*/ 1150242 w 1223394"/>
                <a:gd name="connsiteY21" fmla="*/ 27432 h 709205"/>
                <a:gd name="connsiteX22" fmla="*/ 1113666 w 1223394"/>
                <a:gd name="connsiteY22" fmla="*/ 36576 h 709205"/>
                <a:gd name="connsiteX23" fmla="*/ 1040514 w 1223394"/>
                <a:gd name="connsiteY23" fmla="*/ 64008 h 709205"/>
                <a:gd name="connsiteX24" fmla="*/ 985650 w 1223394"/>
                <a:gd name="connsiteY24" fmla="*/ 64008 h 709205"/>
                <a:gd name="connsiteX25" fmla="*/ 875922 w 1223394"/>
                <a:gd name="connsiteY25" fmla="*/ 64008 h 709205"/>
                <a:gd name="connsiteX26" fmla="*/ 821058 w 1223394"/>
                <a:gd name="connsiteY26" fmla="*/ 100584 h 709205"/>
                <a:gd name="connsiteX27" fmla="*/ 784482 w 1223394"/>
                <a:gd name="connsiteY27" fmla="*/ 146304 h 709205"/>
                <a:gd name="connsiteX28" fmla="*/ 738762 w 1223394"/>
                <a:gd name="connsiteY28" fmla="*/ 182880 h 709205"/>
                <a:gd name="connsiteX29" fmla="*/ 693042 w 1223394"/>
                <a:gd name="connsiteY29" fmla="*/ 256032 h 709205"/>
                <a:gd name="connsiteX30" fmla="*/ 619890 w 1223394"/>
                <a:gd name="connsiteY30" fmla="*/ 301752 h 709205"/>
                <a:gd name="connsiteX31" fmla="*/ 519306 w 1223394"/>
                <a:gd name="connsiteY31" fmla="*/ 347472 h 709205"/>
                <a:gd name="connsiteX32" fmla="*/ 482730 w 1223394"/>
                <a:gd name="connsiteY32" fmla="*/ 374904 h 709205"/>
                <a:gd name="connsiteX33" fmla="*/ 437010 w 1223394"/>
                <a:gd name="connsiteY33" fmla="*/ 402336 h 709205"/>
                <a:gd name="connsiteX34" fmla="*/ 418722 w 1223394"/>
                <a:gd name="connsiteY34" fmla="*/ 402336 h 709205"/>
                <a:gd name="connsiteX35" fmla="*/ 437010 w 1223394"/>
                <a:gd name="connsiteY35" fmla="*/ 365760 h 709205"/>
                <a:gd name="connsiteX36" fmla="*/ 491874 w 1223394"/>
                <a:gd name="connsiteY36" fmla="*/ 301752 h 709205"/>
                <a:gd name="connsiteX37" fmla="*/ 583314 w 1223394"/>
                <a:gd name="connsiteY37" fmla="*/ 219456 h 709205"/>
                <a:gd name="connsiteX38" fmla="*/ 629034 w 1223394"/>
                <a:gd name="connsiteY38" fmla="*/ 146304 h 709205"/>
                <a:gd name="connsiteX39" fmla="*/ 629034 w 1223394"/>
                <a:gd name="connsiteY39" fmla="*/ 64008 h 709205"/>
                <a:gd name="connsiteX40" fmla="*/ 619890 w 1223394"/>
                <a:gd name="connsiteY40" fmla="*/ 54864 h 709205"/>
                <a:gd name="connsiteX41" fmla="*/ 610746 w 1223394"/>
                <a:gd name="connsiteY41" fmla="*/ 128016 h 709205"/>
                <a:gd name="connsiteX42" fmla="*/ 583314 w 1223394"/>
                <a:gd name="connsiteY42" fmla="*/ 173736 h 709205"/>
                <a:gd name="connsiteX43" fmla="*/ 510162 w 1223394"/>
                <a:gd name="connsiteY43" fmla="*/ 237744 h 709205"/>
                <a:gd name="connsiteX44" fmla="*/ 482730 w 1223394"/>
                <a:gd name="connsiteY44" fmla="*/ 256032 h 709205"/>
                <a:gd name="connsiteX45" fmla="*/ 409578 w 1223394"/>
                <a:gd name="connsiteY45" fmla="*/ 347472 h 709205"/>
                <a:gd name="connsiteX46" fmla="*/ 400434 w 1223394"/>
                <a:gd name="connsiteY46" fmla="*/ 374904 h 709205"/>
                <a:gd name="connsiteX47" fmla="*/ 391290 w 1223394"/>
                <a:gd name="connsiteY47" fmla="*/ 411480 h 709205"/>
                <a:gd name="connsiteX48" fmla="*/ 409578 w 1223394"/>
                <a:gd name="connsiteY48" fmla="*/ 429768 h 709205"/>
                <a:gd name="connsiteX49" fmla="*/ 363858 w 1223394"/>
                <a:gd name="connsiteY49" fmla="*/ 457200 h 709205"/>
                <a:gd name="connsiteX50" fmla="*/ 217554 w 1223394"/>
                <a:gd name="connsiteY50" fmla="*/ 493776 h 709205"/>
                <a:gd name="connsiteX51" fmla="*/ 171834 w 1223394"/>
                <a:gd name="connsiteY51" fmla="*/ 530352 h 709205"/>
                <a:gd name="connsiteX52" fmla="*/ 89538 w 1223394"/>
                <a:gd name="connsiteY52" fmla="*/ 585216 h 709205"/>
                <a:gd name="connsiteX53" fmla="*/ 16386 w 1223394"/>
                <a:gd name="connsiteY53" fmla="*/ 704088 h 709205"/>
                <a:gd name="connsiteX54" fmla="*/ 187853 w 1223394"/>
                <a:gd name="connsiteY54" fmla="*/ 554512 h 709205"/>
                <a:gd name="connsiteX55" fmla="*/ 187852 w 1223394"/>
                <a:gd name="connsiteY55" fmla="*/ 554512 h 709205"/>
                <a:gd name="connsiteX0" fmla="*/ 110754 w 1146296"/>
                <a:gd name="connsiteY0" fmla="*/ 554512 h 649224"/>
                <a:gd name="connsiteX1" fmla="*/ 12440 w 1146296"/>
                <a:gd name="connsiteY1" fmla="*/ 649224 h 649224"/>
                <a:gd name="connsiteX2" fmla="*/ 113024 w 1146296"/>
                <a:gd name="connsiteY2" fmla="*/ 548640 h 649224"/>
                <a:gd name="connsiteX3" fmla="*/ 241040 w 1146296"/>
                <a:gd name="connsiteY3" fmla="*/ 493776 h 649224"/>
                <a:gd name="connsiteX4" fmla="*/ 341624 w 1146296"/>
                <a:gd name="connsiteY4" fmla="*/ 466344 h 649224"/>
                <a:gd name="connsiteX5" fmla="*/ 442208 w 1146296"/>
                <a:gd name="connsiteY5" fmla="*/ 384048 h 649224"/>
                <a:gd name="connsiteX6" fmla="*/ 634232 w 1146296"/>
                <a:gd name="connsiteY6" fmla="*/ 301752 h 649224"/>
                <a:gd name="connsiteX7" fmla="*/ 716528 w 1146296"/>
                <a:gd name="connsiteY7" fmla="*/ 192024 h 649224"/>
                <a:gd name="connsiteX8" fmla="*/ 862832 w 1146296"/>
                <a:gd name="connsiteY8" fmla="*/ 155448 h 649224"/>
                <a:gd name="connsiteX9" fmla="*/ 908552 w 1146296"/>
                <a:gd name="connsiteY9" fmla="*/ 155448 h 649224"/>
                <a:gd name="connsiteX10" fmla="*/ 945128 w 1146296"/>
                <a:gd name="connsiteY10" fmla="*/ 137160 h 649224"/>
                <a:gd name="connsiteX11" fmla="*/ 899408 w 1146296"/>
                <a:gd name="connsiteY11" fmla="*/ 137160 h 649224"/>
                <a:gd name="connsiteX12" fmla="*/ 807968 w 1146296"/>
                <a:gd name="connsiteY12" fmla="*/ 137160 h 649224"/>
                <a:gd name="connsiteX13" fmla="*/ 753104 w 1146296"/>
                <a:gd name="connsiteY13" fmla="*/ 146304 h 649224"/>
                <a:gd name="connsiteX14" fmla="*/ 743960 w 1146296"/>
                <a:gd name="connsiteY14" fmla="*/ 155448 h 649224"/>
                <a:gd name="connsiteX15" fmla="*/ 725672 w 1146296"/>
                <a:gd name="connsiteY15" fmla="*/ 146304 h 649224"/>
                <a:gd name="connsiteX16" fmla="*/ 853688 w 1146296"/>
                <a:gd name="connsiteY16" fmla="*/ 91440 h 649224"/>
                <a:gd name="connsiteX17" fmla="*/ 908552 w 1146296"/>
                <a:gd name="connsiteY17" fmla="*/ 91440 h 649224"/>
                <a:gd name="connsiteX18" fmla="*/ 999992 w 1146296"/>
                <a:gd name="connsiteY18" fmla="*/ 82296 h 649224"/>
                <a:gd name="connsiteX19" fmla="*/ 1128008 w 1146296"/>
                <a:gd name="connsiteY19" fmla="*/ 27432 h 649224"/>
                <a:gd name="connsiteX20" fmla="*/ 1109720 w 1146296"/>
                <a:gd name="connsiteY20" fmla="*/ 0 h 649224"/>
                <a:gd name="connsiteX21" fmla="*/ 1073144 w 1146296"/>
                <a:gd name="connsiteY21" fmla="*/ 27432 h 649224"/>
                <a:gd name="connsiteX22" fmla="*/ 1036568 w 1146296"/>
                <a:gd name="connsiteY22" fmla="*/ 36576 h 649224"/>
                <a:gd name="connsiteX23" fmla="*/ 963416 w 1146296"/>
                <a:gd name="connsiteY23" fmla="*/ 64008 h 649224"/>
                <a:gd name="connsiteX24" fmla="*/ 908552 w 1146296"/>
                <a:gd name="connsiteY24" fmla="*/ 64008 h 649224"/>
                <a:gd name="connsiteX25" fmla="*/ 798824 w 1146296"/>
                <a:gd name="connsiteY25" fmla="*/ 64008 h 649224"/>
                <a:gd name="connsiteX26" fmla="*/ 743960 w 1146296"/>
                <a:gd name="connsiteY26" fmla="*/ 100584 h 649224"/>
                <a:gd name="connsiteX27" fmla="*/ 707384 w 1146296"/>
                <a:gd name="connsiteY27" fmla="*/ 146304 h 649224"/>
                <a:gd name="connsiteX28" fmla="*/ 661664 w 1146296"/>
                <a:gd name="connsiteY28" fmla="*/ 182880 h 649224"/>
                <a:gd name="connsiteX29" fmla="*/ 615944 w 1146296"/>
                <a:gd name="connsiteY29" fmla="*/ 256032 h 649224"/>
                <a:gd name="connsiteX30" fmla="*/ 542792 w 1146296"/>
                <a:gd name="connsiteY30" fmla="*/ 301752 h 649224"/>
                <a:gd name="connsiteX31" fmla="*/ 442208 w 1146296"/>
                <a:gd name="connsiteY31" fmla="*/ 347472 h 649224"/>
                <a:gd name="connsiteX32" fmla="*/ 405632 w 1146296"/>
                <a:gd name="connsiteY32" fmla="*/ 374904 h 649224"/>
                <a:gd name="connsiteX33" fmla="*/ 359912 w 1146296"/>
                <a:gd name="connsiteY33" fmla="*/ 402336 h 649224"/>
                <a:gd name="connsiteX34" fmla="*/ 341624 w 1146296"/>
                <a:gd name="connsiteY34" fmla="*/ 402336 h 649224"/>
                <a:gd name="connsiteX35" fmla="*/ 359912 w 1146296"/>
                <a:gd name="connsiteY35" fmla="*/ 365760 h 649224"/>
                <a:gd name="connsiteX36" fmla="*/ 414776 w 1146296"/>
                <a:gd name="connsiteY36" fmla="*/ 301752 h 649224"/>
                <a:gd name="connsiteX37" fmla="*/ 506216 w 1146296"/>
                <a:gd name="connsiteY37" fmla="*/ 219456 h 649224"/>
                <a:gd name="connsiteX38" fmla="*/ 551936 w 1146296"/>
                <a:gd name="connsiteY38" fmla="*/ 146304 h 649224"/>
                <a:gd name="connsiteX39" fmla="*/ 551936 w 1146296"/>
                <a:gd name="connsiteY39" fmla="*/ 64008 h 649224"/>
                <a:gd name="connsiteX40" fmla="*/ 542792 w 1146296"/>
                <a:gd name="connsiteY40" fmla="*/ 54864 h 649224"/>
                <a:gd name="connsiteX41" fmla="*/ 533648 w 1146296"/>
                <a:gd name="connsiteY41" fmla="*/ 128016 h 649224"/>
                <a:gd name="connsiteX42" fmla="*/ 506216 w 1146296"/>
                <a:gd name="connsiteY42" fmla="*/ 173736 h 649224"/>
                <a:gd name="connsiteX43" fmla="*/ 433064 w 1146296"/>
                <a:gd name="connsiteY43" fmla="*/ 237744 h 649224"/>
                <a:gd name="connsiteX44" fmla="*/ 405632 w 1146296"/>
                <a:gd name="connsiteY44" fmla="*/ 256032 h 649224"/>
                <a:gd name="connsiteX45" fmla="*/ 332480 w 1146296"/>
                <a:gd name="connsiteY45" fmla="*/ 347472 h 649224"/>
                <a:gd name="connsiteX46" fmla="*/ 323336 w 1146296"/>
                <a:gd name="connsiteY46" fmla="*/ 374904 h 649224"/>
                <a:gd name="connsiteX47" fmla="*/ 314192 w 1146296"/>
                <a:gd name="connsiteY47" fmla="*/ 411480 h 649224"/>
                <a:gd name="connsiteX48" fmla="*/ 332480 w 1146296"/>
                <a:gd name="connsiteY48" fmla="*/ 429768 h 649224"/>
                <a:gd name="connsiteX49" fmla="*/ 286760 w 1146296"/>
                <a:gd name="connsiteY49" fmla="*/ 457200 h 649224"/>
                <a:gd name="connsiteX50" fmla="*/ 140456 w 1146296"/>
                <a:gd name="connsiteY50" fmla="*/ 493776 h 649224"/>
                <a:gd name="connsiteX51" fmla="*/ 94736 w 1146296"/>
                <a:gd name="connsiteY51" fmla="*/ 530352 h 649224"/>
                <a:gd name="connsiteX52" fmla="*/ 12440 w 1146296"/>
                <a:gd name="connsiteY52" fmla="*/ 585216 h 649224"/>
                <a:gd name="connsiteX53" fmla="*/ 20096 w 1146296"/>
                <a:gd name="connsiteY53" fmla="*/ 612769 h 649224"/>
                <a:gd name="connsiteX54" fmla="*/ 110755 w 1146296"/>
                <a:gd name="connsiteY54" fmla="*/ 554512 h 649224"/>
                <a:gd name="connsiteX55" fmla="*/ 110754 w 1146296"/>
                <a:gd name="connsiteY55" fmla="*/ 554512 h 649224"/>
                <a:gd name="connsiteX0" fmla="*/ 101388 w 1136930"/>
                <a:gd name="connsiteY0" fmla="*/ 554512 h 649224"/>
                <a:gd name="connsiteX1" fmla="*/ 3074 w 1136930"/>
                <a:gd name="connsiteY1" fmla="*/ 649224 h 649224"/>
                <a:gd name="connsiteX2" fmla="*/ 103658 w 1136930"/>
                <a:gd name="connsiteY2" fmla="*/ 548640 h 649224"/>
                <a:gd name="connsiteX3" fmla="*/ 231674 w 1136930"/>
                <a:gd name="connsiteY3" fmla="*/ 493776 h 649224"/>
                <a:gd name="connsiteX4" fmla="*/ 332258 w 1136930"/>
                <a:gd name="connsiteY4" fmla="*/ 466344 h 649224"/>
                <a:gd name="connsiteX5" fmla="*/ 432842 w 1136930"/>
                <a:gd name="connsiteY5" fmla="*/ 384048 h 649224"/>
                <a:gd name="connsiteX6" fmla="*/ 624866 w 1136930"/>
                <a:gd name="connsiteY6" fmla="*/ 301752 h 649224"/>
                <a:gd name="connsiteX7" fmla="*/ 707162 w 1136930"/>
                <a:gd name="connsiteY7" fmla="*/ 192024 h 649224"/>
                <a:gd name="connsiteX8" fmla="*/ 853466 w 1136930"/>
                <a:gd name="connsiteY8" fmla="*/ 155448 h 649224"/>
                <a:gd name="connsiteX9" fmla="*/ 899186 w 1136930"/>
                <a:gd name="connsiteY9" fmla="*/ 155448 h 649224"/>
                <a:gd name="connsiteX10" fmla="*/ 935762 w 1136930"/>
                <a:gd name="connsiteY10" fmla="*/ 137160 h 649224"/>
                <a:gd name="connsiteX11" fmla="*/ 890042 w 1136930"/>
                <a:gd name="connsiteY11" fmla="*/ 137160 h 649224"/>
                <a:gd name="connsiteX12" fmla="*/ 798602 w 1136930"/>
                <a:gd name="connsiteY12" fmla="*/ 137160 h 649224"/>
                <a:gd name="connsiteX13" fmla="*/ 743738 w 1136930"/>
                <a:gd name="connsiteY13" fmla="*/ 146304 h 649224"/>
                <a:gd name="connsiteX14" fmla="*/ 734594 w 1136930"/>
                <a:gd name="connsiteY14" fmla="*/ 155448 h 649224"/>
                <a:gd name="connsiteX15" fmla="*/ 716306 w 1136930"/>
                <a:gd name="connsiteY15" fmla="*/ 146304 h 649224"/>
                <a:gd name="connsiteX16" fmla="*/ 844322 w 1136930"/>
                <a:gd name="connsiteY16" fmla="*/ 91440 h 649224"/>
                <a:gd name="connsiteX17" fmla="*/ 899186 w 1136930"/>
                <a:gd name="connsiteY17" fmla="*/ 91440 h 649224"/>
                <a:gd name="connsiteX18" fmla="*/ 990626 w 1136930"/>
                <a:gd name="connsiteY18" fmla="*/ 82296 h 649224"/>
                <a:gd name="connsiteX19" fmla="*/ 1118642 w 1136930"/>
                <a:gd name="connsiteY19" fmla="*/ 27432 h 649224"/>
                <a:gd name="connsiteX20" fmla="*/ 1100354 w 1136930"/>
                <a:gd name="connsiteY20" fmla="*/ 0 h 649224"/>
                <a:gd name="connsiteX21" fmla="*/ 1063778 w 1136930"/>
                <a:gd name="connsiteY21" fmla="*/ 27432 h 649224"/>
                <a:gd name="connsiteX22" fmla="*/ 1027202 w 1136930"/>
                <a:gd name="connsiteY22" fmla="*/ 36576 h 649224"/>
                <a:gd name="connsiteX23" fmla="*/ 954050 w 1136930"/>
                <a:gd name="connsiteY23" fmla="*/ 64008 h 649224"/>
                <a:gd name="connsiteX24" fmla="*/ 899186 w 1136930"/>
                <a:gd name="connsiteY24" fmla="*/ 64008 h 649224"/>
                <a:gd name="connsiteX25" fmla="*/ 789458 w 1136930"/>
                <a:gd name="connsiteY25" fmla="*/ 64008 h 649224"/>
                <a:gd name="connsiteX26" fmla="*/ 734594 w 1136930"/>
                <a:gd name="connsiteY26" fmla="*/ 100584 h 649224"/>
                <a:gd name="connsiteX27" fmla="*/ 698018 w 1136930"/>
                <a:gd name="connsiteY27" fmla="*/ 146304 h 649224"/>
                <a:gd name="connsiteX28" fmla="*/ 652298 w 1136930"/>
                <a:gd name="connsiteY28" fmla="*/ 182880 h 649224"/>
                <a:gd name="connsiteX29" fmla="*/ 606578 w 1136930"/>
                <a:gd name="connsiteY29" fmla="*/ 256032 h 649224"/>
                <a:gd name="connsiteX30" fmla="*/ 533426 w 1136930"/>
                <a:gd name="connsiteY30" fmla="*/ 301752 h 649224"/>
                <a:gd name="connsiteX31" fmla="*/ 432842 w 1136930"/>
                <a:gd name="connsiteY31" fmla="*/ 347472 h 649224"/>
                <a:gd name="connsiteX32" fmla="*/ 396266 w 1136930"/>
                <a:gd name="connsiteY32" fmla="*/ 374904 h 649224"/>
                <a:gd name="connsiteX33" fmla="*/ 350546 w 1136930"/>
                <a:gd name="connsiteY33" fmla="*/ 402336 h 649224"/>
                <a:gd name="connsiteX34" fmla="*/ 332258 w 1136930"/>
                <a:gd name="connsiteY34" fmla="*/ 402336 h 649224"/>
                <a:gd name="connsiteX35" fmla="*/ 350546 w 1136930"/>
                <a:gd name="connsiteY35" fmla="*/ 365760 h 649224"/>
                <a:gd name="connsiteX36" fmla="*/ 405410 w 1136930"/>
                <a:gd name="connsiteY36" fmla="*/ 301752 h 649224"/>
                <a:gd name="connsiteX37" fmla="*/ 496850 w 1136930"/>
                <a:gd name="connsiteY37" fmla="*/ 219456 h 649224"/>
                <a:gd name="connsiteX38" fmla="*/ 542570 w 1136930"/>
                <a:gd name="connsiteY38" fmla="*/ 146304 h 649224"/>
                <a:gd name="connsiteX39" fmla="*/ 542570 w 1136930"/>
                <a:gd name="connsiteY39" fmla="*/ 64008 h 649224"/>
                <a:gd name="connsiteX40" fmla="*/ 533426 w 1136930"/>
                <a:gd name="connsiteY40" fmla="*/ 54864 h 649224"/>
                <a:gd name="connsiteX41" fmla="*/ 524282 w 1136930"/>
                <a:gd name="connsiteY41" fmla="*/ 128016 h 649224"/>
                <a:gd name="connsiteX42" fmla="*/ 496850 w 1136930"/>
                <a:gd name="connsiteY42" fmla="*/ 173736 h 649224"/>
                <a:gd name="connsiteX43" fmla="*/ 423698 w 1136930"/>
                <a:gd name="connsiteY43" fmla="*/ 237744 h 649224"/>
                <a:gd name="connsiteX44" fmla="*/ 396266 w 1136930"/>
                <a:gd name="connsiteY44" fmla="*/ 256032 h 649224"/>
                <a:gd name="connsiteX45" fmla="*/ 323114 w 1136930"/>
                <a:gd name="connsiteY45" fmla="*/ 347472 h 649224"/>
                <a:gd name="connsiteX46" fmla="*/ 313970 w 1136930"/>
                <a:gd name="connsiteY46" fmla="*/ 374904 h 649224"/>
                <a:gd name="connsiteX47" fmla="*/ 304826 w 1136930"/>
                <a:gd name="connsiteY47" fmla="*/ 411480 h 649224"/>
                <a:gd name="connsiteX48" fmla="*/ 323114 w 1136930"/>
                <a:gd name="connsiteY48" fmla="*/ 429768 h 649224"/>
                <a:gd name="connsiteX49" fmla="*/ 277394 w 1136930"/>
                <a:gd name="connsiteY49" fmla="*/ 457200 h 649224"/>
                <a:gd name="connsiteX50" fmla="*/ 131090 w 1136930"/>
                <a:gd name="connsiteY50" fmla="*/ 493776 h 649224"/>
                <a:gd name="connsiteX51" fmla="*/ 85370 w 1136930"/>
                <a:gd name="connsiteY51" fmla="*/ 530352 h 649224"/>
                <a:gd name="connsiteX52" fmla="*/ 3074 w 1136930"/>
                <a:gd name="connsiteY52" fmla="*/ 585216 h 649224"/>
                <a:gd name="connsiteX53" fmla="*/ 103816 w 1136930"/>
                <a:gd name="connsiteY53" fmla="*/ 555040 h 649224"/>
                <a:gd name="connsiteX54" fmla="*/ 101389 w 1136930"/>
                <a:gd name="connsiteY54" fmla="*/ 554512 h 649224"/>
                <a:gd name="connsiteX55" fmla="*/ 101388 w 1136930"/>
                <a:gd name="connsiteY55" fmla="*/ 554512 h 649224"/>
                <a:gd name="connsiteX0" fmla="*/ 101388 w 1136930"/>
                <a:gd name="connsiteY0" fmla="*/ 554512 h 589331"/>
                <a:gd name="connsiteX1" fmla="*/ 103816 w 1136930"/>
                <a:gd name="connsiteY1" fmla="*/ 555041 h 589331"/>
                <a:gd name="connsiteX2" fmla="*/ 103658 w 1136930"/>
                <a:gd name="connsiteY2" fmla="*/ 548640 h 589331"/>
                <a:gd name="connsiteX3" fmla="*/ 231674 w 1136930"/>
                <a:gd name="connsiteY3" fmla="*/ 493776 h 589331"/>
                <a:gd name="connsiteX4" fmla="*/ 332258 w 1136930"/>
                <a:gd name="connsiteY4" fmla="*/ 466344 h 589331"/>
                <a:gd name="connsiteX5" fmla="*/ 432842 w 1136930"/>
                <a:gd name="connsiteY5" fmla="*/ 384048 h 589331"/>
                <a:gd name="connsiteX6" fmla="*/ 624866 w 1136930"/>
                <a:gd name="connsiteY6" fmla="*/ 301752 h 589331"/>
                <a:gd name="connsiteX7" fmla="*/ 707162 w 1136930"/>
                <a:gd name="connsiteY7" fmla="*/ 192024 h 589331"/>
                <a:gd name="connsiteX8" fmla="*/ 853466 w 1136930"/>
                <a:gd name="connsiteY8" fmla="*/ 155448 h 589331"/>
                <a:gd name="connsiteX9" fmla="*/ 899186 w 1136930"/>
                <a:gd name="connsiteY9" fmla="*/ 155448 h 589331"/>
                <a:gd name="connsiteX10" fmla="*/ 935762 w 1136930"/>
                <a:gd name="connsiteY10" fmla="*/ 137160 h 589331"/>
                <a:gd name="connsiteX11" fmla="*/ 890042 w 1136930"/>
                <a:gd name="connsiteY11" fmla="*/ 137160 h 589331"/>
                <a:gd name="connsiteX12" fmla="*/ 798602 w 1136930"/>
                <a:gd name="connsiteY12" fmla="*/ 137160 h 589331"/>
                <a:gd name="connsiteX13" fmla="*/ 743738 w 1136930"/>
                <a:gd name="connsiteY13" fmla="*/ 146304 h 589331"/>
                <a:gd name="connsiteX14" fmla="*/ 734594 w 1136930"/>
                <a:gd name="connsiteY14" fmla="*/ 155448 h 589331"/>
                <a:gd name="connsiteX15" fmla="*/ 716306 w 1136930"/>
                <a:gd name="connsiteY15" fmla="*/ 146304 h 589331"/>
                <a:gd name="connsiteX16" fmla="*/ 844322 w 1136930"/>
                <a:gd name="connsiteY16" fmla="*/ 91440 h 589331"/>
                <a:gd name="connsiteX17" fmla="*/ 899186 w 1136930"/>
                <a:gd name="connsiteY17" fmla="*/ 91440 h 589331"/>
                <a:gd name="connsiteX18" fmla="*/ 990626 w 1136930"/>
                <a:gd name="connsiteY18" fmla="*/ 82296 h 589331"/>
                <a:gd name="connsiteX19" fmla="*/ 1118642 w 1136930"/>
                <a:gd name="connsiteY19" fmla="*/ 27432 h 589331"/>
                <a:gd name="connsiteX20" fmla="*/ 1100354 w 1136930"/>
                <a:gd name="connsiteY20" fmla="*/ 0 h 589331"/>
                <a:gd name="connsiteX21" fmla="*/ 1063778 w 1136930"/>
                <a:gd name="connsiteY21" fmla="*/ 27432 h 589331"/>
                <a:gd name="connsiteX22" fmla="*/ 1027202 w 1136930"/>
                <a:gd name="connsiteY22" fmla="*/ 36576 h 589331"/>
                <a:gd name="connsiteX23" fmla="*/ 954050 w 1136930"/>
                <a:gd name="connsiteY23" fmla="*/ 64008 h 589331"/>
                <a:gd name="connsiteX24" fmla="*/ 899186 w 1136930"/>
                <a:gd name="connsiteY24" fmla="*/ 64008 h 589331"/>
                <a:gd name="connsiteX25" fmla="*/ 789458 w 1136930"/>
                <a:gd name="connsiteY25" fmla="*/ 64008 h 589331"/>
                <a:gd name="connsiteX26" fmla="*/ 734594 w 1136930"/>
                <a:gd name="connsiteY26" fmla="*/ 100584 h 589331"/>
                <a:gd name="connsiteX27" fmla="*/ 698018 w 1136930"/>
                <a:gd name="connsiteY27" fmla="*/ 146304 h 589331"/>
                <a:gd name="connsiteX28" fmla="*/ 652298 w 1136930"/>
                <a:gd name="connsiteY28" fmla="*/ 182880 h 589331"/>
                <a:gd name="connsiteX29" fmla="*/ 606578 w 1136930"/>
                <a:gd name="connsiteY29" fmla="*/ 256032 h 589331"/>
                <a:gd name="connsiteX30" fmla="*/ 533426 w 1136930"/>
                <a:gd name="connsiteY30" fmla="*/ 301752 h 589331"/>
                <a:gd name="connsiteX31" fmla="*/ 432842 w 1136930"/>
                <a:gd name="connsiteY31" fmla="*/ 347472 h 589331"/>
                <a:gd name="connsiteX32" fmla="*/ 396266 w 1136930"/>
                <a:gd name="connsiteY32" fmla="*/ 374904 h 589331"/>
                <a:gd name="connsiteX33" fmla="*/ 350546 w 1136930"/>
                <a:gd name="connsiteY33" fmla="*/ 402336 h 589331"/>
                <a:gd name="connsiteX34" fmla="*/ 332258 w 1136930"/>
                <a:gd name="connsiteY34" fmla="*/ 402336 h 589331"/>
                <a:gd name="connsiteX35" fmla="*/ 350546 w 1136930"/>
                <a:gd name="connsiteY35" fmla="*/ 365760 h 589331"/>
                <a:gd name="connsiteX36" fmla="*/ 405410 w 1136930"/>
                <a:gd name="connsiteY36" fmla="*/ 301752 h 589331"/>
                <a:gd name="connsiteX37" fmla="*/ 496850 w 1136930"/>
                <a:gd name="connsiteY37" fmla="*/ 219456 h 589331"/>
                <a:gd name="connsiteX38" fmla="*/ 542570 w 1136930"/>
                <a:gd name="connsiteY38" fmla="*/ 146304 h 589331"/>
                <a:gd name="connsiteX39" fmla="*/ 542570 w 1136930"/>
                <a:gd name="connsiteY39" fmla="*/ 64008 h 589331"/>
                <a:gd name="connsiteX40" fmla="*/ 533426 w 1136930"/>
                <a:gd name="connsiteY40" fmla="*/ 54864 h 589331"/>
                <a:gd name="connsiteX41" fmla="*/ 524282 w 1136930"/>
                <a:gd name="connsiteY41" fmla="*/ 128016 h 589331"/>
                <a:gd name="connsiteX42" fmla="*/ 496850 w 1136930"/>
                <a:gd name="connsiteY42" fmla="*/ 173736 h 589331"/>
                <a:gd name="connsiteX43" fmla="*/ 423698 w 1136930"/>
                <a:gd name="connsiteY43" fmla="*/ 237744 h 589331"/>
                <a:gd name="connsiteX44" fmla="*/ 396266 w 1136930"/>
                <a:gd name="connsiteY44" fmla="*/ 256032 h 589331"/>
                <a:gd name="connsiteX45" fmla="*/ 323114 w 1136930"/>
                <a:gd name="connsiteY45" fmla="*/ 347472 h 589331"/>
                <a:gd name="connsiteX46" fmla="*/ 313970 w 1136930"/>
                <a:gd name="connsiteY46" fmla="*/ 374904 h 589331"/>
                <a:gd name="connsiteX47" fmla="*/ 304826 w 1136930"/>
                <a:gd name="connsiteY47" fmla="*/ 411480 h 589331"/>
                <a:gd name="connsiteX48" fmla="*/ 323114 w 1136930"/>
                <a:gd name="connsiteY48" fmla="*/ 429768 h 589331"/>
                <a:gd name="connsiteX49" fmla="*/ 277394 w 1136930"/>
                <a:gd name="connsiteY49" fmla="*/ 457200 h 589331"/>
                <a:gd name="connsiteX50" fmla="*/ 131090 w 1136930"/>
                <a:gd name="connsiteY50" fmla="*/ 493776 h 589331"/>
                <a:gd name="connsiteX51" fmla="*/ 85370 w 1136930"/>
                <a:gd name="connsiteY51" fmla="*/ 530352 h 589331"/>
                <a:gd name="connsiteX52" fmla="*/ 3074 w 1136930"/>
                <a:gd name="connsiteY52" fmla="*/ 585216 h 589331"/>
                <a:gd name="connsiteX53" fmla="*/ 103816 w 1136930"/>
                <a:gd name="connsiteY53" fmla="*/ 555040 h 589331"/>
                <a:gd name="connsiteX54" fmla="*/ 101389 w 1136930"/>
                <a:gd name="connsiteY54" fmla="*/ 554512 h 589331"/>
                <a:gd name="connsiteX55" fmla="*/ 101388 w 1136930"/>
                <a:gd name="connsiteY55" fmla="*/ 554512 h 589331"/>
                <a:gd name="connsiteX0" fmla="*/ 19040 w 1054582"/>
                <a:gd name="connsiteY0" fmla="*/ 554512 h 567361"/>
                <a:gd name="connsiteX1" fmla="*/ 21468 w 1054582"/>
                <a:gd name="connsiteY1" fmla="*/ 555041 h 567361"/>
                <a:gd name="connsiteX2" fmla="*/ 21310 w 1054582"/>
                <a:gd name="connsiteY2" fmla="*/ 548640 h 567361"/>
                <a:gd name="connsiteX3" fmla="*/ 149326 w 1054582"/>
                <a:gd name="connsiteY3" fmla="*/ 493776 h 567361"/>
                <a:gd name="connsiteX4" fmla="*/ 249910 w 1054582"/>
                <a:gd name="connsiteY4" fmla="*/ 466344 h 567361"/>
                <a:gd name="connsiteX5" fmla="*/ 350494 w 1054582"/>
                <a:gd name="connsiteY5" fmla="*/ 384048 h 567361"/>
                <a:gd name="connsiteX6" fmla="*/ 542518 w 1054582"/>
                <a:gd name="connsiteY6" fmla="*/ 301752 h 567361"/>
                <a:gd name="connsiteX7" fmla="*/ 624814 w 1054582"/>
                <a:gd name="connsiteY7" fmla="*/ 192024 h 567361"/>
                <a:gd name="connsiteX8" fmla="*/ 771118 w 1054582"/>
                <a:gd name="connsiteY8" fmla="*/ 155448 h 567361"/>
                <a:gd name="connsiteX9" fmla="*/ 816838 w 1054582"/>
                <a:gd name="connsiteY9" fmla="*/ 155448 h 567361"/>
                <a:gd name="connsiteX10" fmla="*/ 853414 w 1054582"/>
                <a:gd name="connsiteY10" fmla="*/ 137160 h 567361"/>
                <a:gd name="connsiteX11" fmla="*/ 807694 w 1054582"/>
                <a:gd name="connsiteY11" fmla="*/ 137160 h 567361"/>
                <a:gd name="connsiteX12" fmla="*/ 716254 w 1054582"/>
                <a:gd name="connsiteY12" fmla="*/ 137160 h 567361"/>
                <a:gd name="connsiteX13" fmla="*/ 661390 w 1054582"/>
                <a:gd name="connsiteY13" fmla="*/ 146304 h 567361"/>
                <a:gd name="connsiteX14" fmla="*/ 652246 w 1054582"/>
                <a:gd name="connsiteY14" fmla="*/ 155448 h 567361"/>
                <a:gd name="connsiteX15" fmla="*/ 633958 w 1054582"/>
                <a:gd name="connsiteY15" fmla="*/ 146304 h 567361"/>
                <a:gd name="connsiteX16" fmla="*/ 761974 w 1054582"/>
                <a:gd name="connsiteY16" fmla="*/ 91440 h 567361"/>
                <a:gd name="connsiteX17" fmla="*/ 816838 w 1054582"/>
                <a:gd name="connsiteY17" fmla="*/ 91440 h 567361"/>
                <a:gd name="connsiteX18" fmla="*/ 908278 w 1054582"/>
                <a:gd name="connsiteY18" fmla="*/ 82296 h 567361"/>
                <a:gd name="connsiteX19" fmla="*/ 1036294 w 1054582"/>
                <a:gd name="connsiteY19" fmla="*/ 27432 h 567361"/>
                <a:gd name="connsiteX20" fmla="*/ 1018006 w 1054582"/>
                <a:gd name="connsiteY20" fmla="*/ 0 h 567361"/>
                <a:gd name="connsiteX21" fmla="*/ 981430 w 1054582"/>
                <a:gd name="connsiteY21" fmla="*/ 27432 h 567361"/>
                <a:gd name="connsiteX22" fmla="*/ 944854 w 1054582"/>
                <a:gd name="connsiteY22" fmla="*/ 36576 h 567361"/>
                <a:gd name="connsiteX23" fmla="*/ 871702 w 1054582"/>
                <a:gd name="connsiteY23" fmla="*/ 64008 h 567361"/>
                <a:gd name="connsiteX24" fmla="*/ 816838 w 1054582"/>
                <a:gd name="connsiteY24" fmla="*/ 64008 h 567361"/>
                <a:gd name="connsiteX25" fmla="*/ 707110 w 1054582"/>
                <a:gd name="connsiteY25" fmla="*/ 64008 h 567361"/>
                <a:gd name="connsiteX26" fmla="*/ 652246 w 1054582"/>
                <a:gd name="connsiteY26" fmla="*/ 100584 h 567361"/>
                <a:gd name="connsiteX27" fmla="*/ 615670 w 1054582"/>
                <a:gd name="connsiteY27" fmla="*/ 146304 h 567361"/>
                <a:gd name="connsiteX28" fmla="*/ 569950 w 1054582"/>
                <a:gd name="connsiteY28" fmla="*/ 182880 h 567361"/>
                <a:gd name="connsiteX29" fmla="*/ 524230 w 1054582"/>
                <a:gd name="connsiteY29" fmla="*/ 256032 h 567361"/>
                <a:gd name="connsiteX30" fmla="*/ 451078 w 1054582"/>
                <a:gd name="connsiteY30" fmla="*/ 301752 h 567361"/>
                <a:gd name="connsiteX31" fmla="*/ 350494 w 1054582"/>
                <a:gd name="connsiteY31" fmla="*/ 347472 h 567361"/>
                <a:gd name="connsiteX32" fmla="*/ 313918 w 1054582"/>
                <a:gd name="connsiteY32" fmla="*/ 374904 h 567361"/>
                <a:gd name="connsiteX33" fmla="*/ 268198 w 1054582"/>
                <a:gd name="connsiteY33" fmla="*/ 402336 h 567361"/>
                <a:gd name="connsiteX34" fmla="*/ 249910 w 1054582"/>
                <a:gd name="connsiteY34" fmla="*/ 402336 h 567361"/>
                <a:gd name="connsiteX35" fmla="*/ 268198 w 1054582"/>
                <a:gd name="connsiteY35" fmla="*/ 365760 h 567361"/>
                <a:gd name="connsiteX36" fmla="*/ 323062 w 1054582"/>
                <a:gd name="connsiteY36" fmla="*/ 301752 h 567361"/>
                <a:gd name="connsiteX37" fmla="*/ 414502 w 1054582"/>
                <a:gd name="connsiteY37" fmla="*/ 219456 h 567361"/>
                <a:gd name="connsiteX38" fmla="*/ 460222 w 1054582"/>
                <a:gd name="connsiteY38" fmla="*/ 146304 h 567361"/>
                <a:gd name="connsiteX39" fmla="*/ 460222 w 1054582"/>
                <a:gd name="connsiteY39" fmla="*/ 64008 h 567361"/>
                <a:gd name="connsiteX40" fmla="*/ 451078 w 1054582"/>
                <a:gd name="connsiteY40" fmla="*/ 54864 h 567361"/>
                <a:gd name="connsiteX41" fmla="*/ 441934 w 1054582"/>
                <a:gd name="connsiteY41" fmla="*/ 128016 h 567361"/>
                <a:gd name="connsiteX42" fmla="*/ 414502 w 1054582"/>
                <a:gd name="connsiteY42" fmla="*/ 173736 h 567361"/>
                <a:gd name="connsiteX43" fmla="*/ 341350 w 1054582"/>
                <a:gd name="connsiteY43" fmla="*/ 237744 h 567361"/>
                <a:gd name="connsiteX44" fmla="*/ 313918 w 1054582"/>
                <a:gd name="connsiteY44" fmla="*/ 256032 h 567361"/>
                <a:gd name="connsiteX45" fmla="*/ 240766 w 1054582"/>
                <a:gd name="connsiteY45" fmla="*/ 347472 h 567361"/>
                <a:gd name="connsiteX46" fmla="*/ 231622 w 1054582"/>
                <a:gd name="connsiteY46" fmla="*/ 374904 h 567361"/>
                <a:gd name="connsiteX47" fmla="*/ 222478 w 1054582"/>
                <a:gd name="connsiteY47" fmla="*/ 411480 h 567361"/>
                <a:gd name="connsiteX48" fmla="*/ 240766 w 1054582"/>
                <a:gd name="connsiteY48" fmla="*/ 429768 h 567361"/>
                <a:gd name="connsiteX49" fmla="*/ 195046 w 1054582"/>
                <a:gd name="connsiteY49" fmla="*/ 457200 h 567361"/>
                <a:gd name="connsiteX50" fmla="*/ 48742 w 1054582"/>
                <a:gd name="connsiteY50" fmla="*/ 493776 h 567361"/>
                <a:gd name="connsiteX51" fmla="*/ 3022 w 1054582"/>
                <a:gd name="connsiteY51" fmla="*/ 530352 h 567361"/>
                <a:gd name="connsiteX52" fmla="*/ 37669 w 1054582"/>
                <a:gd name="connsiteY52" fmla="*/ 480583 h 567361"/>
                <a:gd name="connsiteX53" fmla="*/ 21468 w 1054582"/>
                <a:gd name="connsiteY53" fmla="*/ 555040 h 567361"/>
                <a:gd name="connsiteX54" fmla="*/ 19041 w 1054582"/>
                <a:gd name="connsiteY54" fmla="*/ 554512 h 567361"/>
                <a:gd name="connsiteX55" fmla="*/ 19040 w 1054582"/>
                <a:gd name="connsiteY55" fmla="*/ 554512 h 567361"/>
                <a:gd name="connsiteX0" fmla="*/ 112127 w 1054582"/>
                <a:gd name="connsiteY0" fmla="*/ 496784 h 567361"/>
                <a:gd name="connsiteX1" fmla="*/ 21468 w 1054582"/>
                <a:gd name="connsiteY1" fmla="*/ 555041 h 567361"/>
                <a:gd name="connsiteX2" fmla="*/ 21310 w 1054582"/>
                <a:gd name="connsiteY2" fmla="*/ 548640 h 567361"/>
                <a:gd name="connsiteX3" fmla="*/ 149326 w 1054582"/>
                <a:gd name="connsiteY3" fmla="*/ 493776 h 567361"/>
                <a:gd name="connsiteX4" fmla="*/ 249910 w 1054582"/>
                <a:gd name="connsiteY4" fmla="*/ 466344 h 567361"/>
                <a:gd name="connsiteX5" fmla="*/ 350494 w 1054582"/>
                <a:gd name="connsiteY5" fmla="*/ 384048 h 567361"/>
                <a:gd name="connsiteX6" fmla="*/ 542518 w 1054582"/>
                <a:gd name="connsiteY6" fmla="*/ 301752 h 567361"/>
                <a:gd name="connsiteX7" fmla="*/ 624814 w 1054582"/>
                <a:gd name="connsiteY7" fmla="*/ 192024 h 567361"/>
                <a:gd name="connsiteX8" fmla="*/ 771118 w 1054582"/>
                <a:gd name="connsiteY8" fmla="*/ 155448 h 567361"/>
                <a:gd name="connsiteX9" fmla="*/ 816838 w 1054582"/>
                <a:gd name="connsiteY9" fmla="*/ 155448 h 567361"/>
                <a:gd name="connsiteX10" fmla="*/ 853414 w 1054582"/>
                <a:gd name="connsiteY10" fmla="*/ 137160 h 567361"/>
                <a:gd name="connsiteX11" fmla="*/ 807694 w 1054582"/>
                <a:gd name="connsiteY11" fmla="*/ 137160 h 567361"/>
                <a:gd name="connsiteX12" fmla="*/ 716254 w 1054582"/>
                <a:gd name="connsiteY12" fmla="*/ 137160 h 567361"/>
                <a:gd name="connsiteX13" fmla="*/ 661390 w 1054582"/>
                <a:gd name="connsiteY13" fmla="*/ 146304 h 567361"/>
                <a:gd name="connsiteX14" fmla="*/ 652246 w 1054582"/>
                <a:gd name="connsiteY14" fmla="*/ 155448 h 567361"/>
                <a:gd name="connsiteX15" fmla="*/ 633958 w 1054582"/>
                <a:gd name="connsiteY15" fmla="*/ 146304 h 567361"/>
                <a:gd name="connsiteX16" fmla="*/ 761974 w 1054582"/>
                <a:gd name="connsiteY16" fmla="*/ 91440 h 567361"/>
                <a:gd name="connsiteX17" fmla="*/ 816838 w 1054582"/>
                <a:gd name="connsiteY17" fmla="*/ 91440 h 567361"/>
                <a:gd name="connsiteX18" fmla="*/ 908278 w 1054582"/>
                <a:gd name="connsiteY18" fmla="*/ 82296 h 567361"/>
                <a:gd name="connsiteX19" fmla="*/ 1036294 w 1054582"/>
                <a:gd name="connsiteY19" fmla="*/ 27432 h 567361"/>
                <a:gd name="connsiteX20" fmla="*/ 1018006 w 1054582"/>
                <a:gd name="connsiteY20" fmla="*/ 0 h 567361"/>
                <a:gd name="connsiteX21" fmla="*/ 981430 w 1054582"/>
                <a:gd name="connsiteY21" fmla="*/ 27432 h 567361"/>
                <a:gd name="connsiteX22" fmla="*/ 944854 w 1054582"/>
                <a:gd name="connsiteY22" fmla="*/ 36576 h 567361"/>
                <a:gd name="connsiteX23" fmla="*/ 871702 w 1054582"/>
                <a:gd name="connsiteY23" fmla="*/ 64008 h 567361"/>
                <a:gd name="connsiteX24" fmla="*/ 816838 w 1054582"/>
                <a:gd name="connsiteY24" fmla="*/ 64008 h 567361"/>
                <a:gd name="connsiteX25" fmla="*/ 707110 w 1054582"/>
                <a:gd name="connsiteY25" fmla="*/ 64008 h 567361"/>
                <a:gd name="connsiteX26" fmla="*/ 652246 w 1054582"/>
                <a:gd name="connsiteY26" fmla="*/ 100584 h 567361"/>
                <a:gd name="connsiteX27" fmla="*/ 615670 w 1054582"/>
                <a:gd name="connsiteY27" fmla="*/ 146304 h 567361"/>
                <a:gd name="connsiteX28" fmla="*/ 569950 w 1054582"/>
                <a:gd name="connsiteY28" fmla="*/ 182880 h 567361"/>
                <a:gd name="connsiteX29" fmla="*/ 524230 w 1054582"/>
                <a:gd name="connsiteY29" fmla="*/ 256032 h 567361"/>
                <a:gd name="connsiteX30" fmla="*/ 451078 w 1054582"/>
                <a:gd name="connsiteY30" fmla="*/ 301752 h 567361"/>
                <a:gd name="connsiteX31" fmla="*/ 350494 w 1054582"/>
                <a:gd name="connsiteY31" fmla="*/ 347472 h 567361"/>
                <a:gd name="connsiteX32" fmla="*/ 313918 w 1054582"/>
                <a:gd name="connsiteY32" fmla="*/ 374904 h 567361"/>
                <a:gd name="connsiteX33" fmla="*/ 268198 w 1054582"/>
                <a:gd name="connsiteY33" fmla="*/ 402336 h 567361"/>
                <a:gd name="connsiteX34" fmla="*/ 249910 w 1054582"/>
                <a:gd name="connsiteY34" fmla="*/ 402336 h 567361"/>
                <a:gd name="connsiteX35" fmla="*/ 268198 w 1054582"/>
                <a:gd name="connsiteY35" fmla="*/ 365760 h 567361"/>
                <a:gd name="connsiteX36" fmla="*/ 323062 w 1054582"/>
                <a:gd name="connsiteY36" fmla="*/ 301752 h 567361"/>
                <a:gd name="connsiteX37" fmla="*/ 414502 w 1054582"/>
                <a:gd name="connsiteY37" fmla="*/ 219456 h 567361"/>
                <a:gd name="connsiteX38" fmla="*/ 460222 w 1054582"/>
                <a:gd name="connsiteY38" fmla="*/ 146304 h 567361"/>
                <a:gd name="connsiteX39" fmla="*/ 460222 w 1054582"/>
                <a:gd name="connsiteY39" fmla="*/ 64008 h 567361"/>
                <a:gd name="connsiteX40" fmla="*/ 451078 w 1054582"/>
                <a:gd name="connsiteY40" fmla="*/ 54864 h 567361"/>
                <a:gd name="connsiteX41" fmla="*/ 441934 w 1054582"/>
                <a:gd name="connsiteY41" fmla="*/ 128016 h 567361"/>
                <a:gd name="connsiteX42" fmla="*/ 414502 w 1054582"/>
                <a:gd name="connsiteY42" fmla="*/ 173736 h 567361"/>
                <a:gd name="connsiteX43" fmla="*/ 341350 w 1054582"/>
                <a:gd name="connsiteY43" fmla="*/ 237744 h 567361"/>
                <a:gd name="connsiteX44" fmla="*/ 313918 w 1054582"/>
                <a:gd name="connsiteY44" fmla="*/ 256032 h 567361"/>
                <a:gd name="connsiteX45" fmla="*/ 240766 w 1054582"/>
                <a:gd name="connsiteY45" fmla="*/ 347472 h 567361"/>
                <a:gd name="connsiteX46" fmla="*/ 231622 w 1054582"/>
                <a:gd name="connsiteY46" fmla="*/ 374904 h 567361"/>
                <a:gd name="connsiteX47" fmla="*/ 222478 w 1054582"/>
                <a:gd name="connsiteY47" fmla="*/ 411480 h 567361"/>
                <a:gd name="connsiteX48" fmla="*/ 240766 w 1054582"/>
                <a:gd name="connsiteY48" fmla="*/ 429768 h 567361"/>
                <a:gd name="connsiteX49" fmla="*/ 195046 w 1054582"/>
                <a:gd name="connsiteY49" fmla="*/ 457200 h 567361"/>
                <a:gd name="connsiteX50" fmla="*/ 48742 w 1054582"/>
                <a:gd name="connsiteY50" fmla="*/ 493776 h 567361"/>
                <a:gd name="connsiteX51" fmla="*/ 3022 w 1054582"/>
                <a:gd name="connsiteY51" fmla="*/ 530352 h 567361"/>
                <a:gd name="connsiteX52" fmla="*/ 37669 w 1054582"/>
                <a:gd name="connsiteY52" fmla="*/ 480583 h 567361"/>
                <a:gd name="connsiteX53" fmla="*/ 21468 w 1054582"/>
                <a:gd name="connsiteY53" fmla="*/ 555040 h 567361"/>
                <a:gd name="connsiteX54" fmla="*/ 19041 w 1054582"/>
                <a:gd name="connsiteY54" fmla="*/ 554512 h 567361"/>
                <a:gd name="connsiteX55" fmla="*/ 112127 w 1054582"/>
                <a:gd name="connsiteY55" fmla="*/ 496784 h 567361"/>
                <a:gd name="connsiteX0" fmla="*/ 112127 w 1054582"/>
                <a:gd name="connsiteY0" fmla="*/ 496784 h 558851"/>
                <a:gd name="connsiteX1" fmla="*/ 21468 w 1054582"/>
                <a:gd name="connsiteY1" fmla="*/ 555041 h 558851"/>
                <a:gd name="connsiteX2" fmla="*/ 21310 w 1054582"/>
                <a:gd name="connsiteY2" fmla="*/ 548640 h 558851"/>
                <a:gd name="connsiteX3" fmla="*/ 149326 w 1054582"/>
                <a:gd name="connsiteY3" fmla="*/ 493776 h 558851"/>
                <a:gd name="connsiteX4" fmla="*/ 249910 w 1054582"/>
                <a:gd name="connsiteY4" fmla="*/ 466344 h 558851"/>
                <a:gd name="connsiteX5" fmla="*/ 350494 w 1054582"/>
                <a:gd name="connsiteY5" fmla="*/ 384048 h 558851"/>
                <a:gd name="connsiteX6" fmla="*/ 542518 w 1054582"/>
                <a:gd name="connsiteY6" fmla="*/ 301752 h 558851"/>
                <a:gd name="connsiteX7" fmla="*/ 624814 w 1054582"/>
                <a:gd name="connsiteY7" fmla="*/ 192024 h 558851"/>
                <a:gd name="connsiteX8" fmla="*/ 771118 w 1054582"/>
                <a:gd name="connsiteY8" fmla="*/ 155448 h 558851"/>
                <a:gd name="connsiteX9" fmla="*/ 816838 w 1054582"/>
                <a:gd name="connsiteY9" fmla="*/ 155448 h 558851"/>
                <a:gd name="connsiteX10" fmla="*/ 853414 w 1054582"/>
                <a:gd name="connsiteY10" fmla="*/ 137160 h 558851"/>
                <a:gd name="connsiteX11" fmla="*/ 807694 w 1054582"/>
                <a:gd name="connsiteY11" fmla="*/ 137160 h 558851"/>
                <a:gd name="connsiteX12" fmla="*/ 716254 w 1054582"/>
                <a:gd name="connsiteY12" fmla="*/ 137160 h 558851"/>
                <a:gd name="connsiteX13" fmla="*/ 661390 w 1054582"/>
                <a:gd name="connsiteY13" fmla="*/ 146304 h 558851"/>
                <a:gd name="connsiteX14" fmla="*/ 652246 w 1054582"/>
                <a:gd name="connsiteY14" fmla="*/ 155448 h 558851"/>
                <a:gd name="connsiteX15" fmla="*/ 633958 w 1054582"/>
                <a:gd name="connsiteY15" fmla="*/ 146304 h 558851"/>
                <a:gd name="connsiteX16" fmla="*/ 761974 w 1054582"/>
                <a:gd name="connsiteY16" fmla="*/ 91440 h 558851"/>
                <a:gd name="connsiteX17" fmla="*/ 816838 w 1054582"/>
                <a:gd name="connsiteY17" fmla="*/ 91440 h 558851"/>
                <a:gd name="connsiteX18" fmla="*/ 908278 w 1054582"/>
                <a:gd name="connsiteY18" fmla="*/ 82296 h 558851"/>
                <a:gd name="connsiteX19" fmla="*/ 1036294 w 1054582"/>
                <a:gd name="connsiteY19" fmla="*/ 27432 h 558851"/>
                <a:gd name="connsiteX20" fmla="*/ 1018006 w 1054582"/>
                <a:gd name="connsiteY20" fmla="*/ 0 h 558851"/>
                <a:gd name="connsiteX21" fmla="*/ 981430 w 1054582"/>
                <a:gd name="connsiteY21" fmla="*/ 27432 h 558851"/>
                <a:gd name="connsiteX22" fmla="*/ 944854 w 1054582"/>
                <a:gd name="connsiteY22" fmla="*/ 36576 h 558851"/>
                <a:gd name="connsiteX23" fmla="*/ 871702 w 1054582"/>
                <a:gd name="connsiteY23" fmla="*/ 64008 h 558851"/>
                <a:gd name="connsiteX24" fmla="*/ 816838 w 1054582"/>
                <a:gd name="connsiteY24" fmla="*/ 64008 h 558851"/>
                <a:gd name="connsiteX25" fmla="*/ 707110 w 1054582"/>
                <a:gd name="connsiteY25" fmla="*/ 64008 h 558851"/>
                <a:gd name="connsiteX26" fmla="*/ 652246 w 1054582"/>
                <a:gd name="connsiteY26" fmla="*/ 100584 h 558851"/>
                <a:gd name="connsiteX27" fmla="*/ 615670 w 1054582"/>
                <a:gd name="connsiteY27" fmla="*/ 146304 h 558851"/>
                <a:gd name="connsiteX28" fmla="*/ 569950 w 1054582"/>
                <a:gd name="connsiteY28" fmla="*/ 182880 h 558851"/>
                <a:gd name="connsiteX29" fmla="*/ 524230 w 1054582"/>
                <a:gd name="connsiteY29" fmla="*/ 256032 h 558851"/>
                <a:gd name="connsiteX30" fmla="*/ 451078 w 1054582"/>
                <a:gd name="connsiteY30" fmla="*/ 301752 h 558851"/>
                <a:gd name="connsiteX31" fmla="*/ 350494 w 1054582"/>
                <a:gd name="connsiteY31" fmla="*/ 347472 h 558851"/>
                <a:gd name="connsiteX32" fmla="*/ 313918 w 1054582"/>
                <a:gd name="connsiteY32" fmla="*/ 374904 h 558851"/>
                <a:gd name="connsiteX33" fmla="*/ 268198 w 1054582"/>
                <a:gd name="connsiteY33" fmla="*/ 402336 h 558851"/>
                <a:gd name="connsiteX34" fmla="*/ 249910 w 1054582"/>
                <a:gd name="connsiteY34" fmla="*/ 402336 h 558851"/>
                <a:gd name="connsiteX35" fmla="*/ 268198 w 1054582"/>
                <a:gd name="connsiteY35" fmla="*/ 365760 h 558851"/>
                <a:gd name="connsiteX36" fmla="*/ 323062 w 1054582"/>
                <a:gd name="connsiteY36" fmla="*/ 301752 h 558851"/>
                <a:gd name="connsiteX37" fmla="*/ 414502 w 1054582"/>
                <a:gd name="connsiteY37" fmla="*/ 219456 h 558851"/>
                <a:gd name="connsiteX38" fmla="*/ 460222 w 1054582"/>
                <a:gd name="connsiteY38" fmla="*/ 146304 h 558851"/>
                <a:gd name="connsiteX39" fmla="*/ 460222 w 1054582"/>
                <a:gd name="connsiteY39" fmla="*/ 64008 h 558851"/>
                <a:gd name="connsiteX40" fmla="*/ 451078 w 1054582"/>
                <a:gd name="connsiteY40" fmla="*/ 54864 h 558851"/>
                <a:gd name="connsiteX41" fmla="*/ 441934 w 1054582"/>
                <a:gd name="connsiteY41" fmla="*/ 128016 h 558851"/>
                <a:gd name="connsiteX42" fmla="*/ 414502 w 1054582"/>
                <a:gd name="connsiteY42" fmla="*/ 173736 h 558851"/>
                <a:gd name="connsiteX43" fmla="*/ 341350 w 1054582"/>
                <a:gd name="connsiteY43" fmla="*/ 237744 h 558851"/>
                <a:gd name="connsiteX44" fmla="*/ 313918 w 1054582"/>
                <a:gd name="connsiteY44" fmla="*/ 256032 h 558851"/>
                <a:gd name="connsiteX45" fmla="*/ 240766 w 1054582"/>
                <a:gd name="connsiteY45" fmla="*/ 347472 h 558851"/>
                <a:gd name="connsiteX46" fmla="*/ 231622 w 1054582"/>
                <a:gd name="connsiteY46" fmla="*/ 374904 h 558851"/>
                <a:gd name="connsiteX47" fmla="*/ 222478 w 1054582"/>
                <a:gd name="connsiteY47" fmla="*/ 411480 h 558851"/>
                <a:gd name="connsiteX48" fmla="*/ 240766 w 1054582"/>
                <a:gd name="connsiteY48" fmla="*/ 429768 h 558851"/>
                <a:gd name="connsiteX49" fmla="*/ 195046 w 1054582"/>
                <a:gd name="connsiteY49" fmla="*/ 457200 h 558851"/>
                <a:gd name="connsiteX50" fmla="*/ 48742 w 1054582"/>
                <a:gd name="connsiteY50" fmla="*/ 493776 h 558851"/>
                <a:gd name="connsiteX51" fmla="*/ 3022 w 1054582"/>
                <a:gd name="connsiteY51" fmla="*/ 530352 h 558851"/>
                <a:gd name="connsiteX52" fmla="*/ 37669 w 1054582"/>
                <a:gd name="connsiteY52" fmla="*/ 480583 h 558851"/>
                <a:gd name="connsiteX53" fmla="*/ 21468 w 1054582"/>
                <a:gd name="connsiteY53" fmla="*/ 555040 h 558851"/>
                <a:gd name="connsiteX54" fmla="*/ 37669 w 1054582"/>
                <a:gd name="connsiteY54" fmla="*/ 480583 h 558851"/>
                <a:gd name="connsiteX55" fmla="*/ 112127 w 1054582"/>
                <a:gd name="connsiteY55" fmla="*/ 496784 h 558851"/>
                <a:gd name="connsiteX0" fmla="*/ 112127 w 1054582"/>
                <a:gd name="connsiteY0" fmla="*/ 496784 h 558851"/>
                <a:gd name="connsiteX1" fmla="*/ 21468 w 1054582"/>
                <a:gd name="connsiteY1" fmla="*/ 555041 h 558851"/>
                <a:gd name="connsiteX2" fmla="*/ 21310 w 1054582"/>
                <a:gd name="connsiteY2" fmla="*/ 548640 h 558851"/>
                <a:gd name="connsiteX3" fmla="*/ 149326 w 1054582"/>
                <a:gd name="connsiteY3" fmla="*/ 493776 h 558851"/>
                <a:gd name="connsiteX4" fmla="*/ 249910 w 1054582"/>
                <a:gd name="connsiteY4" fmla="*/ 466344 h 558851"/>
                <a:gd name="connsiteX5" fmla="*/ 350494 w 1054582"/>
                <a:gd name="connsiteY5" fmla="*/ 384048 h 558851"/>
                <a:gd name="connsiteX6" fmla="*/ 542518 w 1054582"/>
                <a:gd name="connsiteY6" fmla="*/ 301752 h 558851"/>
                <a:gd name="connsiteX7" fmla="*/ 624814 w 1054582"/>
                <a:gd name="connsiteY7" fmla="*/ 192024 h 558851"/>
                <a:gd name="connsiteX8" fmla="*/ 771118 w 1054582"/>
                <a:gd name="connsiteY8" fmla="*/ 155448 h 558851"/>
                <a:gd name="connsiteX9" fmla="*/ 816838 w 1054582"/>
                <a:gd name="connsiteY9" fmla="*/ 155448 h 558851"/>
                <a:gd name="connsiteX10" fmla="*/ 853414 w 1054582"/>
                <a:gd name="connsiteY10" fmla="*/ 137160 h 558851"/>
                <a:gd name="connsiteX11" fmla="*/ 807694 w 1054582"/>
                <a:gd name="connsiteY11" fmla="*/ 137160 h 558851"/>
                <a:gd name="connsiteX12" fmla="*/ 716254 w 1054582"/>
                <a:gd name="connsiteY12" fmla="*/ 137160 h 558851"/>
                <a:gd name="connsiteX13" fmla="*/ 661390 w 1054582"/>
                <a:gd name="connsiteY13" fmla="*/ 146304 h 558851"/>
                <a:gd name="connsiteX14" fmla="*/ 652246 w 1054582"/>
                <a:gd name="connsiteY14" fmla="*/ 155448 h 558851"/>
                <a:gd name="connsiteX15" fmla="*/ 633958 w 1054582"/>
                <a:gd name="connsiteY15" fmla="*/ 146304 h 558851"/>
                <a:gd name="connsiteX16" fmla="*/ 761974 w 1054582"/>
                <a:gd name="connsiteY16" fmla="*/ 91440 h 558851"/>
                <a:gd name="connsiteX17" fmla="*/ 816838 w 1054582"/>
                <a:gd name="connsiteY17" fmla="*/ 91440 h 558851"/>
                <a:gd name="connsiteX18" fmla="*/ 908278 w 1054582"/>
                <a:gd name="connsiteY18" fmla="*/ 82296 h 558851"/>
                <a:gd name="connsiteX19" fmla="*/ 1036294 w 1054582"/>
                <a:gd name="connsiteY19" fmla="*/ 27432 h 558851"/>
                <a:gd name="connsiteX20" fmla="*/ 1018006 w 1054582"/>
                <a:gd name="connsiteY20" fmla="*/ 0 h 558851"/>
                <a:gd name="connsiteX21" fmla="*/ 981430 w 1054582"/>
                <a:gd name="connsiteY21" fmla="*/ 27432 h 558851"/>
                <a:gd name="connsiteX22" fmla="*/ 944854 w 1054582"/>
                <a:gd name="connsiteY22" fmla="*/ 36576 h 558851"/>
                <a:gd name="connsiteX23" fmla="*/ 871702 w 1054582"/>
                <a:gd name="connsiteY23" fmla="*/ 64008 h 558851"/>
                <a:gd name="connsiteX24" fmla="*/ 816838 w 1054582"/>
                <a:gd name="connsiteY24" fmla="*/ 64008 h 558851"/>
                <a:gd name="connsiteX25" fmla="*/ 707110 w 1054582"/>
                <a:gd name="connsiteY25" fmla="*/ 64008 h 558851"/>
                <a:gd name="connsiteX26" fmla="*/ 652246 w 1054582"/>
                <a:gd name="connsiteY26" fmla="*/ 100584 h 558851"/>
                <a:gd name="connsiteX27" fmla="*/ 615670 w 1054582"/>
                <a:gd name="connsiteY27" fmla="*/ 146304 h 558851"/>
                <a:gd name="connsiteX28" fmla="*/ 569950 w 1054582"/>
                <a:gd name="connsiteY28" fmla="*/ 182880 h 558851"/>
                <a:gd name="connsiteX29" fmla="*/ 524230 w 1054582"/>
                <a:gd name="connsiteY29" fmla="*/ 256032 h 558851"/>
                <a:gd name="connsiteX30" fmla="*/ 451078 w 1054582"/>
                <a:gd name="connsiteY30" fmla="*/ 301752 h 558851"/>
                <a:gd name="connsiteX31" fmla="*/ 350494 w 1054582"/>
                <a:gd name="connsiteY31" fmla="*/ 347472 h 558851"/>
                <a:gd name="connsiteX32" fmla="*/ 313918 w 1054582"/>
                <a:gd name="connsiteY32" fmla="*/ 374904 h 558851"/>
                <a:gd name="connsiteX33" fmla="*/ 268198 w 1054582"/>
                <a:gd name="connsiteY33" fmla="*/ 402336 h 558851"/>
                <a:gd name="connsiteX34" fmla="*/ 249910 w 1054582"/>
                <a:gd name="connsiteY34" fmla="*/ 402336 h 558851"/>
                <a:gd name="connsiteX35" fmla="*/ 268198 w 1054582"/>
                <a:gd name="connsiteY35" fmla="*/ 365760 h 558851"/>
                <a:gd name="connsiteX36" fmla="*/ 323062 w 1054582"/>
                <a:gd name="connsiteY36" fmla="*/ 301752 h 558851"/>
                <a:gd name="connsiteX37" fmla="*/ 414502 w 1054582"/>
                <a:gd name="connsiteY37" fmla="*/ 219456 h 558851"/>
                <a:gd name="connsiteX38" fmla="*/ 460222 w 1054582"/>
                <a:gd name="connsiteY38" fmla="*/ 146304 h 558851"/>
                <a:gd name="connsiteX39" fmla="*/ 460222 w 1054582"/>
                <a:gd name="connsiteY39" fmla="*/ 64008 h 558851"/>
                <a:gd name="connsiteX40" fmla="*/ 451078 w 1054582"/>
                <a:gd name="connsiteY40" fmla="*/ 54864 h 558851"/>
                <a:gd name="connsiteX41" fmla="*/ 441934 w 1054582"/>
                <a:gd name="connsiteY41" fmla="*/ 128016 h 558851"/>
                <a:gd name="connsiteX42" fmla="*/ 414502 w 1054582"/>
                <a:gd name="connsiteY42" fmla="*/ 173736 h 558851"/>
                <a:gd name="connsiteX43" fmla="*/ 341350 w 1054582"/>
                <a:gd name="connsiteY43" fmla="*/ 237744 h 558851"/>
                <a:gd name="connsiteX44" fmla="*/ 313918 w 1054582"/>
                <a:gd name="connsiteY44" fmla="*/ 256032 h 558851"/>
                <a:gd name="connsiteX45" fmla="*/ 240766 w 1054582"/>
                <a:gd name="connsiteY45" fmla="*/ 347472 h 558851"/>
                <a:gd name="connsiteX46" fmla="*/ 231622 w 1054582"/>
                <a:gd name="connsiteY46" fmla="*/ 374904 h 558851"/>
                <a:gd name="connsiteX47" fmla="*/ 222478 w 1054582"/>
                <a:gd name="connsiteY47" fmla="*/ 411480 h 558851"/>
                <a:gd name="connsiteX48" fmla="*/ 240766 w 1054582"/>
                <a:gd name="connsiteY48" fmla="*/ 429768 h 558851"/>
                <a:gd name="connsiteX49" fmla="*/ 195046 w 1054582"/>
                <a:gd name="connsiteY49" fmla="*/ 457200 h 558851"/>
                <a:gd name="connsiteX50" fmla="*/ 48742 w 1054582"/>
                <a:gd name="connsiteY50" fmla="*/ 493776 h 558851"/>
                <a:gd name="connsiteX51" fmla="*/ 3022 w 1054582"/>
                <a:gd name="connsiteY51" fmla="*/ 530352 h 558851"/>
                <a:gd name="connsiteX52" fmla="*/ 37669 w 1054582"/>
                <a:gd name="connsiteY52" fmla="*/ 480583 h 558851"/>
                <a:gd name="connsiteX53" fmla="*/ 21468 w 1054582"/>
                <a:gd name="connsiteY53" fmla="*/ 555040 h 558851"/>
                <a:gd name="connsiteX54" fmla="*/ 112127 w 1054582"/>
                <a:gd name="connsiteY54" fmla="*/ 496784 h 558851"/>
                <a:gd name="connsiteX55" fmla="*/ 112127 w 1054582"/>
                <a:gd name="connsiteY55" fmla="*/ 496784 h 558851"/>
                <a:gd name="connsiteX0" fmla="*/ 112127 w 1054582"/>
                <a:gd name="connsiteY0" fmla="*/ 496784 h 558851"/>
                <a:gd name="connsiteX1" fmla="*/ 21468 w 1054582"/>
                <a:gd name="connsiteY1" fmla="*/ 555041 h 558851"/>
                <a:gd name="connsiteX2" fmla="*/ 21310 w 1054582"/>
                <a:gd name="connsiteY2" fmla="*/ 548640 h 558851"/>
                <a:gd name="connsiteX3" fmla="*/ 149326 w 1054582"/>
                <a:gd name="connsiteY3" fmla="*/ 493776 h 558851"/>
                <a:gd name="connsiteX4" fmla="*/ 249910 w 1054582"/>
                <a:gd name="connsiteY4" fmla="*/ 466344 h 558851"/>
                <a:gd name="connsiteX5" fmla="*/ 350494 w 1054582"/>
                <a:gd name="connsiteY5" fmla="*/ 384048 h 558851"/>
                <a:gd name="connsiteX6" fmla="*/ 542518 w 1054582"/>
                <a:gd name="connsiteY6" fmla="*/ 301752 h 558851"/>
                <a:gd name="connsiteX7" fmla="*/ 624814 w 1054582"/>
                <a:gd name="connsiteY7" fmla="*/ 192024 h 558851"/>
                <a:gd name="connsiteX8" fmla="*/ 771118 w 1054582"/>
                <a:gd name="connsiteY8" fmla="*/ 155448 h 558851"/>
                <a:gd name="connsiteX9" fmla="*/ 816838 w 1054582"/>
                <a:gd name="connsiteY9" fmla="*/ 155448 h 558851"/>
                <a:gd name="connsiteX10" fmla="*/ 853414 w 1054582"/>
                <a:gd name="connsiteY10" fmla="*/ 137160 h 558851"/>
                <a:gd name="connsiteX11" fmla="*/ 807694 w 1054582"/>
                <a:gd name="connsiteY11" fmla="*/ 137160 h 558851"/>
                <a:gd name="connsiteX12" fmla="*/ 716254 w 1054582"/>
                <a:gd name="connsiteY12" fmla="*/ 137160 h 558851"/>
                <a:gd name="connsiteX13" fmla="*/ 661390 w 1054582"/>
                <a:gd name="connsiteY13" fmla="*/ 146304 h 558851"/>
                <a:gd name="connsiteX14" fmla="*/ 652246 w 1054582"/>
                <a:gd name="connsiteY14" fmla="*/ 155448 h 558851"/>
                <a:gd name="connsiteX15" fmla="*/ 633958 w 1054582"/>
                <a:gd name="connsiteY15" fmla="*/ 146304 h 558851"/>
                <a:gd name="connsiteX16" fmla="*/ 761974 w 1054582"/>
                <a:gd name="connsiteY16" fmla="*/ 91440 h 558851"/>
                <a:gd name="connsiteX17" fmla="*/ 816838 w 1054582"/>
                <a:gd name="connsiteY17" fmla="*/ 91440 h 558851"/>
                <a:gd name="connsiteX18" fmla="*/ 908278 w 1054582"/>
                <a:gd name="connsiteY18" fmla="*/ 82296 h 558851"/>
                <a:gd name="connsiteX19" fmla="*/ 1036294 w 1054582"/>
                <a:gd name="connsiteY19" fmla="*/ 27432 h 558851"/>
                <a:gd name="connsiteX20" fmla="*/ 1018006 w 1054582"/>
                <a:gd name="connsiteY20" fmla="*/ 0 h 558851"/>
                <a:gd name="connsiteX21" fmla="*/ 981430 w 1054582"/>
                <a:gd name="connsiteY21" fmla="*/ 27432 h 558851"/>
                <a:gd name="connsiteX22" fmla="*/ 944854 w 1054582"/>
                <a:gd name="connsiteY22" fmla="*/ 36576 h 558851"/>
                <a:gd name="connsiteX23" fmla="*/ 871702 w 1054582"/>
                <a:gd name="connsiteY23" fmla="*/ 64008 h 558851"/>
                <a:gd name="connsiteX24" fmla="*/ 816838 w 1054582"/>
                <a:gd name="connsiteY24" fmla="*/ 64008 h 558851"/>
                <a:gd name="connsiteX25" fmla="*/ 707110 w 1054582"/>
                <a:gd name="connsiteY25" fmla="*/ 64008 h 558851"/>
                <a:gd name="connsiteX26" fmla="*/ 652246 w 1054582"/>
                <a:gd name="connsiteY26" fmla="*/ 100584 h 558851"/>
                <a:gd name="connsiteX27" fmla="*/ 615670 w 1054582"/>
                <a:gd name="connsiteY27" fmla="*/ 146304 h 558851"/>
                <a:gd name="connsiteX28" fmla="*/ 569950 w 1054582"/>
                <a:gd name="connsiteY28" fmla="*/ 182880 h 558851"/>
                <a:gd name="connsiteX29" fmla="*/ 524230 w 1054582"/>
                <a:gd name="connsiteY29" fmla="*/ 256032 h 558851"/>
                <a:gd name="connsiteX30" fmla="*/ 451078 w 1054582"/>
                <a:gd name="connsiteY30" fmla="*/ 301752 h 558851"/>
                <a:gd name="connsiteX31" fmla="*/ 350494 w 1054582"/>
                <a:gd name="connsiteY31" fmla="*/ 347472 h 558851"/>
                <a:gd name="connsiteX32" fmla="*/ 313918 w 1054582"/>
                <a:gd name="connsiteY32" fmla="*/ 374904 h 558851"/>
                <a:gd name="connsiteX33" fmla="*/ 268198 w 1054582"/>
                <a:gd name="connsiteY33" fmla="*/ 402336 h 558851"/>
                <a:gd name="connsiteX34" fmla="*/ 249910 w 1054582"/>
                <a:gd name="connsiteY34" fmla="*/ 402336 h 558851"/>
                <a:gd name="connsiteX35" fmla="*/ 268198 w 1054582"/>
                <a:gd name="connsiteY35" fmla="*/ 365760 h 558851"/>
                <a:gd name="connsiteX36" fmla="*/ 323062 w 1054582"/>
                <a:gd name="connsiteY36" fmla="*/ 301752 h 558851"/>
                <a:gd name="connsiteX37" fmla="*/ 414502 w 1054582"/>
                <a:gd name="connsiteY37" fmla="*/ 219456 h 558851"/>
                <a:gd name="connsiteX38" fmla="*/ 460222 w 1054582"/>
                <a:gd name="connsiteY38" fmla="*/ 146304 h 558851"/>
                <a:gd name="connsiteX39" fmla="*/ 460222 w 1054582"/>
                <a:gd name="connsiteY39" fmla="*/ 64008 h 558851"/>
                <a:gd name="connsiteX40" fmla="*/ 451078 w 1054582"/>
                <a:gd name="connsiteY40" fmla="*/ 54864 h 558851"/>
                <a:gd name="connsiteX41" fmla="*/ 441934 w 1054582"/>
                <a:gd name="connsiteY41" fmla="*/ 128016 h 558851"/>
                <a:gd name="connsiteX42" fmla="*/ 414502 w 1054582"/>
                <a:gd name="connsiteY42" fmla="*/ 173736 h 558851"/>
                <a:gd name="connsiteX43" fmla="*/ 341350 w 1054582"/>
                <a:gd name="connsiteY43" fmla="*/ 237744 h 558851"/>
                <a:gd name="connsiteX44" fmla="*/ 313918 w 1054582"/>
                <a:gd name="connsiteY44" fmla="*/ 256032 h 558851"/>
                <a:gd name="connsiteX45" fmla="*/ 240766 w 1054582"/>
                <a:gd name="connsiteY45" fmla="*/ 347472 h 558851"/>
                <a:gd name="connsiteX46" fmla="*/ 231622 w 1054582"/>
                <a:gd name="connsiteY46" fmla="*/ 374904 h 558851"/>
                <a:gd name="connsiteX47" fmla="*/ 222478 w 1054582"/>
                <a:gd name="connsiteY47" fmla="*/ 411480 h 558851"/>
                <a:gd name="connsiteX48" fmla="*/ 240766 w 1054582"/>
                <a:gd name="connsiteY48" fmla="*/ 429768 h 558851"/>
                <a:gd name="connsiteX49" fmla="*/ 195046 w 1054582"/>
                <a:gd name="connsiteY49" fmla="*/ 457200 h 558851"/>
                <a:gd name="connsiteX50" fmla="*/ 48742 w 1054582"/>
                <a:gd name="connsiteY50" fmla="*/ 493776 h 558851"/>
                <a:gd name="connsiteX51" fmla="*/ 3022 w 1054582"/>
                <a:gd name="connsiteY51" fmla="*/ 530352 h 558851"/>
                <a:gd name="connsiteX52" fmla="*/ 37669 w 1054582"/>
                <a:gd name="connsiteY52" fmla="*/ 480583 h 558851"/>
                <a:gd name="connsiteX53" fmla="*/ 112127 w 1054582"/>
                <a:gd name="connsiteY53" fmla="*/ 496784 h 558851"/>
                <a:gd name="connsiteX54" fmla="*/ 112127 w 1054582"/>
                <a:gd name="connsiteY54" fmla="*/ 496784 h 558851"/>
                <a:gd name="connsiteX55" fmla="*/ 112127 w 1054582"/>
                <a:gd name="connsiteY55" fmla="*/ 496784 h 558851"/>
                <a:gd name="connsiteX0" fmla="*/ 112127 w 1054582"/>
                <a:gd name="connsiteY0" fmla="*/ 496784 h 558851"/>
                <a:gd name="connsiteX1" fmla="*/ 21468 w 1054582"/>
                <a:gd name="connsiteY1" fmla="*/ 555041 h 558851"/>
                <a:gd name="connsiteX2" fmla="*/ 21310 w 1054582"/>
                <a:gd name="connsiteY2" fmla="*/ 548640 h 558851"/>
                <a:gd name="connsiteX3" fmla="*/ 149326 w 1054582"/>
                <a:gd name="connsiteY3" fmla="*/ 493776 h 558851"/>
                <a:gd name="connsiteX4" fmla="*/ 249910 w 1054582"/>
                <a:gd name="connsiteY4" fmla="*/ 466344 h 558851"/>
                <a:gd name="connsiteX5" fmla="*/ 350494 w 1054582"/>
                <a:gd name="connsiteY5" fmla="*/ 384048 h 558851"/>
                <a:gd name="connsiteX6" fmla="*/ 542518 w 1054582"/>
                <a:gd name="connsiteY6" fmla="*/ 301752 h 558851"/>
                <a:gd name="connsiteX7" fmla="*/ 624814 w 1054582"/>
                <a:gd name="connsiteY7" fmla="*/ 192024 h 558851"/>
                <a:gd name="connsiteX8" fmla="*/ 771118 w 1054582"/>
                <a:gd name="connsiteY8" fmla="*/ 155448 h 558851"/>
                <a:gd name="connsiteX9" fmla="*/ 816838 w 1054582"/>
                <a:gd name="connsiteY9" fmla="*/ 155448 h 558851"/>
                <a:gd name="connsiteX10" fmla="*/ 853414 w 1054582"/>
                <a:gd name="connsiteY10" fmla="*/ 137160 h 558851"/>
                <a:gd name="connsiteX11" fmla="*/ 807694 w 1054582"/>
                <a:gd name="connsiteY11" fmla="*/ 137160 h 558851"/>
                <a:gd name="connsiteX12" fmla="*/ 716254 w 1054582"/>
                <a:gd name="connsiteY12" fmla="*/ 137160 h 558851"/>
                <a:gd name="connsiteX13" fmla="*/ 661390 w 1054582"/>
                <a:gd name="connsiteY13" fmla="*/ 146304 h 558851"/>
                <a:gd name="connsiteX14" fmla="*/ 652246 w 1054582"/>
                <a:gd name="connsiteY14" fmla="*/ 155448 h 558851"/>
                <a:gd name="connsiteX15" fmla="*/ 633958 w 1054582"/>
                <a:gd name="connsiteY15" fmla="*/ 146304 h 558851"/>
                <a:gd name="connsiteX16" fmla="*/ 761974 w 1054582"/>
                <a:gd name="connsiteY16" fmla="*/ 91440 h 558851"/>
                <a:gd name="connsiteX17" fmla="*/ 816838 w 1054582"/>
                <a:gd name="connsiteY17" fmla="*/ 91440 h 558851"/>
                <a:gd name="connsiteX18" fmla="*/ 908278 w 1054582"/>
                <a:gd name="connsiteY18" fmla="*/ 82296 h 558851"/>
                <a:gd name="connsiteX19" fmla="*/ 1036294 w 1054582"/>
                <a:gd name="connsiteY19" fmla="*/ 27432 h 558851"/>
                <a:gd name="connsiteX20" fmla="*/ 1018006 w 1054582"/>
                <a:gd name="connsiteY20" fmla="*/ 0 h 558851"/>
                <a:gd name="connsiteX21" fmla="*/ 981430 w 1054582"/>
                <a:gd name="connsiteY21" fmla="*/ 27432 h 558851"/>
                <a:gd name="connsiteX22" fmla="*/ 944854 w 1054582"/>
                <a:gd name="connsiteY22" fmla="*/ 36576 h 558851"/>
                <a:gd name="connsiteX23" fmla="*/ 871702 w 1054582"/>
                <a:gd name="connsiteY23" fmla="*/ 64008 h 558851"/>
                <a:gd name="connsiteX24" fmla="*/ 816838 w 1054582"/>
                <a:gd name="connsiteY24" fmla="*/ 64008 h 558851"/>
                <a:gd name="connsiteX25" fmla="*/ 707110 w 1054582"/>
                <a:gd name="connsiteY25" fmla="*/ 64008 h 558851"/>
                <a:gd name="connsiteX26" fmla="*/ 652246 w 1054582"/>
                <a:gd name="connsiteY26" fmla="*/ 100584 h 558851"/>
                <a:gd name="connsiteX27" fmla="*/ 615670 w 1054582"/>
                <a:gd name="connsiteY27" fmla="*/ 146304 h 558851"/>
                <a:gd name="connsiteX28" fmla="*/ 569950 w 1054582"/>
                <a:gd name="connsiteY28" fmla="*/ 182880 h 558851"/>
                <a:gd name="connsiteX29" fmla="*/ 524230 w 1054582"/>
                <a:gd name="connsiteY29" fmla="*/ 256032 h 558851"/>
                <a:gd name="connsiteX30" fmla="*/ 451078 w 1054582"/>
                <a:gd name="connsiteY30" fmla="*/ 301752 h 558851"/>
                <a:gd name="connsiteX31" fmla="*/ 350494 w 1054582"/>
                <a:gd name="connsiteY31" fmla="*/ 347472 h 558851"/>
                <a:gd name="connsiteX32" fmla="*/ 313918 w 1054582"/>
                <a:gd name="connsiteY32" fmla="*/ 374904 h 558851"/>
                <a:gd name="connsiteX33" fmla="*/ 268198 w 1054582"/>
                <a:gd name="connsiteY33" fmla="*/ 402336 h 558851"/>
                <a:gd name="connsiteX34" fmla="*/ 249910 w 1054582"/>
                <a:gd name="connsiteY34" fmla="*/ 402336 h 558851"/>
                <a:gd name="connsiteX35" fmla="*/ 268198 w 1054582"/>
                <a:gd name="connsiteY35" fmla="*/ 365760 h 558851"/>
                <a:gd name="connsiteX36" fmla="*/ 323062 w 1054582"/>
                <a:gd name="connsiteY36" fmla="*/ 301752 h 558851"/>
                <a:gd name="connsiteX37" fmla="*/ 414502 w 1054582"/>
                <a:gd name="connsiteY37" fmla="*/ 219456 h 558851"/>
                <a:gd name="connsiteX38" fmla="*/ 460222 w 1054582"/>
                <a:gd name="connsiteY38" fmla="*/ 146304 h 558851"/>
                <a:gd name="connsiteX39" fmla="*/ 460222 w 1054582"/>
                <a:gd name="connsiteY39" fmla="*/ 64008 h 558851"/>
                <a:gd name="connsiteX40" fmla="*/ 451078 w 1054582"/>
                <a:gd name="connsiteY40" fmla="*/ 54864 h 558851"/>
                <a:gd name="connsiteX41" fmla="*/ 441934 w 1054582"/>
                <a:gd name="connsiteY41" fmla="*/ 128016 h 558851"/>
                <a:gd name="connsiteX42" fmla="*/ 414502 w 1054582"/>
                <a:gd name="connsiteY42" fmla="*/ 173736 h 558851"/>
                <a:gd name="connsiteX43" fmla="*/ 341350 w 1054582"/>
                <a:gd name="connsiteY43" fmla="*/ 237744 h 558851"/>
                <a:gd name="connsiteX44" fmla="*/ 313918 w 1054582"/>
                <a:gd name="connsiteY44" fmla="*/ 256032 h 558851"/>
                <a:gd name="connsiteX45" fmla="*/ 240766 w 1054582"/>
                <a:gd name="connsiteY45" fmla="*/ 347472 h 558851"/>
                <a:gd name="connsiteX46" fmla="*/ 231622 w 1054582"/>
                <a:gd name="connsiteY46" fmla="*/ 374904 h 558851"/>
                <a:gd name="connsiteX47" fmla="*/ 222478 w 1054582"/>
                <a:gd name="connsiteY47" fmla="*/ 411480 h 558851"/>
                <a:gd name="connsiteX48" fmla="*/ 240766 w 1054582"/>
                <a:gd name="connsiteY48" fmla="*/ 429768 h 558851"/>
                <a:gd name="connsiteX49" fmla="*/ 195046 w 1054582"/>
                <a:gd name="connsiteY49" fmla="*/ 457200 h 558851"/>
                <a:gd name="connsiteX50" fmla="*/ 48742 w 1054582"/>
                <a:gd name="connsiteY50" fmla="*/ 493776 h 558851"/>
                <a:gd name="connsiteX51" fmla="*/ 37668 w 1054582"/>
                <a:gd name="connsiteY51" fmla="*/ 480583 h 558851"/>
                <a:gd name="connsiteX52" fmla="*/ 37669 w 1054582"/>
                <a:gd name="connsiteY52" fmla="*/ 480583 h 558851"/>
                <a:gd name="connsiteX53" fmla="*/ 112127 w 1054582"/>
                <a:gd name="connsiteY53" fmla="*/ 496784 h 558851"/>
                <a:gd name="connsiteX54" fmla="*/ 112127 w 1054582"/>
                <a:gd name="connsiteY54" fmla="*/ 496784 h 558851"/>
                <a:gd name="connsiteX55" fmla="*/ 112127 w 1054582"/>
                <a:gd name="connsiteY55" fmla="*/ 496784 h 558851"/>
                <a:gd name="connsiteX0" fmla="*/ 90659 w 1033114"/>
                <a:gd name="connsiteY0" fmla="*/ 496784 h 555041"/>
                <a:gd name="connsiteX1" fmla="*/ 0 w 1033114"/>
                <a:gd name="connsiteY1" fmla="*/ 555041 h 555041"/>
                <a:gd name="connsiteX2" fmla="*/ 90659 w 1033114"/>
                <a:gd name="connsiteY2" fmla="*/ 496784 h 555041"/>
                <a:gd name="connsiteX3" fmla="*/ 127858 w 1033114"/>
                <a:gd name="connsiteY3" fmla="*/ 493776 h 555041"/>
                <a:gd name="connsiteX4" fmla="*/ 228442 w 1033114"/>
                <a:gd name="connsiteY4" fmla="*/ 466344 h 555041"/>
                <a:gd name="connsiteX5" fmla="*/ 329026 w 1033114"/>
                <a:gd name="connsiteY5" fmla="*/ 384048 h 555041"/>
                <a:gd name="connsiteX6" fmla="*/ 521050 w 1033114"/>
                <a:gd name="connsiteY6" fmla="*/ 301752 h 555041"/>
                <a:gd name="connsiteX7" fmla="*/ 603346 w 1033114"/>
                <a:gd name="connsiteY7" fmla="*/ 192024 h 555041"/>
                <a:gd name="connsiteX8" fmla="*/ 749650 w 1033114"/>
                <a:gd name="connsiteY8" fmla="*/ 155448 h 555041"/>
                <a:gd name="connsiteX9" fmla="*/ 795370 w 1033114"/>
                <a:gd name="connsiteY9" fmla="*/ 155448 h 555041"/>
                <a:gd name="connsiteX10" fmla="*/ 831946 w 1033114"/>
                <a:gd name="connsiteY10" fmla="*/ 137160 h 555041"/>
                <a:gd name="connsiteX11" fmla="*/ 786226 w 1033114"/>
                <a:gd name="connsiteY11" fmla="*/ 137160 h 555041"/>
                <a:gd name="connsiteX12" fmla="*/ 694786 w 1033114"/>
                <a:gd name="connsiteY12" fmla="*/ 137160 h 555041"/>
                <a:gd name="connsiteX13" fmla="*/ 639922 w 1033114"/>
                <a:gd name="connsiteY13" fmla="*/ 146304 h 555041"/>
                <a:gd name="connsiteX14" fmla="*/ 630778 w 1033114"/>
                <a:gd name="connsiteY14" fmla="*/ 155448 h 555041"/>
                <a:gd name="connsiteX15" fmla="*/ 612490 w 1033114"/>
                <a:gd name="connsiteY15" fmla="*/ 146304 h 555041"/>
                <a:gd name="connsiteX16" fmla="*/ 740506 w 1033114"/>
                <a:gd name="connsiteY16" fmla="*/ 91440 h 555041"/>
                <a:gd name="connsiteX17" fmla="*/ 795370 w 1033114"/>
                <a:gd name="connsiteY17" fmla="*/ 91440 h 555041"/>
                <a:gd name="connsiteX18" fmla="*/ 886810 w 1033114"/>
                <a:gd name="connsiteY18" fmla="*/ 82296 h 555041"/>
                <a:gd name="connsiteX19" fmla="*/ 1014826 w 1033114"/>
                <a:gd name="connsiteY19" fmla="*/ 27432 h 555041"/>
                <a:gd name="connsiteX20" fmla="*/ 996538 w 1033114"/>
                <a:gd name="connsiteY20" fmla="*/ 0 h 555041"/>
                <a:gd name="connsiteX21" fmla="*/ 959962 w 1033114"/>
                <a:gd name="connsiteY21" fmla="*/ 27432 h 555041"/>
                <a:gd name="connsiteX22" fmla="*/ 923386 w 1033114"/>
                <a:gd name="connsiteY22" fmla="*/ 36576 h 555041"/>
                <a:gd name="connsiteX23" fmla="*/ 850234 w 1033114"/>
                <a:gd name="connsiteY23" fmla="*/ 64008 h 555041"/>
                <a:gd name="connsiteX24" fmla="*/ 795370 w 1033114"/>
                <a:gd name="connsiteY24" fmla="*/ 64008 h 555041"/>
                <a:gd name="connsiteX25" fmla="*/ 685642 w 1033114"/>
                <a:gd name="connsiteY25" fmla="*/ 64008 h 555041"/>
                <a:gd name="connsiteX26" fmla="*/ 630778 w 1033114"/>
                <a:gd name="connsiteY26" fmla="*/ 100584 h 555041"/>
                <a:gd name="connsiteX27" fmla="*/ 594202 w 1033114"/>
                <a:gd name="connsiteY27" fmla="*/ 146304 h 555041"/>
                <a:gd name="connsiteX28" fmla="*/ 548482 w 1033114"/>
                <a:gd name="connsiteY28" fmla="*/ 182880 h 555041"/>
                <a:gd name="connsiteX29" fmla="*/ 502762 w 1033114"/>
                <a:gd name="connsiteY29" fmla="*/ 256032 h 555041"/>
                <a:gd name="connsiteX30" fmla="*/ 429610 w 1033114"/>
                <a:gd name="connsiteY30" fmla="*/ 301752 h 555041"/>
                <a:gd name="connsiteX31" fmla="*/ 329026 w 1033114"/>
                <a:gd name="connsiteY31" fmla="*/ 347472 h 555041"/>
                <a:gd name="connsiteX32" fmla="*/ 292450 w 1033114"/>
                <a:gd name="connsiteY32" fmla="*/ 374904 h 555041"/>
                <a:gd name="connsiteX33" fmla="*/ 246730 w 1033114"/>
                <a:gd name="connsiteY33" fmla="*/ 402336 h 555041"/>
                <a:gd name="connsiteX34" fmla="*/ 228442 w 1033114"/>
                <a:gd name="connsiteY34" fmla="*/ 402336 h 555041"/>
                <a:gd name="connsiteX35" fmla="*/ 246730 w 1033114"/>
                <a:gd name="connsiteY35" fmla="*/ 365760 h 555041"/>
                <a:gd name="connsiteX36" fmla="*/ 301594 w 1033114"/>
                <a:gd name="connsiteY36" fmla="*/ 301752 h 555041"/>
                <a:gd name="connsiteX37" fmla="*/ 393034 w 1033114"/>
                <a:gd name="connsiteY37" fmla="*/ 219456 h 555041"/>
                <a:gd name="connsiteX38" fmla="*/ 438754 w 1033114"/>
                <a:gd name="connsiteY38" fmla="*/ 146304 h 555041"/>
                <a:gd name="connsiteX39" fmla="*/ 438754 w 1033114"/>
                <a:gd name="connsiteY39" fmla="*/ 64008 h 555041"/>
                <a:gd name="connsiteX40" fmla="*/ 429610 w 1033114"/>
                <a:gd name="connsiteY40" fmla="*/ 54864 h 555041"/>
                <a:gd name="connsiteX41" fmla="*/ 420466 w 1033114"/>
                <a:gd name="connsiteY41" fmla="*/ 128016 h 555041"/>
                <a:gd name="connsiteX42" fmla="*/ 393034 w 1033114"/>
                <a:gd name="connsiteY42" fmla="*/ 173736 h 555041"/>
                <a:gd name="connsiteX43" fmla="*/ 319882 w 1033114"/>
                <a:gd name="connsiteY43" fmla="*/ 237744 h 555041"/>
                <a:gd name="connsiteX44" fmla="*/ 292450 w 1033114"/>
                <a:gd name="connsiteY44" fmla="*/ 256032 h 555041"/>
                <a:gd name="connsiteX45" fmla="*/ 219298 w 1033114"/>
                <a:gd name="connsiteY45" fmla="*/ 347472 h 555041"/>
                <a:gd name="connsiteX46" fmla="*/ 210154 w 1033114"/>
                <a:gd name="connsiteY46" fmla="*/ 374904 h 555041"/>
                <a:gd name="connsiteX47" fmla="*/ 201010 w 1033114"/>
                <a:gd name="connsiteY47" fmla="*/ 411480 h 555041"/>
                <a:gd name="connsiteX48" fmla="*/ 219298 w 1033114"/>
                <a:gd name="connsiteY48" fmla="*/ 429768 h 555041"/>
                <a:gd name="connsiteX49" fmla="*/ 173578 w 1033114"/>
                <a:gd name="connsiteY49" fmla="*/ 457200 h 555041"/>
                <a:gd name="connsiteX50" fmla="*/ 27274 w 1033114"/>
                <a:gd name="connsiteY50" fmla="*/ 493776 h 555041"/>
                <a:gd name="connsiteX51" fmla="*/ 16200 w 1033114"/>
                <a:gd name="connsiteY51" fmla="*/ 480583 h 555041"/>
                <a:gd name="connsiteX52" fmla="*/ 16201 w 1033114"/>
                <a:gd name="connsiteY52" fmla="*/ 480583 h 555041"/>
                <a:gd name="connsiteX53" fmla="*/ 90659 w 1033114"/>
                <a:gd name="connsiteY53" fmla="*/ 496784 h 555041"/>
                <a:gd name="connsiteX54" fmla="*/ 90659 w 1033114"/>
                <a:gd name="connsiteY54" fmla="*/ 496784 h 555041"/>
                <a:gd name="connsiteX55" fmla="*/ 90659 w 1033114"/>
                <a:gd name="connsiteY55" fmla="*/ 496784 h 555041"/>
                <a:gd name="connsiteX0" fmla="*/ 89615 w 1032070"/>
                <a:gd name="connsiteY0" fmla="*/ 496784 h 498849"/>
                <a:gd name="connsiteX1" fmla="*/ 89615 w 1032070"/>
                <a:gd name="connsiteY1" fmla="*/ 496784 h 498849"/>
                <a:gd name="connsiteX2" fmla="*/ 89615 w 1032070"/>
                <a:gd name="connsiteY2" fmla="*/ 496784 h 498849"/>
                <a:gd name="connsiteX3" fmla="*/ 126814 w 1032070"/>
                <a:gd name="connsiteY3" fmla="*/ 493776 h 498849"/>
                <a:gd name="connsiteX4" fmla="*/ 227398 w 1032070"/>
                <a:gd name="connsiteY4" fmla="*/ 466344 h 498849"/>
                <a:gd name="connsiteX5" fmla="*/ 327982 w 1032070"/>
                <a:gd name="connsiteY5" fmla="*/ 384048 h 498849"/>
                <a:gd name="connsiteX6" fmla="*/ 520006 w 1032070"/>
                <a:gd name="connsiteY6" fmla="*/ 301752 h 498849"/>
                <a:gd name="connsiteX7" fmla="*/ 602302 w 1032070"/>
                <a:gd name="connsiteY7" fmla="*/ 192024 h 498849"/>
                <a:gd name="connsiteX8" fmla="*/ 748606 w 1032070"/>
                <a:gd name="connsiteY8" fmla="*/ 155448 h 498849"/>
                <a:gd name="connsiteX9" fmla="*/ 794326 w 1032070"/>
                <a:gd name="connsiteY9" fmla="*/ 155448 h 498849"/>
                <a:gd name="connsiteX10" fmla="*/ 830902 w 1032070"/>
                <a:gd name="connsiteY10" fmla="*/ 137160 h 498849"/>
                <a:gd name="connsiteX11" fmla="*/ 785182 w 1032070"/>
                <a:gd name="connsiteY11" fmla="*/ 137160 h 498849"/>
                <a:gd name="connsiteX12" fmla="*/ 693742 w 1032070"/>
                <a:gd name="connsiteY12" fmla="*/ 137160 h 498849"/>
                <a:gd name="connsiteX13" fmla="*/ 638878 w 1032070"/>
                <a:gd name="connsiteY13" fmla="*/ 146304 h 498849"/>
                <a:gd name="connsiteX14" fmla="*/ 629734 w 1032070"/>
                <a:gd name="connsiteY14" fmla="*/ 155448 h 498849"/>
                <a:gd name="connsiteX15" fmla="*/ 611446 w 1032070"/>
                <a:gd name="connsiteY15" fmla="*/ 146304 h 498849"/>
                <a:gd name="connsiteX16" fmla="*/ 739462 w 1032070"/>
                <a:gd name="connsiteY16" fmla="*/ 91440 h 498849"/>
                <a:gd name="connsiteX17" fmla="*/ 794326 w 1032070"/>
                <a:gd name="connsiteY17" fmla="*/ 91440 h 498849"/>
                <a:gd name="connsiteX18" fmla="*/ 885766 w 1032070"/>
                <a:gd name="connsiteY18" fmla="*/ 82296 h 498849"/>
                <a:gd name="connsiteX19" fmla="*/ 1013782 w 1032070"/>
                <a:gd name="connsiteY19" fmla="*/ 27432 h 498849"/>
                <a:gd name="connsiteX20" fmla="*/ 995494 w 1032070"/>
                <a:gd name="connsiteY20" fmla="*/ 0 h 498849"/>
                <a:gd name="connsiteX21" fmla="*/ 958918 w 1032070"/>
                <a:gd name="connsiteY21" fmla="*/ 27432 h 498849"/>
                <a:gd name="connsiteX22" fmla="*/ 922342 w 1032070"/>
                <a:gd name="connsiteY22" fmla="*/ 36576 h 498849"/>
                <a:gd name="connsiteX23" fmla="*/ 849190 w 1032070"/>
                <a:gd name="connsiteY23" fmla="*/ 64008 h 498849"/>
                <a:gd name="connsiteX24" fmla="*/ 794326 w 1032070"/>
                <a:gd name="connsiteY24" fmla="*/ 64008 h 498849"/>
                <a:gd name="connsiteX25" fmla="*/ 684598 w 1032070"/>
                <a:gd name="connsiteY25" fmla="*/ 64008 h 498849"/>
                <a:gd name="connsiteX26" fmla="*/ 629734 w 1032070"/>
                <a:gd name="connsiteY26" fmla="*/ 100584 h 498849"/>
                <a:gd name="connsiteX27" fmla="*/ 593158 w 1032070"/>
                <a:gd name="connsiteY27" fmla="*/ 146304 h 498849"/>
                <a:gd name="connsiteX28" fmla="*/ 547438 w 1032070"/>
                <a:gd name="connsiteY28" fmla="*/ 182880 h 498849"/>
                <a:gd name="connsiteX29" fmla="*/ 501718 w 1032070"/>
                <a:gd name="connsiteY29" fmla="*/ 256032 h 498849"/>
                <a:gd name="connsiteX30" fmla="*/ 428566 w 1032070"/>
                <a:gd name="connsiteY30" fmla="*/ 301752 h 498849"/>
                <a:gd name="connsiteX31" fmla="*/ 327982 w 1032070"/>
                <a:gd name="connsiteY31" fmla="*/ 347472 h 498849"/>
                <a:gd name="connsiteX32" fmla="*/ 291406 w 1032070"/>
                <a:gd name="connsiteY32" fmla="*/ 374904 h 498849"/>
                <a:gd name="connsiteX33" fmla="*/ 245686 w 1032070"/>
                <a:gd name="connsiteY33" fmla="*/ 402336 h 498849"/>
                <a:gd name="connsiteX34" fmla="*/ 227398 w 1032070"/>
                <a:gd name="connsiteY34" fmla="*/ 402336 h 498849"/>
                <a:gd name="connsiteX35" fmla="*/ 245686 w 1032070"/>
                <a:gd name="connsiteY35" fmla="*/ 365760 h 498849"/>
                <a:gd name="connsiteX36" fmla="*/ 300550 w 1032070"/>
                <a:gd name="connsiteY36" fmla="*/ 301752 h 498849"/>
                <a:gd name="connsiteX37" fmla="*/ 391990 w 1032070"/>
                <a:gd name="connsiteY37" fmla="*/ 219456 h 498849"/>
                <a:gd name="connsiteX38" fmla="*/ 437710 w 1032070"/>
                <a:gd name="connsiteY38" fmla="*/ 146304 h 498849"/>
                <a:gd name="connsiteX39" fmla="*/ 437710 w 1032070"/>
                <a:gd name="connsiteY39" fmla="*/ 64008 h 498849"/>
                <a:gd name="connsiteX40" fmla="*/ 428566 w 1032070"/>
                <a:gd name="connsiteY40" fmla="*/ 54864 h 498849"/>
                <a:gd name="connsiteX41" fmla="*/ 419422 w 1032070"/>
                <a:gd name="connsiteY41" fmla="*/ 128016 h 498849"/>
                <a:gd name="connsiteX42" fmla="*/ 391990 w 1032070"/>
                <a:gd name="connsiteY42" fmla="*/ 173736 h 498849"/>
                <a:gd name="connsiteX43" fmla="*/ 318838 w 1032070"/>
                <a:gd name="connsiteY43" fmla="*/ 237744 h 498849"/>
                <a:gd name="connsiteX44" fmla="*/ 291406 w 1032070"/>
                <a:gd name="connsiteY44" fmla="*/ 256032 h 498849"/>
                <a:gd name="connsiteX45" fmla="*/ 218254 w 1032070"/>
                <a:gd name="connsiteY45" fmla="*/ 347472 h 498849"/>
                <a:gd name="connsiteX46" fmla="*/ 209110 w 1032070"/>
                <a:gd name="connsiteY46" fmla="*/ 374904 h 498849"/>
                <a:gd name="connsiteX47" fmla="*/ 199966 w 1032070"/>
                <a:gd name="connsiteY47" fmla="*/ 411480 h 498849"/>
                <a:gd name="connsiteX48" fmla="*/ 218254 w 1032070"/>
                <a:gd name="connsiteY48" fmla="*/ 429768 h 498849"/>
                <a:gd name="connsiteX49" fmla="*/ 172534 w 1032070"/>
                <a:gd name="connsiteY49" fmla="*/ 457200 h 498849"/>
                <a:gd name="connsiteX50" fmla="*/ 26230 w 1032070"/>
                <a:gd name="connsiteY50" fmla="*/ 493776 h 498849"/>
                <a:gd name="connsiteX51" fmla="*/ 15156 w 1032070"/>
                <a:gd name="connsiteY51" fmla="*/ 480583 h 498849"/>
                <a:gd name="connsiteX52" fmla="*/ 15157 w 1032070"/>
                <a:gd name="connsiteY52" fmla="*/ 480583 h 498849"/>
                <a:gd name="connsiteX53" fmla="*/ 89615 w 1032070"/>
                <a:gd name="connsiteY53" fmla="*/ 496784 h 498849"/>
                <a:gd name="connsiteX54" fmla="*/ 89615 w 1032070"/>
                <a:gd name="connsiteY54" fmla="*/ 496784 h 498849"/>
                <a:gd name="connsiteX55" fmla="*/ 89615 w 1032070"/>
                <a:gd name="connsiteY55" fmla="*/ 496784 h 498849"/>
                <a:gd name="connsiteX0" fmla="*/ 89615 w 1032070"/>
                <a:gd name="connsiteY0" fmla="*/ 496784 h 498849"/>
                <a:gd name="connsiteX1" fmla="*/ 89615 w 1032070"/>
                <a:gd name="connsiteY1" fmla="*/ 496784 h 498849"/>
                <a:gd name="connsiteX2" fmla="*/ 89615 w 1032070"/>
                <a:gd name="connsiteY2" fmla="*/ 496784 h 498849"/>
                <a:gd name="connsiteX3" fmla="*/ 126814 w 1032070"/>
                <a:gd name="connsiteY3" fmla="*/ 493776 h 498849"/>
                <a:gd name="connsiteX4" fmla="*/ 227398 w 1032070"/>
                <a:gd name="connsiteY4" fmla="*/ 466344 h 498849"/>
                <a:gd name="connsiteX5" fmla="*/ 327982 w 1032070"/>
                <a:gd name="connsiteY5" fmla="*/ 384048 h 498849"/>
                <a:gd name="connsiteX6" fmla="*/ 520006 w 1032070"/>
                <a:gd name="connsiteY6" fmla="*/ 301752 h 498849"/>
                <a:gd name="connsiteX7" fmla="*/ 602302 w 1032070"/>
                <a:gd name="connsiteY7" fmla="*/ 192024 h 498849"/>
                <a:gd name="connsiteX8" fmla="*/ 748606 w 1032070"/>
                <a:gd name="connsiteY8" fmla="*/ 155448 h 498849"/>
                <a:gd name="connsiteX9" fmla="*/ 794326 w 1032070"/>
                <a:gd name="connsiteY9" fmla="*/ 155448 h 498849"/>
                <a:gd name="connsiteX10" fmla="*/ 830902 w 1032070"/>
                <a:gd name="connsiteY10" fmla="*/ 137160 h 498849"/>
                <a:gd name="connsiteX11" fmla="*/ 785182 w 1032070"/>
                <a:gd name="connsiteY11" fmla="*/ 137160 h 498849"/>
                <a:gd name="connsiteX12" fmla="*/ 693742 w 1032070"/>
                <a:gd name="connsiteY12" fmla="*/ 137160 h 498849"/>
                <a:gd name="connsiteX13" fmla="*/ 638878 w 1032070"/>
                <a:gd name="connsiteY13" fmla="*/ 146304 h 498849"/>
                <a:gd name="connsiteX14" fmla="*/ 629734 w 1032070"/>
                <a:gd name="connsiteY14" fmla="*/ 155448 h 498849"/>
                <a:gd name="connsiteX15" fmla="*/ 611446 w 1032070"/>
                <a:gd name="connsiteY15" fmla="*/ 146304 h 498849"/>
                <a:gd name="connsiteX16" fmla="*/ 739462 w 1032070"/>
                <a:gd name="connsiteY16" fmla="*/ 91440 h 498849"/>
                <a:gd name="connsiteX17" fmla="*/ 794326 w 1032070"/>
                <a:gd name="connsiteY17" fmla="*/ 91440 h 498849"/>
                <a:gd name="connsiteX18" fmla="*/ 885766 w 1032070"/>
                <a:gd name="connsiteY18" fmla="*/ 82296 h 498849"/>
                <a:gd name="connsiteX19" fmla="*/ 1013782 w 1032070"/>
                <a:gd name="connsiteY19" fmla="*/ 27432 h 498849"/>
                <a:gd name="connsiteX20" fmla="*/ 995494 w 1032070"/>
                <a:gd name="connsiteY20" fmla="*/ 0 h 498849"/>
                <a:gd name="connsiteX21" fmla="*/ 958918 w 1032070"/>
                <a:gd name="connsiteY21" fmla="*/ 27432 h 498849"/>
                <a:gd name="connsiteX22" fmla="*/ 922342 w 1032070"/>
                <a:gd name="connsiteY22" fmla="*/ 36576 h 498849"/>
                <a:gd name="connsiteX23" fmla="*/ 849190 w 1032070"/>
                <a:gd name="connsiteY23" fmla="*/ 64008 h 498849"/>
                <a:gd name="connsiteX24" fmla="*/ 794326 w 1032070"/>
                <a:gd name="connsiteY24" fmla="*/ 64008 h 498849"/>
                <a:gd name="connsiteX25" fmla="*/ 684598 w 1032070"/>
                <a:gd name="connsiteY25" fmla="*/ 64008 h 498849"/>
                <a:gd name="connsiteX26" fmla="*/ 629734 w 1032070"/>
                <a:gd name="connsiteY26" fmla="*/ 100584 h 498849"/>
                <a:gd name="connsiteX27" fmla="*/ 593158 w 1032070"/>
                <a:gd name="connsiteY27" fmla="*/ 146304 h 498849"/>
                <a:gd name="connsiteX28" fmla="*/ 547438 w 1032070"/>
                <a:gd name="connsiteY28" fmla="*/ 182880 h 498849"/>
                <a:gd name="connsiteX29" fmla="*/ 501718 w 1032070"/>
                <a:gd name="connsiteY29" fmla="*/ 256032 h 498849"/>
                <a:gd name="connsiteX30" fmla="*/ 428566 w 1032070"/>
                <a:gd name="connsiteY30" fmla="*/ 301752 h 498849"/>
                <a:gd name="connsiteX31" fmla="*/ 327982 w 1032070"/>
                <a:gd name="connsiteY31" fmla="*/ 347472 h 498849"/>
                <a:gd name="connsiteX32" fmla="*/ 291406 w 1032070"/>
                <a:gd name="connsiteY32" fmla="*/ 374904 h 498849"/>
                <a:gd name="connsiteX33" fmla="*/ 245686 w 1032070"/>
                <a:gd name="connsiteY33" fmla="*/ 402336 h 498849"/>
                <a:gd name="connsiteX34" fmla="*/ 227398 w 1032070"/>
                <a:gd name="connsiteY34" fmla="*/ 402336 h 498849"/>
                <a:gd name="connsiteX35" fmla="*/ 245686 w 1032070"/>
                <a:gd name="connsiteY35" fmla="*/ 365760 h 498849"/>
                <a:gd name="connsiteX36" fmla="*/ 300550 w 1032070"/>
                <a:gd name="connsiteY36" fmla="*/ 301752 h 498849"/>
                <a:gd name="connsiteX37" fmla="*/ 391990 w 1032070"/>
                <a:gd name="connsiteY37" fmla="*/ 219456 h 498849"/>
                <a:gd name="connsiteX38" fmla="*/ 437710 w 1032070"/>
                <a:gd name="connsiteY38" fmla="*/ 146304 h 498849"/>
                <a:gd name="connsiteX39" fmla="*/ 437710 w 1032070"/>
                <a:gd name="connsiteY39" fmla="*/ 64008 h 498849"/>
                <a:gd name="connsiteX40" fmla="*/ 428566 w 1032070"/>
                <a:gd name="connsiteY40" fmla="*/ 54864 h 498849"/>
                <a:gd name="connsiteX41" fmla="*/ 419422 w 1032070"/>
                <a:gd name="connsiteY41" fmla="*/ 128016 h 498849"/>
                <a:gd name="connsiteX42" fmla="*/ 391990 w 1032070"/>
                <a:gd name="connsiteY42" fmla="*/ 173736 h 498849"/>
                <a:gd name="connsiteX43" fmla="*/ 318838 w 1032070"/>
                <a:gd name="connsiteY43" fmla="*/ 237744 h 498849"/>
                <a:gd name="connsiteX44" fmla="*/ 291406 w 1032070"/>
                <a:gd name="connsiteY44" fmla="*/ 256032 h 498849"/>
                <a:gd name="connsiteX45" fmla="*/ 218254 w 1032070"/>
                <a:gd name="connsiteY45" fmla="*/ 347472 h 498849"/>
                <a:gd name="connsiteX46" fmla="*/ 209110 w 1032070"/>
                <a:gd name="connsiteY46" fmla="*/ 374904 h 498849"/>
                <a:gd name="connsiteX47" fmla="*/ 199966 w 1032070"/>
                <a:gd name="connsiteY47" fmla="*/ 411480 h 498849"/>
                <a:gd name="connsiteX48" fmla="*/ 218254 w 1032070"/>
                <a:gd name="connsiteY48" fmla="*/ 429768 h 498849"/>
                <a:gd name="connsiteX49" fmla="*/ 172534 w 1032070"/>
                <a:gd name="connsiteY49" fmla="*/ 457200 h 498849"/>
                <a:gd name="connsiteX50" fmla="*/ 26230 w 1032070"/>
                <a:gd name="connsiteY50" fmla="*/ 493776 h 498849"/>
                <a:gd name="connsiteX51" fmla="*/ 15156 w 1032070"/>
                <a:gd name="connsiteY51" fmla="*/ 480583 h 498849"/>
                <a:gd name="connsiteX52" fmla="*/ 89615 w 1032070"/>
                <a:gd name="connsiteY52" fmla="*/ 496784 h 498849"/>
                <a:gd name="connsiteX53" fmla="*/ 89615 w 1032070"/>
                <a:gd name="connsiteY53" fmla="*/ 496784 h 498849"/>
                <a:gd name="connsiteX54" fmla="*/ 89615 w 1032070"/>
                <a:gd name="connsiteY54" fmla="*/ 496784 h 498849"/>
                <a:gd name="connsiteX55" fmla="*/ 89615 w 1032070"/>
                <a:gd name="connsiteY55" fmla="*/ 496784 h 498849"/>
                <a:gd name="connsiteX0" fmla="*/ 77205 w 1019660"/>
                <a:gd name="connsiteY0" fmla="*/ 496784 h 500373"/>
                <a:gd name="connsiteX1" fmla="*/ 77205 w 1019660"/>
                <a:gd name="connsiteY1" fmla="*/ 496784 h 500373"/>
                <a:gd name="connsiteX2" fmla="*/ 77205 w 1019660"/>
                <a:gd name="connsiteY2" fmla="*/ 496784 h 500373"/>
                <a:gd name="connsiteX3" fmla="*/ 114404 w 1019660"/>
                <a:gd name="connsiteY3" fmla="*/ 493776 h 500373"/>
                <a:gd name="connsiteX4" fmla="*/ 214988 w 1019660"/>
                <a:gd name="connsiteY4" fmla="*/ 466344 h 500373"/>
                <a:gd name="connsiteX5" fmla="*/ 315572 w 1019660"/>
                <a:gd name="connsiteY5" fmla="*/ 384048 h 500373"/>
                <a:gd name="connsiteX6" fmla="*/ 507596 w 1019660"/>
                <a:gd name="connsiteY6" fmla="*/ 301752 h 500373"/>
                <a:gd name="connsiteX7" fmla="*/ 589892 w 1019660"/>
                <a:gd name="connsiteY7" fmla="*/ 192024 h 500373"/>
                <a:gd name="connsiteX8" fmla="*/ 736196 w 1019660"/>
                <a:gd name="connsiteY8" fmla="*/ 155448 h 500373"/>
                <a:gd name="connsiteX9" fmla="*/ 781916 w 1019660"/>
                <a:gd name="connsiteY9" fmla="*/ 155448 h 500373"/>
                <a:gd name="connsiteX10" fmla="*/ 818492 w 1019660"/>
                <a:gd name="connsiteY10" fmla="*/ 137160 h 500373"/>
                <a:gd name="connsiteX11" fmla="*/ 772772 w 1019660"/>
                <a:gd name="connsiteY11" fmla="*/ 137160 h 500373"/>
                <a:gd name="connsiteX12" fmla="*/ 681332 w 1019660"/>
                <a:gd name="connsiteY12" fmla="*/ 137160 h 500373"/>
                <a:gd name="connsiteX13" fmla="*/ 626468 w 1019660"/>
                <a:gd name="connsiteY13" fmla="*/ 146304 h 500373"/>
                <a:gd name="connsiteX14" fmla="*/ 617324 w 1019660"/>
                <a:gd name="connsiteY14" fmla="*/ 155448 h 500373"/>
                <a:gd name="connsiteX15" fmla="*/ 599036 w 1019660"/>
                <a:gd name="connsiteY15" fmla="*/ 146304 h 500373"/>
                <a:gd name="connsiteX16" fmla="*/ 727052 w 1019660"/>
                <a:gd name="connsiteY16" fmla="*/ 91440 h 500373"/>
                <a:gd name="connsiteX17" fmla="*/ 781916 w 1019660"/>
                <a:gd name="connsiteY17" fmla="*/ 91440 h 500373"/>
                <a:gd name="connsiteX18" fmla="*/ 873356 w 1019660"/>
                <a:gd name="connsiteY18" fmla="*/ 82296 h 500373"/>
                <a:gd name="connsiteX19" fmla="*/ 1001372 w 1019660"/>
                <a:gd name="connsiteY19" fmla="*/ 27432 h 500373"/>
                <a:gd name="connsiteX20" fmla="*/ 983084 w 1019660"/>
                <a:gd name="connsiteY20" fmla="*/ 0 h 500373"/>
                <a:gd name="connsiteX21" fmla="*/ 946508 w 1019660"/>
                <a:gd name="connsiteY21" fmla="*/ 27432 h 500373"/>
                <a:gd name="connsiteX22" fmla="*/ 909932 w 1019660"/>
                <a:gd name="connsiteY22" fmla="*/ 36576 h 500373"/>
                <a:gd name="connsiteX23" fmla="*/ 836780 w 1019660"/>
                <a:gd name="connsiteY23" fmla="*/ 64008 h 500373"/>
                <a:gd name="connsiteX24" fmla="*/ 781916 w 1019660"/>
                <a:gd name="connsiteY24" fmla="*/ 64008 h 500373"/>
                <a:gd name="connsiteX25" fmla="*/ 672188 w 1019660"/>
                <a:gd name="connsiteY25" fmla="*/ 64008 h 500373"/>
                <a:gd name="connsiteX26" fmla="*/ 617324 w 1019660"/>
                <a:gd name="connsiteY26" fmla="*/ 100584 h 500373"/>
                <a:gd name="connsiteX27" fmla="*/ 580748 w 1019660"/>
                <a:gd name="connsiteY27" fmla="*/ 146304 h 500373"/>
                <a:gd name="connsiteX28" fmla="*/ 535028 w 1019660"/>
                <a:gd name="connsiteY28" fmla="*/ 182880 h 500373"/>
                <a:gd name="connsiteX29" fmla="*/ 489308 w 1019660"/>
                <a:gd name="connsiteY29" fmla="*/ 256032 h 500373"/>
                <a:gd name="connsiteX30" fmla="*/ 416156 w 1019660"/>
                <a:gd name="connsiteY30" fmla="*/ 301752 h 500373"/>
                <a:gd name="connsiteX31" fmla="*/ 315572 w 1019660"/>
                <a:gd name="connsiteY31" fmla="*/ 347472 h 500373"/>
                <a:gd name="connsiteX32" fmla="*/ 278996 w 1019660"/>
                <a:gd name="connsiteY32" fmla="*/ 374904 h 500373"/>
                <a:gd name="connsiteX33" fmla="*/ 233276 w 1019660"/>
                <a:gd name="connsiteY33" fmla="*/ 402336 h 500373"/>
                <a:gd name="connsiteX34" fmla="*/ 214988 w 1019660"/>
                <a:gd name="connsiteY34" fmla="*/ 402336 h 500373"/>
                <a:gd name="connsiteX35" fmla="*/ 233276 w 1019660"/>
                <a:gd name="connsiteY35" fmla="*/ 365760 h 500373"/>
                <a:gd name="connsiteX36" fmla="*/ 288140 w 1019660"/>
                <a:gd name="connsiteY36" fmla="*/ 301752 h 500373"/>
                <a:gd name="connsiteX37" fmla="*/ 379580 w 1019660"/>
                <a:gd name="connsiteY37" fmla="*/ 219456 h 500373"/>
                <a:gd name="connsiteX38" fmla="*/ 425300 w 1019660"/>
                <a:gd name="connsiteY38" fmla="*/ 146304 h 500373"/>
                <a:gd name="connsiteX39" fmla="*/ 425300 w 1019660"/>
                <a:gd name="connsiteY39" fmla="*/ 64008 h 500373"/>
                <a:gd name="connsiteX40" fmla="*/ 416156 w 1019660"/>
                <a:gd name="connsiteY40" fmla="*/ 54864 h 500373"/>
                <a:gd name="connsiteX41" fmla="*/ 407012 w 1019660"/>
                <a:gd name="connsiteY41" fmla="*/ 128016 h 500373"/>
                <a:gd name="connsiteX42" fmla="*/ 379580 w 1019660"/>
                <a:gd name="connsiteY42" fmla="*/ 173736 h 500373"/>
                <a:gd name="connsiteX43" fmla="*/ 306428 w 1019660"/>
                <a:gd name="connsiteY43" fmla="*/ 237744 h 500373"/>
                <a:gd name="connsiteX44" fmla="*/ 278996 w 1019660"/>
                <a:gd name="connsiteY44" fmla="*/ 256032 h 500373"/>
                <a:gd name="connsiteX45" fmla="*/ 205844 w 1019660"/>
                <a:gd name="connsiteY45" fmla="*/ 347472 h 500373"/>
                <a:gd name="connsiteX46" fmla="*/ 196700 w 1019660"/>
                <a:gd name="connsiteY46" fmla="*/ 374904 h 500373"/>
                <a:gd name="connsiteX47" fmla="*/ 187556 w 1019660"/>
                <a:gd name="connsiteY47" fmla="*/ 411480 h 500373"/>
                <a:gd name="connsiteX48" fmla="*/ 205844 w 1019660"/>
                <a:gd name="connsiteY48" fmla="*/ 429768 h 500373"/>
                <a:gd name="connsiteX49" fmla="*/ 160124 w 1019660"/>
                <a:gd name="connsiteY49" fmla="*/ 457200 h 500373"/>
                <a:gd name="connsiteX50" fmla="*/ 13820 w 1019660"/>
                <a:gd name="connsiteY50" fmla="*/ 493776 h 500373"/>
                <a:gd name="connsiteX51" fmla="*/ 77205 w 1019660"/>
                <a:gd name="connsiteY51" fmla="*/ 496784 h 500373"/>
                <a:gd name="connsiteX52" fmla="*/ 77205 w 1019660"/>
                <a:gd name="connsiteY52" fmla="*/ 496784 h 500373"/>
                <a:gd name="connsiteX53" fmla="*/ 77205 w 1019660"/>
                <a:gd name="connsiteY53" fmla="*/ 496784 h 500373"/>
                <a:gd name="connsiteX54" fmla="*/ 77205 w 1019660"/>
                <a:gd name="connsiteY54" fmla="*/ 496784 h 500373"/>
                <a:gd name="connsiteX55" fmla="*/ 77205 w 1019660"/>
                <a:gd name="connsiteY55" fmla="*/ 496784 h 500373"/>
                <a:gd name="connsiteX0" fmla="*/ 13820 w 956275"/>
                <a:gd name="connsiteY0" fmla="*/ 496784 h 503380"/>
                <a:gd name="connsiteX1" fmla="*/ 13820 w 956275"/>
                <a:gd name="connsiteY1" fmla="*/ 496784 h 503380"/>
                <a:gd name="connsiteX2" fmla="*/ 13820 w 956275"/>
                <a:gd name="connsiteY2" fmla="*/ 496784 h 503380"/>
                <a:gd name="connsiteX3" fmla="*/ 51019 w 956275"/>
                <a:gd name="connsiteY3" fmla="*/ 493776 h 503380"/>
                <a:gd name="connsiteX4" fmla="*/ 151603 w 956275"/>
                <a:gd name="connsiteY4" fmla="*/ 466344 h 503380"/>
                <a:gd name="connsiteX5" fmla="*/ 252187 w 956275"/>
                <a:gd name="connsiteY5" fmla="*/ 384048 h 503380"/>
                <a:gd name="connsiteX6" fmla="*/ 444211 w 956275"/>
                <a:gd name="connsiteY6" fmla="*/ 301752 h 503380"/>
                <a:gd name="connsiteX7" fmla="*/ 526507 w 956275"/>
                <a:gd name="connsiteY7" fmla="*/ 192024 h 503380"/>
                <a:gd name="connsiteX8" fmla="*/ 672811 w 956275"/>
                <a:gd name="connsiteY8" fmla="*/ 155448 h 503380"/>
                <a:gd name="connsiteX9" fmla="*/ 718531 w 956275"/>
                <a:gd name="connsiteY9" fmla="*/ 155448 h 503380"/>
                <a:gd name="connsiteX10" fmla="*/ 755107 w 956275"/>
                <a:gd name="connsiteY10" fmla="*/ 137160 h 503380"/>
                <a:gd name="connsiteX11" fmla="*/ 709387 w 956275"/>
                <a:gd name="connsiteY11" fmla="*/ 137160 h 503380"/>
                <a:gd name="connsiteX12" fmla="*/ 617947 w 956275"/>
                <a:gd name="connsiteY12" fmla="*/ 137160 h 503380"/>
                <a:gd name="connsiteX13" fmla="*/ 563083 w 956275"/>
                <a:gd name="connsiteY13" fmla="*/ 146304 h 503380"/>
                <a:gd name="connsiteX14" fmla="*/ 553939 w 956275"/>
                <a:gd name="connsiteY14" fmla="*/ 155448 h 503380"/>
                <a:gd name="connsiteX15" fmla="*/ 535651 w 956275"/>
                <a:gd name="connsiteY15" fmla="*/ 146304 h 503380"/>
                <a:gd name="connsiteX16" fmla="*/ 663667 w 956275"/>
                <a:gd name="connsiteY16" fmla="*/ 91440 h 503380"/>
                <a:gd name="connsiteX17" fmla="*/ 718531 w 956275"/>
                <a:gd name="connsiteY17" fmla="*/ 91440 h 503380"/>
                <a:gd name="connsiteX18" fmla="*/ 809971 w 956275"/>
                <a:gd name="connsiteY18" fmla="*/ 82296 h 503380"/>
                <a:gd name="connsiteX19" fmla="*/ 937987 w 956275"/>
                <a:gd name="connsiteY19" fmla="*/ 27432 h 503380"/>
                <a:gd name="connsiteX20" fmla="*/ 919699 w 956275"/>
                <a:gd name="connsiteY20" fmla="*/ 0 h 503380"/>
                <a:gd name="connsiteX21" fmla="*/ 883123 w 956275"/>
                <a:gd name="connsiteY21" fmla="*/ 27432 h 503380"/>
                <a:gd name="connsiteX22" fmla="*/ 846547 w 956275"/>
                <a:gd name="connsiteY22" fmla="*/ 36576 h 503380"/>
                <a:gd name="connsiteX23" fmla="*/ 773395 w 956275"/>
                <a:gd name="connsiteY23" fmla="*/ 64008 h 503380"/>
                <a:gd name="connsiteX24" fmla="*/ 718531 w 956275"/>
                <a:gd name="connsiteY24" fmla="*/ 64008 h 503380"/>
                <a:gd name="connsiteX25" fmla="*/ 608803 w 956275"/>
                <a:gd name="connsiteY25" fmla="*/ 64008 h 503380"/>
                <a:gd name="connsiteX26" fmla="*/ 553939 w 956275"/>
                <a:gd name="connsiteY26" fmla="*/ 100584 h 503380"/>
                <a:gd name="connsiteX27" fmla="*/ 517363 w 956275"/>
                <a:gd name="connsiteY27" fmla="*/ 146304 h 503380"/>
                <a:gd name="connsiteX28" fmla="*/ 471643 w 956275"/>
                <a:gd name="connsiteY28" fmla="*/ 182880 h 503380"/>
                <a:gd name="connsiteX29" fmla="*/ 425923 w 956275"/>
                <a:gd name="connsiteY29" fmla="*/ 256032 h 503380"/>
                <a:gd name="connsiteX30" fmla="*/ 352771 w 956275"/>
                <a:gd name="connsiteY30" fmla="*/ 301752 h 503380"/>
                <a:gd name="connsiteX31" fmla="*/ 252187 w 956275"/>
                <a:gd name="connsiteY31" fmla="*/ 347472 h 503380"/>
                <a:gd name="connsiteX32" fmla="*/ 215611 w 956275"/>
                <a:gd name="connsiteY32" fmla="*/ 374904 h 503380"/>
                <a:gd name="connsiteX33" fmla="*/ 169891 w 956275"/>
                <a:gd name="connsiteY33" fmla="*/ 402336 h 503380"/>
                <a:gd name="connsiteX34" fmla="*/ 151603 w 956275"/>
                <a:gd name="connsiteY34" fmla="*/ 402336 h 503380"/>
                <a:gd name="connsiteX35" fmla="*/ 169891 w 956275"/>
                <a:gd name="connsiteY35" fmla="*/ 365760 h 503380"/>
                <a:gd name="connsiteX36" fmla="*/ 224755 w 956275"/>
                <a:gd name="connsiteY36" fmla="*/ 301752 h 503380"/>
                <a:gd name="connsiteX37" fmla="*/ 316195 w 956275"/>
                <a:gd name="connsiteY37" fmla="*/ 219456 h 503380"/>
                <a:gd name="connsiteX38" fmla="*/ 361915 w 956275"/>
                <a:gd name="connsiteY38" fmla="*/ 146304 h 503380"/>
                <a:gd name="connsiteX39" fmla="*/ 361915 w 956275"/>
                <a:gd name="connsiteY39" fmla="*/ 64008 h 503380"/>
                <a:gd name="connsiteX40" fmla="*/ 352771 w 956275"/>
                <a:gd name="connsiteY40" fmla="*/ 54864 h 503380"/>
                <a:gd name="connsiteX41" fmla="*/ 343627 w 956275"/>
                <a:gd name="connsiteY41" fmla="*/ 128016 h 503380"/>
                <a:gd name="connsiteX42" fmla="*/ 316195 w 956275"/>
                <a:gd name="connsiteY42" fmla="*/ 173736 h 503380"/>
                <a:gd name="connsiteX43" fmla="*/ 243043 w 956275"/>
                <a:gd name="connsiteY43" fmla="*/ 237744 h 503380"/>
                <a:gd name="connsiteX44" fmla="*/ 215611 w 956275"/>
                <a:gd name="connsiteY44" fmla="*/ 256032 h 503380"/>
                <a:gd name="connsiteX45" fmla="*/ 142459 w 956275"/>
                <a:gd name="connsiteY45" fmla="*/ 347472 h 503380"/>
                <a:gd name="connsiteX46" fmla="*/ 133315 w 956275"/>
                <a:gd name="connsiteY46" fmla="*/ 374904 h 503380"/>
                <a:gd name="connsiteX47" fmla="*/ 124171 w 956275"/>
                <a:gd name="connsiteY47" fmla="*/ 411480 h 503380"/>
                <a:gd name="connsiteX48" fmla="*/ 142459 w 956275"/>
                <a:gd name="connsiteY48" fmla="*/ 429768 h 503380"/>
                <a:gd name="connsiteX49" fmla="*/ 96739 w 956275"/>
                <a:gd name="connsiteY49" fmla="*/ 457200 h 503380"/>
                <a:gd name="connsiteX50" fmla="*/ 13820 w 956275"/>
                <a:gd name="connsiteY50" fmla="*/ 496783 h 503380"/>
                <a:gd name="connsiteX51" fmla="*/ 13820 w 956275"/>
                <a:gd name="connsiteY51" fmla="*/ 496784 h 503380"/>
                <a:gd name="connsiteX52" fmla="*/ 13820 w 956275"/>
                <a:gd name="connsiteY52" fmla="*/ 496784 h 503380"/>
                <a:gd name="connsiteX53" fmla="*/ 13820 w 956275"/>
                <a:gd name="connsiteY53" fmla="*/ 496784 h 503380"/>
                <a:gd name="connsiteX54" fmla="*/ 13820 w 956275"/>
                <a:gd name="connsiteY54" fmla="*/ 496784 h 503380"/>
                <a:gd name="connsiteX55" fmla="*/ 13820 w 956275"/>
                <a:gd name="connsiteY55" fmla="*/ 496784 h 503380"/>
                <a:gd name="connsiteX0" fmla="*/ 40672 w 956275"/>
                <a:gd name="connsiteY0" fmla="*/ 486851 h 503380"/>
                <a:gd name="connsiteX1" fmla="*/ 13820 w 956275"/>
                <a:gd name="connsiteY1" fmla="*/ 496784 h 503380"/>
                <a:gd name="connsiteX2" fmla="*/ 13820 w 956275"/>
                <a:gd name="connsiteY2" fmla="*/ 496784 h 503380"/>
                <a:gd name="connsiteX3" fmla="*/ 51019 w 956275"/>
                <a:gd name="connsiteY3" fmla="*/ 493776 h 503380"/>
                <a:gd name="connsiteX4" fmla="*/ 151603 w 956275"/>
                <a:gd name="connsiteY4" fmla="*/ 466344 h 503380"/>
                <a:gd name="connsiteX5" fmla="*/ 252187 w 956275"/>
                <a:gd name="connsiteY5" fmla="*/ 384048 h 503380"/>
                <a:gd name="connsiteX6" fmla="*/ 444211 w 956275"/>
                <a:gd name="connsiteY6" fmla="*/ 301752 h 503380"/>
                <a:gd name="connsiteX7" fmla="*/ 526507 w 956275"/>
                <a:gd name="connsiteY7" fmla="*/ 192024 h 503380"/>
                <a:gd name="connsiteX8" fmla="*/ 672811 w 956275"/>
                <a:gd name="connsiteY8" fmla="*/ 155448 h 503380"/>
                <a:gd name="connsiteX9" fmla="*/ 718531 w 956275"/>
                <a:gd name="connsiteY9" fmla="*/ 155448 h 503380"/>
                <a:gd name="connsiteX10" fmla="*/ 755107 w 956275"/>
                <a:gd name="connsiteY10" fmla="*/ 137160 h 503380"/>
                <a:gd name="connsiteX11" fmla="*/ 709387 w 956275"/>
                <a:gd name="connsiteY11" fmla="*/ 137160 h 503380"/>
                <a:gd name="connsiteX12" fmla="*/ 617947 w 956275"/>
                <a:gd name="connsiteY12" fmla="*/ 137160 h 503380"/>
                <a:gd name="connsiteX13" fmla="*/ 563083 w 956275"/>
                <a:gd name="connsiteY13" fmla="*/ 146304 h 503380"/>
                <a:gd name="connsiteX14" fmla="*/ 553939 w 956275"/>
                <a:gd name="connsiteY14" fmla="*/ 155448 h 503380"/>
                <a:gd name="connsiteX15" fmla="*/ 535651 w 956275"/>
                <a:gd name="connsiteY15" fmla="*/ 146304 h 503380"/>
                <a:gd name="connsiteX16" fmla="*/ 663667 w 956275"/>
                <a:gd name="connsiteY16" fmla="*/ 91440 h 503380"/>
                <a:gd name="connsiteX17" fmla="*/ 718531 w 956275"/>
                <a:gd name="connsiteY17" fmla="*/ 91440 h 503380"/>
                <a:gd name="connsiteX18" fmla="*/ 809971 w 956275"/>
                <a:gd name="connsiteY18" fmla="*/ 82296 h 503380"/>
                <a:gd name="connsiteX19" fmla="*/ 937987 w 956275"/>
                <a:gd name="connsiteY19" fmla="*/ 27432 h 503380"/>
                <a:gd name="connsiteX20" fmla="*/ 919699 w 956275"/>
                <a:gd name="connsiteY20" fmla="*/ 0 h 503380"/>
                <a:gd name="connsiteX21" fmla="*/ 883123 w 956275"/>
                <a:gd name="connsiteY21" fmla="*/ 27432 h 503380"/>
                <a:gd name="connsiteX22" fmla="*/ 846547 w 956275"/>
                <a:gd name="connsiteY22" fmla="*/ 36576 h 503380"/>
                <a:gd name="connsiteX23" fmla="*/ 773395 w 956275"/>
                <a:gd name="connsiteY23" fmla="*/ 64008 h 503380"/>
                <a:gd name="connsiteX24" fmla="*/ 718531 w 956275"/>
                <a:gd name="connsiteY24" fmla="*/ 64008 h 503380"/>
                <a:gd name="connsiteX25" fmla="*/ 608803 w 956275"/>
                <a:gd name="connsiteY25" fmla="*/ 64008 h 503380"/>
                <a:gd name="connsiteX26" fmla="*/ 553939 w 956275"/>
                <a:gd name="connsiteY26" fmla="*/ 100584 h 503380"/>
                <a:gd name="connsiteX27" fmla="*/ 517363 w 956275"/>
                <a:gd name="connsiteY27" fmla="*/ 146304 h 503380"/>
                <a:gd name="connsiteX28" fmla="*/ 471643 w 956275"/>
                <a:gd name="connsiteY28" fmla="*/ 182880 h 503380"/>
                <a:gd name="connsiteX29" fmla="*/ 425923 w 956275"/>
                <a:gd name="connsiteY29" fmla="*/ 256032 h 503380"/>
                <a:gd name="connsiteX30" fmla="*/ 352771 w 956275"/>
                <a:gd name="connsiteY30" fmla="*/ 301752 h 503380"/>
                <a:gd name="connsiteX31" fmla="*/ 252187 w 956275"/>
                <a:gd name="connsiteY31" fmla="*/ 347472 h 503380"/>
                <a:gd name="connsiteX32" fmla="*/ 215611 w 956275"/>
                <a:gd name="connsiteY32" fmla="*/ 374904 h 503380"/>
                <a:gd name="connsiteX33" fmla="*/ 169891 w 956275"/>
                <a:gd name="connsiteY33" fmla="*/ 402336 h 503380"/>
                <a:gd name="connsiteX34" fmla="*/ 151603 w 956275"/>
                <a:gd name="connsiteY34" fmla="*/ 402336 h 503380"/>
                <a:gd name="connsiteX35" fmla="*/ 169891 w 956275"/>
                <a:gd name="connsiteY35" fmla="*/ 365760 h 503380"/>
                <a:gd name="connsiteX36" fmla="*/ 224755 w 956275"/>
                <a:gd name="connsiteY36" fmla="*/ 301752 h 503380"/>
                <a:gd name="connsiteX37" fmla="*/ 316195 w 956275"/>
                <a:gd name="connsiteY37" fmla="*/ 219456 h 503380"/>
                <a:gd name="connsiteX38" fmla="*/ 361915 w 956275"/>
                <a:gd name="connsiteY38" fmla="*/ 146304 h 503380"/>
                <a:gd name="connsiteX39" fmla="*/ 361915 w 956275"/>
                <a:gd name="connsiteY39" fmla="*/ 64008 h 503380"/>
                <a:gd name="connsiteX40" fmla="*/ 352771 w 956275"/>
                <a:gd name="connsiteY40" fmla="*/ 54864 h 503380"/>
                <a:gd name="connsiteX41" fmla="*/ 343627 w 956275"/>
                <a:gd name="connsiteY41" fmla="*/ 128016 h 503380"/>
                <a:gd name="connsiteX42" fmla="*/ 316195 w 956275"/>
                <a:gd name="connsiteY42" fmla="*/ 173736 h 503380"/>
                <a:gd name="connsiteX43" fmla="*/ 243043 w 956275"/>
                <a:gd name="connsiteY43" fmla="*/ 237744 h 503380"/>
                <a:gd name="connsiteX44" fmla="*/ 215611 w 956275"/>
                <a:gd name="connsiteY44" fmla="*/ 256032 h 503380"/>
                <a:gd name="connsiteX45" fmla="*/ 142459 w 956275"/>
                <a:gd name="connsiteY45" fmla="*/ 347472 h 503380"/>
                <a:gd name="connsiteX46" fmla="*/ 133315 w 956275"/>
                <a:gd name="connsiteY46" fmla="*/ 374904 h 503380"/>
                <a:gd name="connsiteX47" fmla="*/ 124171 w 956275"/>
                <a:gd name="connsiteY47" fmla="*/ 411480 h 503380"/>
                <a:gd name="connsiteX48" fmla="*/ 142459 w 956275"/>
                <a:gd name="connsiteY48" fmla="*/ 429768 h 503380"/>
                <a:gd name="connsiteX49" fmla="*/ 96739 w 956275"/>
                <a:gd name="connsiteY49" fmla="*/ 457200 h 503380"/>
                <a:gd name="connsiteX50" fmla="*/ 13820 w 956275"/>
                <a:gd name="connsiteY50" fmla="*/ 496783 h 503380"/>
                <a:gd name="connsiteX51" fmla="*/ 13820 w 956275"/>
                <a:gd name="connsiteY51" fmla="*/ 496784 h 503380"/>
                <a:gd name="connsiteX52" fmla="*/ 13820 w 956275"/>
                <a:gd name="connsiteY52" fmla="*/ 496784 h 503380"/>
                <a:gd name="connsiteX53" fmla="*/ 13820 w 956275"/>
                <a:gd name="connsiteY53" fmla="*/ 496784 h 503380"/>
                <a:gd name="connsiteX54" fmla="*/ 13820 w 956275"/>
                <a:gd name="connsiteY54" fmla="*/ 496784 h 503380"/>
                <a:gd name="connsiteX55" fmla="*/ 40672 w 956275"/>
                <a:gd name="connsiteY55" fmla="*/ 486851 h 503380"/>
                <a:gd name="connsiteX0" fmla="*/ 40672 w 956275"/>
                <a:gd name="connsiteY0" fmla="*/ 486851 h 503380"/>
                <a:gd name="connsiteX1" fmla="*/ 13820 w 956275"/>
                <a:gd name="connsiteY1" fmla="*/ 496784 h 503380"/>
                <a:gd name="connsiteX2" fmla="*/ 13820 w 956275"/>
                <a:gd name="connsiteY2" fmla="*/ 496784 h 503380"/>
                <a:gd name="connsiteX3" fmla="*/ 51019 w 956275"/>
                <a:gd name="connsiteY3" fmla="*/ 493776 h 503380"/>
                <a:gd name="connsiteX4" fmla="*/ 151603 w 956275"/>
                <a:gd name="connsiteY4" fmla="*/ 466344 h 503380"/>
                <a:gd name="connsiteX5" fmla="*/ 252187 w 956275"/>
                <a:gd name="connsiteY5" fmla="*/ 384048 h 503380"/>
                <a:gd name="connsiteX6" fmla="*/ 444211 w 956275"/>
                <a:gd name="connsiteY6" fmla="*/ 301752 h 503380"/>
                <a:gd name="connsiteX7" fmla="*/ 526507 w 956275"/>
                <a:gd name="connsiteY7" fmla="*/ 192024 h 503380"/>
                <a:gd name="connsiteX8" fmla="*/ 672811 w 956275"/>
                <a:gd name="connsiteY8" fmla="*/ 155448 h 503380"/>
                <a:gd name="connsiteX9" fmla="*/ 718531 w 956275"/>
                <a:gd name="connsiteY9" fmla="*/ 155448 h 503380"/>
                <a:gd name="connsiteX10" fmla="*/ 755107 w 956275"/>
                <a:gd name="connsiteY10" fmla="*/ 137160 h 503380"/>
                <a:gd name="connsiteX11" fmla="*/ 709387 w 956275"/>
                <a:gd name="connsiteY11" fmla="*/ 137160 h 503380"/>
                <a:gd name="connsiteX12" fmla="*/ 617947 w 956275"/>
                <a:gd name="connsiteY12" fmla="*/ 137160 h 503380"/>
                <a:gd name="connsiteX13" fmla="*/ 563083 w 956275"/>
                <a:gd name="connsiteY13" fmla="*/ 146304 h 503380"/>
                <a:gd name="connsiteX14" fmla="*/ 553939 w 956275"/>
                <a:gd name="connsiteY14" fmla="*/ 155448 h 503380"/>
                <a:gd name="connsiteX15" fmla="*/ 535651 w 956275"/>
                <a:gd name="connsiteY15" fmla="*/ 146304 h 503380"/>
                <a:gd name="connsiteX16" fmla="*/ 663667 w 956275"/>
                <a:gd name="connsiteY16" fmla="*/ 91440 h 503380"/>
                <a:gd name="connsiteX17" fmla="*/ 718531 w 956275"/>
                <a:gd name="connsiteY17" fmla="*/ 91440 h 503380"/>
                <a:gd name="connsiteX18" fmla="*/ 809971 w 956275"/>
                <a:gd name="connsiteY18" fmla="*/ 82296 h 503380"/>
                <a:gd name="connsiteX19" fmla="*/ 937987 w 956275"/>
                <a:gd name="connsiteY19" fmla="*/ 27432 h 503380"/>
                <a:gd name="connsiteX20" fmla="*/ 919699 w 956275"/>
                <a:gd name="connsiteY20" fmla="*/ 0 h 503380"/>
                <a:gd name="connsiteX21" fmla="*/ 883123 w 956275"/>
                <a:gd name="connsiteY21" fmla="*/ 27432 h 503380"/>
                <a:gd name="connsiteX22" fmla="*/ 846547 w 956275"/>
                <a:gd name="connsiteY22" fmla="*/ 36576 h 503380"/>
                <a:gd name="connsiteX23" fmla="*/ 773395 w 956275"/>
                <a:gd name="connsiteY23" fmla="*/ 64008 h 503380"/>
                <a:gd name="connsiteX24" fmla="*/ 718531 w 956275"/>
                <a:gd name="connsiteY24" fmla="*/ 64008 h 503380"/>
                <a:gd name="connsiteX25" fmla="*/ 608803 w 956275"/>
                <a:gd name="connsiteY25" fmla="*/ 64008 h 503380"/>
                <a:gd name="connsiteX26" fmla="*/ 553939 w 956275"/>
                <a:gd name="connsiteY26" fmla="*/ 100584 h 503380"/>
                <a:gd name="connsiteX27" fmla="*/ 517363 w 956275"/>
                <a:gd name="connsiteY27" fmla="*/ 146304 h 503380"/>
                <a:gd name="connsiteX28" fmla="*/ 471643 w 956275"/>
                <a:gd name="connsiteY28" fmla="*/ 182880 h 503380"/>
                <a:gd name="connsiteX29" fmla="*/ 425923 w 956275"/>
                <a:gd name="connsiteY29" fmla="*/ 256032 h 503380"/>
                <a:gd name="connsiteX30" fmla="*/ 352771 w 956275"/>
                <a:gd name="connsiteY30" fmla="*/ 301752 h 503380"/>
                <a:gd name="connsiteX31" fmla="*/ 252187 w 956275"/>
                <a:gd name="connsiteY31" fmla="*/ 347472 h 503380"/>
                <a:gd name="connsiteX32" fmla="*/ 215611 w 956275"/>
                <a:gd name="connsiteY32" fmla="*/ 374904 h 503380"/>
                <a:gd name="connsiteX33" fmla="*/ 169891 w 956275"/>
                <a:gd name="connsiteY33" fmla="*/ 402336 h 503380"/>
                <a:gd name="connsiteX34" fmla="*/ 151603 w 956275"/>
                <a:gd name="connsiteY34" fmla="*/ 402336 h 503380"/>
                <a:gd name="connsiteX35" fmla="*/ 169891 w 956275"/>
                <a:gd name="connsiteY35" fmla="*/ 365760 h 503380"/>
                <a:gd name="connsiteX36" fmla="*/ 224755 w 956275"/>
                <a:gd name="connsiteY36" fmla="*/ 301752 h 503380"/>
                <a:gd name="connsiteX37" fmla="*/ 316195 w 956275"/>
                <a:gd name="connsiteY37" fmla="*/ 219456 h 503380"/>
                <a:gd name="connsiteX38" fmla="*/ 361915 w 956275"/>
                <a:gd name="connsiteY38" fmla="*/ 146304 h 503380"/>
                <a:gd name="connsiteX39" fmla="*/ 361915 w 956275"/>
                <a:gd name="connsiteY39" fmla="*/ 64008 h 503380"/>
                <a:gd name="connsiteX40" fmla="*/ 352771 w 956275"/>
                <a:gd name="connsiteY40" fmla="*/ 54864 h 503380"/>
                <a:gd name="connsiteX41" fmla="*/ 343627 w 956275"/>
                <a:gd name="connsiteY41" fmla="*/ 128016 h 503380"/>
                <a:gd name="connsiteX42" fmla="*/ 316195 w 956275"/>
                <a:gd name="connsiteY42" fmla="*/ 173736 h 503380"/>
                <a:gd name="connsiteX43" fmla="*/ 243043 w 956275"/>
                <a:gd name="connsiteY43" fmla="*/ 237744 h 503380"/>
                <a:gd name="connsiteX44" fmla="*/ 215611 w 956275"/>
                <a:gd name="connsiteY44" fmla="*/ 256032 h 503380"/>
                <a:gd name="connsiteX45" fmla="*/ 142459 w 956275"/>
                <a:gd name="connsiteY45" fmla="*/ 347472 h 503380"/>
                <a:gd name="connsiteX46" fmla="*/ 133315 w 956275"/>
                <a:gd name="connsiteY46" fmla="*/ 374904 h 503380"/>
                <a:gd name="connsiteX47" fmla="*/ 124171 w 956275"/>
                <a:gd name="connsiteY47" fmla="*/ 411480 h 503380"/>
                <a:gd name="connsiteX48" fmla="*/ 142459 w 956275"/>
                <a:gd name="connsiteY48" fmla="*/ 429768 h 503380"/>
                <a:gd name="connsiteX49" fmla="*/ 96739 w 956275"/>
                <a:gd name="connsiteY49" fmla="*/ 457200 h 503380"/>
                <a:gd name="connsiteX50" fmla="*/ 13820 w 956275"/>
                <a:gd name="connsiteY50" fmla="*/ 496783 h 503380"/>
                <a:gd name="connsiteX51" fmla="*/ 13820 w 956275"/>
                <a:gd name="connsiteY51" fmla="*/ 496784 h 503380"/>
                <a:gd name="connsiteX52" fmla="*/ 13820 w 956275"/>
                <a:gd name="connsiteY52" fmla="*/ 496784 h 503380"/>
                <a:gd name="connsiteX53" fmla="*/ 13820 w 956275"/>
                <a:gd name="connsiteY53" fmla="*/ 496784 h 503380"/>
                <a:gd name="connsiteX54" fmla="*/ 13820 w 956275"/>
                <a:gd name="connsiteY54" fmla="*/ 496784 h 503380"/>
                <a:gd name="connsiteX55" fmla="*/ 40672 w 956275"/>
                <a:gd name="connsiteY55" fmla="*/ 486851 h 503380"/>
                <a:gd name="connsiteX0" fmla="*/ 114797 w 956275"/>
                <a:gd name="connsiteY0" fmla="*/ 504512 h 504512"/>
                <a:gd name="connsiteX1" fmla="*/ 13820 w 956275"/>
                <a:gd name="connsiteY1" fmla="*/ 496784 h 504512"/>
                <a:gd name="connsiteX2" fmla="*/ 13820 w 956275"/>
                <a:gd name="connsiteY2" fmla="*/ 496784 h 504512"/>
                <a:gd name="connsiteX3" fmla="*/ 51019 w 956275"/>
                <a:gd name="connsiteY3" fmla="*/ 493776 h 504512"/>
                <a:gd name="connsiteX4" fmla="*/ 151603 w 956275"/>
                <a:gd name="connsiteY4" fmla="*/ 466344 h 504512"/>
                <a:gd name="connsiteX5" fmla="*/ 252187 w 956275"/>
                <a:gd name="connsiteY5" fmla="*/ 384048 h 504512"/>
                <a:gd name="connsiteX6" fmla="*/ 444211 w 956275"/>
                <a:gd name="connsiteY6" fmla="*/ 301752 h 504512"/>
                <a:gd name="connsiteX7" fmla="*/ 526507 w 956275"/>
                <a:gd name="connsiteY7" fmla="*/ 192024 h 504512"/>
                <a:gd name="connsiteX8" fmla="*/ 672811 w 956275"/>
                <a:gd name="connsiteY8" fmla="*/ 155448 h 504512"/>
                <a:gd name="connsiteX9" fmla="*/ 718531 w 956275"/>
                <a:gd name="connsiteY9" fmla="*/ 155448 h 504512"/>
                <a:gd name="connsiteX10" fmla="*/ 755107 w 956275"/>
                <a:gd name="connsiteY10" fmla="*/ 137160 h 504512"/>
                <a:gd name="connsiteX11" fmla="*/ 709387 w 956275"/>
                <a:gd name="connsiteY11" fmla="*/ 137160 h 504512"/>
                <a:gd name="connsiteX12" fmla="*/ 617947 w 956275"/>
                <a:gd name="connsiteY12" fmla="*/ 137160 h 504512"/>
                <a:gd name="connsiteX13" fmla="*/ 563083 w 956275"/>
                <a:gd name="connsiteY13" fmla="*/ 146304 h 504512"/>
                <a:gd name="connsiteX14" fmla="*/ 553939 w 956275"/>
                <a:gd name="connsiteY14" fmla="*/ 155448 h 504512"/>
                <a:gd name="connsiteX15" fmla="*/ 535651 w 956275"/>
                <a:gd name="connsiteY15" fmla="*/ 146304 h 504512"/>
                <a:gd name="connsiteX16" fmla="*/ 663667 w 956275"/>
                <a:gd name="connsiteY16" fmla="*/ 91440 h 504512"/>
                <a:gd name="connsiteX17" fmla="*/ 718531 w 956275"/>
                <a:gd name="connsiteY17" fmla="*/ 91440 h 504512"/>
                <a:gd name="connsiteX18" fmla="*/ 809971 w 956275"/>
                <a:gd name="connsiteY18" fmla="*/ 82296 h 504512"/>
                <a:gd name="connsiteX19" fmla="*/ 937987 w 956275"/>
                <a:gd name="connsiteY19" fmla="*/ 27432 h 504512"/>
                <a:gd name="connsiteX20" fmla="*/ 919699 w 956275"/>
                <a:gd name="connsiteY20" fmla="*/ 0 h 504512"/>
                <a:gd name="connsiteX21" fmla="*/ 883123 w 956275"/>
                <a:gd name="connsiteY21" fmla="*/ 27432 h 504512"/>
                <a:gd name="connsiteX22" fmla="*/ 846547 w 956275"/>
                <a:gd name="connsiteY22" fmla="*/ 36576 h 504512"/>
                <a:gd name="connsiteX23" fmla="*/ 773395 w 956275"/>
                <a:gd name="connsiteY23" fmla="*/ 64008 h 504512"/>
                <a:gd name="connsiteX24" fmla="*/ 718531 w 956275"/>
                <a:gd name="connsiteY24" fmla="*/ 64008 h 504512"/>
                <a:gd name="connsiteX25" fmla="*/ 608803 w 956275"/>
                <a:gd name="connsiteY25" fmla="*/ 64008 h 504512"/>
                <a:gd name="connsiteX26" fmla="*/ 553939 w 956275"/>
                <a:gd name="connsiteY26" fmla="*/ 100584 h 504512"/>
                <a:gd name="connsiteX27" fmla="*/ 517363 w 956275"/>
                <a:gd name="connsiteY27" fmla="*/ 146304 h 504512"/>
                <a:gd name="connsiteX28" fmla="*/ 471643 w 956275"/>
                <a:gd name="connsiteY28" fmla="*/ 182880 h 504512"/>
                <a:gd name="connsiteX29" fmla="*/ 425923 w 956275"/>
                <a:gd name="connsiteY29" fmla="*/ 256032 h 504512"/>
                <a:gd name="connsiteX30" fmla="*/ 352771 w 956275"/>
                <a:gd name="connsiteY30" fmla="*/ 301752 h 504512"/>
                <a:gd name="connsiteX31" fmla="*/ 252187 w 956275"/>
                <a:gd name="connsiteY31" fmla="*/ 347472 h 504512"/>
                <a:gd name="connsiteX32" fmla="*/ 215611 w 956275"/>
                <a:gd name="connsiteY32" fmla="*/ 374904 h 504512"/>
                <a:gd name="connsiteX33" fmla="*/ 169891 w 956275"/>
                <a:gd name="connsiteY33" fmla="*/ 402336 h 504512"/>
                <a:gd name="connsiteX34" fmla="*/ 151603 w 956275"/>
                <a:gd name="connsiteY34" fmla="*/ 402336 h 504512"/>
                <a:gd name="connsiteX35" fmla="*/ 169891 w 956275"/>
                <a:gd name="connsiteY35" fmla="*/ 365760 h 504512"/>
                <a:gd name="connsiteX36" fmla="*/ 224755 w 956275"/>
                <a:gd name="connsiteY36" fmla="*/ 301752 h 504512"/>
                <a:gd name="connsiteX37" fmla="*/ 316195 w 956275"/>
                <a:gd name="connsiteY37" fmla="*/ 219456 h 504512"/>
                <a:gd name="connsiteX38" fmla="*/ 361915 w 956275"/>
                <a:gd name="connsiteY38" fmla="*/ 146304 h 504512"/>
                <a:gd name="connsiteX39" fmla="*/ 361915 w 956275"/>
                <a:gd name="connsiteY39" fmla="*/ 64008 h 504512"/>
                <a:gd name="connsiteX40" fmla="*/ 352771 w 956275"/>
                <a:gd name="connsiteY40" fmla="*/ 54864 h 504512"/>
                <a:gd name="connsiteX41" fmla="*/ 343627 w 956275"/>
                <a:gd name="connsiteY41" fmla="*/ 128016 h 504512"/>
                <a:gd name="connsiteX42" fmla="*/ 316195 w 956275"/>
                <a:gd name="connsiteY42" fmla="*/ 173736 h 504512"/>
                <a:gd name="connsiteX43" fmla="*/ 243043 w 956275"/>
                <a:gd name="connsiteY43" fmla="*/ 237744 h 504512"/>
                <a:gd name="connsiteX44" fmla="*/ 215611 w 956275"/>
                <a:gd name="connsiteY44" fmla="*/ 256032 h 504512"/>
                <a:gd name="connsiteX45" fmla="*/ 142459 w 956275"/>
                <a:gd name="connsiteY45" fmla="*/ 347472 h 504512"/>
                <a:gd name="connsiteX46" fmla="*/ 133315 w 956275"/>
                <a:gd name="connsiteY46" fmla="*/ 374904 h 504512"/>
                <a:gd name="connsiteX47" fmla="*/ 124171 w 956275"/>
                <a:gd name="connsiteY47" fmla="*/ 411480 h 504512"/>
                <a:gd name="connsiteX48" fmla="*/ 142459 w 956275"/>
                <a:gd name="connsiteY48" fmla="*/ 429768 h 504512"/>
                <a:gd name="connsiteX49" fmla="*/ 96739 w 956275"/>
                <a:gd name="connsiteY49" fmla="*/ 457200 h 504512"/>
                <a:gd name="connsiteX50" fmla="*/ 13820 w 956275"/>
                <a:gd name="connsiteY50" fmla="*/ 496783 h 504512"/>
                <a:gd name="connsiteX51" fmla="*/ 13820 w 956275"/>
                <a:gd name="connsiteY51" fmla="*/ 496784 h 504512"/>
                <a:gd name="connsiteX52" fmla="*/ 13820 w 956275"/>
                <a:gd name="connsiteY52" fmla="*/ 496784 h 504512"/>
                <a:gd name="connsiteX53" fmla="*/ 13820 w 956275"/>
                <a:gd name="connsiteY53" fmla="*/ 496784 h 504512"/>
                <a:gd name="connsiteX54" fmla="*/ 13820 w 956275"/>
                <a:gd name="connsiteY54" fmla="*/ 496784 h 504512"/>
                <a:gd name="connsiteX55" fmla="*/ 114797 w 956275"/>
                <a:gd name="connsiteY55" fmla="*/ 504512 h 504512"/>
                <a:gd name="connsiteX0" fmla="*/ 114797 w 956275"/>
                <a:gd name="connsiteY0" fmla="*/ 504512 h 505800"/>
                <a:gd name="connsiteX1" fmla="*/ 13820 w 956275"/>
                <a:gd name="connsiteY1" fmla="*/ 496784 h 505800"/>
                <a:gd name="connsiteX2" fmla="*/ 13820 w 956275"/>
                <a:gd name="connsiteY2" fmla="*/ 496784 h 505800"/>
                <a:gd name="connsiteX3" fmla="*/ 51019 w 956275"/>
                <a:gd name="connsiteY3" fmla="*/ 493776 h 505800"/>
                <a:gd name="connsiteX4" fmla="*/ 151603 w 956275"/>
                <a:gd name="connsiteY4" fmla="*/ 466344 h 505800"/>
                <a:gd name="connsiteX5" fmla="*/ 252187 w 956275"/>
                <a:gd name="connsiteY5" fmla="*/ 384048 h 505800"/>
                <a:gd name="connsiteX6" fmla="*/ 444211 w 956275"/>
                <a:gd name="connsiteY6" fmla="*/ 301752 h 505800"/>
                <a:gd name="connsiteX7" fmla="*/ 526507 w 956275"/>
                <a:gd name="connsiteY7" fmla="*/ 192024 h 505800"/>
                <a:gd name="connsiteX8" fmla="*/ 672811 w 956275"/>
                <a:gd name="connsiteY8" fmla="*/ 155448 h 505800"/>
                <a:gd name="connsiteX9" fmla="*/ 718531 w 956275"/>
                <a:gd name="connsiteY9" fmla="*/ 155448 h 505800"/>
                <a:gd name="connsiteX10" fmla="*/ 755107 w 956275"/>
                <a:gd name="connsiteY10" fmla="*/ 137160 h 505800"/>
                <a:gd name="connsiteX11" fmla="*/ 709387 w 956275"/>
                <a:gd name="connsiteY11" fmla="*/ 137160 h 505800"/>
                <a:gd name="connsiteX12" fmla="*/ 617947 w 956275"/>
                <a:gd name="connsiteY12" fmla="*/ 137160 h 505800"/>
                <a:gd name="connsiteX13" fmla="*/ 563083 w 956275"/>
                <a:gd name="connsiteY13" fmla="*/ 146304 h 505800"/>
                <a:gd name="connsiteX14" fmla="*/ 553939 w 956275"/>
                <a:gd name="connsiteY14" fmla="*/ 155448 h 505800"/>
                <a:gd name="connsiteX15" fmla="*/ 535651 w 956275"/>
                <a:gd name="connsiteY15" fmla="*/ 146304 h 505800"/>
                <a:gd name="connsiteX16" fmla="*/ 663667 w 956275"/>
                <a:gd name="connsiteY16" fmla="*/ 91440 h 505800"/>
                <a:gd name="connsiteX17" fmla="*/ 718531 w 956275"/>
                <a:gd name="connsiteY17" fmla="*/ 91440 h 505800"/>
                <a:gd name="connsiteX18" fmla="*/ 809971 w 956275"/>
                <a:gd name="connsiteY18" fmla="*/ 82296 h 505800"/>
                <a:gd name="connsiteX19" fmla="*/ 937987 w 956275"/>
                <a:gd name="connsiteY19" fmla="*/ 27432 h 505800"/>
                <a:gd name="connsiteX20" fmla="*/ 919699 w 956275"/>
                <a:gd name="connsiteY20" fmla="*/ 0 h 505800"/>
                <a:gd name="connsiteX21" fmla="*/ 883123 w 956275"/>
                <a:gd name="connsiteY21" fmla="*/ 27432 h 505800"/>
                <a:gd name="connsiteX22" fmla="*/ 846547 w 956275"/>
                <a:gd name="connsiteY22" fmla="*/ 36576 h 505800"/>
                <a:gd name="connsiteX23" fmla="*/ 773395 w 956275"/>
                <a:gd name="connsiteY23" fmla="*/ 64008 h 505800"/>
                <a:gd name="connsiteX24" fmla="*/ 718531 w 956275"/>
                <a:gd name="connsiteY24" fmla="*/ 64008 h 505800"/>
                <a:gd name="connsiteX25" fmla="*/ 608803 w 956275"/>
                <a:gd name="connsiteY25" fmla="*/ 64008 h 505800"/>
                <a:gd name="connsiteX26" fmla="*/ 553939 w 956275"/>
                <a:gd name="connsiteY26" fmla="*/ 100584 h 505800"/>
                <a:gd name="connsiteX27" fmla="*/ 517363 w 956275"/>
                <a:gd name="connsiteY27" fmla="*/ 146304 h 505800"/>
                <a:gd name="connsiteX28" fmla="*/ 471643 w 956275"/>
                <a:gd name="connsiteY28" fmla="*/ 182880 h 505800"/>
                <a:gd name="connsiteX29" fmla="*/ 425923 w 956275"/>
                <a:gd name="connsiteY29" fmla="*/ 256032 h 505800"/>
                <a:gd name="connsiteX30" fmla="*/ 352771 w 956275"/>
                <a:gd name="connsiteY30" fmla="*/ 301752 h 505800"/>
                <a:gd name="connsiteX31" fmla="*/ 252187 w 956275"/>
                <a:gd name="connsiteY31" fmla="*/ 347472 h 505800"/>
                <a:gd name="connsiteX32" fmla="*/ 215611 w 956275"/>
                <a:gd name="connsiteY32" fmla="*/ 374904 h 505800"/>
                <a:gd name="connsiteX33" fmla="*/ 169891 w 956275"/>
                <a:gd name="connsiteY33" fmla="*/ 402336 h 505800"/>
                <a:gd name="connsiteX34" fmla="*/ 151603 w 956275"/>
                <a:gd name="connsiteY34" fmla="*/ 402336 h 505800"/>
                <a:gd name="connsiteX35" fmla="*/ 169891 w 956275"/>
                <a:gd name="connsiteY35" fmla="*/ 365760 h 505800"/>
                <a:gd name="connsiteX36" fmla="*/ 224755 w 956275"/>
                <a:gd name="connsiteY36" fmla="*/ 301752 h 505800"/>
                <a:gd name="connsiteX37" fmla="*/ 316195 w 956275"/>
                <a:gd name="connsiteY37" fmla="*/ 219456 h 505800"/>
                <a:gd name="connsiteX38" fmla="*/ 361915 w 956275"/>
                <a:gd name="connsiteY38" fmla="*/ 146304 h 505800"/>
                <a:gd name="connsiteX39" fmla="*/ 361915 w 956275"/>
                <a:gd name="connsiteY39" fmla="*/ 64008 h 505800"/>
                <a:gd name="connsiteX40" fmla="*/ 352771 w 956275"/>
                <a:gd name="connsiteY40" fmla="*/ 54864 h 505800"/>
                <a:gd name="connsiteX41" fmla="*/ 343627 w 956275"/>
                <a:gd name="connsiteY41" fmla="*/ 128016 h 505800"/>
                <a:gd name="connsiteX42" fmla="*/ 316195 w 956275"/>
                <a:gd name="connsiteY42" fmla="*/ 173736 h 505800"/>
                <a:gd name="connsiteX43" fmla="*/ 243043 w 956275"/>
                <a:gd name="connsiteY43" fmla="*/ 237744 h 505800"/>
                <a:gd name="connsiteX44" fmla="*/ 215611 w 956275"/>
                <a:gd name="connsiteY44" fmla="*/ 256032 h 505800"/>
                <a:gd name="connsiteX45" fmla="*/ 142459 w 956275"/>
                <a:gd name="connsiteY45" fmla="*/ 347472 h 505800"/>
                <a:gd name="connsiteX46" fmla="*/ 133315 w 956275"/>
                <a:gd name="connsiteY46" fmla="*/ 374904 h 505800"/>
                <a:gd name="connsiteX47" fmla="*/ 124171 w 956275"/>
                <a:gd name="connsiteY47" fmla="*/ 411480 h 505800"/>
                <a:gd name="connsiteX48" fmla="*/ 142459 w 956275"/>
                <a:gd name="connsiteY48" fmla="*/ 429768 h 505800"/>
                <a:gd name="connsiteX49" fmla="*/ 96739 w 956275"/>
                <a:gd name="connsiteY49" fmla="*/ 457200 h 505800"/>
                <a:gd name="connsiteX50" fmla="*/ 13820 w 956275"/>
                <a:gd name="connsiteY50" fmla="*/ 496783 h 505800"/>
                <a:gd name="connsiteX51" fmla="*/ 13820 w 956275"/>
                <a:gd name="connsiteY51" fmla="*/ 496784 h 505800"/>
                <a:gd name="connsiteX52" fmla="*/ 13820 w 956275"/>
                <a:gd name="connsiteY52" fmla="*/ 496784 h 505800"/>
                <a:gd name="connsiteX53" fmla="*/ 13820 w 956275"/>
                <a:gd name="connsiteY53" fmla="*/ 496784 h 505800"/>
                <a:gd name="connsiteX54" fmla="*/ 114796 w 956275"/>
                <a:gd name="connsiteY54" fmla="*/ 504511 h 505800"/>
                <a:gd name="connsiteX55" fmla="*/ 114797 w 956275"/>
                <a:gd name="connsiteY55" fmla="*/ 504512 h 505800"/>
                <a:gd name="connsiteX0" fmla="*/ 114797 w 956275"/>
                <a:gd name="connsiteY0" fmla="*/ 504512 h 505800"/>
                <a:gd name="connsiteX1" fmla="*/ 13820 w 956275"/>
                <a:gd name="connsiteY1" fmla="*/ 496784 h 505800"/>
                <a:gd name="connsiteX2" fmla="*/ 13820 w 956275"/>
                <a:gd name="connsiteY2" fmla="*/ 496784 h 505800"/>
                <a:gd name="connsiteX3" fmla="*/ 51019 w 956275"/>
                <a:gd name="connsiteY3" fmla="*/ 493776 h 505800"/>
                <a:gd name="connsiteX4" fmla="*/ 151603 w 956275"/>
                <a:gd name="connsiteY4" fmla="*/ 466344 h 505800"/>
                <a:gd name="connsiteX5" fmla="*/ 252187 w 956275"/>
                <a:gd name="connsiteY5" fmla="*/ 384048 h 505800"/>
                <a:gd name="connsiteX6" fmla="*/ 444211 w 956275"/>
                <a:gd name="connsiteY6" fmla="*/ 301752 h 505800"/>
                <a:gd name="connsiteX7" fmla="*/ 526507 w 956275"/>
                <a:gd name="connsiteY7" fmla="*/ 192024 h 505800"/>
                <a:gd name="connsiteX8" fmla="*/ 672811 w 956275"/>
                <a:gd name="connsiteY8" fmla="*/ 155448 h 505800"/>
                <a:gd name="connsiteX9" fmla="*/ 718531 w 956275"/>
                <a:gd name="connsiteY9" fmla="*/ 155448 h 505800"/>
                <a:gd name="connsiteX10" fmla="*/ 755107 w 956275"/>
                <a:gd name="connsiteY10" fmla="*/ 137160 h 505800"/>
                <a:gd name="connsiteX11" fmla="*/ 709387 w 956275"/>
                <a:gd name="connsiteY11" fmla="*/ 137160 h 505800"/>
                <a:gd name="connsiteX12" fmla="*/ 617947 w 956275"/>
                <a:gd name="connsiteY12" fmla="*/ 137160 h 505800"/>
                <a:gd name="connsiteX13" fmla="*/ 563083 w 956275"/>
                <a:gd name="connsiteY13" fmla="*/ 146304 h 505800"/>
                <a:gd name="connsiteX14" fmla="*/ 553939 w 956275"/>
                <a:gd name="connsiteY14" fmla="*/ 155448 h 505800"/>
                <a:gd name="connsiteX15" fmla="*/ 535651 w 956275"/>
                <a:gd name="connsiteY15" fmla="*/ 146304 h 505800"/>
                <a:gd name="connsiteX16" fmla="*/ 663667 w 956275"/>
                <a:gd name="connsiteY16" fmla="*/ 91440 h 505800"/>
                <a:gd name="connsiteX17" fmla="*/ 718531 w 956275"/>
                <a:gd name="connsiteY17" fmla="*/ 91440 h 505800"/>
                <a:gd name="connsiteX18" fmla="*/ 809971 w 956275"/>
                <a:gd name="connsiteY18" fmla="*/ 82296 h 505800"/>
                <a:gd name="connsiteX19" fmla="*/ 937987 w 956275"/>
                <a:gd name="connsiteY19" fmla="*/ 27432 h 505800"/>
                <a:gd name="connsiteX20" fmla="*/ 919699 w 956275"/>
                <a:gd name="connsiteY20" fmla="*/ 0 h 505800"/>
                <a:gd name="connsiteX21" fmla="*/ 883123 w 956275"/>
                <a:gd name="connsiteY21" fmla="*/ 27432 h 505800"/>
                <a:gd name="connsiteX22" fmla="*/ 846547 w 956275"/>
                <a:gd name="connsiteY22" fmla="*/ 36576 h 505800"/>
                <a:gd name="connsiteX23" fmla="*/ 773395 w 956275"/>
                <a:gd name="connsiteY23" fmla="*/ 64008 h 505800"/>
                <a:gd name="connsiteX24" fmla="*/ 718531 w 956275"/>
                <a:gd name="connsiteY24" fmla="*/ 64008 h 505800"/>
                <a:gd name="connsiteX25" fmla="*/ 608803 w 956275"/>
                <a:gd name="connsiteY25" fmla="*/ 64008 h 505800"/>
                <a:gd name="connsiteX26" fmla="*/ 553939 w 956275"/>
                <a:gd name="connsiteY26" fmla="*/ 100584 h 505800"/>
                <a:gd name="connsiteX27" fmla="*/ 517363 w 956275"/>
                <a:gd name="connsiteY27" fmla="*/ 146304 h 505800"/>
                <a:gd name="connsiteX28" fmla="*/ 471643 w 956275"/>
                <a:gd name="connsiteY28" fmla="*/ 182880 h 505800"/>
                <a:gd name="connsiteX29" fmla="*/ 425923 w 956275"/>
                <a:gd name="connsiteY29" fmla="*/ 256032 h 505800"/>
                <a:gd name="connsiteX30" fmla="*/ 352771 w 956275"/>
                <a:gd name="connsiteY30" fmla="*/ 301752 h 505800"/>
                <a:gd name="connsiteX31" fmla="*/ 252187 w 956275"/>
                <a:gd name="connsiteY31" fmla="*/ 347472 h 505800"/>
                <a:gd name="connsiteX32" fmla="*/ 215611 w 956275"/>
                <a:gd name="connsiteY32" fmla="*/ 374904 h 505800"/>
                <a:gd name="connsiteX33" fmla="*/ 169891 w 956275"/>
                <a:gd name="connsiteY33" fmla="*/ 402336 h 505800"/>
                <a:gd name="connsiteX34" fmla="*/ 151603 w 956275"/>
                <a:gd name="connsiteY34" fmla="*/ 402336 h 505800"/>
                <a:gd name="connsiteX35" fmla="*/ 169891 w 956275"/>
                <a:gd name="connsiteY35" fmla="*/ 365760 h 505800"/>
                <a:gd name="connsiteX36" fmla="*/ 224755 w 956275"/>
                <a:gd name="connsiteY36" fmla="*/ 301752 h 505800"/>
                <a:gd name="connsiteX37" fmla="*/ 316195 w 956275"/>
                <a:gd name="connsiteY37" fmla="*/ 219456 h 505800"/>
                <a:gd name="connsiteX38" fmla="*/ 361915 w 956275"/>
                <a:gd name="connsiteY38" fmla="*/ 146304 h 505800"/>
                <a:gd name="connsiteX39" fmla="*/ 361915 w 956275"/>
                <a:gd name="connsiteY39" fmla="*/ 64008 h 505800"/>
                <a:gd name="connsiteX40" fmla="*/ 352771 w 956275"/>
                <a:gd name="connsiteY40" fmla="*/ 54864 h 505800"/>
                <a:gd name="connsiteX41" fmla="*/ 343627 w 956275"/>
                <a:gd name="connsiteY41" fmla="*/ 128016 h 505800"/>
                <a:gd name="connsiteX42" fmla="*/ 316195 w 956275"/>
                <a:gd name="connsiteY42" fmla="*/ 173736 h 505800"/>
                <a:gd name="connsiteX43" fmla="*/ 243043 w 956275"/>
                <a:gd name="connsiteY43" fmla="*/ 237744 h 505800"/>
                <a:gd name="connsiteX44" fmla="*/ 215611 w 956275"/>
                <a:gd name="connsiteY44" fmla="*/ 256032 h 505800"/>
                <a:gd name="connsiteX45" fmla="*/ 142459 w 956275"/>
                <a:gd name="connsiteY45" fmla="*/ 347472 h 505800"/>
                <a:gd name="connsiteX46" fmla="*/ 133315 w 956275"/>
                <a:gd name="connsiteY46" fmla="*/ 374904 h 505800"/>
                <a:gd name="connsiteX47" fmla="*/ 124171 w 956275"/>
                <a:gd name="connsiteY47" fmla="*/ 411480 h 505800"/>
                <a:gd name="connsiteX48" fmla="*/ 142459 w 956275"/>
                <a:gd name="connsiteY48" fmla="*/ 429768 h 505800"/>
                <a:gd name="connsiteX49" fmla="*/ 96739 w 956275"/>
                <a:gd name="connsiteY49" fmla="*/ 457200 h 505800"/>
                <a:gd name="connsiteX50" fmla="*/ 13820 w 956275"/>
                <a:gd name="connsiteY50" fmla="*/ 496783 h 505800"/>
                <a:gd name="connsiteX51" fmla="*/ 13820 w 956275"/>
                <a:gd name="connsiteY51" fmla="*/ 496784 h 505800"/>
                <a:gd name="connsiteX52" fmla="*/ 13820 w 956275"/>
                <a:gd name="connsiteY52" fmla="*/ 496784 h 505800"/>
                <a:gd name="connsiteX53" fmla="*/ 132458 w 956275"/>
                <a:gd name="connsiteY53" fmla="*/ 430387 h 505800"/>
                <a:gd name="connsiteX54" fmla="*/ 114796 w 956275"/>
                <a:gd name="connsiteY54" fmla="*/ 504511 h 505800"/>
                <a:gd name="connsiteX55" fmla="*/ 114797 w 956275"/>
                <a:gd name="connsiteY55" fmla="*/ 504512 h 505800"/>
                <a:gd name="connsiteX0" fmla="*/ 114798 w 956275"/>
                <a:gd name="connsiteY0" fmla="*/ 504512 h 505800"/>
                <a:gd name="connsiteX1" fmla="*/ 13820 w 956275"/>
                <a:gd name="connsiteY1" fmla="*/ 496784 h 505800"/>
                <a:gd name="connsiteX2" fmla="*/ 13820 w 956275"/>
                <a:gd name="connsiteY2" fmla="*/ 496784 h 505800"/>
                <a:gd name="connsiteX3" fmla="*/ 51019 w 956275"/>
                <a:gd name="connsiteY3" fmla="*/ 493776 h 505800"/>
                <a:gd name="connsiteX4" fmla="*/ 151603 w 956275"/>
                <a:gd name="connsiteY4" fmla="*/ 466344 h 505800"/>
                <a:gd name="connsiteX5" fmla="*/ 252187 w 956275"/>
                <a:gd name="connsiteY5" fmla="*/ 384048 h 505800"/>
                <a:gd name="connsiteX6" fmla="*/ 444211 w 956275"/>
                <a:gd name="connsiteY6" fmla="*/ 301752 h 505800"/>
                <a:gd name="connsiteX7" fmla="*/ 526507 w 956275"/>
                <a:gd name="connsiteY7" fmla="*/ 192024 h 505800"/>
                <a:gd name="connsiteX8" fmla="*/ 672811 w 956275"/>
                <a:gd name="connsiteY8" fmla="*/ 155448 h 505800"/>
                <a:gd name="connsiteX9" fmla="*/ 718531 w 956275"/>
                <a:gd name="connsiteY9" fmla="*/ 155448 h 505800"/>
                <a:gd name="connsiteX10" fmla="*/ 755107 w 956275"/>
                <a:gd name="connsiteY10" fmla="*/ 137160 h 505800"/>
                <a:gd name="connsiteX11" fmla="*/ 709387 w 956275"/>
                <a:gd name="connsiteY11" fmla="*/ 137160 h 505800"/>
                <a:gd name="connsiteX12" fmla="*/ 617947 w 956275"/>
                <a:gd name="connsiteY12" fmla="*/ 137160 h 505800"/>
                <a:gd name="connsiteX13" fmla="*/ 563083 w 956275"/>
                <a:gd name="connsiteY13" fmla="*/ 146304 h 505800"/>
                <a:gd name="connsiteX14" fmla="*/ 553939 w 956275"/>
                <a:gd name="connsiteY14" fmla="*/ 155448 h 505800"/>
                <a:gd name="connsiteX15" fmla="*/ 535651 w 956275"/>
                <a:gd name="connsiteY15" fmla="*/ 146304 h 505800"/>
                <a:gd name="connsiteX16" fmla="*/ 663667 w 956275"/>
                <a:gd name="connsiteY16" fmla="*/ 91440 h 505800"/>
                <a:gd name="connsiteX17" fmla="*/ 718531 w 956275"/>
                <a:gd name="connsiteY17" fmla="*/ 91440 h 505800"/>
                <a:gd name="connsiteX18" fmla="*/ 809971 w 956275"/>
                <a:gd name="connsiteY18" fmla="*/ 82296 h 505800"/>
                <a:gd name="connsiteX19" fmla="*/ 937987 w 956275"/>
                <a:gd name="connsiteY19" fmla="*/ 27432 h 505800"/>
                <a:gd name="connsiteX20" fmla="*/ 919699 w 956275"/>
                <a:gd name="connsiteY20" fmla="*/ 0 h 505800"/>
                <a:gd name="connsiteX21" fmla="*/ 883123 w 956275"/>
                <a:gd name="connsiteY21" fmla="*/ 27432 h 505800"/>
                <a:gd name="connsiteX22" fmla="*/ 846547 w 956275"/>
                <a:gd name="connsiteY22" fmla="*/ 36576 h 505800"/>
                <a:gd name="connsiteX23" fmla="*/ 773395 w 956275"/>
                <a:gd name="connsiteY23" fmla="*/ 64008 h 505800"/>
                <a:gd name="connsiteX24" fmla="*/ 718531 w 956275"/>
                <a:gd name="connsiteY24" fmla="*/ 64008 h 505800"/>
                <a:gd name="connsiteX25" fmla="*/ 608803 w 956275"/>
                <a:gd name="connsiteY25" fmla="*/ 64008 h 505800"/>
                <a:gd name="connsiteX26" fmla="*/ 553939 w 956275"/>
                <a:gd name="connsiteY26" fmla="*/ 100584 h 505800"/>
                <a:gd name="connsiteX27" fmla="*/ 517363 w 956275"/>
                <a:gd name="connsiteY27" fmla="*/ 146304 h 505800"/>
                <a:gd name="connsiteX28" fmla="*/ 471643 w 956275"/>
                <a:gd name="connsiteY28" fmla="*/ 182880 h 505800"/>
                <a:gd name="connsiteX29" fmla="*/ 425923 w 956275"/>
                <a:gd name="connsiteY29" fmla="*/ 256032 h 505800"/>
                <a:gd name="connsiteX30" fmla="*/ 352771 w 956275"/>
                <a:gd name="connsiteY30" fmla="*/ 301752 h 505800"/>
                <a:gd name="connsiteX31" fmla="*/ 252187 w 956275"/>
                <a:gd name="connsiteY31" fmla="*/ 347472 h 505800"/>
                <a:gd name="connsiteX32" fmla="*/ 215611 w 956275"/>
                <a:gd name="connsiteY32" fmla="*/ 374904 h 505800"/>
                <a:gd name="connsiteX33" fmla="*/ 169891 w 956275"/>
                <a:gd name="connsiteY33" fmla="*/ 402336 h 505800"/>
                <a:gd name="connsiteX34" fmla="*/ 151603 w 956275"/>
                <a:gd name="connsiteY34" fmla="*/ 402336 h 505800"/>
                <a:gd name="connsiteX35" fmla="*/ 169891 w 956275"/>
                <a:gd name="connsiteY35" fmla="*/ 365760 h 505800"/>
                <a:gd name="connsiteX36" fmla="*/ 224755 w 956275"/>
                <a:gd name="connsiteY36" fmla="*/ 301752 h 505800"/>
                <a:gd name="connsiteX37" fmla="*/ 316195 w 956275"/>
                <a:gd name="connsiteY37" fmla="*/ 219456 h 505800"/>
                <a:gd name="connsiteX38" fmla="*/ 361915 w 956275"/>
                <a:gd name="connsiteY38" fmla="*/ 146304 h 505800"/>
                <a:gd name="connsiteX39" fmla="*/ 361915 w 956275"/>
                <a:gd name="connsiteY39" fmla="*/ 64008 h 505800"/>
                <a:gd name="connsiteX40" fmla="*/ 352771 w 956275"/>
                <a:gd name="connsiteY40" fmla="*/ 54864 h 505800"/>
                <a:gd name="connsiteX41" fmla="*/ 343627 w 956275"/>
                <a:gd name="connsiteY41" fmla="*/ 128016 h 505800"/>
                <a:gd name="connsiteX42" fmla="*/ 316195 w 956275"/>
                <a:gd name="connsiteY42" fmla="*/ 173736 h 505800"/>
                <a:gd name="connsiteX43" fmla="*/ 243043 w 956275"/>
                <a:gd name="connsiteY43" fmla="*/ 237744 h 505800"/>
                <a:gd name="connsiteX44" fmla="*/ 215611 w 956275"/>
                <a:gd name="connsiteY44" fmla="*/ 256032 h 505800"/>
                <a:gd name="connsiteX45" fmla="*/ 142459 w 956275"/>
                <a:gd name="connsiteY45" fmla="*/ 347472 h 505800"/>
                <a:gd name="connsiteX46" fmla="*/ 133315 w 956275"/>
                <a:gd name="connsiteY46" fmla="*/ 374904 h 505800"/>
                <a:gd name="connsiteX47" fmla="*/ 124171 w 956275"/>
                <a:gd name="connsiteY47" fmla="*/ 411480 h 505800"/>
                <a:gd name="connsiteX48" fmla="*/ 142459 w 956275"/>
                <a:gd name="connsiteY48" fmla="*/ 429768 h 505800"/>
                <a:gd name="connsiteX49" fmla="*/ 96739 w 956275"/>
                <a:gd name="connsiteY49" fmla="*/ 457200 h 505800"/>
                <a:gd name="connsiteX50" fmla="*/ 13820 w 956275"/>
                <a:gd name="connsiteY50" fmla="*/ 496783 h 505800"/>
                <a:gd name="connsiteX51" fmla="*/ 13820 w 956275"/>
                <a:gd name="connsiteY51" fmla="*/ 496784 h 505800"/>
                <a:gd name="connsiteX52" fmla="*/ 13820 w 956275"/>
                <a:gd name="connsiteY52" fmla="*/ 496784 h 505800"/>
                <a:gd name="connsiteX53" fmla="*/ 132458 w 956275"/>
                <a:gd name="connsiteY53" fmla="*/ 430387 h 505800"/>
                <a:gd name="connsiteX54" fmla="*/ 114796 w 956275"/>
                <a:gd name="connsiteY54" fmla="*/ 504511 h 505800"/>
                <a:gd name="connsiteX55" fmla="*/ 114798 w 956275"/>
                <a:gd name="connsiteY55" fmla="*/ 504512 h 505800"/>
                <a:gd name="connsiteX0" fmla="*/ 40672 w 956275"/>
                <a:gd name="connsiteY0" fmla="*/ 486852 h 504511"/>
                <a:gd name="connsiteX1" fmla="*/ 13820 w 956275"/>
                <a:gd name="connsiteY1" fmla="*/ 496784 h 504511"/>
                <a:gd name="connsiteX2" fmla="*/ 13820 w 956275"/>
                <a:gd name="connsiteY2" fmla="*/ 496784 h 504511"/>
                <a:gd name="connsiteX3" fmla="*/ 51019 w 956275"/>
                <a:gd name="connsiteY3" fmla="*/ 493776 h 504511"/>
                <a:gd name="connsiteX4" fmla="*/ 151603 w 956275"/>
                <a:gd name="connsiteY4" fmla="*/ 466344 h 504511"/>
                <a:gd name="connsiteX5" fmla="*/ 252187 w 956275"/>
                <a:gd name="connsiteY5" fmla="*/ 384048 h 504511"/>
                <a:gd name="connsiteX6" fmla="*/ 444211 w 956275"/>
                <a:gd name="connsiteY6" fmla="*/ 301752 h 504511"/>
                <a:gd name="connsiteX7" fmla="*/ 526507 w 956275"/>
                <a:gd name="connsiteY7" fmla="*/ 192024 h 504511"/>
                <a:gd name="connsiteX8" fmla="*/ 672811 w 956275"/>
                <a:gd name="connsiteY8" fmla="*/ 155448 h 504511"/>
                <a:gd name="connsiteX9" fmla="*/ 718531 w 956275"/>
                <a:gd name="connsiteY9" fmla="*/ 155448 h 504511"/>
                <a:gd name="connsiteX10" fmla="*/ 755107 w 956275"/>
                <a:gd name="connsiteY10" fmla="*/ 137160 h 504511"/>
                <a:gd name="connsiteX11" fmla="*/ 709387 w 956275"/>
                <a:gd name="connsiteY11" fmla="*/ 137160 h 504511"/>
                <a:gd name="connsiteX12" fmla="*/ 617947 w 956275"/>
                <a:gd name="connsiteY12" fmla="*/ 137160 h 504511"/>
                <a:gd name="connsiteX13" fmla="*/ 563083 w 956275"/>
                <a:gd name="connsiteY13" fmla="*/ 146304 h 504511"/>
                <a:gd name="connsiteX14" fmla="*/ 553939 w 956275"/>
                <a:gd name="connsiteY14" fmla="*/ 155448 h 504511"/>
                <a:gd name="connsiteX15" fmla="*/ 535651 w 956275"/>
                <a:gd name="connsiteY15" fmla="*/ 146304 h 504511"/>
                <a:gd name="connsiteX16" fmla="*/ 663667 w 956275"/>
                <a:gd name="connsiteY16" fmla="*/ 91440 h 504511"/>
                <a:gd name="connsiteX17" fmla="*/ 718531 w 956275"/>
                <a:gd name="connsiteY17" fmla="*/ 91440 h 504511"/>
                <a:gd name="connsiteX18" fmla="*/ 809971 w 956275"/>
                <a:gd name="connsiteY18" fmla="*/ 82296 h 504511"/>
                <a:gd name="connsiteX19" fmla="*/ 937987 w 956275"/>
                <a:gd name="connsiteY19" fmla="*/ 27432 h 504511"/>
                <a:gd name="connsiteX20" fmla="*/ 919699 w 956275"/>
                <a:gd name="connsiteY20" fmla="*/ 0 h 504511"/>
                <a:gd name="connsiteX21" fmla="*/ 883123 w 956275"/>
                <a:gd name="connsiteY21" fmla="*/ 27432 h 504511"/>
                <a:gd name="connsiteX22" fmla="*/ 846547 w 956275"/>
                <a:gd name="connsiteY22" fmla="*/ 36576 h 504511"/>
                <a:gd name="connsiteX23" fmla="*/ 773395 w 956275"/>
                <a:gd name="connsiteY23" fmla="*/ 64008 h 504511"/>
                <a:gd name="connsiteX24" fmla="*/ 718531 w 956275"/>
                <a:gd name="connsiteY24" fmla="*/ 64008 h 504511"/>
                <a:gd name="connsiteX25" fmla="*/ 608803 w 956275"/>
                <a:gd name="connsiteY25" fmla="*/ 64008 h 504511"/>
                <a:gd name="connsiteX26" fmla="*/ 553939 w 956275"/>
                <a:gd name="connsiteY26" fmla="*/ 100584 h 504511"/>
                <a:gd name="connsiteX27" fmla="*/ 517363 w 956275"/>
                <a:gd name="connsiteY27" fmla="*/ 146304 h 504511"/>
                <a:gd name="connsiteX28" fmla="*/ 471643 w 956275"/>
                <a:gd name="connsiteY28" fmla="*/ 182880 h 504511"/>
                <a:gd name="connsiteX29" fmla="*/ 425923 w 956275"/>
                <a:gd name="connsiteY29" fmla="*/ 256032 h 504511"/>
                <a:gd name="connsiteX30" fmla="*/ 352771 w 956275"/>
                <a:gd name="connsiteY30" fmla="*/ 301752 h 504511"/>
                <a:gd name="connsiteX31" fmla="*/ 252187 w 956275"/>
                <a:gd name="connsiteY31" fmla="*/ 347472 h 504511"/>
                <a:gd name="connsiteX32" fmla="*/ 215611 w 956275"/>
                <a:gd name="connsiteY32" fmla="*/ 374904 h 504511"/>
                <a:gd name="connsiteX33" fmla="*/ 169891 w 956275"/>
                <a:gd name="connsiteY33" fmla="*/ 402336 h 504511"/>
                <a:gd name="connsiteX34" fmla="*/ 151603 w 956275"/>
                <a:gd name="connsiteY34" fmla="*/ 402336 h 504511"/>
                <a:gd name="connsiteX35" fmla="*/ 169891 w 956275"/>
                <a:gd name="connsiteY35" fmla="*/ 365760 h 504511"/>
                <a:gd name="connsiteX36" fmla="*/ 224755 w 956275"/>
                <a:gd name="connsiteY36" fmla="*/ 301752 h 504511"/>
                <a:gd name="connsiteX37" fmla="*/ 316195 w 956275"/>
                <a:gd name="connsiteY37" fmla="*/ 219456 h 504511"/>
                <a:gd name="connsiteX38" fmla="*/ 361915 w 956275"/>
                <a:gd name="connsiteY38" fmla="*/ 146304 h 504511"/>
                <a:gd name="connsiteX39" fmla="*/ 361915 w 956275"/>
                <a:gd name="connsiteY39" fmla="*/ 64008 h 504511"/>
                <a:gd name="connsiteX40" fmla="*/ 352771 w 956275"/>
                <a:gd name="connsiteY40" fmla="*/ 54864 h 504511"/>
                <a:gd name="connsiteX41" fmla="*/ 343627 w 956275"/>
                <a:gd name="connsiteY41" fmla="*/ 128016 h 504511"/>
                <a:gd name="connsiteX42" fmla="*/ 316195 w 956275"/>
                <a:gd name="connsiteY42" fmla="*/ 173736 h 504511"/>
                <a:gd name="connsiteX43" fmla="*/ 243043 w 956275"/>
                <a:gd name="connsiteY43" fmla="*/ 237744 h 504511"/>
                <a:gd name="connsiteX44" fmla="*/ 215611 w 956275"/>
                <a:gd name="connsiteY44" fmla="*/ 256032 h 504511"/>
                <a:gd name="connsiteX45" fmla="*/ 142459 w 956275"/>
                <a:gd name="connsiteY45" fmla="*/ 347472 h 504511"/>
                <a:gd name="connsiteX46" fmla="*/ 133315 w 956275"/>
                <a:gd name="connsiteY46" fmla="*/ 374904 h 504511"/>
                <a:gd name="connsiteX47" fmla="*/ 124171 w 956275"/>
                <a:gd name="connsiteY47" fmla="*/ 411480 h 504511"/>
                <a:gd name="connsiteX48" fmla="*/ 142459 w 956275"/>
                <a:gd name="connsiteY48" fmla="*/ 429768 h 504511"/>
                <a:gd name="connsiteX49" fmla="*/ 96739 w 956275"/>
                <a:gd name="connsiteY49" fmla="*/ 457200 h 504511"/>
                <a:gd name="connsiteX50" fmla="*/ 13820 w 956275"/>
                <a:gd name="connsiteY50" fmla="*/ 496783 h 504511"/>
                <a:gd name="connsiteX51" fmla="*/ 13820 w 956275"/>
                <a:gd name="connsiteY51" fmla="*/ 496784 h 504511"/>
                <a:gd name="connsiteX52" fmla="*/ 13820 w 956275"/>
                <a:gd name="connsiteY52" fmla="*/ 496784 h 504511"/>
                <a:gd name="connsiteX53" fmla="*/ 132458 w 956275"/>
                <a:gd name="connsiteY53" fmla="*/ 430387 h 504511"/>
                <a:gd name="connsiteX54" fmla="*/ 114796 w 956275"/>
                <a:gd name="connsiteY54" fmla="*/ 504511 h 504511"/>
                <a:gd name="connsiteX55" fmla="*/ 40672 w 956275"/>
                <a:gd name="connsiteY55" fmla="*/ 486852 h 504511"/>
                <a:gd name="connsiteX0" fmla="*/ 40672 w 956275"/>
                <a:gd name="connsiteY0" fmla="*/ 486852 h 504512"/>
                <a:gd name="connsiteX1" fmla="*/ 13820 w 956275"/>
                <a:gd name="connsiteY1" fmla="*/ 496784 h 504512"/>
                <a:gd name="connsiteX2" fmla="*/ 13820 w 956275"/>
                <a:gd name="connsiteY2" fmla="*/ 496784 h 504512"/>
                <a:gd name="connsiteX3" fmla="*/ 51019 w 956275"/>
                <a:gd name="connsiteY3" fmla="*/ 493776 h 504512"/>
                <a:gd name="connsiteX4" fmla="*/ 151603 w 956275"/>
                <a:gd name="connsiteY4" fmla="*/ 466344 h 504512"/>
                <a:gd name="connsiteX5" fmla="*/ 252187 w 956275"/>
                <a:gd name="connsiteY5" fmla="*/ 384048 h 504512"/>
                <a:gd name="connsiteX6" fmla="*/ 444211 w 956275"/>
                <a:gd name="connsiteY6" fmla="*/ 301752 h 504512"/>
                <a:gd name="connsiteX7" fmla="*/ 526507 w 956275"/>
                <a:gd name="connsiteY7" fmla="*/ 192024 h 504512"/>
                <a:gd name="connsiteX8" fmla="*/ 672811 w 956275"/>
                <a:gd name="connsiteY8" fmla="*/ 155448 h 504512"/>
                <a:gd name="connsiteX9" fmla="*/ 718531 w 956275"/>
                <a:gd name="connsiteY9" fmla="*/ 155448 h 504512"/>
                <a:gd name="connsiteX10" fmla="*/ 755107 w 956275"/>
                <a:gd name="connsiteY10" fmla="*/ 137160 h 504512"/>
                <a:gd name="connsiteX11" fmla="*/ 709387 w 956275"/>
                <a:gd name="connsiteY11" fmla="*/ 137160 h 504512"/>
                <a:gd name="connsiteX12" fmla="*/ 617947 w 956275"/>
                <a:gd name="connsiteY12" fmla="*/ 137160 h 504512"/>
                <a:gd name="connsiteX13" fmla="*/ 563083 w 956275"/>
                <a:gd name="connsiteY13" fmla="*/ 146304 h 504512"/>
                <a:gd name="connsiteX14" fmla="*/ 553939 w 956275"/>
                <a:gd name="connsiteY14" fmla="*/ 155448 h 504512"/>
                <a:gd name="connsiteX15" fmla="*/ 535651 w 956275"/>
                <a:gd name="connsiteY15" fmla="*/ 146304 h 504512"/>
                <a:gd name="connsiteX16" fmla="*/ 663667 w 956275"/>
                <a:gd name="connsiteY16" fmla="*/ 91440 h 504512"/>
                <a:gd name="connsiteX17" fmla="*/ 718531 w 956275"/>
                <a:gd name="connsiteY17" fmla="*/ 91440 h 504512"/>
                <a:gd name="connsiteX18" fmla="*/ 809971 w 956275"/>
                <a:gd name="connsiteY18" fmla="*/ 82296 h 504512"/>
                <a:gd name="connsiteX19" fmla="*/ 937987 w 956275"/>
                <a:gd name="connsiteY19" fmla="*/ 27432 h 504512"/>
                <a:gd name="connsiteX20" fmla="*/ 919699 w 956275"/>
                <a:gd name="connsiteY20" fmla="*/ 0 h 504512"/>
                <a:gd name="connsiteX21" fmla="*/ 883123 w 956275"/>
                <a:gd name="connsiteY21" fmla="*/ 27432 h 504512"/>
                <a:gd name="connsiteX22" fmla="*/ 846547 w 956275"/>
                <a:gd name="connsiteY22" fmla="*/ 36576 h 504512"/>
                <a:gd name="connsiteX23" fmla="*/ 773395 w 956275"/>
                <a:gd name="connsiteY23" fmla="*/ 64008 h 504512"/>
                <a:gd name="connsiteX24" fmla="*/ 718531 w 956275"/>
                <a:gd name="connsiteY24" fmla="*/ 64008 h 504512"/>
                <a:gd name="connsiteX25" fmla="*/ 608803 w 956275"/>
                <a:gd name="connsiteY25" fmla="*/ 64008 h 504512"/>
                <a:gd name="connsiteX26" fmla="*/ 553939 w 956275"/>
                <a:gd name="connsiteY26" fmla="*/ 100584 h 504512"/>
                <a:gd name="connsiteX27" fmla="*/ 517363 w 956275"/>
                <a:gd name="connsiteY27" fmla="*/ 146304 h 504512"/>
                <a:gd name="connsiteX28" fmla="*/ 471643 w 956275"/>
                <a:gd name="connsiteY28" fmla="*/ 182880 h 504512"/>
                <a:gd name="connsiteX29" fmla="*/ 425923 w 956275"/>
                <a:gd name="connsiteY29" fmla="*/ 256032 h 504512"/>
                <a:gd name="connsiteX30" fmla="*/ 352771 w 956275"/>
                <a:gd name="connsiteY30" fmla="*/ 301752 h 504512"/>
                <a:gd name="connsiteX31" fmla="*/ 252187 w 956275"/>
                <a:gd name="connsiteY31" fmla="*/ 347472 h 504512"/>
                <a:gd name="connsiteX32" fmla="*/ 215611 w 956275"/>
                <a:gd name="connsiteY32" fmla="*/ 374904 h 504512"/>
                <a:gd name="connsiteX33" fmla="*/ 169891 w 956275"/>
                <a:gd name="connsiteY33" fmla="*/ 402336 h 504512"/>
                <a:gd name="connsiteX34" fmla="*/ 151603 w 956275"/>
                <a:gd name="connsiteY34" fmla="*/ 402336 h 504512"/>
                <a:gd name="connsiteX35" fmla="*/ 169891 w 956275"/>
                <a:gd name="connsiteY35" fmla="*/ 365760 h 504512"/>
                <a:gd name="connsiteX36" fmla="*/ 224755 w 956275"/>
                <a:gd name="connsiteY36" fmla="*/ 301752 h 504512"/>
                <a:gd name="connsiteX37" fmla="*/ 316195 w 956275"/>
                <a:gd name="connsiteY37" fmla="*/ 219456 h 504512"/>
                <a:gd name="connsiteX38" fmla="*/ 361915 w 956275"/>
                <a:gd name="connsiteY38" fmla="*/ 146304 h 504512"/>
                <a:gd name="connsiteX39" fmla="*/ 361915 w 956275"/>
                <a:gd name="connsiteY39" fmla="*/ 64008 h 504512"/>
                <a:gd name="connsiteX40" fmla="*/ 352771 w 956275"/>
                <a:gd name="connsiteY40" fmla="*/ 54864 h 504512"/>
                <a:gd name="connsiteX41" fmla="*/ 343627 w 956275"/>
                <a:gd name="connsiteY41" fmla="*/ 128016 h 504512"/>
                <a:gd name="connsiteX42" fmla="*/ 316195 w 956275"/>
                <a:gd name="connsiteY42" fmla="*/ 173736 h 504512"/>
                <a:gd name="connsiteX43" fmla="*/ 243043 w 956275"/>
                <a:gd name="connsiteY43" fmla="*/ 237744 h 504512"/>
                <a:gd name="connsiteX44" fmla="*/ 215611 w 956275"/>
                <a:gd name="connsiteY44" fmla="*/ 256032 h 504512"/>
                <a:gd name="connsiteX45" fmla="*/ 142459 w 956275"/>
                <a:gd name="connsiteY45" fmla="*/ 347472 h 504512"/>
                <a:gd name="connsiteX46" fmla="*/ 133315 w 956275"/>
                <a:gd name="connsiteY46" fmla="*/ 374904 h 504512"/>
                <a:gd name="connsiteX47" fmla="*/ 124171 w 956275"/>
                <a:gd name="connsiteY47" fmla="*/ 411480 h 504512"/>
                <a:gd name="connsiteX48" fmla="*/ 142459 w 956275"/>
                <a:gd name="connsiteY48" fmla="*/ 429768 h 504512"/>
                <a:gd name="connsiteX49" fmla="*/ 96739 w 956275"/>
                <a:gd name="connsiteY49" fmla="*/ 457200 h 504512"/>
                <a:gd name="connsiteX50" fmla="*/ 13820 w 956275"/>
                <a:gd name="connsiteY50" fmla="*/ 496783 h 504512"/>
                <a:gd name="connsiteX51" fmla="*/ 13820 w 956275"/>
                <a:gd name="connsiteY51" fmla="*/ 496784 h 504512"/>
                <a:gd name="connsiteX52" fmla="*/ 13820 w 956275"/>
                <a:gd name="connsiteY52" fmla="*/ 496784 h 504512"/>
                <a:gd name="connsiteX53" fmla="*/ 132458 w 956275"/>
                <a:gd name="connsiteY53" fmla="*/ 430387 h 504512"/>
                <a:gd name="connsiteX54" fmla="*/ 114798 w 956275"/>
                <a:gd name="connsiteY54" fmla="*/ 504512 h 504512"/>
                <a:gd name="connsiteX55" fmla="*/ 40672 w 956275"/>
                <a:gd name="connsiteY55" fmla="*/ 486852 h 504512"/>
                <a:gd name="connsiteX0" fmla="*/ 40672 w 956275"/>
                <a:gd name="connsiteY0" fmla="*/ 486852 h 504512"/>
                <a:gd name="connsiteX1" fmla="*/ 13820 w 956275"/>
                <a:gd name="connsiteY1" fmla="*/ 496784 h 504512"/>
                <a:gd name="connsiteX2" fmla="*/ 13820 w 956275"/>
                <a:gd name="connsiteY2" fmla="*/ 496784 h 504512"/>
                <a:gd name="connsiteX3" fmla="*/ 51019 w 956275"/>
                <a:gd name="connsiteY3" fmla="*/ 493776 h 504512"/>
                <a:gd name="connsiteX4" fmla="*/ 151603 w 956275"/>
                <a:gd name="connsiteY4" fmla="*/ 466344 h 504512"/>
                <a:gd name="connsiteX5" fmla="*/ 252187 w 956275"/>
                <a:gd name="connsiteY5" fmla="*/ 384048 h 504512"/>
                <a:gd name="connsiteX6" fmla="*/ 444211 w 956275"/>
                <a:gd name="connsiteY6" fmla="*/ 301752 h 504512"/>
                <a:gd name="connsiteX7" fmla="*/ 526507 w 956275"/>
                <a:gd name="connsiteY7" fmla="*/ 192024 h 504512"/>
                <a:gd name="connsiteX8" fmla="*/ 672811 w 956275"/>
                <a:gd name="connsiteY8" fmla="*/ 155448 h 504512"/>
                <a:gd name="connsiteX9" fmla="*/ 718531 w 956275"/>
                <a:gd name="connsiteY9" fmla="*/ 155448 h 504512"/>
                <a:gd name="connsiteX10" fmla="*/ 755107 w 956275"/>
                <a:gd name="connsiteY10" fmla="*/ 137160 h 504512"/>
                <a:gd name="connsiteX11" fmla="*/ 709387 w 956275"/>
                <a:gd name="connsiteY11" fmla="*/ 137160 h 504512"/>
                <a:gd name="connsiteX12" fmla="*/ 617947 w 956275"/>
                <a:gd name="connsiteY12" fmla="*/ 137160 h 504512"/>
                <a:gd name="connsiteX13" fmla="*/ 563083 w 956275"/>
                <a:gd name="connsiteY13" fmla="*/ 146304 h 504512"/>
                <a:gd name="connsiteX14" fmla="*/ 553939 w 956275"/>
                <a:gd name="connsiteY14" fmla="*/ 155448 h 504512"/>
                <a:gd name="connsiteX15" fmla="*/ 535651 w 956275"/>
                <a:gd name="connsiteY15" fmla="*/ 146304 h 504512"/>
                <a:gd name="connsiteX16" fmla="*/ 663667 w 956275"/>
                <a:gd name="connsiteY16" fmla="*/ 91440 h 504512"/>
                <a:gd name="connsiteX17" fmla="*/ 718531 w 956275"/>
                <a:gd name="connsiteY17" fmla="*/ 91440 h 504512"/>
                <a:gd name="connsiteX18" fmla="*/ 809971 w 956275"/>
                <a:gd name="connsiteY18" fmla="*/ 82296 h 504512"/>
                <a:gd name="connsiteX19" fmla="*/ 937987 w 956275"/>
                <a:gd name="connsiteY19" fmla="*/ 27432 h 504512"/>
                <a:gd name="connsiteX20" fmla="*/ 919699 w 956275"/>
                <a:gd name="connsiteY20" fmla="*/ 0 h 504512"/>
                <a:gd name="connsiteX21" fmla="*/ 883123 w 956275"/>
                <a:gd name="connsiteY21" fmla="*/ 27432 h 504512"/>
                <a:gd name="connsiteX22" fmla="*/ 846547 w 956275"/>
                <a:gd name="connsiteY22" fmla="*/ 36576 h 504512"/>
                <a:gd name="connsiteX23" fmla="*/ 773395 w 956275"/>
                <a:gd name="connsiteY23" fmla="*/ 64008 h 504512"/>
                <a:gd name="connsiteX24" fmla="*/ 718531 w 956275"/>
                <a:gd name="connsiteY24" fmla="*/ 64008 h 504512"/>
                <a:gd name="connsiteX25" fmla="*/ 608803 w 956275"/>
                <a:gd name="connsiteY25" fmla="*/ 64008 h 504512"/>
                <a:gd name="connsiteX26" fmla="*/ 553939 w 956275"/>
                <a:gd name="connsiteY26" fmla="*/ 100584 h 504512"/>
                <a:gd name="connsiteX27" fmla="*/ 517363 w 956275"/>
                <a:gd name="connsiteY27" fmla="*/ 146304 h 504512"/>
                <a:gd name="connsiteX28" fmla="*/ 471643 w 956275"/>
                <a:gd name="connsiteY28" fmla="*/ 182880 h 504512"/>
                <a:gd name="connsiteX29" fmla="*/ 425923 w 956275"/>
                <a:gd name="connsiteY29" fmla="*/ 256032 h 504512"/>
                <a:gd name="connsiteX30" fmla="*/ 352771 w 956275"/>
                <a:gd name="connsiteY30" fmla="*/ 301752 h 504512"/>
                <a:gd name="connsiteX31" fmla="*/ 252187 w 956275"/>
                <a:gd name="connsiteY31" fmla="*/ 347472 h 504512"/>
                <a:gd name="connsiteX32" fmla="*/ 215611 w 956275"/>
                <a:gd name="connsiteY32" fmla="*/ 374904 h 504512"/>
                <a:gd name="connsiteX33" fmla="*/ 169891 w 956275"/>
                <a:gd name="connsiteY33" fmla="*/ 402336 h 504512"/>
                <a:gd name="connsiteX34" fmla="*/ 151603 w 956275"/>
                <a:gd name="connsiteY34" fmla="*/ 402336 h 504512"/>
                <a:gd name="connsiteX35" fmla="*/ 169891 w 956275"/>
                <a:gd name="connsiteY35" fmla="*/ 365760 h 504512"/>
                <a:gd name="connsiteX36" fmla="*/ 224755 w 956275"/>
                <a:gd name="connsiteY36" fmla="*/ 301752 h 504512"/>
                <a:gd name="connsiteX37" fmla="*/ 316195 w 956275"/>
                <a:gd name="connsiteY37" fmla="*/ 219456 h 504512"/>
                <a:gd name="connsiteX38" fmla="*/ 361915 w 956275"/>
                <a:gd name="connsiteY38" fmla="*/ 146304 h 504512"/>
                <a:gd name="connsiteX39" fmla="*/ 361915 w 956275"/>
                <a:gd name="connsiteY39" fmla="*/ 64008 h 504512"/>
                <a:gd name="connsiteX40" fmla="*/ 352771 w 956275"/>
                <a:gd name="connsiteY40" fmla="*/ 54864 h 504512"/>
                <a:gd name="connsiteX41" fmla="*/ 343627 w 956275"/>
                <a:gd name="connsiteY41" fmla="*/ 128016 h 504512"/>
                <a:gd name="connsiteX42" fmla="*/ 316195 w 956275"/>
                <a:gd name="connsiteY42" fmla="*/ 173736 h 504512"/>
                <a:gd name="connsiteX43" fmla="*/ 243043 w 956275"/>
                <a:gd name="connsiteY43" fmla="*/ 237744 h 504512"/>
                <a:gd name="connsiteX44" fmla="*/ 215611 w 956275"/>
                <a:gd name="connsiteY44" fmla="*/ 256032 h 504512"/>
                <a:gd name="connsiteX45" fmla="*/ 142459 w 956275"/>
                <a:gd name="connsiteY45" fmla="*/ 347472 h 504512"/>
                <a:gd name="connsiteX46" fmla="*/ 133315 w 956275"/>
                <a:gd name="connsiteY46" fmla="*/ 374904 h 504512"/>
                <a:gd name="connsiteX47" fmla="*/ 124171 w 956275"/>
                <a:gd name="connsiteY47" fmla="*/ 411480 h 504512"/>
                <a:gd name="connsiteX48" fmla="*/ 142459 w 956275"/>
                <a:gd name="connsiteY48" fmla="*/ 429768 h 504512"/>
                <a:gd name="connsiteX49" fmla="*/ 96739 w 956275"/>
                <a:gd name="connsiteY49" fmla="*/ 457200 h 504512"/>
                <a:gd name="connsiteX50" fmla="*/ 13820 w 956275"/>
                <a:gd name="connsiteY50" fmla="*/ 496783 h 504512"/>
                <a:gd name="connsiteX51" fmla="*/ 13820 w 956275"/>
                <a:gd name="connsiteY51" fmla="*/ 496784 h 504512"/>
                <a:gd name="connsiteX52" fmla="*/ 13820 w 956275"/>
                <a:gd name="connsiteY52" fmla="*/ 496784 h 504512"/>
                <a:gd name="connsiteX53" fmla="*/ 132458 w 956275"/>
                <a:gd name="connsiteY53" fmla="*/ 430387 h 504512"/>
                <a:gd name="connsiteX54" fmla="*/ 114797 w 956275"/>
                <a:gd name="connsiteY54" fmla="*/ 504512 h 504512"/>
                <a:gd name="connsiteX55" fmla="*/ 40672 w 956275"/>
                <a:gd name="connsiteY55" fmla="*/ 486852 h 504512"/>
                <a:gd name="connsiteX0" fmla="*/ 40672 w 956275"/>
                <a:gd name="connsiteY0" fmla="*/ 486852 h 578638"/>
                <a:gd name="connsiteX1" fmla="*/ 13820 w 956275"/>
                <a:gd name="connsiteY1" fmla="*/ 496784 h 578638"/>
                <a:gd name="connsiteX2" fmla="*/ 13820 w 956275"/>
                <a:gd name="connsiteY2" fmla="*/ 496784 h 578638"/>
                <a:gd name="connsiteX3" fmla="*/ 51019 w 956275"/>
                <a:gd name="connsiteY3" fmla="*/ 493776 h 578638"/>
                <a:gd name="connsiteX4" fmla="*/ 151603 w 956275"/>
                <a:gd name="connsiteY4" fmla="*/ 466344 h 578638"/>
                <a:gd name="connsiteX5" fmla="*/ 252187 w 956275"/>
                <a:gd name="connsiteY5" fmla="*/ 384048 h 578638"/>
                <a:gd name="connsiteX6" fmla="*/ 444211 w 956275"/>
                <a:gd name="connsiteY6" fmla="*/ 301752 h 578638"/>
                <a:gd name="connsiteX7" fmla="*/ 526507 w 956275"/>
                <a:gd name="connsiteY7" fmla="*/ 192024 h 578638"/>
                <a:gd name="connsiteX8" fmla="*/ 672811 w 956275"/>
                <a:gd name="connsiteY8" fmla="*/ 155448 h 578638"/>
                <a:gd name="connsiteX9" fmla="*/ 718531 w 956275"/>
                <a:gd name="connsiteY9" fmla="*/ 155448 h 578638"/>
                <a:gd name="connsiteX10" fmla="*/ 755107 w 956275"/>
                <a:gd name="connsiteY10" fmla="*/ 137160 h 578638"/>
                <a:gd name="connsiteX11" fmla="*/ 709387 w 956275"/>
                <a:gd name="connsiteY11" fmla="*/ 137160 h 578638"/>
                <a:gd name="connsiteX12" fmla="*/ 617947 w 956275"/>
                <a:gd name="connsiteY12" fmla="*/ 137160 h 578638"/>
                <a:gd name="connsiteX13" fmla="*/ 563083 w 956275"/>
                <a:gd name="connsiteY13" fmla="*/ 146304 h 578638"/>
                <a:gd name="connsiteX14" fmla="*/ 553939 w 956275"/>
                <a:gd name="connsiteY14" fmla="*/ 155448 h 578638"/>
                <a:gd name="connsiteX15" fmla="*/ 535651 w 956275"/>
                <a:gd name="connsiteY15" fmla="*/ 146304 h 578638"/>
                <a:gd name="connsiteX16" fmla="*/ 663667 w 956275"/>
                <a:gd name="connsiteY16" fmla="*/ 91440 h 578638"/>
                <a:gd name="connsiteX17" fmla="*/ 718531 w 956275"/>
                <a:gd name="connsiteY17" fmla="*/ 91440 h 578638"/>
                <a:gd name="connsiteX18" fmla="*/ 809971 w 956275"/>
                <a:gd name="connsiteY18" fmla="*/ 82296 h 578638"/>
                <a:gd name="connsiteX19" fmla="*/ 937987 w 956275"/>
                <a:gd name="connsiteY19" fmla="*/ 27432 h 578638"/>
                <a:gd name="connsiteX20" fmla="*/ 919699 w 956275"/>
                <a:gd name="connsiteY20" fmla="*/ 0 h 578638"/>
                <a:gd name="connsiteX21" fmla="*/ 883123 w 956275"/>
                <a:gd name="connsiteY21" fmla="*/ 27432 h 578638"/>
                <a:gd name="connsiteX22" fmla="*/ 846547 w 956275"/>
                <a:gd name="connsiteY22" fmla="*/ 36576 h 578638"/>
                <a:gd name="connsiteX23" fmla="*/ 773395 w 956275"/>
                <a:gd name="connsiteY23" fmla="*/ 64008 h 578638"/>
                <a:gd name="connsiteX24" fmla="*/ 718531 w 956275"/>
                <a:gd name="connsiteY24" fmla="*/ 64008 h 578638"/>
                <a:gd name="connsiteX25" fmla="*/ 608803 w 956275"/>
                <a:gd name="connsiteY25" fmla="*/ 64008 h 578638"/>
                <a:gd name="connsiteX26" fmla="*/ 553939 w 956275"/>
                <a:gd name="connsiteY26" fmla="*/ 100584 h 578638"/>
                <a:gd name="connsiteX27" fmla="*/ 517363 w 956275"/>
                <a:gd name="connsiteY27" fmla="*/ 146304 h 578638"/>
                <a:gd name="connsiteX28" fmla="*/ 471643 w 956275"/>
                <a:gd name="connsiteY28" fmla="*/ 182880 h 578638"/>
                <a:gd name="connsiteX29" fmla="*/ 425923 w 956275"/>
                <a:gd name="connsiteY29" fmla="*/ 256032 h 578638"/>
                <a:gd name="connsiteX30" fmla="*/ 352771 w 956275"/>
                <a:gd name="connsiteY30" fmla="*/ 301752 h 578638"/>
                <a:gd name="connsiteX31" fmla="*/ 252187 w 956275"/>
                <a:gd name="connsiteY31" fmla="*/ 347472 h 578638"/>
                <a:gd name="connsiteX32" fmla="*/ 215611 w 956275"/>
                <a:gd name="connsiteY32" fmla="*/ 374904 h 578638"/>
                <a:gd name="connsiteX33" fmla="*/ 169891 w 956275"/>
                <a:gd name="connsiteY33" fmla="*/ 402336 h 578638"/>
                <a:gd name="connsiteX34" fmla="*/ 151603 w 956275"/>
                <a:gd name="connsiteY34" fmla="*/ 402336 h 578638"/>
                <a:gd name="connsiteX35" fmla="*/ 169891 w 956275"/>
                <a:gd name="connsiteY35" fmla="*/ 365760 h 578638"/>
                <a:gd name="connsiteX36" fmla="*/ 224755 w 956275"/>
                <a:gd name="connsiteY36" fmla="*/ 301752 h 578638"/>
                <a:gd name="connsiteX37" fmla="*/ 316195 w 956275"/>
                <a:gd name="connsiteY37" fmla="*/ 219456 h 578638"/>
                <a:gd name="connsiteX38" fmla="*/ 361915 w 956275"/>
                <a:gd name="connsiteY38" fmla="*/ 146304 h 578638"/>
                <a:gd name="connsiteX39" fmla="*/ 361915 w 956275"/>
                <a:gd name="connsiteY39" fmla="*/ 64008 h 578638"/>
                <a:gd name="connsiteX40" fmla="*/ 352771 w 956275"/>
                <a:gd name="connsiteY40" fmla="*/ 54864 h 578638"/>
                <a:gd name="connsiteX41" fmla="*/ 343627 w 956275"/>
                <a:gd name="connsiteY41" fmla="*/ 128016 h 578638"/>
                <a:gd name="connsiteX42" fmla="*/ 316195 w 956275"/>
                <a:gd name="connsiteY42" fmla="*/ 173736 h 578638"/>
                <a:gd name="connsiteX43" fmla="*/ 243043 w 956275"/>
                <a:gd name="connsiteY43" fmla="*/ 237744 h 578638"/>
                <a:gd name="connsiteX44" fmla="*/ 215611 w 956275"/>
                <a:gd name="connsiteY44" fmla="*/ 256032 h 578638"/>
                <a:gd name="connsiteX45" fmla="*/ 142459 w 956275"/>
                <a:gd name="connsiteY45" fmla="*/ 347472 h 578638"/>
                <a:gd name="connsiteX46" fmla="*/ 133315 w 956275"/>
                <a:gd name="connsiteY46" fmla="*/ 374904 h 578638"/>
                <a:gd name="connsiteX47" fmla="*/ 124171 w 956275"/>
                <a:gd name="connsiteY47" fmla="*/ 411480 h 578638"/>
                <a:gd name="connsiteX48" fmla="*/ 142459 w 956275"/>
                <a:gd name="connsiteY48" fmla="*/ 429768 h 578638"/>
                <a:gd name="connsiteX49" fmla="*/ 96739 w 956275"/>
                <a:gd name="connsiteY49" fmla="*/ 457200 h 578638"/>
                <a:gd name="connsiteX50" fmla="*/ 13820 w 956275"/>
                <a:gd name="connsiteY50" fmla="*/ 496783 h 578638"/>
                <a:gd name="connsiteX51" fmla="*/ 13820 w 956275"/>
                <a:gd name="connsiteY51" fmla="*/ 496784 h 578638"/>
                <a:gd name="connsiteX52" fmla="*/ 13820 w 956275"/>
                <a:gd name="connsiteY52" fmla="*/ 496784 h 578638"/>
                <a:gd name="connsiteX53" fmla="*/ 132458 w 956275"/>
                <a:gd name="connsiteY53" fmla="*/ 430387 h 578638"/>
                <a:gd name="connsiteX54" fmla="*/ 97137 w 956275"/>
                <a:gd name="connsiteY54" fmla="*/ 578638 h 578638"/>
                <a:gd name="connsiteX55" fmla="*/ 40672 w 956275"/>
                <a:gd name="connsiteY55" fmla="*/ 486852 h 578638"/>
                <a:gd name="connsiteX0" fmla="*/ 40672 w 956275"/>
                <a:gd name="connsiteY0" fmla="*/ 486852 h 503380"/>
                <a:gd name="connsiteX1" fmla="*/ 13820 w 956275"/>
                <a:gd name="connsiteY1" fmla="*/ 496784 h 503380"/>
                <a:gd name="connsiteX2" fmla="*/ 13820 w 956275"/>
                <a:gd name="connsiteY2" fmla="*/ 496784 h 503380"/>
                <a:gd name="connsiteX3" fmla="*/ 51019 w 956275"/>
                <a:gd name="connsiteY3" fmla="*/ 493776 h 503380"/>
                <a:gd name="connsiteX4" fmla="*/ 151603 w 956275"/>
                <a:gd name="connsiteY4" fmla="*/ 466344 h 503380"/>
                <a:gd name="connsiteX5" fmla="*/ 252187 w 956275"/>
                <a:gd name="connsiteY5" fmla="*/ 384048 h 503380"/>
                <a:gd name="connsiteX6" fmla="*/ 444211 w 956275"/>
                <a:gd name="connsiteY6" fmla="*/ 301752 h 503380"/>
                <a:gd name="connsiteX7" fmla="*/ 526507 w 956275"/>
                <a:gd name="connsiteY7" fmla="*/ 192024 h 503380"/>
                <a:gd name="connsiteX8" fmla="*/ 672811 w 956275"/>
                <a:gd name="connsiteY8" fmla="*/ 155448 h 503380"/>
                <a:gd name="connsiteX9" fmla="*/ 718531 w 956275"/>
                <a:gd name="connsiteY9" fmla="*/ 155448 h 503380"/>
                <a:gd name="connsiteX10" fmla="*/ 755107 w 956275"/>
                <a:gd name="connsiteY10" fmla="*/ 137160 h 503380"/>
                <a:gd name="connsiteX11" fmla="*/ 709387 w 956275"/>
                <a:gd name="connsiteY11" fmla="*/ 137160 h 503380"/>
                <a:gd name="connsiteX12" fmla="*/ 617947 w 956275"/>
                <a:gd name="connsiteY12" fmla="*/ 137160 h 503380"/>
                <a:gd name="connsiteX13" fmla="*/ 563083 w 956275"/>
                <a:gd name="connsiteY13" fmla="*/ 146304 h 503380"/>
                <a:gd name="connsiteX14" fmla="*/ 553939 w 956275"/>
                <a:gd name="connsiteY14" fmla="*/ 155448 h 503380"/>
                <a:gd name="connsiteX15" fmla="*/ 535651 w 956275"/>
                <a:gd name="connsiteY15" fmla="*/ 146304 h 503380"/>
                <a:gd name="connsiteX16" fmla="*/ 663667 w 956275"/>
                <a:gd name="connsiteY16" fmla="*/ 91440 h 503380"/>
                <a:gd name="connsiteX17" fmla="*/ 718531 w 956275"/>
                <a:gd name="connsiteY17" fmla="*/ 91440 h 503380"/>
                <a:gd name="connsiteX18" fmla="*/ 809971 w 956275"/>
                <a:gd name="connsiteY18" fmla="*/ 82296 h 503380"/>
                <a:gd name="connsiteX19" fmla="*/ 937987 w 956275"/>
                <a:gd name="connsiteY19" fmla="*/ 27432 h 503380"/>
                <a:gd name="connsiteX20" fmla="*/ 919699 w 956275"/>
                <a:gd name="connsiteY20" fmla="*/ 0 h 503380"/>
                <a:gd name="connsiteX21" fmla="*/ 883123 w 956275"/>
                <a:gd name="connsiteY21" fmla="*/ 27432 h 503380"/>
                <a:gd name="connsiteX22" fmla="*/ 846547 w 956275"/>
                <a:gd name="connsiteY22" fmla="*/ 36576 h 503380"/>
                <a:gd name="connsiteX23" fmla="*/ 773395 w 956275"/>
                <a:gd name="connsiteY23" fmla="*/ 64008 h 503380"/>
                <a:gd name="connsiteX24" fmla="*/ 718531 w 956275"/>
                <a:gd name="connsiteY24" fmla="*/ 64008 h 503380"/>
                <a:gd name="connsiteX25" fmla="*/ 608803 w 956275"/>
                <a:gd name="connsiteY25" fmla="*/ 64008 h 503380"/>
                <a:gd name="connsiteX26" fmla="*/ 553939 w 956275"/>
                <a:gd name="connsiteY26" fmla="*/ 100584 h 503380"/>
                <a:gd name="connsiteX27" fmla="*/ 517363 w 956275"/>
                <a:gd name="connsiteY27" fmla="*/ 146304 h 503380"/>
                <a:gd name="connsiteX28" fmla="*/ 471643 w 956275"/>
                <a:gd name="connsiteY28" fmla="*/ 182880 h 503380"/>
                <a:gd name="connsiteX29" fmla="*/ 425923 w 956275"/>
                <a:gd name="connsiteY29" fmla="*/ 256032 h 503380"/>
                <a:gd name="connsiteX30" fmla="*/ 352771 w 956275"/>
                <a:gd name="connsiteY30" fmla="*/ 301752 h 503380"/>
                <a:gd name="connsiteX31" fmla="*/ 252187 w 956275"/>
                <a:gd name="connsiteY31" fmla="*/ 347472 h 503380"/>
                <a:gd name="connsiteX32" fmla="*/ 215611 w 956275"/>
                <a:gd name="connsiteY32" fmla="*/ 374904 h 503380"/>
                <a:gd name="connsiteX33" fmla="*/ 169891 w 956275"/>
                <a:gd name="connsiteY33" fmla="*/ 402336 h 503380"/>
                <a:gd name="connsiteX34" fmla="*/ 151603 w 956275"/>
                <a:gd name="connsiteY34" fmla="*/ 402336 h 503380"/>
                <a:gd name="connsiteX35" fmla="*/ 169891 w 956275"/>
                <a:gd name="connsiteY35" fmla="*/ 365760 h 503380"/>
                <a:gd name="connsiteX36" fmla="*/ 224755 w 956275"/>
                <a:gd name="connsiteY36" fmla="*/ 301752 h 503380"/>
                <a:gd name="connsiteX37" fmla="*/ 316195 w 956275"/>
                <a:gd name="connsiteY37" fmla="*/ 219456 h 503380"/>
                <a:gd name="connsiteX38" fmla="*/ 361915 w 956275"/>
                <a:gd name="connsiteY38" fmla="*/ 146304 h 503380"/>
                <a:gd name="connsiteX39" fmla="*/ 361915 w 956275"/>
                <a:gd name="connsiteY39" fmla="*/ 64008 h 503380"/>
                <a:gd name="connsiteX40" fmla="*/ 352771 w 956275"/>
                <a:gd name="connsiteY40" fmla="*/ 54864 h 503380"/>
                <a:gd name="connsiteX41" fmla="*/ 343627 w 956275"/>
                <a:gd name="connsiteY41" fmla="*/ 128016 h 503380"/>
                <a:gd name="connsiteX42" fmla="*/ 316195 w 956275"/>
                <a:gd name="connsiteY42" fmla="*/ 173736 h 503380"/>
                <a:gd name="connsiteX43" fmla="*/ 243043 w 956275"/>
                <a:gd name="connsiteY43" fmla="*/ 237744 h 503380"/>
                <a:gd name="connsiteX44" fmla="*/ 215611 w 956275"/>
                <a:gd name="connsiteY44" fmla="*/ 256032 h 503380"/>
                <a:gd name="connsiteX45" fmla="*/ 142459 w 956275"/>
                <a:gd name="connsiteY45" fmla="*/ 347472 h 503380"/>
                <a:gd name="connsiteX46" fmla="*/ 133315 w 956275"/>
                <a:gd name="connsiteY46" fmla="*/ 374904 h 503380"/>
                <a:gd name="connsiteX47" fmla="*/ 124171 w 956275"/>
                <a:gd name="connsiteY47" fmla="*/ 411480 h 503380"/>
                <a:gd name="connsiteX48" fmla="*/ 142459 w 956275"/>
                <a:gd name="connsiteY48" fmla="*/ 429768 h 503380"/>
                <a:gd name="connsiteX49" fmla="*/ 96739 w 956275"/>
                <a:gd name="connsiteY49" fmla="*/ 457200 h 503380"/>
                <a:gd name="connsiteX50" fmla="*/ 13820 w 956275"/>
                <a:gd name="connsiteY50" fmla="*/ 496783 h 503380"/>
                <a:gd name="connsiteX51" fmla="*/ 13820 w 956275"/>
                <a:gd name="connsiteY51" fmla="*/ 496784 h 503380"/>
                <a:gd name="connsiteX52" fmla="*/ 13820 w 956275"/>
                <a:gd name="connsiteY52" fmla="*/ 496784 h 503380"/>
                <a:gd name="connsiteX53" fmla="*/ 132458 w 956275"/>
                <a:gd name="connsiteY53" fmla="*/ 430387 h 503380"/>
                <a:gd name="connsiteX54" fmla="*/ 40672 w 956275"/>
                <a:gd name="connsiteY54" fmla="*/ 486852 h 503380"/>
                <a:gd name="connsiteX55" fmla="*/ 40672 w 956275"/>
                <a:gd name="connsiteY55" fmla="*/ 486852 h 503380"/>
                <a:gd name="connsiteX0" fmla="*/ 40672 w 956275"/>
                <a:gd name="connsiteY0" fmla="*/ 486852 h 503380"/>
                <a:gd name="connsiteX1" fmla="*/ 13820 w 956275"/>
                <a:gd name="connsiteY1" fmla="*/ 496784 h 503380"/>
                <a:gd name="connsiteX2" fmla="*/ 13820 w 956275"/>
                <a:gd name="connsiteY2" fmla="*/ 496784 h 503380"/>
                <a:gd name="connsiteX3" fmla="*/ 51019 w 956275"/>
                <a:gd name="connsiteY3" fmla="*/ 493776 h 503380"/>
                <a:gd name="connsiteX4" fmla="*/ 151603 w 956275"/>
                <a:gd name="connsiteY4" fmla="*/ 466344 h 503380"/>
                <a:gd name="connsiteX5" fmla="*/ 252187 w 956275"/>
                <a:gd name="connsiteY5" fmla="*/ 384048 h 503380"/>
                <a:gd name="connsiteX6" fmla="*/ 444211 w 956275"/>
                <a:gd name="connsiteY6" fmla="*/ 301752 h 503380"/>
                <a:gd name="connsiteX7" fmla="*/ 526507 w 956275"/>
                <a:gd name="connsiteY7" fmla="*/ 192024 h 503380"/>
                <a:gd name="connsiteX8" fmla="*/ 672811 w 956275"/>
                <a:gd name="connsiteY8" fmla="*/ 155448 h 503380"/>
                <a:gd name="connsiteX9" fmla="*/ 718531 w 956275"/>
                <a:gd name="connsiteY9" fmla="*/ 155448 h 503380"/>
                <a:gd name="connsiteX10" fmla="*/ 755107 w 956275"/>
                <a:gd name="connsiteY10" fmla="*/ 137160 h 503380"/>
                <a:gd name="connsiteX11" fmla="*/ 709387 w 956275"/>
                <a:gd name="connsiteY11" fmla="*/ 137160 h 503380"/>
                <a:gd name="connsiteX12" fmla="*/ 617947 w 956275"/>
                <a:gd name="connsiteY12" fmla="*/ 137160 h 503380"/>
                <a:gd name="connsiteX13" fmla="*/ 563083 w 956275"/>
                <a:gd name="connsiteY13" fmla="*/ 146304 h 503380"/>
                <a:gd name="connsiteX14" fmla="*/ 553939 w 956275"/>
                <a:gd name="connsiteY14" fmla="*/ 155448 h 503380"/>
                <a:gd name="connsiteX15" fmla="*/ 535651 w 956275"/>
                <a:gd name="connsiteY15" fmla="*/ 146304 h 503380"/>
                <a:gd name="connsiteX16" fmla="*/ 663667 w 956275"/>
                <a:gd name="connsiteY16" fmla="*/ 91440 h 503380"/>
                <a:gd name="connsiteX17" fmla="*/ 718531 w 956275"/>
                <a:gd name="connsiteY17" fmla="*/ 91440 h 503380"/>
                <a:gd name="connsiteX18" fmla="*/ 809971 w 956275"/>
                <a:gd name="connsiteY18" fmla="*/ 82296 h 503380"/>
                <a:gd name="connsiteX19" fmla="*/ 937987 w 956275"/>
                <a:gd name="connsiteY19" fmla="*/ 27432 h 503380"/>
                <a:gd name="connsiteX20" fmla="*/ 919699 w 956275"/>
                <a:gd name="connsiteY20" fmla="*/ 0 h 503380"/>
                <a:gd name="connsiteX21" fmla="*/ 883123 w 956275"/>
                <a:gd name="connsiteY21" fmla="*/ 27432 h 503380"/>
                <a:gd name="connsiteX22" fmla="*/ 846547 w 956275"/>
                <a:gd name="connsiteY22" fmla="*/ 36576 h 503380"/>
                <a:gd name="connsiteX23" fmla="*/ 773395 w 956275"/>
                <a:gd name="connsiteY23" fmla="*/ 64008 h 503380"/>
                <a:gd name="connsiteX24" fmla="*/ 718531 w 956275"/>
                <a:gd name="connsiteY24" fmla="*/ 64008 h 503380"/>
                <a:gd name="connsiteX25" fmla="*/ 608803 w 956275"/>
                <a:gd name="connsiteY25" fmla="*/ 64008 h 503380"/>
                <a:gd name="connsiteX26" fmla="*/ 553939 w 956275"/>
                <a:gd name="connsiteY26" fmla="*/ 100584 h 503380"/>
                <a:gd name="connsiteX27" fmla="*/ 517363 w 956275"/>
                <a:gd name="connsiteY27" fmla="*/ 146304 h 503380"/>
                <a:gd name="connsiteX28" fmla="*/ 471643 w 956275"/>
                <a:gd name="connsiteY28" fmla="*/ 182880 h 503380"/>
                <a:gd name="connsiteX29" fmla="*/ 425923 w 956275"/>
                <a:gd name="connsiteY29" fmla="*/ 256032 h 503380"/>
                <a:gd name="connsiteX30" fmla="*/ 352771 w 956275"/>
                <a:gd name="connsiteY30" fmla="*/ 301752 h 503380"/>
                <a:gd name="connsiteX31" fmla="*/ 252187 w 956275"/>
                <a:gd name="connsiteY31" fmla="*/ 347472 h 503380"/>
                <a:gd name="connsiteX32" fmla="*/ 215611 w 956275"/>
                <a:gd name="connsiteY32" fmla="*/ 374904 h 503380"/>
                <a:gd name="connsiteX33" fmla="*/ 169891 w 956275"/>
                <a:gd name="connsiteY33" fmla="*/ 402336 h 503380"/>
                <a:gd name="connsiteX34" fmla="*/ 151603 w 956275"/>
                <a:gd name="connsiteY34" fmla="*/ 402336 h 503380"/>
                <a:gd name="connsiteX35" fmla="*/ 169891 w 956275"/>
                <a:gd name="connsiteY35" fmla="*/ 365760 h 503380"/>
                <a:gd name="connsiteX36" fmla="*/ 224755 w 956275"/>
                <a:gd name="connsiteY36" fmla="*/ 301752 h 503380"/>
                <a:gd name="connsiteX37" fmla="*/ 316195 w 956275"/>
                <a:gd name="connsiteY37" fmla="*/ 219456 h 503380"/>
                <a:gd name="connsiteX38" fmla="*/ 361915 w 956275"/>
                <a:gd name="connsiteY38" fmla="*/ 146304 h 503380"/>
                <a:gd name="connsiteX39" fmla="*/ 361915 w 956275"/>
                <a:gd name="connsiteY39" fmla="*/ 64008 h 503380"/>
                <a:gd name="connsiteX40" fmla="*/ 352771 w 956275"/>
                <a:gd name="connsiteY40" fmla="*/ 54864 h 503380"/>
                <a:gd name="connsiteX41" fmla="*/ 343627 w 956275"/>
                <a:gd name="connsiteY41" fmla="*/ 128016 h 503380"/>
                <a:gd name="connsiteX42" fmla="*/ 316195 w 956275"/>
                <a:gd name="connsiteY42" fmla="*/ 173736 h 503380"/>
                <a:gd name="connsiteX43" fmla="*/ 243043 w 956275"/>
                <a:gd name="connsiteY43" fmla="*/ 237744 h 503380"/>
                <a:gd name="connsiteX44" fmla="*/ 215611 w 956275"/>
                <a:gd name="connsiteY44" fmla="*/ 256032 h 503380"/>
                <a:gd name="connsiteX45" fmla="*/ 142459 w 956275"/>
                <a:gd name="connsiteY45" fmla="*/ 347472 h 503380"/>
                <a:gd name="connsiteX46" fmla="*/ 133315 w 956275"/>
                <a:gd name="connsiteY46" fmla="*/ 374904 h 503380"/>
                <a:gd name="connsiteX47" fmla="*/ 124171 w 956275"/>
                <a:gd name="connsiteY47" fmla="*/ 411480 h 503380"/>
                <a:gd name="connsiteX48" fmla="*/ 142459 w 956275"/>
                <a:gd name="connsiteY48" fmla="*/ 429768 h 503380"/>
                <a:gd name="connsiteX49" fmla="*/ 96739 w 956275"/>
                <a:gd name="connsiteY49" fmla="*/ 457200 h 503380"/>
                <a:gd name="connsiteX50" fmla="*/ 13820 w 956275"/>
                <a:gd name="connsiteY50" fmla="*/ 496783 h 503380"/>
                <a:gd name="connsiteX51" fmla="*/ 13820 w 956275"/>
                <a:gd name="connsiteY51" fmla="*/ 496784 h 503380"/>
                <a:gd name="connsiteX52" fmla="*/ 40672 w 956275"/>
                <a:gd name="connsiteY52" fmla="*/ 486851 h 503380"/>
                <a:gd name="connsiteX53" fmla="*/ 132458 w 956275"/>
                <a:gd name="connsiteY53" fmla="*/ 430387 h 503380"/>
                <a:gd name="connsiteX54" fmla="*/ 40672 w 956275"/>
                <a:gd name="connsiteY54" fmla="*/ 486852 h 503380"/>
                <a:gd name="connsiteX55" fmla="*/ 40672 w 956275"/>
                <a:gd name="connsiteY55" fmla="*/ 486852 h 503380"/>
                <a:gd name="connsiteX0" fmla="*/ 97137 w 956275"/>
                <a:gd name="connsiteY0" fmla="*/ 578637 h 578637"/>
                <a:gd name="connsiteX1" fmla="*/ 13820 w 956275"/>
                <a:gd name="connsiteY1" fmla="*/ 496784 h 578637"/>
                <a:gd name="connsiteX2" fmla="*/ 13820 w 956275"/>
                <a:gd name="connsiteY2" fmla="*/ 496784 h 578637"/>
                <a:gd name="connsiteX3" fmla="*/ 51019 w 956275"/>
                <a:gd name="connsiteY3" fmla="*/ 493776 h 578637"/>
                <a:gd name="connsiteX4" fmla="*/ 151603 w 956275"/>
                <a:gd name="connsiteY4" fmla="*/ 466344 h 578637"/>
                <a:gd name="connsiteX5" fmla="*/ 252187 w 956275"/>
                <a:gd name="connsiteY5" fmla="*/ 384048 h 578637"/>
                <a:gd name="connsiteX6" fmla="*/ 444211 w 956275"/>
                <a:gd name="connsiteY6" fmla="*/ 301752 h 578637"/>
                <a:gd name="connsiteX7" fmla="*/ 526507 w 956275"/>
                <a:gd name="connsiteY7" fmla="*/ 192024 h 578637"/>
                <a:gd name="connsiteX8" fmla="*/ 672811 w 956275"/>
                <a:gd name="connsiteY8" fmla="*/ 155448 h 578637"/>
                <a:gd name="connsiteX9" fmla="*/ 718531 w 956275"/>
                <a:gd name="connsiteY9" fmla="*/ 155448 h 578637"/>
                <a:gd name="connsiteX10" fmla="*/ 755107 w 956275"/>
                <a:gd name="connsiteY10" fmla="*/ 137160 h 578637"/>
                <a:gd name="connsiteX11" fmla="*/ 709387 w 956275"/>
                <a:gd name="connsiteY11" fmla="*/ 137160 h 578637"/>
                <a:gd name="connsiteX12" fmla="*/ 617947 w 956275"/>
                <a:gd name="connsiteY12" fmla="*/ 137160 h 578637"/>
                <a:gd name="connsiteX13" fmla="*/ 563083 w 956275"/>
                <a:gd name="connsiteY13" fmla="*/ 146304 h 578637"/>
                <a:gd name="connsiteX14" fmla="*/ 553939 w 956275"/>
                <a:gd name="connsiteY14" fmla="*/ 155448 h 578637"/>
                <a:gd name="connsiteX15" fmla="*/ 535651 w 956275"/>
                <a:gd name="connsiteY15" fmla="*/ 146304 h 578637"/>
                <a:gd name="connsiteX16" fmla="*/ 663667 w 956275"/>
                <a:gd name="connsiteY16" fmla="*/ 91440 h 578637"/>
                <a:gd name="connsiteX17" fmla="*/ 718531 w 956275"/>
                <a:gd name="connsiteY17" fmla="*/ 91440 h 578637"/>
                <a:gd name="connsiteX18" fmla="*/ 809971 w 956275"/>
                <a:gd name="connsiteY18" fmla="*/ 82296 h 578637"/>
                <a:gd name="connsiteX19" fmla="*/ 937987 w 956275"/>
                <a:gd name="connsiteY19" fmla="*/ 27432 h 578637"/>
                <a:gd name="connsiteX20" fmla="*/ 919699 w 956275"/>
                <a:gd name="connsiteY20" fmla="*/ 0 h 578637"/>
                <a:gd name="connsiteX21" fmla="*/ 883123 w 956275"/>
                <a:gd name="connsiteY21" fmla="*/ 27432 h 578637"/>
                <a:gd name="connsiteX22" fmla="*/ 846547 w 956275"/>
                <a:gd name="connsiteY22" fmla="*/ 36576 h 578637"/>
                <a:gd name="connsiteX23" fmla="*/ 773395 w 956275"/>
                <a:gd name="connsiteY23" fmla="*/ 64008 h 578637"/>
                <a:gd name="connsiteX24" fmla="*/ 718531 w 956275"/>
                <a:gd name="connsiteY24" fmla="*/ 64008 h 578637"/>
                <a:gd name="connsiteX25" fmla="*/ 608803 w 956275"/>
                <a:gd name="connsiteY25" fmla="*/ 64008 h 578637"/>
                <a:gd name="connsiteX26" fmla="*/ 553939 w 956275"/>
                <a:gd name="connsiteY26" fmla="*/ 100584 h 578637"/>
                <a:gd name="connsiteX27" fmla="*/ 517363 w 956275"/>
                <a:gd name="connsiteY27" fmla="*/ 146304 h 578637"/>
                <a:gd name="connsiteX28" fmla="*/ 471643 w 956275"/>
                <a:gd name="connsiteY28" fmla="*/ 182880 h 578637"/>
                <a:gd name="connsiteX29" fmla="*/ 425923 w 956275"/>
                <a:gd name="connsiteY29" fmla="*/ 256032 h 578637"/>
                <a:gd name="connsiteX30" fmla="*/ 352771 w 956275"/>
                <a:gd name="connsiteY30" fmla="*/ 301752 h 578637"/>
                <a:gd name="connsiteX31" fmla="*/ 252187 w 956275"/>
                <a:gd name="connsiteY31" fmla="*/ 347472 h 578637"/>
                <a:gd name="connsiteX32" fmla="*/ 215611 w 956275"/>
                <a:gd name="connsiteY32" fmla="*/ 374904 h 578637"/>
                <a:gd name="connsiteX33" fmla="*/ 169891 w 956275"/>
                <a:gd name="connsiteY33" fmla="*/ 402336 h 578637"/>
                <a:gd name="connsiteX34" fmla="*/ 151603 w 956275"/>
                <a:gd name="connsiteY34" fmla="*/ 402336 h 578637"/>
                <a:gd name="connsiteX35" fmla="*/ 169891 w 956275"/>
                <a:gd name="connsiteY35" fmla="*/ 365760 h 578637"/>
                <a:gd name="connsiteX36" fmla="*/ 224755 w 956275"/>
                <a:gd name="connsiteY36" fmla="*/ 301752 h 578637"/>
                <a:gd name="connsiteX37" fmla="*/ 316195 w 956275"/>
                <a:gd name="connsiteY37" fmla="*/ 219456 h 578637"/>
                <a:gd name="connsiteX38" fmla="*/ 361915 w 956275"/>
                <a:gd name="connsiteY38" fmla="*/ 146304 h 578637"/>
                <a:gd name="connsiteX39" fmla="*/ 361915 w 956275"/>
                <a:gd name="connsiteY39" fmla="*/ 64008 h 578637"/>
                <a:gd name="connsiteX40" fmla="*/ 352771 w 956275"/>
                <a:gd name="connsiteY40" fmla="*/ 54864 h 578637"/>
                <a:gd name="connsiteX41" fmla="*/ 343627 w 956275"/>
                <a:gd name="connsiteY41" fmla="*/ 128016 h 578637"/>
                <a:gd name="connsiteX42" fmla="*/ 316195 w 956275"/>
                <a:gd name="connsiteY42" fmla="*/ 173736 h 578637"/>
                <a:gd name="connsiteX43" fmla="*/ 243043 w 956275"/>
                <a:gd name="connsiteY43" fmla="*/ 237744 h 578637"/>
                <a:gd name="connsiteX44" fmla="*/ 215611 w 956275"/>
                <a:gd name="connsiteY44" fmla="*/ 256032 h 578637"/>
                <a:gd name="connsiteX45" fmla="*/ 142459 w 956275"/>
                <a:gd name="connsiteY45" fmla="*/ 347472 h 578637"/>
                <a:gd name="connsiteX46" fmla="*/ 133315 w 956275"/>
                <a:gd name="connsiteY46" fmla="*/ 374904 h 578637"/>
                <a:gd name="connsiteX47" fmla="*/ 124171 w 956275"/>
                <a:gd name="connsiteY47" fmla="*/ 411480 h 578637"/>
                <a:gd name="connsiteX48" fmla="*/ 142459 w 956275"/>
                <a:gd name="connsiteY48" fmla="*/ 429768 h 578637"/>
                <a:gd name="connsiteX49" fmla="*/ 96739 w 956275"/>
                <a:gd name="connsiteY49" fmla="*/ 457200 h 578637"/>
                <a:gd name="connsiteX50" fmla="*/ 13820 w 956275"/>
                <a:gd name="connsiteY50" fmla="*/ 496783 h 578637"/>
                <a:gd name="connsiteX51" fmla="*/ 13820 w 956275"/>
                <a:gd name="connsiteY51" fmla="*/ 496784 h 578637"/>
                <a:gd name="connsiteX52" fmla="*/ 40672 w 956275"/>
                <a:gd name="connsiteY52" fmla="*/ 486851 h 578637"/>
                <a:gd name="connsiteX53" fmla="*/ 132458 w 956275"/>
                <a:gd name="connsiteY53" fmla="*/ 430387 h 578637"/>
                <a:gd name="connsiteX54" fmla="*/ 40672 w 956275"/>
                <a:gd name="connsiteY54" fmla="*/ 486852 h 578637"/>
                <a:gd name="connsiteX55" fmla="*/ 97137 w 956275"/>
                <a:gd name="connsiteY55" fmla="*/ 578637 h 578637"/>
                <a:gd name="connsiteX0" fmla="*/ 97137 w 956275"/>
                <a:gd name="connsiteY0" fmla="*/ 578637 h 578637"/>
                <a:gd name="connsiteX1" fmla="*/ 13820 w 956275"/>
                <a:gd name="connsiteY1" fmla="*/ 496784 h 578637"/>
                <a:gd name="connsiteX2" fmla="*/ 13820 w 956275"/>
                <a:gd name="connsiteY2" fmla="*/ 496784 h 578637"/>
                <a:gd name="connsiteX3" fmla="*/ 51019 w 956275"/>
                <a:gd name="connsiteY3" fmla="*/ 493776 h 578637"/>
                <a:gd name="connsiteX4" fmla="*/ 151603 w 956275"/>
                <a:gd name="connsiteY4" fmla="*/ 466344 h 578637"/>
                <a:gd name="connsiteX5" fmla="*/ 252187 w 956275"/>
                <a:gd name="connsiteY5" fmla="*/ 384048 h 578637"/>
                <a:gd name="connsiteX6" fmla="*/ 444211 w 956275"/>
                <a:gd name="connsiteY6" fmla="*/ 301752 h 578637"/>
                <a:gd name="connsiteX7" fmla="*/ 526507 w 956275"/>
                <a:gd name="connsiteY7" fmla="*/ 192024 h 578637"/>
                <a:gd name="connsiteX8" fmla="*/ 672811 w 956275"/>
                <a:gd name="connsiteY8" fmla="*/ 155448 h 578637"/>
                <a:gd name="connsiteX9" fmla="*/ 718531 w 956275"/>
                <a:gd name="connsiteY9" fmla="*/ 155448 h 578637"/>
                <a:gd name="connsiteX10" fmla="*/ 755107 w 956275"/>
                <a:gd name="connsiteY10" fmla="*/ 137160 h 578637"/>
                <a:gd name="connsiteX11" fmla="*/ 709387 w 956275"/>
                <a:gd name="connsiteY11" fmla="*/ 137160 h 578637"/>
                <a:gd name="connsiteX12" fmla="*/ 617947 w 956275"/>
                <a:gd name="connsiteY12" fmla="*/ 137160 h 578637"/>
                <a:gd name="connsiteX13" fmla="*/ 563083 w 956275"/>
                <a:gd name="connsiteY13" fmla="*/ 146304 h 578637"/>
                <a:gd name="connsiteX14" fmla="*/ 553939 w 956275"/>
                <a:gd name="connsiteY14" fmla="*/ 155448 h 578637"/>
                <a:gd name="connsiteX15" fmla="*/ 535651 w 956275"/>
                <a:gd name="connsiteY15" fmla="*/ 146304 h 578637"/>
                <a:gd name="connsiteX16" fmla="*/ 663667 w 956275"/>
                <a:gd name="connsiteY16" fmla="*/ 91440 h 578637"/>
                <a:gd name="connsiteX17" fmla="*/ 718531 w 956275"/>
                <a:gd name="connsiteY17" fmla="*/ 91440 h 578637"/>
                <a:gd name="connsiteX18" fmla="*/ 809971 w 956275"/>
                <a:gd name="connsiteY18" fmla="*/ 82296 h 578637"/>
                <a:gd name="connsiteX19" fmla="*/ 937987 w 956275"/>
                <a:gd name="connsiteY19" fmla="*/ 27432 h 578637"/>
                <a:gd name="connsiteX20" fmla="*/ 919699 w 956275"/>
                <a:gd name="connsiteY20" fmla="*/ 0 h 578637"/>
                <a:gd name="connsiteX21" fmla="*/ 883123 w 956275"/>
                <a:gd name="connsiteY21" fmla="*/ 27432 h 578637"/>
                <a:gd name="connsiteX22" fmla="*/ 846547 w 956275"/>
                <a:gd name="connsiteY22" fmla="*/ 36576 h 578637"/>
                <a:gd name="connsiteX23" fmla="*/ 773395 w 956275"/>
                <a:gd name="connsiteY23" fmla="*/ 64008 h 578637"/>
                <a:gd name="connsiteX24" fmla="*/ 718531 w 956275"/>
                <a:gd name="connsiteY24" fmla="*/ 64008 h 578637"/>
                <a:gd name="connsiteX25" fmla="*/ 608803 w 956275"/>
                <a:gd name="connsiteY25" fmla="*/ 64008 h 578637"/>
                <a:gd name="connsiteX26" fmla="*/ 553939 w 956275"/>
                <a:gd name="connsiteY26" fmla="*/ 100584 h 578637"/>
                <a:gd name="connsiteX27" fmla="*/ 517363 w 956275"/>
                <a:gd name="connsiteY27" fmla="*/ 146304 h 578637"/>
                <a:gd name="connsiteX28" fmla="*/ 471643 w 956275"/>
                <a:gd name="connsiteY28" fmla="*/ 182880 h 578637"/>
                <a:gd name="connsiteX29" fmla="*/ 425923 w 956275"/>
                <a:gd name="connsiteY29" fmla="*/ 256032 h 578637"/>
                <a:gd name="connsiteX30" fmla="*/ 352771 w 956275"/>
                <a:gd name="connsiteY30" fmla="*/ 301752 h 578637"/>
                <a:gd name="connsiteX31" fmla="*/ 252187 w 956275"/>
                <a:gd name="connsiteY31" fmla="*/ 347472 h 578637"/>
                <a:gd name="connsiteX32" fmla="*/ 215611 w 956275"/>
                <a:gd name="connsiteY32" fmla="*/ 374904 h 578637"/>
                <a:gd name="connsiteX33" fmla="*/ 169891 w 956275"/>
                <a:gd name="connsiteY33" fmla="*/ 402336 h 578637"/>
                <a:gd name="connsiteX34" fmla="*/ 151603 w 956275"/>
                <a:gd name="connsiteY34" fmla="*/ 402336 h 578637"/>
                <a:gd name="connsiteX35" fmla="*/ 169891 w 956275"/>
                <a:gd name="connsiteY35" fmla="*/ 365760 h 578637"/>
                <a:gd name="connsiteX36" fmla="*/ 224755 w 956275"/>
                <a:gd name="connsiteY36" fmla="*/ 301752 h 578637"/>
                <a:gd name="connsiteX37" fmla="*/ 316195 w 956275"/>
                <a:gd name="connsiteY37" fmla="*/ 219456 h 578637"/>
                <a:gd name="connsiteX38" fmla="*/ 361915 w 956275"/>
                <a:gd name="connsiteY38" fmla="*/ 146304 h 578637"/>
                <a:gd name="connsiteX39" fmla="*/ 361915 w 956275"/>
                <a:gd name="connsiteY39" fmla="*/ 64008 h 578637"/>
                <a:gd name="connsiteX40" fmla="*/ 352771 w 956275"/>
                <a:gd name="connsiteY40" fmla="*/ 54864 h 578637"/>
                <a:gd name="connsiteX41" fmla="*/ 343627 w 956275"/>
                <a:gd name="connsiteY41" fmla="*/ 128016 h 578637"/>
                <a:gd name="connsiteX42" fmla="*/ 316195 w 956275"/>
                <a:gd name="connsiteY42" fmla="*/ 173736 h 578637"/>
                <a:gd name="connsiteX43" fmla="*/ 243043 w 956275"/>
                <a:gd name="connsiteY43" fmla="*/ 237744 h 578637"/>
                <a:gd name="connsiteX44" fmla="*/ 215611 w 956275"/>
                <a:gd name="connsiteY44" fmla="*/ 256032 h 578637"/>
                <a:gd name="connsiteX45" fmla="*/ 142459 w 956275"/>
                <a:gd name="connsiteY45" fmla="*/ 347472 h 578637"/>
                <a:gd name="connsiteX46" fmla="*/ 133315 w 956275"/>
                <a:gd name="connsiteY46" fmla="*/ 374904 h 578637"/>
                <a:gd name="connsiteX47" fmla="*/ 124171 w 956275"/>
                <a:gd name="connsiteY47" fmla="*/ 411480 h 578637"/>
                <a:gd name="connsiteX48" fmla="*/ 142459 w 956275"/>
                <a:gd name="connsiteY48" fmla="*/ 429768 h 578637"/>
                <a:gd name="connsiteX49" fmla="*/ 96739 w 956275"/>
                <a:gd name="connsiteY49" fmla="*/ 457200 h 578637"/>
                <a:gd name="connsiteX50" fmla="*/ 13820 w 956275"/>
                <a:gd name="connsiteY50" fmla="*/ 496783 h 578637"/>
                <a:gd name="connsiteX51" fmla="*/ 13820 w 956275"/>
                <a:gd name="connsiteY51" fmla="*/ 496784 h 578637"/>
                <a:gd name="connsiteX52" fmla="*/ 40672 w 956275"/>
                <a:gd name="connsiteY52" fmla="*/ 486851 h 578637"/>
                <a:gd name="connsiteX53" fmla="*/ 132458 w 956275"/>
                <a:gd name="connsiteY53" fmla="*/ 430387 h 578637"/>
                <a:gd name="connsiteX54" fmla="*/ 97137 w 956275"/>
                <a:gd name="connsiteY54" fmla="*/ 578637 h 578637"/>
                <a:gd name="connsiteX55" fmla="*/ 97137 w 956275"/>
                <a:gd name="connsiteY55" fmla="*/ 578637 h 578637"/>
                <a:gd name="connsiteX0" fmla="*/ 97137 w 956275"/>
                <a:gd name="connsiteY0" fmla="*/ 578637 h 578637"/>
                <a:gd name="connsiteX1" fmla="*/ 13820 w 956275"/>
                <a:gd name="connsiteY1" fmla="*/ 496784 h 578637"/>
                <a:gd name="connsiteX2" fmla="*/ 13820 w 956275"/>
                <a:gd name="connsiteY2" fmla="*/ 496784 h 578637"/>
                <a:gd name="connsiteX3" fmla="*/ 51019 w 956275"/>
                <a:gd name="connsiteY3" fmla="*/ 493776 h 578637"/>
                <a:gd name="connsiteX4" fmla="*/ 151603 w 956275"/>
                <a:gd name="connsiteY4" fmla="*/ 466344 h 578637"/>
                <a:gd name="connsiteX5" fmla="*/ 252187 w 956275"/>
                <a:gd name="connsiteY5" fmla="*/ 384048 h 578637"/>
                <a:gd name="connsiteX6" fmla="*/ 444211 w 956275"/>
                <a:gd name="connsiteY6" fmla="*/ 301752 h 578637"/>
                <a:gd name="connsiteX7" fmla="*/ 526507 w 956275"/>
                <a:gd name="connsiteY7" fmla="*/ 192024 h 578637"/>
                <a:gd name="connsiteX8" fmla="*/ 672811 w 956275"/>
                <a:gd name="connsiteY8" fmla="*/ 155448 h 578637"/>
                <a:gd name="connsiteX9" fmla="*/ 718531 w 956275"/>
                <a:gd name="connsiteY9" fmla="*/ 155448 h 578637"/>
                <a:gd name="connsiteX10" fmla="*/ 755107 w 956275"/>
                <a:gd name="connsiteY10" fmla="*/ 137160 h 578637"/>
                <a:gd name="connsiteX11" fmla="*/ 709387 w 956275"/>
                <a:gd name="connsiteY11" fmla="*/ 137160 h 578637"/>
                <a:gd name="connsiteX12" fmla="*/ 617947 w 956275"/>
                <a:gd name="connsiteY12" fmla="*/ 137160 h 578637"/>
                <a:gd name="connsiteX13" fmla="*/ 563083 w 956275"/>
                <a:gd name="connsiteY13" fmla="*/ 146304 h 578637"/>
                <a:gd name="connsiteX14" fmla="*/ 553939 w 956275"/>
                <a:gd name="connsiteY14" fmla="*/ 155448 h 578637"/>
                <a:gd name="connsiteX15" fmla="*/ 535651 w 956275"/>
                <a:gd name="connsiteY15" fmla="*/ 146304 h 578637"/>
                <a:gd name="connsiteX16" fmla="*/ 663667 w 956275"/>
                <a:gd name="connsiteY16" fmla="*/ 91440 h 578637"/>
                <a:gd name="connsiteX17" fmla="*/ 718531 w 956275"/>
                <a:gd name="connsiteY17" fmla="*/ 91440 h 578637"/>
                <a:gd name="connsiteX18" fmla="*/ 809971 w 956275"/>
                <a:gd name="connsiteY18" fmla="*/ 82296 h 578637"/>
                <a:gd name="connsiteX19" fmla="*/ 937987 w 956275"/>
                <a:gd name="connsiteY19" fmla="*/ 27432 h 578637"/>
                <a:gd name="connsiteX20" fmla="*/ 919699 w 956275"/>
                <a:gd name="connsiteY20" fmla="*/ 0 h 578637"/>
                <a:gd name="connsiteX21" fmla="*/ 883123 w 956275"/>
                <a:gd name="connsiteY21" fmla="*/ 27432 h 578637"/>
                <a:gd name="connsiteX22" fmla="*/ 846547 w 956275"/>
                <a:gd name="connsiteY22" fmla="*/ 36576 h 578637"/>
                <a:gd name="connsiteX23" fmla="*/ 773395 w 956275"/>
                <a:gd name="connsiteY23" fmla="*/ 64008 h 578637"/>
                <a:gd name="connsiteX24" fmla="*/ 718531 w 956275"/>
                <a:gd name="connsiteY24" fmla="*/ 64008 h 578637"/>
                <a:gd name="connsiteX25" fmla="*/ 608803 w 956275"/>
                <a:gd name="connsiteY25" fmla="*/ 64008 h 578637"/>
                <a:gd name="connsiteX26" fmla="*/ 553939 w 956275"/>
                <a:gd name="connsiteY26" fmla="*/ 100584 h 578637"/>
                <a:gd name="connsiteX27" fmla="*/ 517363 w 956275"/>
                <a:gd name="connsiteY27" fmla="*/ 146304 h 578637"/>
                <a:gd name="connsiteX28" fmla="*/ 471643 w 956275"/>
                <a:gd name="connsiteY28" fmla="*/ 182880 h 578637"/>
                <a:gd name="connsiteX29" fmla="*/ 425923 w 956275"/>
                <a:gd name="connsiteY29" fmla="*/ 256032 h 578637"/>
                <a:gd name="connsiteX30" fmla="*/ 352771 w 956275"/>
                <a:gd name="connsiteY30" fmla="*/ 301752 h 578637"/>
                <a:gd name="connsiteX31" fmla="*/ 252187 w 956275"/>
                <a:gd name="connsiteY31" fmla="*/ 347472 h 578637"/>
                <a:gd name="connsiteX32" fmla="*/ 215611 w 956275"/>
                <a:gd name="connsiteY32" fmla="*/ 374904 h 578637"/>
                <a:gd name="connsiteX33" fmla="*/ 169891 w 956275"/>
                <a:gd name="connsiteY33" fmla="*/ 402336 h 578637"/>
                <a:gd name="connsiteX34" fmla="*/ 151603 w 956275"/>
                <a:gd name="connsiteY34" fmla="*/ 402336 h 578637"/>
                <a:gd name="connsiteX35" fmla="*/ 169891 w 956275"/>
                <a:gd name="connsiteY35" fmla="*/ 365760 h 578637"/>
                <a:gd name="connsiteX36" fmla="*/ 224755 w 956275"/>
                <a:gd name="connsiteY36" fmla="*/ 301752 h 578637"/>
                <a:gd name="connsiteX37" fmla="*/ 316195 w 956275"/>
                <a:gd name="connsiteY37" fmla="*/ 219456 h 578637"/>
                <a:gd name="connsiteX38" fmla="*/ 361915 w 956275"/>
                <a:gd name="connsiteY38" fmla="*/ 146304 h 578637"/>
                <a:gd name="connsiteX39" fmla="*/ 361915 w 956275"/>
                <a:gd name="connsiteY39" fmla="*/ 64008 h 578637"/>
                <a:gd name="connsiteX40" fmla="*/ 352771 w 956275"/>
                <a:gd name="connsiteY40" fmla="*/ 54864 h 578637"/>
                <a:gd name="connsiteX41" fmla="*/ 343627 w 956275"/>
                <a:gd name="connsiteY41" fmla="*/ 128016 h 578637"/>
                <a:gd name="connsiteX42" fmla="*/ 316195 w 956275"/>
                <a:gd name="connsiteY42" fmla="*/ 173736 h 578637"/>
                <a:gd name="connsiteX43" fmla="*/ 243043 w 956275"/>
                <a:gd name="connsiteY43" fmla="*/ 237744 h 578637"/>
                <a:gd name="connsiteX44" fmla="*/ 215611 w 956275"/>
                <a:gd name="connsiteY44" fmla="*/ 256032 h 578637"/>
                <a:gd name="connsiteX45" fmla="*/ 142459 w 956275"/>
                <a:gd name="connsiteY45" fmla="*/ 347472 h 578637"/>
                <a:gd name="connsiteX46" fmla="*/ 133315 w 956275"/>
                <a:gd name="connsiteY46" fmla="*/ 374904 h 578637"/>
                <a:gd name="connsiteX47" fmla="*/ 124171 w 956275"/>
                <a:gd name="connsiteY47" fmla="*/ 411480 h 578637"/>
                <a:gd name="connsiteX48" fmla="*/ 142459 w 956275"/>
                <a:gd name="connsiteY48" fmla="*/ 429768 h 578637"/>
                <a:gd name="connsiteX49" fmla="*/ 96739 w 956275"/>
                <a:gd name="connsiteY49" fmla="*/ 457200 h 578637"/>
                <a:gd name="connsiteX50" fmla="*/ 13820 w 956275"/>
                <a:gd name="connsiteY50" fmla="*/ 496783 h 578637"/>
                <a:gd name="connsiteX51" fmla="*/ 13820 w 956275"/>
                <a:gd name="connsiteY51" fmla="*/ 496784 h 578637"/>
                <a:gd name="connsiteX52" fmla="*/ 23012 w 956275"/>
                <a:gd name="connsiteY52" fmla="*/ 560977 h 578637"/>
                <a:gd name="connsiteX53" fmla="*/ 132458 w 956275"/>
                <a:gd name="connsiteY53" fmla="*/ 430387 h 578637"/>
                <a:gd name="connsiteX54" fmla="*/ 97137 w 956275"/>
                <a:gd name="connsiteY54" fmla="*/ 578637 h 578637"/>
                <a:gd name="connsiteX55" fmla="*/ 97137 w 956275"/>
                <a:gd name="connsiteY55" fmla="*/ 578637 h 578637"/>
                <a:gd name="connsiteX0" fmla="*/ 97137 w 956275"/>
                <a:gd name="connsiteY0" fmla="*/ 578637 h 578637"/>
                <a:gd name="connsiteX1" fmla="*/ 13820 w 956275"/>
                <a:gd name="connsiteY1" fmla="*/ 496784 h 578637"/>
                <a:gd name="connsiteX2" fmla="*/ 13820 w 956275"/>
                <a:gd name="connsiteY2" fmla="*/ 496784 h 578637"/>
                <a:gd name="connsiteX3" fmla="*/ 51019 w 956275"/>
                <a:gd name="connsiteY3" fmla="*/ 493776 h 578637"/>
                <a:gd name="connsiteX4" fmla="*/ 151603 w 956275"/>
                <a:gd name="connsiteY4" fmla="*/ 466344 h 578637"/>
                <a:gd name="connsiteX5" fmla="*/ 252187 w 956275"/>
                <a:gd name="connsiteY5" fmla="*/ 384048 h 578637"/>
                <a:gd name="connsiteX6" fmla="*/ 444211 w 956275"/>
                <a:gd name="connsiteY6" fmla="*/ 301752 h 578637"/>
                <a:gd name="connsiteX7" fmla="*/ 526507 w 956275"/>
                <a:gd name="connsiteY7" fmla="*/ 192024 h 578637"/>
                <a:gd name="connsiteX8" fmla="*/ 672811 w 956275"/>
                <a:gd name="connsiteY8" fmla="*/ 155448 h 578637"/>
                <a:gd name="connsiteX9" fmla="*/ 718531 w 956275"/>
                <a:gd name="connsiteY9" fmla="*/ 155448 h 578637"/>
                <a:gd name="connsiteX10" fmla="*/ 755107 w 956275"/>
                <a:gd name="connsiteY10" fmla="*/ 137160 h 578637"/>
                <a:gd name="connsiteX11" fmla="*/ 709387 w 956275"/>
                <a:gd name="connsiteY11" fmla="*/ 137160 h 578637"/>
                <a:gd name="connsiteX12" fmla="*/ 617947 w 956275"/>
                <a:gd name="connsiteY12" fmla="*/ 137160 h 578637"/>
                <a:gd name="connsiteX13" fmla="*/ 563083 w 956275"/>
                <a:gd name="connsiteY13" fmla="*/ 146304 h 578637"/>
                <a:gd name="connsiteX14" fmla="*/ 553939 w 956275"/>
                <a:gd name="connsiteY14" fmla="*/ 155448 h 578637"/>
                <a:gd name="connsiteX15" fmla="*/ 535651 w 956275"/>
                <a:gd name="connsiteY15" fmla="*/ 146304 h 578637"/>
                <a:gd name="connsiteX16" fmla="*/ 663667 w 956275"/>
                <a:gd name="connsiteY16" fmla="*/ 91440 h 578637"/>
                <a:gd name="connsiteX17" fmla="*/ 718531 w 956275"/>
                <a:gd name="connsiteY17" fmla="*/ 91440 h 578637"/>
                <a:gd name="connsiteX18" fmla="*/ 809971 w 956275"/>
                <a:gd name="connsiteY18" fmla="*/ 82296 h 578637"/>
                <a:gd name="connsiteX19" fmla="*/ 937987 w 956275"/>
                <a:gd name="connsiteY19" fmla="*/ 27432 h 578637"/>
                <a:gd name="connsiteX20" fmla="*/ 919699 w 956275"/>
                <a:gd name="connsiteY20" fmla="*/ 0 h 578637"/>
                <a:gd name="connsiteX21" fmla="*/ 883123 w 956275"/>
                <a:gd name="connsiteY21" fmla="*/ 27432 h 578637"/>
                <a:gd name="connsiteX22" fmla="*/ 846547 w 956275"/>
                <a:gd name="connsiteY22" fmla="*/ 36576 h 578637"/>
                <a:gd name="connsiteX23" fmla="*/ 773395 w 956275"/>
                <a:gd name="connsiteY23" fmla="*/ 64008 h 578637"/>
                <a:gd name="connsiteX24" fmla="*/ 718531 w 956275"/>
                <a:gd name="connsiteY24" fmla="*/ 64008 h 578637"/>
                <a:gd name="connsiteX25" fmla="*/ 608803 w 956275"/>
                <a:gd name="connsiteY25" fmla="*/ 64008 h 578637"/>
                <a:gd name="connsiteX26" fmla="*/ 553939 w 956275"/>
                <a:gd name="connsiteY26" fmla="*/ 100584 h 578637"/>
                <a:gd name="connsiteX27" fmla="*/ 517363 w 956275"/>
                <a:gd name="connsiteY27" fmla="*/ 146304 h 578637"/>
                <a:gd name="connsiteX28" fmla="*/ 471643 w 956275"/>
                <a:gd name="connsiteY28" fmla="*/ 182880 h 578637"/>
                <a:gd name="connsiteX29" fmla="*/ 425923 w 956275"/>
                <a:gd name="connsiteY29" fmla="*/ 256032 h 578637"/>
                <a:gd name="connsiteX30" fmla="*/ 352771 w 956275"/>
                <a:gd name="connsiteY30" fmla="*/ 301752 h 578637"/>
                <a:gd name="connsiteX31" fmla="*/ 252187 w 956275"/>
                <a:gd name="connsiteY31" fmla="*/ 347472 h 578637"/>
                <a:gd name="connsiteX32" fmla="*/ 215611 w 956275"/>
                <a:gd name="connsiteY32" fmla="*/ 374904 h 578637"/>
                <a:gd name="connsiteX33" fmla="*/ 169891 w 956275"/>
                <a:gd name="connsiteY33" fmla="*/ 402336 h 578637"/>
                <a:gd name="connsiteX34" fmla="*/ 151603 w 956275"/>
                <a:gd name="connsiteY34" fmla="*/ 402336 h 578637"/>
                <a:gd name="connsiteX35" fmla="*/ 169891 w 956275"/>
                <a:gd name="connsiteY35" fmla="*/ 365760 h 578637"/>
                <a:gd name="connsiteX36" fmla="*/ 224755 w 956275"/>
                <a:gd name="connsiteY36" fmla="*/ 301752 h 578637"/>
                <a:gd name="connsiteX37" fmla="*/ 316195 w 956275"/>
                <a:gd name="connsiteY37" fmla="*/ 219456 h 578637"/>
                <a:gd name="connsiteX38" fmla="*/ 361915 w 956275"/>
                <a:gd name="connsiteY38" fmla="*/ 146304 h 578637"/>
                <a:gd name="connsiteX39" fmla="*/ 361915 w 956275"/>
                <a:gd name="connsiteY39" fmla="*/ 64008 h 578637"/>
                <a:gd name="connsiteX40" fmla="*/ 352771 w 956275"/>
                <a:gd name="connsiteY40" fmla="*/ 54864 h 578637"/>
                <a:gd name="connsiteX41" fmla="*/ 343627 w 956275"/>
                <a:gd name="connsiteY41" fmla="*/ 128016 h 578637"/>
                <a:gd name="connsiteX42" fmla="*/ 316195 w 956275"/>
                <a:gd name="connsiteY42" fmla="*/ 173736 h 578637"/>
                <a:gd name="connsiteX43" fmla="*/ 243043 w 956275"/>
                <a:gd name="connsiteY43" fmla="*/ 237744 h 578637"/>
                <a:gd name="connsiteX44" fmla="*/ 215611 w 956275"/>
                <a:gd name="connsiteY44" fmla="*/ 256032 h 578637"/>
                <a:gd name="connsiteX45" fmla="*/ 142459 w 956275"/>
                <a:gd name="connsiteY45" fmla="*/ 347472 h 578637"/>
                <a:gd name="connsiteX46" fmla="*/ 133315 w 956275"/>
                <a:gd name="connsiteY46" fmla="*/ 374904 h 578637"/>
                <a:gd name="connsiteX47" fmla="*/ 124171 w 956275"/>
                <a:gd name="connsiteY47" fmla="*/ 411480 h 578637"/>
                <a:gd name="connsiteX48" fmla="*/ 142459 w 956275"/>
                <a:gd name="connsiteY48" fmla="*/ 429768 h 578637"/>
                <a:gd name="connsiteX49" fmla="*/ 96739 w 956275"/>
                <a:gd name="connsiteY49" fmla="*/ 457200 h 578637"/>
                <a:gd name="connsiteX50" fmla="*/ 13820 w 956275"/>
                <a:gd name="connsiteY50" fmla="*/ 496783 h 578637"/>
                <a:gd name="connsiteX51" fmla="*/ 13820 w 956275"/>
                <a:gd name="connsiteY51" fmla="*/ 496784 h 578637"/>
                <a:gd name="connsiteX52" fmla="*/ 132458 w 956275"/>
                <a:gd name="connsiteY52" fmla="*/ 430387 h 578637"/>
                <a:gd name="connsiteX53" fmla="*/ 132458 w 956275"/>
                <a:gd name="connsiteY53" fmla="*/ 430387 h 578637"/>
                <a:gd name="connsiteX54" fmla="*/ 97137 w 956275"/>
                <a:gd name="connsiteY54" fmla="*/ 578637 h 578637"/>
                <a:gd name="connsiteX55" fmla="*/ 97137 w 956275"/>
                <a:gd name="connsiteY55" fmla="*/ 578637 h 578637"/>
                <a:gd name="connsiteX0" fmla="*/ 89270 w 948408"/>
                <a:gd name="connsiteY0" fmla="*/ 578637 h 578637"/>
                <a:gd name="connsiteX1" fmla="*/ 5953 w 948408"/>
                <a:gd name="connsiteY1" fmla="*/ 496784 h 578637"/>
                <a:gd name="connsiteX2" fmla="*/ 5953 w 948408"/>
                <a:gd name="connsiteY2" fmla="*/ 496784 h 578637"/>
                <a:gd name="connsiteX3" fmla="*/ 43152 w 948408"/>
                <a:gd name="connsiteY3" fmla="*/ 493776 h 578637"/>
                <a:gd name="connsiteX4" fmla="*/ 143736 w 948408"/>
                <a:gd name="connsiteY4" fmla="*/ 466344 h 578637"/>
                <a:gd name="connsiteX5" fmla="*/ 244320 w 948408"/>
                <a:gd name="connsiteY5" fmla="*/ 384048 h 578637"/>
                <a:gd name="connsiteX6" fmla="*/ 436344 w 948408"/>
                <a:gd name="connsiteY6" fmla="*/ 301752 h 578637"/>
                <a:gd name="connsiteX7" fmla="*/ 518640 w 948408"/>
                <a:gd name="connsiteY7" fmla="*/ 192024 h 578637"/>
                <a:gd name="connsiteX8" fmla="*/ 664944 w 948408"/>
                <a:gd name="connsiteY8" fmla="*/ 155448 h 578637"/>
                <a:gd name="connsiteX9" fmla="*/ 710664 w 948408"/>
                <a:gd name="connsiteY9" fmla="*/ 155448 h 578637"/>
                <a:gd name="connsiteX10" fmla="*/ 747240 w 948408"/>
                <a:gd name="connsiteY10" fmla="*/ 137160 h 578637"/>
                <a:gd name="connsiteX11" fmla="*/ 701520 w 948408"/>
                <a:gd name="connsiteY11" fmla="*/ 137160 h 578637"/>
                <a:gd name="connsiteX12" fmla="*/ 610080 w 948408"/>
                <a:gd name="connsiteY12" fmla="*/ 137160 h 578637"/>
                <a:gd name="connsiteX13" fmla="*/ 555216 w 948408"/>
                <a:gd name="connsiteY13" fmla="*/ 146304 h 578637"/>
                <a:gd name="connsiteX14" fmla="*/ 546072 w 948408"/>
                <a:gd name="connsiteY14" fmla="*/ 155448 h 578637"/>
                <a:gd name="connsiteX15" fmla="*/ 527784 w 948408"/>
                <a:gd name="connsiteY15" fmla="*/ 146304 h 578637"/>
                <a:gd name="connsiteX16" fmla="*/ 655800 w 948408"/>
                <a:gd name="connsiteY16" fmla="*/ 91440 h 578637"/>
                <a:gd name="connsiteX17" fmla="*/ 710664 w 948408"/>
                <a:gd name="connsiteY17" fmla="*/ 91440 h 578637"/>
                <a:gd name="connsiteX18" fmla="*/ 802104 w 948408"/>
                <a:gd name="connsiteY18" fmla="*/ 82296 h 578637"/>
                <a:gd name="connsiteX19" fmla="*/ 930120 w 948408"/>
                <a:gd name="connsiteY19" fmla="*/ 27432 h 578637"/>
                <a:gd name="connsiteX20" fmla="*/ 911832 w 948408"/>
                <a:gd name="connsiteY20" fmla="*/ 0 h 578637"/>
                <a:gd name="connsiteX21" fmla="*/ 875256 w 948408"/>
                <a:gd name="connsiteY21" fmla="*/ 27432 h 578637"/>
                <a:gd name="connsiteX22" fmla="*/ 838680 w 948408"/>
                <a:gd name="connsiteY22" fmla="*/ 36576 h 578637"/>
                <a:gd name="connsiteX23" fmla="*/ 765528 w 948408"/>
                <a:gd name="connsiteY23" fmla="*/ 64008 h 578637"/>
                <a:gd name="connsiteX24" fmla="*/ 710664 w 948408"/>
                <a:gd name="connsiteY24" fmla="*/ 64008 h 578637"/>
                <a:gd name="connsiteX25" fmla="*/ 600936 w 948408"/>
                <a:gd name="connsiteY25" fmla="*/ 64008 h 578637"/>
                <a:gd name="connsiteX26" fmla="*/ 546072 w 948408"/>
                <a:gd name="connsiteY26" fmla="*/ 100584 h 578637"/>
                <a:gd name="connsiteX27" fmla="*/ 509496 w 948408"/>
                <a:gd name="connsiteY27" fmla="*/ 146304 h 578637"/>
                <a:gd name="connsiteX28" fmla="*/ 463776 w 948408"/>
                <a:gd name="connsiteY28" fmla="*/ 182880 h 578637"/>
                <a:gd name="connsiteX29" fmla="*/ 418056 w 948408"/>
                <a:gd name="connsiteY29" fmla="*/ 256032 h 578637"/>
                <a:gd name="connsiteX30" fmla="*/ 344904 w 948408"/>
                <a:gd name="connsiteY30" fmla="*/ 301752 h 578637"/>
                <a:gd name="connsiteX31" fmla="*/ 244320 w 948408"/>
                <a:gd name="connsiteY31" fmla="*/ 347472 h 578637"/>
                <a:gd name="connsiteX32" fmla="*/ 207744 w 948408"/>
                <a:gd name="connsiteY32" fmla="*/ 374904 h 578637"/>
                <a:gd name="connsiteX33" fmla="*/ 162024 w 948408"/>
                <a:gd name="connsiteY33" fmla="*/ 402336 h 578637"/>
                <a:gd name="connsiteX34" fmla="*/ 143736 w 948408"/>
                <a:gd name="connsiteY34" fmla="*/ 402336 h 578637"/>
                <a:gd name="connsiteX35" fmla="*/ 162024 w 948408"/>
                <a:gd name="connsiteY35" fmla="*/ 365760 h 578637"/>
                <a:gd name="connsiteX36" fmla="*/ 216888 w 948408"/>
                <a:gd name="connsiteY36" fmla="*/ 301752 h 578637"/>
                <a:gd name="connsiteX37" fmla="*/ 308328 w 948408"/>
                <a:gd name="connsiteY37" fmla="*/ 219456 h 578637"/>
                <a:gd name="connsiteX38" fmla="*/ 354048 w 948408"/>
                <a:gd name="connsiteY38" fmla="*/ 146304 h 578637"/>
                <a:gd name="connsiteX39" fmla="*/ 354048 w 948408"/>
                <a:gd name="connsiteY39" fmla="*/ 64008 h 578637"/>
                <a:gd name="connsiteX40" fmla="*/ 344904 w 948408"/>
                <a:gd name="connsiteY40" fmla="*/ 54864 h 578637"/>
                <a:gd name="connsiteX41" fmla="*/ 335760 w 948408"/>
                <a:gd name="connsiteY41" fmla="*/ 128016 h 578637"/>
                <a:gd name="connsiteX42" fmla="*/ 308328 w 948408"/>
                <a:gd name="connsiteY42" fmla="*/ 173736 h 578637"/>
                <a:gd name="connsiteX43" fmla="*/ 235176 w 948408"/>
                <a:gd name="connsiteY43" fmla="*/ 237744 h 578637"/>
                <a:gd name="connsiteX44" fmla="*/ 207744 w 948408"/>
                <a:gd name="connsiteY44" fmla="*/ 256032 h 578637"/>
                <a:gd name="connsiteX45" fmla="*/ 134592 w 948408"/>
                <a:gd name="connsiteY45" fmla="*/ 347472 h 578637"/>
                <a:gd name="connsiteX46" fmla="*/ 125448 w 948408"/>
                <a:gd name="connsiteY46" fmla="*/ 374904 h 578637"/>
                <a:gd name="connsiteX47" fmla="*/ 116304 w 948408"/>
                <a:gd name="connsiteY47" fmla="*/ 411480 h 578637"/>
                <a:gd name="connsiteX48" fmla="*/ 134592 w 948408"/>
                <a:gd name="connsiteY48" fmla="*/ 429768 h 578637"/>
                <a:gd name="connsiteX49" fmla="*/ 88872 w 948408"/>
                <a:gd name="connsiteY49" fmla="*/ 457200 h 578637"/>
                <a:gd name="connsiteX50" fmla="*/ 5953 w 948408"/>
                <a:gd name="connsiteY50" fmla="*/ 496783 h 578637"/>
                <a:gd name="connsiteX51" fmla="*/ 124591 w 948408"/>
                <a:gd name="connsiteY51" fmla="*/ 430387 h 578637"/>
                <a:gd name="connsiteX52" fmla="*/ 124591 w 948408"/>
                <a:gd name="connsiteY52" fmla="*/ 430387 h 578637"/>
                <a:gd name="connsiteX53" fmla="*/ 124591 w 948408"/>
                <a:gd name="connsiteY53" fmla="*/ 430387 h 578637"/>
                <a:gd name="connsiteX54" fmla="*/ 89270 w 948408"/>
                <a:gd name="connsiteY54" fmla="*/ 578637 h 578637"/>
                <a:gd name="connsiteX55" fmla="*/ 89270 w 948408"/>
                <a:gd name="connsiteY55" fmla="*/ 578637 h 578637"/>
                <a:gd name="connsiteX0" fmla="*/ 83317 w 942455"/>
                <a:gd name="connsiteY0" fmla="*/ 578637 h 578637"/>
                <a:gd name="connsiteX1" fmla="*/ 0 w 942455"/>
                <a:gd name="connsiteY1" fmla="*/ 496784 h 578637"/>
                <a:gd name="connsiteX2" fmla="*/ 0 w 942455"/>
                <a:gd name="connsiteY2" fmla="*/ 496784 h 578637"/>
                <a:gd name="connsiteX3" fmla="*/ 37199 w 942455"/>
                <a:gd name="connsiteY3" fmla="*/ 493776 h 578637"/>
                <a:gd name="connsiteX4" fmla="*/ 137783 w 942455"/>
                <a:gd name="connsiteY4" fmla="*/ 466344 h 578637"/>
                <a:gd name="connsiteX5" fmla="*/ 238367 w 942455"/>
                <a:gd name="connsiteY5" fmla="*/ 384048 h 578637"/>
                <a:gd name="connsiteX6" fmla="*/ 430391 w 942455"/>
                <a:gd name="connsiteY6" fmla="*/ 301752 h 578637"/>
                <a:gd name="connsiteX7" fmla="*/ 512687 w 942455"/>
                <a:gd name="connsiteY7" fmla="*/ 192024 h 578637"/>
                <a:gd name="connsiteX8" fmla="*/ 658991 w 942455"/>
                <a:gd name="connsiteY8" fmla="*/ 155448 h 578637"/>
                <a:gd name="connsiteX9" fmla="*/ 704711 w 942455"/>
                <a:gd name="connsiteY9" fmla="*/ 155448 h 578637"/>
                <a:gd name="connsiteX10" fmla="*/ 741287 w 942455"/>
                <a:gd name="connsiteY10" fmla="*/ 137160 h 578637"/>
                <a:gd name="connsiteX11" fmla="*/ 695567 w 942455"/>
                <a:gd name="connsiteY11" fmla="*/ 137160 h 578637"/>
                <a:gd name="connsiteX12" fmla="*/ 604127 w 942455"/>
                <a:gd name="connsiteY12" fmla="*/ 137160 h 578637"/>
                <a:gd name="connsiteX13" fmla="*/ 549263 w 942455"/>
                <a:gd name="connsiteY13" fmla="*/ 146304 h 578637"/>
                <a:gd name="connsiteX14" fmla="*/ 540119 w 942455"/>
                <a:gd name="connsiteY14" fmla="*/ 155448 h 578637"/>
                <a:gd name="connsiteX15" fmla="*/ 521831 w 942455"/>
                <a:gd name="connsiteY15" fmla="*/ 146304 h 578637"/>
                <a:gd name="connsiteX16" fmla="*/ 649847 w 942455"/>
                <a:gd name="connsiteY16" fmla="*/ 91440 h 578637"/>
                <a:gd name="connsiteX17" fmla="*/ 704711 w 942455"/>
                <a:gd name="connsiteY17" fmla="*/ 91440 h 578637"/>
                <a:gd name="connsiteX18" fmla="*/ 796151 w 942455"/>
                <a:gd name="connsiteY18" fmla="*/ 82296 h 578637"/>
                <a:gd name="connsiteX19" fmla="*/ 924167 w 942455"/>
                <a:gd name="connsiteY19" fmla="*/ 27432 h 578637"/>
                <a:gd name="connsiteX20" fmla="*/ 905879 w 942455"/>
                <a:gd name="connsiteY20" fmla="*/ 0 h 578637"/>
                <a:gd name="connsiteX21" fmla="*/ 869303 w 942455"/>
                <a:gd name="connsiteY21" fmla="*/ 27432 h 578637"/>
                <a:gd name="connsiteX22" fmla="*/ 832727 w 942455"/>
                <a:gd name="connsiteY22" fmla="*/ 36576 h 578637"/>
                <a:gd name="connsiteX23" fmla="*/ 759575 w 942455"/>
                <a:gd name="connsiteY23" fmla="*/ 64008 h 578637"/>
                <a:gd name="connsiteX24" fmla="*/ 704711 w 942455"/>
                <a:gd name="connsiteY24" fmla="*/ 64008 h 578637"/>
                <a:gd name="connsiteX25" fmla="*/ 594983 w 942455"/>
                <a:gd name="connsiteY25" fmla="*/ 64008 h 578637"/>
                <a:gd name="connsiteX26" fmla="*/ 540119 w 942455"/>
                <a:gd name="connsiteY26" fmla="*/ 100584 h 578637"/>
                <a:gd name="connsiteX27" fmla="*/ 503543 w 942455"/>
                <a:gd name="connsiteY27" fmla="*/ 146304 h 578637"/>
                <a:gd name="connsiteX28" fmla="*/ 457823 w 942455"/>
                <a:gd name="connsiteY28" fmla="*/ 182880 h 578637"/>
                <a:gd name="connsiteX29" fmla="*/ 412103 w 942455"/>
                <a:gd name="connsiteY29" fmla="*/ 256032 h 578637"/>
                <a:gd name="connsiteX30" fmla="*/ 338951 w 942455"/>
                <a:gd name="connsiteY30" fmla="*/ 301752 h 578637"/>
                <a:gd name="connsiteX31" fmla="*/ 238367 w 942455"/>
                <a:gd name="connsiteY31" fmla="*/ 347472 h 578637"/>
                <a:gd name="connsiteX32" fmla="*/ 201791 w 942455"/>
                <a:gd name="connsiteY32" fmla="*/ 374904 h 578637"/>
                <a:gd name="connsiteX33" fmla="*/ 156071 w 942455"/>
                <a:gd name="connsiteY33" fmla="*/ 402336 h 578637"/>
                <a:gd name="connsiteX34" fmla="*/ 137783 w 942455"/>
                <a:gd name="connsiteY34" fmla="*/ 402336 h 578637"/>
                <a:gd name="connsiteX35" fmla="*/ 156071 w 942455"/>
                <a:gd name="connsiteY35" fmla="*/ 365760 h 578637"/>
                <a:gd name="connsiteX36" fmla="*/ 210935 w 942455"/>
                <a:gd name="connsiteY36" fmla="*/ 301752 h 578637"/>
                <a:gd name="connsiteX37" fmla="*/ 302375 w 942455"/>
                <a:gd name="connsiteY37" fmla="*/ 219456 h 578637"/>
                <a:gd name="connsiteX38" fmla="*/ 348095 w 942455"/>
                <a:gd name="connsiteY38" fmla="*/ 146304 h 578637"/>
                <a:gd name="connsiteX39" fmla="*/ 348095 w 942455"/>
                <a:gd name="connsiteY39" fmla="*/ 64008 h 578637"/>
                <a:gd name="connsiteX40" fmla="*/ 338951 w 942455"/>
                <a:gd name="connsiteY40" fmla="*/ 54864 h 578637"/>
                <a:gd name="connsiteX41" fmla="*/ 329807 w 942455"/>
                <a:gd name="connsiteY41" fmla="*/ 128016 h 578637"/>
                <a:gd name="connsiteX42" fmla="*/ 302375 w 942455"/>
                <a:gd name="connsiteY42" fmla="*/ 173736 h 578637"/>
                <a:gd name="connsiteX43" fmla="*/ 229223 w 942455"/>
                <a:gd name="connsiteY43" fmla="*/ 237744 h 578637"/>
                <a:gd name="connsiteX44" fmla="*/ 201791 w 942455"/>
                <a:gd name="connsiteY44" fmla="*/ 256032 h 578637"/>
                <a:gd name="connsiteX45" fmla="*/ 128639 w 942455"/>
                <a:gd name="connsiteY45" fmla="*/ 347472 h 578637"/>
                <a:gd name="connsiteX46" fmla="*/ 119495 w 942455"/>
                <a:gd name="connsiteY46" fmla="*/ 374904 h 578637"/>
                <a:gd name="connsiteX47" fmla="*/ 110351 w 942455"/>
                <a:gd name="connsiteY47" fmla="*/ 411480 h 578637"/>
                <a:gd name="connsiteX48" fmla="*/ 128639 w 942455"/>
                <a:gd name="connsiteY48" fmla="*/ 429768 h 578637"/>
                <a:gd name="connsiteX49" fmla="*/ 82919 w 942455"/>
                <a:gd name="connsiteY49" fmla="*/ 457200 h 578637"/>
                <a:gd name="connsiteX50" fmla="*/ 118640 w 942455"/>
                <a:gd name="connsiteY50" fmla="*/ 430387 h 578637"/>
                <a:gd name="connsiteX51" fmla="*/ 118638 w 942455"/>
                <a:gd name="connsiteY51" fmla="*/ 430387 h 578637"/>
                <a:gd name="connsiteX52" fmla="*/ 118638 w 942455"/>
                <a:gd name="connsiteY52" fmla="*/ 430387 h 578637"/>
                <a:gd name="connsiteX53" fmla="*/ 118638 w 942455"/>
                <a:gd name="connsiteY53" fmla="*/ 430387 h 578637"/>
                <a:gd name="connsiteX54" fmla="*/ 83317 w 942455"/>
                <a:gd name="connsiteY54" fmla="*/ 578637 h 578637"/>
                <a:gd name="connsiteX55" fmla="*/ 83317 w 942455"/>
                <a:gd name="connsiteY55" fmla="*/ 578637 h 578637"/>
                <a:gd name="connsiteX0" fmla="*/ 118639 w 942455"/>
                <a:gd name="connsiteY0" fmla="*/ 430387 h 578637"/>
                <a:gd name="connsiteX1" fmla="*/ 0 w 942455"/>
                <a:gd name="connsiteY1" fmla="*/ 496784 h 578637"/>
                <a:gd name="connsiteX2" fmla="*/ 0 w 942455"/>
                <a:gd name="connsiteY2" fmla="*/ 496784 h 578637"/>
                <a:gd name="connsiteX3" fmla="*/ 37199 w 942455"/>
                <a:gd name="connsiteY3" fmla="*/ 493776 h 578637"/>
                <a:gd name="connsiteX4" fmla="*/ 137783 w 942455"/>
                <a:gd name="connsiteY4" fmla="*/ 466344 h 578637"/>
                <a:gd name="connsiteX5" fmla="*/ 238367 w 942455"/>
                <a:gd name="connsiteY5" fmla="*/ 384048 h 578637"/>
                <a:gd name="connsiteX6" fmla="*/ 430391 w 942455"/>
                <a:gd name="connsiteY6" fmla="*/ 301752 h 578637"/>
                <a:gd name="connsiteX7" fmla="*/ 512687 w 942455"/>
                <a:gd name="connsiteY7" fmla="*/ 192024 h 578637"/>
                <a:gd name="connsiteX8" fmla="*/ 658991 w 942455"/>
                <a:gd name="connsiteY8" fmla="*/ 155448 h 578637"/>
                <a:gd name="connsiteX9" fmla="*/ 704711 w 942455"/>
                <a:gd name="connsiteY9" fmla="*/ 155448 h 578637"/>
                <a:gd name="connsiteX10" fmla="*/ 741287 w 942455"/>
                <a:gd name="connsiteY10" fmla="*/ 137160 h 578637"/>
                <a:gd name="connsiteX11" fmla="*/ 695567 w 942455"/>
                <a:gd name="connsiteY11" fmla="*/ 137160 h 578637"/>
                <a:gd name="connsiteX12" fmla="*/ 604127 w 942455"/>
                <a:gd name="connsiteY12" fmla="*/ 137160 h 578637"/>
                <a:gd name="connsiteX13" fmla="*/ 549263 w 942455"/>
                <a:gd name="connsiteY13" fmla="*/ 146304 h 578637"/>
                <a:gd name="connsiteX14" fmla="*/ 540119 w 942455"/>
                <a:gd name="connsiteY14" fmla="*/ 155448 h 578637"/>
                <a:gd name="connsiteX15" fmla="*/ 521831 w 942455"/>
                <a:gd name="connsiteY15" fmla="*/ 146304 h 578637"/>
                <a:gd name="connsiteX16" fmla="*/ 649847 w 942455"/>
                <a:gd name="connsiteY16" fmla="*/ 91440 h 578637"/>
                <a:gd name="connsiteX17" fmla="*/ 704711 w 942455"/>
                <a:gd name="connsiteY17" fmla="*/ 91440 h 578637"/>
                <a:gd name="connsiteX18" fmla="*/ 796151 w 942455"/>
                <a:gd name="connsiteY18" fmla="*/ 82296 h 578637"/>
                <a:gd name="connsiteX19" fmla="*/ 924167 w 942455"/>
                <a:gd name="connsiteY19" fmla="*/ 27432 h 578637"/>
                <a:gd name="connsiteX20" fmla="*/ 905879 w 942455"/>
                <a:gd name="connsiteY20" fmla="*/ 0 h 578637"/>
                <a:gd name="connsiteX21" fmla="*/ 869303 w 942455"/>
                <a:gd name="connsiteY21" fmla="*/ 27432 h 578637"/>
                <a:gd name="connsiteX22" fmla="*/ 832727 w 942455"/>
                <a:gd name="connsiteY22" fmla="*/ 36576 h 578637"/>
                <a:gd name="connsiteX23" fmla="*/ 759575 w 942455"/>
                <a:gd name="connsiteY23" fmla="*/ 64008 h 578637"/>
                <a:gd name="connsiteX24" fmla="*/ 704711 w 942455"/>
                <a:gd name="connsiteY24" fmla="*/ 64008 h 578637"/>
                <a:gd name="connsiteX25" fmla="*/ 594983 w 942455"/>
                <a:gd name="connsiteY25" fmla="*/ 64008 h 578637"/>
                <a:gd name="connsiteX26" fmla="*/ 540119 w 942455"/>
                <a:gd name="connsiteY26" fmla="*/ 100584 h 578637"/>
                <a:gd name="connsiteX27" fmla="*/ 503543 w 942455"/>
                <a:gd name="connsiteY27" fmla="*/ 146304 h 578637"/>
                <a:gd name="connsiteX28" fmla="*/ 457823 w 942455"/>
                <a:gd name="connsiteY28" fmla="*/ 182880 h 578637"/>
                <a:gd name="connsiteX29" fmla="*/ 412103 w 942455"/>
                <a:gd name="connsiteY29" fmla="*/ 256032 h 578637"/>
                <a:gd name="connsiteX30" fmla="*/ 338951 w 942455"/>
                <a:gd name="connsiteY30" fmla="*/ 301752 h 578637"/>
                <a:gd name="connsiteX31" fmla="*/ 238367 w 942455"/>
                <a:gd name="connsiteY31" fmla="*/ 347472 h 578637"/>
                <a:gd name="connsiteX32" fmla="*/ 201791 w 942455"/>
                <a:gd name="connsiteY32" fmla="*/ 374904 h 578637"/>
                <a:gd name="connsiteX33" fmla="*/ 156071 w 942455"/>
                <a:gd name="connsiteY33" fmla="*/ 402336 h 578637"/>
                <a:gd name="connsiteX34" fmla="*/ 137783 w 942455"/>
                <a:gd name="connsiteY34" fmla="*/ 402336 h 578637"/>
                <a:gd name="connsiteX35" fmla="*/ 156071 w 942455"/>
                <a:gd name="connsiteY35" fmla="*/ 365760 h 578637"/>
                <a:gd name="connsiteX36" fmla="*/ 210935 w 942455"/>
                <a:gd name="connsiteY36" fmla="*/ 301752 h 578637"/>
                <a:gd name="connsiteX37" fmla="*/ 302375 w 942455"/>
                <a:gd name="connsiteY37" fmla="*/ 219456 h 578637"/>
                <a:gd name="connsiteX38" fmla="*/ 348095 w 942455"/>
                <a:gd name="connsiteY38" fmla="*/ 146304 h 578637"/>
                <a:gd name="connsiteX39" fmla="*/ 348095 w 942455"/>
                <a:gd name="connsiteY39" fmla="*/ 64008 h 578637"/>
                <a:gd name="connsiteX40" fmla="*/ 338951 w 942455"/>
                <a:gd name="connsiteY40" fmla="*/ 54864 h 578637"/>
                <a:gd name="connsiteX41" fmla="*/ 329807 w 942455"/>
                <a:gd name="connsiteY41" fmla="*/ 128016 h 578637"/>
                <a:gd name="connsiteX42" fmla="*/ 302375 w 942455"/>
                <a:gd name="connsiteY42" fmla="*/ 173736 h 578637"/>
                <a:gd name="connsiteX43" fmla="*/ 229223 w 942455"/>
                <a:gd name="connsiteY43" fmla="*/ 237744 h 578637"/>
                <a:gd name="connsiteX44" fmla="*/ 201791 w 942455"/>
                <a:gd name="connsiteY44" fmla="*/ 256032 h 578637"/>
                <a:gd name="connsiteX45" fmla="*/ 128639 w 942455"/>
                <a:gd name="connsiteY45" fmla="*/ 347472 h 578637"/>
                <a:gd name="connsiteX46" fmla="*/ 119495 w 942455"/>
                <a:gd name="connsiteY46" fmla="*/ 374904 h 578637"/>
                <a:gd name="connsiteX47" fmla="*/ 110351 w 942455"/>
                <a:gd name="connsiteY47" fmla="*/ 411480 h 578637"/>
                <a:gd name="connsiteX48" fmla="*/ 128639 w 942455"/>
                <a:gd name="connsiteY48" fmla="*/ 429768 h 578637"/>
                <a:gd name="connsiteX49" fmla="*/ 82919 w 942455"/>
                <a:gd name="connsiteY49" fmla="*/ 457200 h 578637"/>
                <a:gd name="connsiteX50" fmla="*/ 118640 w 942455"/>
                <a:gd name="connsiteY50" fmla="*/ 430387 h 578637"/>
                <a:gd name="connsiteX51" fmla="*/ 118638 w 942455"/>
                <a:gd name="connsiteY51" fmla="*/ 430387 h 578637"/>
                <a:gd name="connsiteX52" fmla="*/ 118638 w 942455"/>
                <a:gd name="connsiteY52" fmla="*/ 430387 h 578637"/>
                <a:gd name="connsiteX53" fmla="*/ 118638 w 942455"/>
                <a:gd name="connsiteY53" fmla="*/ 430387 h 578637"/>
                <a:gd name="connsiteX54" fmla="*/ 83317 w 942455"/>
                <a:gd name="connsiteY54" fmla="*/ 578637 h 578637"/>
                <a:gd name="connsiteX55" fmla="*/ 118639 w 942455"/>
                <a:gd name="connsiteY55" fmla="*/ 430387 h 578637"/>
                <a:gd name="connsiteX0" fmla="*/ 118639 w 942455"/>
                <a:gd name="connsiteY0" fmla="*/ 430387 h 578637"/>
                <a:gd name="connsiteX1" fmla="*/ 0 w 942455"/>
                <a:gd name="connsiteY1" fmla="*/ 496784 h 578637"/>
                <a:gd name="connsiteX2" fmla="*/ 0 w 942455"/>
                <a:gd name="connsiteY2" fmla="*/ 496784 h 578637"/>
                <a:gd name="connsiteX3" fmla="*/ 118639 w 942455"/>
                <a:gd name="connsiteY3" fmla="*/ 430387 h 578637"/>
                <a:gd name="connsiteX4" fmla="*/ 137783 w 942455"/>
                <a:gd name="connsiteY4" fmla="*/ 466344 h 578637"/>
                <a:gd name="connsiteX5" fmla="*/ 238367 w 942455"/>
                <a:gd name="connsiteY5" fmla="*/ 384048 h 578637"/>
                <a:gd name="connsiteX6" fmla="*/ 430391 w 942455"/>
                <a:gd name="connsiteY6" fmla="*/ 301752 h 578637"/>
                <a:gd name="connsiteX7" fmla="*/ 512687 w 942455"/>
                <a:gd name="connsiteY7" fmla="*/ 192024 h 578637"/>
                <a:gd name="connsiteX8" fmla="*/ 658991 w 942455"/>
                <a:gd name="connsiteY8" fmla="*/ 155448 h 578637"/>
                <a:gd name="connsiteX9" fmla="*/ 704711 w 942455"/>
                <a:gd name="connsiteY9" fmla="*/ 155448 h 578637"/>
                <a:gd name="connsiteX10" fmla="*/ 741287 w 942455"/>
                <a:gd name="connsiteY10" fmla="*/ 137160 h 578637"/>
                <a:gd name="connsiteX11" fmla="*/ 695567 w 942455"/>
                <a:gd name="connsiteY11" fmla="*/ 137160 h 578637"/>
                <a:gd name="connsiteX12" fmla="*/ 604127 w 942455"/>
                <a:gd name="connsiteY12" fmla="*/ 137160 h 578637"/>
                <a:gd name="connsiteX13" fmla="*/ 549263 w 942455"/>
                <a:gd name="connsiteY13" fmla="*/ 146304 h 578637"/>
                <a:gd name="connsiteX14" fmla="*/ 540119 w 942455"/>
                <a:gd name="connsiteY14" fmla="*/ 155448 h 578637"/>
                <a:gd name="connsiteX15" fmla="*/ 521831 w 942455"/>
                <a:gd name="connsiteY15" fmla="*/ 146304 h 578637"/>
                <a:gd name="connsiteX16" fmla="*/ 649847 w 942455"/>
                <a:gd name="connsiteY16" fmla="*/ 91440 h 578637"/>
                <a:gd name="connsiteX17" fmla="*/ 704711 w 942455"/>
                <a:gd name="connsiteY17" fmla="*/ 91440 h 578637"/>
                <a:gd name="connsiteX18" fmla="*/ 796151 w 942455"/>
                <a:gd name="connsiteY18" fmla="*/ 82296 h 578637"/>
                <a:gd name="connsiteX19" fmla="*/ 924167 w 942455"/>
                <a:gd name="connsiteY19" fmla="*/ 27432 h 578637"/>
                <a:gd name="connsiteX20" fmla="*/ 905879 w 942455"/>
                <a:gd name="connsiteY20" fmla="*/ 0 h 578637"/>
                <a:gd name="connsiteX21" fmla="*/ 869303 w 942455"/>
                <a:gd name="connsiteY21" fmla="*/ 27432 h 578637"/>
                <a:gd name="connsiteX22" fmla="*/ 832727 w 942455"/>
                <a:gd name="connsiteY22" fmla="*/ 36576 h 578637"/>
                <a:gd name="connsiteX23" fmla="*/ 759575 w 942455"/>
                <a:gd name="connsiteY23" fmla="*/ 64008 h 578637"/>
                <a:gd name="connsiteX24" fmla="*/ 704711 w 942455"/>
                <a:gd name="connsiteY24" fmla="*/ 64008 h 578637"/>
                <a:gd name="connsiteX25" fmla="*/ 594983 w 942455"/>
                <a:gd name="connsiteY25" fmla="*/ 64008 h 578637"/>
                <a:gd name="connsiteX26" fmla="*/ 540119 w 942455"/>
                <a:gd name="connsiteY26" fmla="*/ 100584 h 578637"/>
                <a:gd name="connsiteX27" fmla="*/ 503543 w 942455"/>
                <a:gd name="connsiteY27" fmla="*/ 146304 h 578637"/>
                <a:gd name="connsiteX28" fmla="*/ 457823 w 942455"/>
                <a:gd name="connsiteY28" fmla="*/ 182880 h 578637"/>
                <a:gd name="connsiteX29" fmla="*/ 412103 w 942455"/>
                <a:gd name="connsiteY29" fmla="*/ 256032 h 578637"/>
                <a:gd name="connsiteX30" fmla="*/ 338951 w 942455"/>
                <a:gd name="connsiteY30" fmla="*/ 301752 h 578637"/>
                <a:gd name="connsiteX31" fmla="*/ 238367 w 942455"/>
                <a:gd name="connsiteY31" fmla="*/ 347472 h 578637"/>
                <a:gd name="connsiteX32" fmla="*/ 201791 w 942455"/>
                <a:gd name="connsiteY32" fmla="*/ 374904 h 578637"/>
                <a:gd name="connsiteX33" fmla="*/ 156071 w 942455"/>
                <a:gd name="connsiteY33" fmla="*/ 402336 h 578637"/>
                <a:gd name="connsiteX34" fmla="*/ 137783 w 942455"/>
                <a:gd name="connsiteY34" fmla="*/ 402336 h 578637"/>
                <a:gd name="connsiteX35" fmla="*/ 156071 w 942455"/>
                <a:gd name="connsiteY35" fmla="*/ 365760 h 578637"/>
                <a:gd name="connsiteX36" fmla="*/ 210935 w 942455"/>
                <a:gd name="connsiteY36" fmla="*/ 301752 h 578637"/>
                <a:gd name="connsiteX37" fmla="*/ 302375 w 942455"/>
                <a:gd name="connsiteY37" fmla="*/ 219456 h 578637"/>
                <a:gd name="connsiteX38" fmla="*/ 348095 w 942455"/>
                <a:gd name="connsiteY38" fmla="*/ 146304 h 578637"/>
                <a:gd name="connsiteX39" fmla="*/ 348095 w 942455"/>
                <a:gd name="connsiteY39" fmla="*/ 64008 h 578637"/>
                <a:gd name="connsiteX40" fmla="*/ 338951 w 942455"/>
                <a:gd name="connsiteY40" fmla="*/ 54864 h 578637"/>
                <a:gd name="connsiteX41" fmla="*/ 329807 w 942455"/>
                <a:gd name="connsiteY41" fmla="*/ 128016 h 578637"/>
                <a:gd name="connsiteX42" fmla="*/ 302375 w 942455"/>
                <a:gd name="connsiteY42" fmla="*/ 173736 h 578637"/>
                <a:gd name="connsiteX43" fmla="*/ 229223 w 942455"/>
                <a:gd name="connsiteY43" fmla="*/ 237744 h 578637"/>
                <a:gd name="connsiteX44" fmla="*/ 201791 w 942455"/>
                <a:gd name="connsiteY44" fmla="*/ 256032 h 578637"/>
                <a:gd name="connsiteX45" fmla="*/ 128639 w 942455"/>
                <a:gd name="connsiteY45" fmla="*/ 347472 h 578637"/>
                <a:gd name="connsiteX46" fmla="*/ 119495 w 942455"/>
                <a:gd name="connsiteY46" fmla="*/ 374904 h 578637"/>
                <a:gd name="connsiteX47" fmla="*/ 110351 w 942455"/>
                <a:gd name="connsiteY47" fmla="*/ 411480 h 578637"/>
                <a:gd name="connsiteX48" fmla="*/ 128639 w 942455"/>
                <a:gd name="connsiteY48" fmla="*/ 429768 h 578637"/>
                <a:gd name="connsiteX49" fmla="*/ 82919 w 942455"/>
                <a:gd name="connsiteY49" fmla="*/ 457200 h 578637"/>
                <a:gd name="connsiteX50" fmla="*/ 118640 w 942455"/>
                <a:gd name="connsiteY50" fmla="*/ 430387 h 578637"/>
                <a:gd name="connsiteX51" fmla="*/ 118638 w 942455"/>
                <a:gd name="connsiteY51" fmla="*/ 430387 h 578637"/>
                <a:gd name="connsiteX52" fmla="*/ 118638 w 942455"/>
                <a:gd name="connsiteY52" fmla="*/ 430387 h 578637"/>
                <a:gd name="connsiteX53" fmla="*/ 118638 w 942455"/>
                <a:gd name="connsiteY53" fmla="*/ 430387 h 578637"/>
                <a:gd name="connsiteX54" fmla="*/ 83317 w 942455"/>
                <a:gd name="connsiteY54" fmla="*/ 578637 h 578637"/>
                <a:gd name="connsiteX55" fmla="*/ 118639 w 942455"/>
                <a:gd name="connsiteY55" fmla="*/ 430387 h 578637"/>
                <a:gd name="connsiteX0" fmla="*/ 118639 w 942455"/>
                <a:gd name="connsiteY0" fmla="*/ 430387 h 578637"/>
                <a:gd name="connsiteX1" fmla="*/ 0 w 942455"/>
                <a:gd name="connsiteY1" fmla="*/ 496784 h 578637"/>
                <a:gd name="connsiteX2" fmla="*/ 118639 w 942455"/>
                <a:gd name="connsiteY2" fmla="*/ 430387 h 578637"/>
                <a:gd name="connsiteX3" fmla="*/ 118639 w 942455"/>
                <a:gd name="connsiteY3" fmla="*/ 430387 h 578637"/>
                <a:gd name="connsiteX4" fmla="*/ 137783 w 942455"/>
                <a:gd name="connsiteY4" fmla="*/ 466344 h 578637"/>
                <a:gd name="connsiteX5" fmla="*/ 238367 w 942455"/>
                <a:gd name="connsiteY5" fmla="*/ 384048 h 578637"/>
                <a:gd name="connsiteX6" fmla="*/ 430391 w 942455"/>
                <a:gd name="connsiteY6" fmla="*/ 301752 h 578637"/>
                <a:gd name="connsiteX7" fmla="*/ 512687 w 942455"/>
                <a:gd name="connsiteY7" fmla="*/ 192024 h 578637"/>
                <a:gd name="connsiteX8" fmla="*/ 658991 w 942455"/>
                <a:gd name="connsiteY8" fmla="*/ 155448 h 578637"/>
                <a:gd name="connsiteX9" fmla="*/ 704711 w 942455"/>
                <a:gd name="connsiteY9" fmla="*/ 155448 h 578637"/>
                <a:gd name="connsiteX10" fmla="*/ 741287 w 942455"/>
                <a:gd name="connsiteY10" fmla="*/ 137160 h 578637"/>
                <a:gd name="connsiteX11" fmla="*/ 695567 w 942455"/>
                <a:gd name="connsiteY11" fmla="*/ 137160 h 578637"/>
                <a:gd name="connsiteX12" fmla="*/ 604127 w 942455"/>
                <a:gd name="connsiteY12" fmla="*/ 137160 h 578637"/>
                <a:gd name="connsiteX13" fmla="*/ 549263 w 942455"/>
                <a:gd name="connsiteY13" fmla="*/ 146304 h 578637"/>
                <a:gd name="connsiteX14" fmla="*/ 540119 w 942455"/>
                <a:gd name="connsiteY14" fmla="*/ 155448 h 578637"/>
                <a:gd name="connsiteX15" fmla="*/ 521831 w 942455"/>
                <a:gd name="connsiteY15" fmla="*/ 146304 h 578637"/>
                <a:gd name="connsiteX16" fmla="*/ 649847 w 942455"/>
                <a:gd name="connsiteY16" fmla="*/ 91440 h 578637"/>
                <a:gd name="connsiteX17" fmla="*/ 704711 w 942455"/>
                <a:gd name="connsiteY17" fmla="*/ 91440 h 578637"/>
                <a:gd name="connsiteX18" fmla="*/ 796151 w 942455"/>
                <a:gd name="connsiteY18" fmla="*/ 82296 h 578637"/>
                <a:gd name="connsiteX19" fmla="*/ 924167 w 942455"/>
                <a:gd name="connsiteY19" fmla="*/ 27432 h 578637"/>
                <a:gd name="connsiteX20" fmla="*/ 905879 w 942455"/>
                <a:gd name="connsiteY20" fmla="*/ 0 h 578637"/>
                <a:gd name="connsiteX21" fmla="*/ 869303 w 942455"/>
                <a:gd name="connsiteY21" fmla="*/ 27432 h 578637"/>
                <a:gd name="connsiteX22" fmla="*/ 832727 w 942455"/>
                <a:gd name="connsiteY22" fmla="*/ 36576 h 578637"/>
                <a:gd name="connsiteX23" fmla="*/ 759575 w 942455"/>
                <a:gd name="connsiteY23" fmla="*/ 64008 h 578637"/>
                <a:gd name="connsiteX24" fmla="*/ 704711 w 942455"/>
                <a:gd name="connsiteY24" fmla="*/ 64008 h 578637"/>
                <a:gd name="connsiteX25" fmla="*/ 594983 w 942455"/>
                <a:gd name="connsiteY25" fmla="*/ 64008 h 578637"/>
                <a:gd name="connsiteX26" fmla="*/ 540119 w 942455"/>
                <a:gd name="connsiteY26" fmla="*/ 100584 h 578637"/>
                <a:gd name="connsiteX27" fmla="*/ 503543 w 942455"/>
                <a:gd name="connsiteY27" fmla="*/ 146304 h 578637"/>
                <a:gd name="connsiteX28" fmla="*/ 457823 w 942455"/>
                <a:gd name="connsiteY28" fmla="*/ 182880 h 578637"/>
                <a:gd name="connsiteX29" fmla="*/ 412103 w 942455"/>
                <a:gd name="connsiteY29" fmla="*/ 256032 h 578637"/>
                <a:gd name="connsiteX30" fmla="*/ 338951 w 942455"/>
                <a:gd name="connsiteY30" fmla="*/ 301752 h 578637"/>
                <a:gd name="connsiteX31" fmla="*/ 238367 w 942455"/>
                <a:gd name="connsiteY31" fmla="*/ 347472 h 578637"/>
                <a:gd name="connsiteX32" fmla="*/ 201791 w 942455"/>
                <a:gd name="connsiteY32" fmla="*/ 374904 h 578637"/>
                <a:gd name="connsiteX33" fmla="*/ 156071 w 942455"/>
                <a:gd name="connsiteY33" fmla="*/ 402336 h 578637"/>
                <a:gd name="connsiteX34" fmla="*/ 137783 w 942455"/>
                <a:gd name="connsiteY34" fmla="*/ 402336 h 578637"/>
                <a:gd name="connsiteX35" fmla="*/ 156071 w 942455"/>
                <a:gd name="connsiteY35" fmla="*/ 365760 h 578637"/>
                <a:gd name="connsiteX36" fmla="*/ 210935 w 942455"/>
                <a:gd name="connsiteY36" fmla="*/ 301752 h 578637"/>
                <a:gd name="connsiteX37" fmla="*/ 302375 w 942455"/>
                <a:gd name="connsiteY37" fmla="*/ 219456 h 578637"/>
                <a:gd name="connsiteX38" fmla="*/ 348095 w 942455"/>
                <a:gd name="connsiteY38" fmla="*/ 146304 h 578637"/>
                <a:gd name="connsiteX39" fmla="*/ 348095 w 942455"/>
                <a:gd name="connsiteY39" fmla="*/ 64008 h 578637"/>
                <a:gd name="connsiteX40" fmla="*/ 338951 w 942455"/>
                <a:gd name="connsiteY40" fmla="*/ 54864 h 578637"/>
                <a:gd name="connsiteX41" fmla="*/ 329807 w 942455"/>
                <a:gd name="connsiteY41" fmla="*/ 128016 h 578637"/>
                <a:gd name="connsiteX42" fmla="*/ 302375 w 942455"/>
                <a:gd name="connsiteY42" fmla="*/ 173736 h 578637"/>
                <a:gd name="connsiteX43" fmla="*/ 229223 w 942455"/>
                <a:gd name="connsiteY43" fmla="*/ 237744 h 578637"/>
                <a:gd name="connsiteX44" fmla="*/ 201791 w 942455"/>
                <a:gd name="connsiteY44" fmla="*/ 256032 h 578637"/>
                <a:gd name="connsiteX45" fmla="*/ 128639 w 942455"/>
                <a:gd name="connsiteY45" fmla="*/ 347472 h 578637"/>
                <a:gd name="connsiteX46" fmla="*/ 119495 w 942455"/>
                <a:gd name="connsiteY46" fmla="*/ 374904 h 578637"/>
                <a:gd name="connsiteX47" fmla="*/ 110351 w 942455"/>
                <a:gd name="connsiteY47" fmla="*/ 411480 h 578637"/>
                <a:gd name="connsiteX48" fmla="*/ 128639 w 942455"/>
                <a:gd name="connsiteY48" fmla="*/ 429768 h 578637"/>
                <a:gd name="connsiteX49" fmla="*/ 82919 w 942455"/>
                <a:gd name="connsiteY49" fmla="*/ 457200 h 578637"/>
                <a:gd name="connsiteX50" fmla="*/ 118640 w 942455"/>
                <a:gd name="connsiteY50" fmla="*/ 430387 h 578637"/>
                <a:gd name="connsiteX51" fmla="*/ 118638 w 942455"/>
                <a:gd name="connsiteY51" fmla="*/ 430387 h 578637"/>
                <a:gd name="connsiteX52" fmla="*/ 118638 w 942455"/>
                <a:gd name="connsiteY52" fmla="*/ 430387 h 578637"/>
                <a:gd name="connsiteX53" fmla="*/ 118638 w 942455"/>
                <a:gd name="connsiteY53" fmla="*/ 430387 h 578637"/>
                <a:gd name="connsiteX54" fmla="*/ 83317 w 942455"/>
                <a:gd name="connsiteY54" fmla="*/ 578637 h 578637"/>
                <a:gd name="connsiteX55" fmla="*/ 118639 w 942455"/>
                <a:gd name="connsiteY55" fmla="*/ 430387 h 578637"/>
                <a:gd name="connsiteX0" fmla="*/ 118639 w 942455"/>
                <a:gd name="connsiteY0" fmla="*/ 430387 h 496784"/>
                <a:gd name="connsiteX1" fmla="*/ 0 w 942455"/>
                <a:gd name="connsiteY1" fmla="*/ 496784 h 496784"/>
                <a:gd name="connsiteX2" fmla="*/ 118639 w 942455"/>
                <a:gd name="connsiteY2" fmla="*/ 430387 h 496784"/>
                <a:gd name="connsiteX3" fmla="*/ 118639 w 942455"/>
                <a:gd name="connsiteY3" fmla="*/ 430387 h 496784"/>
                <a:gd name="connsiteX4" fmla="*/ 137783 w 942455"/>
                <a:gd name="connsiteY4" fmla="*/ 466344 h 496784"/>
                <a:gd name="connsiteX5" fmla="*/ 238367 w 942455"/>
                <a:gd name="connsiteY5" fmla="*/ 384048 h 496784"/>
                <a:gd name="connsiteX6" fmla="*/ 430391 w 942455"/>
                <a:gd name="connsiteY6" fmla="*/ 301752 h 496784"/>
                <a:gd name="connsiteX7" fmla="*/ 512687 w 942455"/>
                <a:gd name="connsiteY7" fmla="*/ 192024 h 496784"/>
                <a:gd name="connsiteX8" fmla="*/ 658991 w 942455"/>
                <a:gd name="connsiteY8" fmla="*/ 155448 h 496784"/>
                <a:gd name="connsiteX9" fmla="*/ 704711 w 942455"/>
                <a:gd name="connsiteY9" fmla="*/ 155448 h 496784"/>
                <a:gd name="connsiteX10" fmla="*/ 741287 w 942455"/>
                <a:gd name="connsiteY10" fmla="*/ 137160 h 496784"/>
                <a:gd name="connsiteX11" fmla="*/ 695567 w 942455"/>
                <a:gd name="connsiteY11" fmla="*/ 137160 h 496784"/>
                <a:gd name="connsiteX12" fmla="*/ 604127 w 942455"/>
                <a:gd name="connsiteY12" fmla="*/ 137160 h 496784"/>
                <a:gd name="connsiteX13" fmla="*/ 549263 w 942455"/>
                <a:gd name="connsiteY13" fmla="*/ 146304 h 496784"/>
                <a:gd name="connsiteX14" fmla="*/ 540119 w 942455"/>
                <a:gd name="connsiteY14" fmla="*/ 155448 h 496784"/>
                <a:gd name="connsiteX15" fmla="*/ 521831 w 942455"/>
                <a:gd name="connsiteY15" fmla="*/ 146304 h 496784"/>
                <a:gd name="connsiteX16" fmla="*/ 649847 w 942455"/>
                <a:gd name="connsiteY16" fmla="*/ 91440 h 496784"/>
                <a:gd name="connsiteX17" fmla="*/ 704711 w 942455"/>
                <a:gd name="connsiteY17" fmla="*/ 91440 h 496784"/>
                <a:gd name="connsiteX18" fmla="*/ 796151 w 942455"/>
                <a:gd name="connsiteY18" fmla="*/ 82296 h 496784"/>
                <a:gd name="connsiteX19" fmla="*/ 924167 w 942455"/>
                <a:gd name="connsiteY19" fmla="*/ 27432 h 496784"/>
                <a:gd name="connsiteX20" fmla="*/ 905879 w 942455"/>
                <a:gd name="connsiteY20" fmla="*/ 0 h 496784"/>
                <a:gd name="connsiteX21" fmla="*/ 869303 w 942455"/>
                <a:gd name="connsiteY21" fmla="*/ 27432 h 496784"/>
                <a:gd name="connsiteX22" fmla="*/ 832727 w 942455"/>
                <a:gd name="connsiteY22" fmla="*/ 36576 h 496784"/>
                <a:gd name="connsiteX23" fmla="*/ 759575 w 942455"/>
                <a:gd name="connsiteY23" fmla="*/ 64008 h 496784"/>
                <a:gd name="connsiteX24" fmla="*/ 704711 w 942455"/>
                <a:gd name="connsiteY24" fmla="*/ 64008 h 496784"/>
                <a:gd name="connsiteX25" fmla="*/ 594983 w 942455"/>
                <a:gd name="connsiteY25" fmla="*/ 64008 h 496784"/>
                <a:gd name="connsiteX26" fmla="*/ 540119 w 942455"/>
                <a:gd name="connsiteY26" fmla="*/ 100584 h 496784"/>
                <a:gd name="connsiteX27" fmla="*/ 503543 w 942455"/>
                <a:gd name="connsiteY27" fmla="*/ 146304 h 496784"/>
                <a:gd name="connsiteX28" fmla="*/ 457823 w 942455"/>
                <a:gd name="connsiteY28" fmla="*/ 182880 h 496784"/>
                <a:gd name="connsiteX29" fmla="*/ 412103 w 942455"/>
                <a:gd name="connsiteY29" fmla="*/ 256032 h 496784"/>
                <a:gd name="connsiteX30" fmla="*/ 338951 w 942455"/>
                <a:gd name="connsiteY30" fmla="*/ 301752 h 496784"/>
                <a:gd name="connsiteX31" fmla="*/ 238367 w 942455"/>
                <a:gd name="connsiteY31" fmla="*/ 347472 h 496784"/>
                <a:gd name="connsiteX32" fmla="*/ 201791 w 942455"/>
                <a:gd name="connsiteY32" fmla="*/ 374904 h 496784"/>
                <a:gd name="connsiteX33" fmla="*/ 156071 w 942455"/>
                <a:gd name="connsiteY33" fmla="*/ 402336 h 496784"/>
                <a:gd name="connsiteX34" fmla="*/ 137783 w 942455"/>
                <a:gd name="connsiteY34" fmla="*/ 402336 h 496784"/>
                <a:gd name="connsiteX35" fmla="*/ 156071 w 942455"/>
                <a:gd name="connsiteY35" fmla="*/ 365760 h 496784"/>
                <a:gd name="connsiteX36" fmla="*/ 210935 w 942455"/>
                <a:gd name="connsiteY36" fmla="*/ 301752 h 496784"/>
                <a:gd name="connsiteX37" fmla="*/ 302375 w 942455"/>
                <a:gd name="connsiteY37" fmla="*/ 219456 h 496784"/>
                <a:gd name="connsiteX38" fmla="*/ 348095 w 942455"/>
                <a:gd name="connsiteY38" fmla="*/ 146304 h 496784"/>
                <a:gd name="connsiteX39" fmla="*/ 348095 w 942455"/>
                <a:gd name="connsiteY39" fmla="*/ 64008 h 496784"/>
                <a:gd name="connsiteX40" fmla="*/ 338951 w 942455"/>
                <a:gd name="connsiteY40" fmla="*/ 54864 h 496784"/>
                <a:gd name="connsiteX41" fmla="*/ 329807 w 942455"/>
                <a:gd name="connsiteY41" fmla="*/ 128016 h 496784"/>
                <a:gd name="connsiteX42" fmla="*/ 302375 w 942455"/>
                <a:gd name="connsiteY42" fmla="*/ 173736 h 496784"/>
                <a:gd name="connsiteX43" fmla="*/ 229223 w 942455"/>
                <a:gd name="connsiteY43" fmla="*/ 237744 h 496784"/>
                <a:gd name="connsiteX44" fmla="*/ 201791 w 942455"/>
                <a:gd name="connsiteY44" fmla="*/ 256032 h 496784"/>
                <a:gd name="connsiteX45" fmla="*/ 128639 w 942455"/>
                <a:gd name="connsiteY45" fmla="*/ 347472 h 496784"/>
                <a:gd name="connsiteX46" fmla="*/ 119495 w 942455"/>
                <a:gd name="connsiteY46" fmla="*/ 374904 h 496784"/>
                <a:gd name="connsiteX47" fmla="*/ 110351 w 942455"/>
                <a:gd name="connsiteY47" fmla="*/ 411480 h 496784"/>
                <a:gd name="connsiteX48" fmla="*/ 128639 w 942455"/>
                <a:gd name="connsiteY48" fmla="*/ 429768 h 496784"/>
                <a:gd name="connsiteX49" fmla="*/ 82919 w 942455"/>
                <a:gd name="connsiteY49" fmla="*/ 457200 h 496784"/>
                <a:gd name="connsiteX50" fmla="*/ 118640 w 942455"/>
                <a:gd name="connsiteY50" fmla="*/ 430387 h 496784"/>
                <a:gd name="connsiteX51" fmla="*/ 118638 w 942455"/>
                <a:gd name="connsiteY51" fmla="*/ 430387 h 496784"/>
                <a:gd name="connsiteX52" fmla="*/ 118638 w 942455"/>
                <a:gd name="connsiteY52" fmla="*/ 430387 h 496784"/>
                <a:gd name="connsiteX53" fmla="*/ 118638 w 942455"/>
                <a:gd name="connsiteY53" fmla="*/ 430387 h 496784"/>
                <a:gd name="connsiteX54" fmla="*/ 118639 w 942455"/>
                <a:gd name="connsiteY54" fmla="*/ 430387 h 496784"/>
                <a:gd name="connsiteX55" fmla="*/ 118639 w 942455"/>
                <a:gd name="connsiteY55" fmla="*/ 430387 h 496784"/>
                <a:gd name="connsiteX0" fmla="*/ 37386 w 861202"/>
                <a:gd name="connsiteY0" fmla="*/ 430387 h 474067"/>
                <a:gd name="connsiteX1" fmla="*/ 37385 w 861202"/>
                <a:gd name="connsiteY1" fmla="*/ 430387 h 474067"/>
                <a:gd name="connsiteX2" fmla="*/ 37386 w 861202"/>
                <a:gd name="connsiteY2" fmla="*/ 430387 h 474067"/>
                <a:gd name="connsiteX3" fmla="*/ 37386 w 861202"/>
                <a:gd name="connsiteY3" fmla="*/ 430387 h 474067"/>
                <a:gd name="connsiteX4" fmla="*/ 56530 w 861202"/>
                <a:gd name="connsiteY4" fmla="*/ 466344 h 474067"/>
                <a:gd name="connsiteX5" fmla="*/ 157114 w 861202"/>
                <a:gd name="connsiteY5" fmla="*/ 384048 h 474067"/>
                <a:gd name="connsiteX6" fmla="*/ 349138 w 861202"/>
                <a:gd name="connsiteY6" fmla="*/ 301752 h 474067"/>
                <a:gd name="connsiteX7" fmla="*/ 431434 w 861202"/>
                <a:gd name="connsiteY7" fmla="*/ 192024 h 474067"/>
                <a:gd name="connsiteX8" fmla="*/ 577738 w 861202"/>
                <a:gd name="connsiteY8" fmla="*/ 155448 h 474067"/>
                <a:gd name="connsiteX9" fmla="*/ 623458 w 861202"/>
                <a:gd name="connsiteY9" fmla="*/ 155448 h 474067"/>
                <a:gd name="connsiteX10" fmla="*/ 660034 w 861202"/>
                <a:gd name="connsiteY10" fmla="*/ 137160 h 474067"/>
                <a:gd name="connsiteX11" fmla="*/ 614314 w 861202"/>
                <a:gd name="connsiteY11" fmla="*/ 137160 h 474067"/>
                <a:gd name="connsiteX12" fmla="*/ 522874 w 861202"/>
                <a:gd name="connsiteY12" fmla="*/ 137160 h 474067"/>
                <a:gd name="connsiteX13" fmla="*/ 468010 w 861202"/>
                <a:gd name="connsiteY13" fmla="*/ 146304 h 474067"/>
                <a:gd name="connsiteX14" fmla="*/ 458866 w 861202"/>
                <a:gd name="connsiteY14" fmla="*/ 155448 h 474067"/>
                <a:gd name="connsiteX15" fmla="*/ 440578 w 861202"/>
                <a:gd name="connsiteY15" fmla="*/ 146304 h 474067"/>
                <a:gd name="connsiteX16" fmla="*/ 568594 w 861202"/>
                <a:gd name="connsiteY16" fmla="*/ 91440 h 474067"/>
                <a:gd name="connsiteX17" fmla="*/ 623458 w 861202"/>
                <a:gd name="connsiteY17" fmla="*/ 91440 h 474067"/>
                <a:gd name="connsiteX18" fmla="*/ 714898 w 861202"/>
                <a:gd name="connsiteY18" fmla="*/ 82296 h 474067"/>
                <a:gd name="connsiteX19" fmla="*/ 842914 w 861202"/>
                <a:gd name="connsiteY19" fmla="*/ 27432 h 474067"/>
                <a:gd name="connsiteX20" fmla="*/ 824626 w 861202"/>
                <a:gd name="connsiteY20" fmla="*/ 0 h 474067"/>
                <a:gd name="connsiteX21" fmla="*/ 788050 w 861202"/>
                <a:gd name="connsiteY21" fmla="*/ 27432 h 474067"/>
                <a:gd name="connsiteX22" fmla="*/ 751474 w 861202"/>
                <a:gd name="connsiteY22" fmla="*/ 36576 h 474067"/>
                <a:gd name="connsiteX23" fmla="*/ 678322 w 861202"/>
                <a:gd name="connsiteY23" fmla="*/ 64008 h 474067"/>
                <a:gd name="connsiteX24" fmla="*/ 623458 w 861202"/>
                <a:gd name="connsiteY24" fmla="*/ 64008 h 474067"/>
                <a:gd name="connsiteX25" fmla="*/ 513730 w 861202"/>
                <a:gd name="connsiteY25" fmla="*/ 64008 h 474067"/>
                <a:gd name="connsiteX26" fmla="*/ 458866 w 861202"/>
                <a:gd name="connsiteY26" fmla="*/ 100584 h 474067"/>
                <a:gd name="connsiteX27" fmla="*/ 422290 w 861202"/>
                <a:gd name="connsiteY27" fmla="*/ 146304 h 474067"/>
                <a:gd name="connsiteX28" fmla="*/ 376570 w 861202"/>
                <a:gd name="connsiteY28" fmla="*/ 182880 h 474067"/>
                <a:gd name="connsiteX29" fmla="*/ 330850 w 861202"/>
                <a:gd name="connsiteY29" fmla="*/ 256032 h 474067"/>
                <a:gd name="connsiteX30" fmla="*/ 257698 w 861202"/>
                <a:gd name="connsiteY30" fmla="*/ 301752 h 474067"/>
                <a:gd name="connsiteX31" fmla="*/ 157114 w 861202"/>
                <a:gd name="connsiteY31" fmla="*/ 347472 h 474067"/>
                <a:gd name="connsiteX32" fmla="*/ 120538 w 861202"/>
                <a:gd name="connsiteY32" fmla="*/ 374904 h 474067"/>
                <a:gd name="connsiteX33" fmla="*/ 74818 w 861202"/>
                <a:gd name="connsiteY33" fmla="*/ 402336 h 474067"/>
                <a:gd name="connsiteX34" fmla="*/ 56530 w 861202"/>
                <a:gd name="connsiteY34" fmla="*/ 402336 h 474067"/>
                <a:gd name="connsiteX35" fmla="*/ 74818 w 861202"/>
                <a:gd name="connsiteY35" fmla="*/ 365760 h 474067"/>
                <a:gd name="connsiteX36" fmla="*/ 129682 w 861202"/>
                <a:gd name="connsiteY36" fmla="*/ 301752 h 474067"/>
                <a:gd name="connsiteX37" fmla="*/ 221122 w 861202"/>
                <a:gd name="connsiteY37" fmla="*/ 219456 h 474067"/>
                <a:gd name="connsiteX38" fmla="*/ 266842 w 861202"/>
                <a:gd name="connsiteY38" fmla="*/ 146304 h 474067"/>
                <a:gd name="connsiteX39" fmla="*/ 266842 w 861202"/>
                <a:gd name="connsiteY39" fmla="*/ 64008 h 474067"/>
                <a:gd name="connsiteX40" fmla="*/ 257698 w 861202"/>
                <a:gd name="connsiteY40" fmla="*/ 54864 h 474067"/>
                <a:gd name="connsiteX41" fmla="*/ 248554 w 861202"/>
                <a:gd name="connsiteY41" fmla="*/ 128016 h 474067"/>
                <a:gd name="connsiteX42" fmla="*/ 221122 w 861202"/>
                <a:gd name="connsiteY42" fmla="*/ 173736 h 474067"/>
                <a:gd name="connsiteX43" fmla="*/ 147970 w 861202"/>
                <a:gd name="connsiteY43" fmla="*/ 237744 h 474067"/>
                <a:gd name="connsiteX44" fmla="*/ 120538 w 861202"/>
                <a:gd name="connsiteY44" fmla="*/ 256032 h 474067"/>
                <a:gd name="connsiteX45" fmla="*/ 47386 w 861202"/>
                <a:gd name="connsiteY45" fmla="*/ 347472 h 474067"/>
                <a:gd name="connsiteX46" fmla="*/ 38242 w 861202"/>
                <a:gd name="connsiteY46" fmla="*/ 374904 h 474067"/>
                <a:gd name="connsiteX47" fmla="*/ 29098 w 861202"/>
                <a:gd name="connsiteY47" fmla="*/ 411480 h 474067"/>
                <a:gd name="connsiteX48" fmla="*/ 47386 w 861202"/>
                <a:gd name="connsiteY48" fmla="*/ 429768 h 474067"/>
                <a:gd name="connsiteX49" fmla="*/ 1666 w 861202"/>
                <a:gd name="connsiteY49" fmla="*/ 457200 h 474067"/>
                <a:gd name="connsiteX50" fmla="*/ 37387 w 861202"/>
                <a:gd name="connsiteY50" fmla="*/ 430387 h 474067"/>
                <a:gd name="connsiteX51" fmla="*/ 37385 w 861202"/>
                <a:gd name="connsiteY51" fmla="*/ 430387 h 474067"/>
                <a:gd name="connsiteX52" fmla="*/ 37385 w 861202"/>
                <a:gd name="connsiteY52" fmla="*/ 430387 h 474067"/>
                <a:gd name="connsiteX53" fmla="*/ 37385 w 861202"/>
                <a:gd name="connsiteY53" fmla="*/ 430387 h 474067"/>
                <a:gd name="connsiteX54" fmla="*/ 37386 w 861202"/>
                <a:gd name="connsiteY54" fmla="*/ 430387 h 474067"/>
                <a:gd name="connsiteX55" fmla="*/ 37386 w 861202"/>
                <a:gd name="connsiteY55" fmla="*/ 430387 h 474067"/>
                <a:gd name="connsiteX0" fmla="*/ 26741 w 850557"/>
                <a:gd name="connsiteY0" fmla="*/ 430387 h 474067"/>
                <a:gd name="connsiteX1" fmla="*/ 26740 w 850557"/>
                <a:gd name="connsiteY1" fmla="*/ 430387 h 474067"/>
                <a:gd name="connsiteX2" fmla="*/ 26741 w 850557"/>
                <a:gd name="connsiteY2" fmla="*/ 430387 h 474067"/>
                <a:gd name="connsiteX3" fmla="*/ 26741 w 850557"/>
                <a:gd name="connsiteY3" fmla="*/ 430387 h 474067"/>
                <a:gd name="connsiteX4" fmla="*/ 45885 w 850557"/>
                <a:gd name="connsiteY4" fmla="*/ 466344 h 474067"/>
                <a:gd name="connsiteX5" fmla="*/ 146469 w 850557"/>
                <a:gd name="connsiteY5" fmla="*/ 384048 h 474067"/>
                <a:gd name="connsiteX6" fmla="*/ 338493 w 850557"/>
                <a:gd name="connsiteY6" fmla="*/ 301752 h 474067"/>
                <a:gd name="connsiteX7" fmla="*/ 420789 w 850557"/>
                <a:gd name="connsiteY7" fmla="*/ 192024 h 474067"/>
                <a:gd name="connsiteX8" fmla="*/ 567093 w 850557"/>
                <a:gd name="connsiteY8" fmla="*/ 155448 h 474067"/>
                <a:gd name="connsiteX9" fmla="*/ 612813 w 850557"/>
                <a:gd name="connsiteY9" fmla="*/ 155448 h 474067"/>
                <a:gd name="connsiteX10" fmla="*/ 649389 w 850557"/>
                <a:gd name="connsiteY10" fmla="*/ 137160 h 474067"/>
                <a:gd name="connsiteX11" fmla="*/ 603669 w 850557"/>
                <a:gd name="connsiteY11" fmla="*/ 137160 h 474067"/>
                <a:gd name="connsiteX12" fmla="*/ 512229 w 850557"/>
                <a:gd name="connsiteY12" fmla="*/ 137160 h 474067"/>
                <a:gd name="connsiteX13" fmla="*/ 457365 w 850557"/>
                <a:gd name="connsiteY13" fmla="*/ 146304 h 474067"/>
                <a:gd name="connsiteX14" fmla="*/ 448221 w 850557"/>
                <a:gd name="connsiteY14" fmla="*/ 155448 h 474067"/>
                <a:gd name="connsiteX15" fmla="*/ 429933 w 850557"/>
                <a:gd name="connsiteY15" fmla="*/ 146304 h 474067"/>
                <a:gd name="connsiteX16" fmla="*/ 557949 w 850557"/>
                <a:gd name="connsiteY16" fmla="*/ 91440 h 474067"/>
                <a:gd name="connsiteX17" fmla="*/ 612813 w 850557"/>
                <a:gd name="connsiteY17" fmla="*/ 91440 h 474067"/>
                <a:gd name="connsiteX18" fmla="*/ 704253 w 850557"/>
                <a:gd name="connsiteY18" fmla="*/ 82296 h 474067"/>
                <a:gd name="connsiteX19" fmla="*/ 832269 w 850557"/>
                <a:gd name="connsiteY19" fmla="*/ 27432 h 474067"/>
                <a:gd name="connsiteX20" fmla="*/ 813981 w 850557"/>
                <a:gd name="connsiteY20" fmla="*/ 0 h 474067"/>
                <a:gd name="connsiteX21" fmla="*/ 777405 w 850557"/>
                <a:gd name="connsiteY21" fmla="*/ 27432 h 474067"/>
                <a:gd name="connsiteX22" fmla="*/ 740829 w 850557"/>
                <a:gd name="connsiteY22" fmla="*/ 36576 h 474067"/>
                <a:gd name="connsiteX23" fmla="*/ 667677 w 850557"/>
                <a:gd name="connsiteY23" fmla="*/ 64008 h 474067"/>
                <a:gd name="connsiteX24" fmla="*/ 612813 w 850557"/>
                <a:gd name="connsiteY24" fmla="*/ 64008 h 474067"/>
                <a:gd name="connsiteX25" fmla="*/ 503085 w 850557"/>
                <a:gd name="connsiteY25" fmla="*/ 64008 h 474067"/>
                <a:gd name="connsiteX26" fmla="*/ 448221 w 850557"/>
                <a:gd name="connsiteY26" fmla="*/ 100584 h 474067"/>
                <a:gd name="connsiteX27" fmla="*/ 411645 w 850557"/>
                <a:gd name="connsiteY27" fmla="*/ 146304 h 474067"/>
                <a:gd name="connsiteX28" fmla="*/ 365925 w 850557"/>
                <a:gd name="connsiteY28" fmla="*/ 182880 h 474067"/>
                <a:gd name="connsiteX29" fmla="*/ 320205 w 850557"/>
                <a:gd name="connsiteY29" fmla="*/ 256032 h 474067"/>
                <a:gd name="connsiteX30" fmla="*/ 247053 w 850557"/>
                <a:gd name="connsiteY30" fmla="*/ 301752 h 474067"/>
                <a:gd name="connsiteX31" fmla="*/ 146469 w 850557"/>
                <a:gd name="connsiteY31" fmla="*/ 347472 h 474067"/>
                <a:gd name="connsiteX32" fmla="*/ 109893 w 850557"/>
                <a:gd name="connsiteY32" fmla="*/ 374904 h 474067"/>
                <a:gd name="connsiteX33" fmla="*/ 64173 w 850557"/>
                <a:gd name="connsiteY33" fmla="*/ 402336 h 474067"/>
                <a:gd name="connsiteX34" fmla="*/ 45885 w 850557"/>
                <a:gd name="connsiteY34" fmla="*/ 402336 h 474067"/>
                <a:gd name="connsiteX35" fmla="*/ 64173 w 850557"/>
                <a:gd name="connsiteY35" fmla="*/ 365760 h 474067"/>
                <a:gd name="connsiteX36" fmla="*/ 119037 w 850557"/>
                <a:gd name="connsiteY36" fmla="*/ 301752 h 474067"/>
                <a:gd name="connsiteX37" fmla="*/ 210477 w 850557"/>
                <a:gd name="connsiteY37" fmla="*/ 219456 h 474067"/>
                <a:gd name="connsiteX38" fmla="*/ 256197 w 850557"/>
                <a:gd name="connsiteY38" fmla="*/ 146304 h 474067"/>
                <a:gd name="connsiteX39" fmla="*/ 256197 w 850557"/>
                <a:gd name="connsiteY39" fmla="*/ 64008 h 474067"/>
                <a:gd name="connsiteX40" fmla="*/ 247053 w 850557"/>
                <a:gd name="connsiteY40" fmla="*/ 54864 h 474067"/>
                <a:gd name="connsiteX41" fmla="*/ 237909 w 850557"/>
                <a:gd name="connsiteY41" fmla="*/ 128016 h 474067"/>
                <a:gd name="connsiteX42" fmla="*/ 210477 w 850557"/>
                <a:gd name="connsiteY42" fmla="*/ 173736 h 474067"/>
                <a:gd name="connsiteX43" fmla="*/ 137325 w 850557"/>
                <a:gd name="connsiteY43" fmla="*/ 237744 h 474067"/>
                <a:gd name="connsiteX44" fmla="*/ 109893 w 850557"/>
                <a:gd name="connsiteY44" fmla="*/ 256032 h 474067"/>
                <a:gd name="connsiteX45" fmla="*/ 36741 w 850557"/>
                <a:gd name="connsiteY45" fmla="*/ 347472 h 474067"/>
                <a:gd name="connsiteX46" fmla="*/ 27597 w 850557"/>
                <a:gd name="connsiteY46" fmla="*/ 374904 h 474067"/>
                <a:gd name="connsiteX47" fmla="*/ 18453 w 850557"/>
                <a:gd name="connsiteY47" fmla="*/ 411480 h 474067"/>
                <a:gd name="connsiteX48" fmla="*/ 36741 w 850557"/>
                <a:gd name="connsiteY48" fmla="*/ 429768 h 474067"/>
                <a:gd name="connsiteX49" fmla="*/ 1666 w 850557"/>
                <a:gd name="connsiteY49" fmla="*/ 433523 h 474067"/>
                <a:gd name="connsiteX50" fmla="*/ 26742 w 850557"/>
                <a:gd name="connsiteY50" fmla="*/ 430387 h 474067"/>
                <a:gd name="connsiteX51" fmla="*/ 26740 w 850557"/>
                <a:gd name="connsiteY51" fmla="*/ 430387 h 474067"/>
                <a:gd name="connsiteX52" fmla="*/ 26740 w 850557"/>
                <a:gd name="connsiteY52" fmla="*/ 430387 h 474067"/>
                <a:gd name="connsiteX53" fmla="*/ 26740 w 850557"/>
                <a:gd name="connsiteY53" fmla="*/ 430387 h 474067"/>
                <a:gd name="connsiteX54" fmla="*/ 26741 w 850557"/>
                <a:gd name="connsiteY54" fmla="*/ 430387 h 474067"/>
                <a:gd name="connsiteX55" fmla="*/ 26741 w 850557"/>
                <a:gd name="connsiteY55" fmla="*/ 430387 h 474067"/>
                <a:gd name="connsiteX0" fmla="*/ 45030 w 868846"/>
                <a:gd name="connsiteY0" fmla="*/ 430387 h 441246"/>
                <a:gd name="connsiteX1" fmla="*/ 45029 w 868846"/>
                <a:gd name="connsiteY1" fmla="*/ 430387 h 441246"/>
                <a:gd name="connsiteX2" fmla="*/ 45030 w 868846"/>
                <a:gd name="connsiteY2" fmla="*/ 430387 h 441246"/>
                <a:gd name="connsiteX3" fmla="*/ 45030 w 868846"/>
                <a:gd name="connsiteY3" fmla="*/ 430387 h 441246"/>
                <a:gd name="connsiteX4" fmla="*/ 19955 w 868846"/>
                <a:gd name="connsiteY4" fmla="*/ 433523 h 441246"/>
                <a:gd name="connsiteX5" fmla="*/ 164758 w 868846"/>
                <a:gd name="connsiteY5" fmla="*/ 384048 h 441246"/>
                <a:gd name="connsiteX6" fmla="*/ 356782 w 868846"/>
                <a:gd name="connsiteY6" fmla="*/ 301752 h 441246"/>
                <a:gd name="connsiteX7" fmla="*/ 439078 w 868846"/>
                <a:gd name="connsiteY7" fmla="*/ 192024 h 441246"/>
                <a:gd name="connsiteX8" fmla="*/ 585382 w 868846"/>
                <a:gd name="connsiteY8" fmla="*/ 155448 h 441246"/>
                <a:gd name="connsiteX9" fmla="*/ 631102 w 868846"/>
                <a:gd name="connsiteY9" fmla="*/ 155448 h 441246"/>
                <a:gd name="connsiteX10" fmla="*/ 667678 w 868846"/>
                <a:gd name="connsiteY10" fmla="*/ 137160 h 441246"/>
                <a:gd name="connsiteX11" fmla="*/ 621958 w 868846"/>
                <a:gd name="connsiteY11" fmla="*/ 137160 h 441246"/>
                <a:gd name="connsiteX12" fmla="*/ 530518 w 868846"/>
                <a:gd name="connsiteY12" fmla="*/ 137160 h 441246"/>
                <a:gd name="connsiteX13" fmla="*/ 475654 w 868846"/>
                <a:gd name="connsiteY13" fmla="*/ 146304 h 441246"/>
                <a:gd name="connsiteX14" fmla="*/ 466510 w 868846"/>
                <a:gd name="connsiteY14" fmla="*/ 155448 h 441246"/>
                <a:gd name="connsiteX15" fmla="*/ 448222 w 868846"/>
                <a:gd name="connsiteY15" fmla="*/ 146304 h 441246"/>
                <a:gd name="connsiteX16" fmla="*/ 576238 w 868846"/>
                <a:gd name="connsiteY16" fmla="*/ 91440 h 441246"/>
                <a:gd name="connsiteX17" fmla="*/ 631102 w 868846"/>
                <a:gd name="connsiteY17" fmla="*/ 91440 h 441246"/>
                <a:gd name="connsiteX18" fmla="*/ 722542 w 868846"/>
                <a:gd name="connsiteY18" fmla="*/ 82296 h 441246"/>
                <a:gd name="connsiteX19" fmla="*/ 850558 w 868846"/>
                <a:gd name="connsiteY19" fmla="*/ 27432 h 441246"/>
                <a:gd name="connsiteX20" fmla="*/ 832270 w 868846"/>
                <a:gd name="connsiteY20" fmla="*/ 0 h 441246"/>
                <a:gd name="connsiteX21" fmla="*/ 795694 w 868846"/>
                <a:gd name="connsiteY21" fmla="*/ 27432 h 441246"/>
                <a:gd name="connsiteX22" fmla="*/ 759118 w 868846"/>
                <a:gd name="connsiteY22" fmla="*/ 36576 h 441246"/>
                <a:gd name="connsiteX23" fmla="*/ 685966 w 868846"/>
                <a:gd name="connsiteY23" fmla="*/ 64008 h 441246"/>
                <a:gd name="connsiteX24" fmla="*/ 631102 w 868846"/>
                <a:gd name="connsiteY24" fmla="*/ 64008 h 441246"/>
                <a:gd name="connsiteX25" fmla="*/ 521374 w 868846"/>
                <a:gd name="connsiteY25" fmla="*/ 64008 h 441246"/>
                <a:gd name="connsiteX26" fmla="*/ 466510 w 868846"/>
                <a:gd name="connsiteY26" fmla="*/ 100584 h 441246"/>
                <a:gd name="connsiteX27" fmla="*/ 429934 w 868846"/>
                <a:gd name="connsiteY27" fmla="*/ 146304 h 441246"/>
                <a:gd name="connsiteX28" fmla="*/ 384214 w 868846"/>
                <a:gd name="connsiteY28" fmla="*/ 182880 h 441246"/>
                <a:gd name="connsiteX29" fmla="*/ 338494 w 868846"/>
                <a:gd name="connsiteY29" fmla="*/ 256032 h 441246"/>
                <a:gd name="connsiteX30" fmla="*/ 265342 w 868846"/>
                <a:gd name="connsiteY30" fmla="*/ 301752 h 441246"/>
                <a:gd name="connsiteX31" fmla="*/ 164758 w 868846"/>
                <a:gd name="connsiteY31" fmla="*/ 347472 h 441246"/>
                <a:gd name="connsiteX32" fmla="*/ 128182 w 868846"/>
                <a:gd name="connsiteY32" fmla="*/ 374904 h 441246"/>
                <a:gd name="connsiteX33" fmla="*/ 82462 w 868846"/>
                <a:gd name="connsiteY33" fmla="*/ 402336 h 441246"/>
                <a:gd name="connsiteX34" fmla="*/ 64174 w 868846"/>
                <a:gd name="connsiteY34" fmla="*/ 402336 h 441246"/>
                <a:gd name="connsiteX35" fmla="*/ 82462 w 868846"/>
                <a:gd name="connsiteY35" fmla="*/ 365760 h 441246"/>
                <a:gd name="connsiteX36" fmla="*/ 137326 w 868846"/>
                <a:gd name="connsiteY36" fmla="*/ 301752 h 441246"/>
                <a:gd name="connsiteX37" fmla="*/ 228766 w 868846"/>
                <a:gd name="connsiteY37" fmla="*/ 219456 h 441246"/>
                <a:gd name="connsiteX38" fmla="*/ 274486 w 868846"/>
                <a:gd name="connsiteY38" fmla="*/ 146304 h 441246"/>
                <a:gd name="connsiteX39" fmla="*/ 274486 w 868846"/>
                <a:gd name="connsiteY39" fmla="*/ 64008 h 441246"/>
                <a:gd name="connsiteX40" fmla="*/ 265342 w 868846"/>
                <a:gd name="connsiteY40" fmla="*/ 54864 h 441246"/>
                <a:gd name="connsiteX41" fmla="*/ 256198 w 868846"/>
                <a:gd name="connsiteY41" fmla="*/ 128016 h 441246"/>
                <a:gd name="connsiteX42" fmla="*/ 228766 w 868846"/>
                <a:gd name="connsiteY42" fmla="*/ 173736 h 441246"/>
                <a:gd name="connsiteX43" fmla="*/ 155614 w 868846"/>
                <a:gd name="connsiteY43" fmla="*/ 237744 h 441246"/>
                <a:gd name="connsiteX44" fmla="*/ 128182 w 868846"/>
                <a:gd name="connsiteY44" fmla="*/ 256032 h 441246"/>
                <a:gd name="connsiteX45" fmla="*/ 55030 w 868846"/>
                <a:gd name="connsiteY45" fmla="*/ 347472 h 441246"/>
                <a:gd name="connsiteX46" fmla="*/ 45886 w 868846"/>
                <a:gd name="connsiteY46" fmla="*/ 374904 h 441246"/>
                <a:gd name="connsiteX47" fmla="*/ 36742 w 868846"/>
                <a:gd name="connsiteY47" fmla="*/ 411480 h 441246"/>
                <a:gd name="connsiteX48" fmla="*/ 55030 w 868846"/>
                <a:gd name="connsiteY48" fmla="*/ 429768 h 441246"/>
                <a:gd name="connsiteX49" fmla="*/ 19955 w 868846"/>
                <a:gd name="connsiteY49" fmla="*/ 433523 h 441246"/>
                <a:gd name="connsiteX50" fmla="*/ 45031 w 868846"/>
                <a:gd name="connsiteY50" fmla="*/ 430387 h 441246"/>
                <a:gd name="connsiteX51" fmla="*/ 45029 w 868846"/>
                <a:gd name="connsiteY51" fmla="*/ 430387 h 441246"/>
                <a:gd name="connsiteX52" fmla="*/ 45029 w 868846"/>
                <a:gd name="connsiteY52" fmla="*/ 430387 h 441246"/>
                <a:gd name="connsiteX53" fmla="*/ 45029 w 868846"/>
                <a:gd name="connsiteY53" fmla="*/ 430387 h 441246"/>
                <a:gd name="connsiteX54" fmla="*/ 45030 w 868846"/>
                <a:gd name="connsiteY54" fmla="*/ 430387 h 441246"/>
                <a:gd name="connsiteX55" fmla="*/ 45030 w 868846"/>
                <a:gd name="connsiteY55" fmla="*/ 430387 h 441246"/>
                <a:gd name="connsiteX0" fmla="*/ 0 w 888463"/>
                <a:gd name="connsiteY0" fmla="*/ 468067 h 468067"/>
                <a:gd name="connsiteX1" fmla="*/ 64646 w 888463"/>
                <a:gd name="connsiteY1" fmla="*/ 430387 h 468067"/>
                <a:gd name="connsiteX2" fmla="*/ 64647 w 888463"/>
                <a:gd name="connsiteY2" fmla="*/ 430387 h 468067"/>
                <a:gd name="connsiteX3" fmla="*/ 64647 w 888463"/>
                <a:gd name="connsiteY3" fmla="*/ 430387 h 468067"/>
                <a:gd name="connsiteX4" fmla="*/ 39572 w 888463"/>
                <a:gd name="connsiteY4" fmla="*/ 433523 h 468067"/>
                <a:gd name="connsiteX5" fmla="*/ 184375 w 888463"/>
                <a:gd name="connsiteY5" fmla="*/ 384048 h 468067"/>
                <a:gd name="connsiteX6" fmla="*/ 376399 w 888463"/>
                <a:gd name="connsiteY6" fmla="*/ 301752 h 468067"/>
                <a:gd name="connsiteX7" fmla="*/ 458695 w 888463"/>
                <a:gd name="connsiteY7" fmla="*/ 192024 h 468067"/>
                <a:gd name="connsiteX8" fmla="*/ 604999 w 888463"/>
                <a:gd name="connsiteY8" fmla="*/ 155448 h 468067"/>
                <a:gd name="connsiteX9" fmla="*/ 650719 w 888463"/>
                <a:gd name="connsiteY9" fmla="*/ 155448 h 468067"/>
                <a:gd name="connsiteX10" fmla="*/ 687295 w 888463"/>
                <a:gd name="connsiteY10" fmla="*/ 137160 h 468067"/>
                <a:gd name="connsiteX11" fmla="*/ 641575 w 888463"/>
                <a:gd name="connsiteY11" fmla="*/ 137160 h 468067"/>
                <a:gd name="connsiteX12" fmla="*/ 550135 w 888463"/>
                <a:gd name="connsiteY12" fmla="*/ 137160 h 468067"/>
                <a:gd name="connsiteX13" fmla="*/ 495271 w 888463"/>
                <a:gd name="connsiteY13" fmla="*/ 146304 h 468067"/>
                <a:gd name="connsiteX14" fmla="*/ 486127 w 888463"/>
                <a:gd name="connsiteY14" fmla="*/ 155448 h 468067"/>
                <a:gd name="connsiteX15" fmla="*/ 467839 w 888463"/>
                <a:gd name="connsiteY15" fmla="*/ 146304 h 468067"/>
                <a:gd name="connsiteX16" fmla="*/ 595855 w 888463"/>
                <a:gd name="connsiteY16" fmla="*/ 91440 h 468067"/>
                <a:gd name="connsiteX17" fmla="*/ 650719 w 888463"/>
                <a:gd name="connsiteY17" fmla="*/ 91440 h 468067"/>
                <a:gd name="connsiteX18" fmla="*/ 742159 w 888463"/>
                <a:gd name="connsiteY18" fmla="*/ 82296 h 468067"/>
                <a:gd name="connsiteX19" fmla="*/ 870175 w 888463"/>
                <a:gd name="connsiteY19" fmla="*/ 27432 h 468067"/>
                <a:gd name="connsiteX20" fmla="*/ 851887 w 888463"/>
                <a:gd name="connsiteY20" fmla="*/ 0 h 468067"/>
                <a:gd name="connsiteX21" fmla="*/ 815311 w 888463"/>
                <a:gd name="connsiteY21" fmla="*/ 27432 h 468067"/>
                <a:gd name="connsiteX22" fmla="*/ 778735 w 888463"/>
                <a:gd name="connsiteY22" fmla="*/ 36576 h 468067"/>
                <a:gd name="connsiteX23" fmla="*/ 705583 w 888463"/>
                <a:gd name="connsiteY23" fmla="*/ 64008 h 468067"/>
                <a:gd name="connsiteX24" fmla="*/ 650719 w 888463"/>
                <a:gd name="connsiteY24" fmla="*/ 64008 h 468067"/>
                <a:gd name="connsiteX25" fmla="*/ 540991 w 888463"/>
                <a:gd name="connsiteY25" fmla="*/ 64008 h 468067"/>
                <a:gd name="connsiteX26" fmla="*/ 486127 w 888463"/>
                <a:gd name="connsiteY26" fmla="*/ 100584 h 468067"/>
                <a:gd name="connsiteX27" fmla="*/ 449551 w 888463"/>
                <a:gd name="connsiteY27" fmla="*/ 146304 h 468067"/>
                <a:gd name="connsiteX28" fmla="*/ 403831 w 888463"/>
                <a:gd name="connsiteY28" fmla="*/ 182880 h 468067"/>
                <a:gd name="connsiteX29" fmla="*/ 358111 w 888463"/>
                <a:gd name="connsiteY29" fmla="*/ 256032 h 468067"/>
                <a:gd name="connsiteX30" fmla="*/ 284959 w 888463"/>
                <a:gd name="connsiteY30" fmla="*/ 301752 h 468067"/>
                <a:gd name="connsiteX31" fmla="*/ 184375 w 888463"/>
                <a:gd name="connsiteY31" fmla="*/ 347472 h 468067"/>
                <a:gd name="connsiteX32" fmla="*/ 147799 w 888463"/>
                <a:gd name="connsiteY32" fmla="*/ 374904 h 468067"/>
                <a:gd name="connsiteX33" fmla="*/ 102079 w 888463"/>
                <a:gd name="connsiteY33" fmla="*/ 402336 h 468067"/>
                <a:gd name="connsiteX34" fmla="*/ 83791 w 888463"/>
                <a:gd name="connsiteY34" fmla="*/ 402336 h 468067"/>
                <a:gd name="connsiteX35" fmla="*/ 102079 w 888463"/>
                <a:gd name="connsiteY35" fmla="*/ 365760 h 468067"/>
                <a:gd name="connsiteX36" fmla="*/ 156943 w 888463"/>
                <a:gd name="connsiteY36" fmla="*/ 301752 h 468067"/>
                <a:gd name="connsiteX37" fmla="*/ 248383 w 888463"/>
                <a:gd name="connsiteY37" fmla="*/ 219456 h 468067"/>
                <a:gd name="connsiteX38" fmla="*/ 294103 w 888463"/>
                <a:gd name="connsiteY38" fmla="*/ 146304 h 468067"/>
                <a:gd name="connsiteX39" fmla="*/ 294103 w 888463"/>
                <a:gd name="connsiteY39" fmla="*/ 64008 h 468067"/>
                <a:gd name="connsiteX40" fmla="*/ 284959 w 888463"/>
                <a:gd name="connsiteY40" fmla="*/ 54864 h 468067"/>
                <a:gd name="connsiteX41" fmla="*/ 275815 w 888463"/>
                <a:gd name="connsiteY41" fmla="*/ 128016 h 468067"/>
                <a:gd name="connsiteX42" fmla="*/ 248383 w 888463"/>
                <a:gd name="connsiteY42" fmla="*/ 173736 h 468067"/>
                <a:gd name="connsiteX43" fmla="*/ 175231 w 888463"/>
                <a:gd name="connsiteY43" fmla="*/ 237744 h 468067"/>
                <a:gd name="connsiteX44" fmla="*/ 147799 w 888463"/>
                <a:gd name="connsiteY44" fmla="*/ 256032 h 468067"/>
                <a:gd name="connsiteX45" fmla="*/ 74647 w 888463"/>
                <a:gd name="connsiteY45" fmla="*/ 347472 h 468067"/>
                <a:gd name="connsiteX46" fmla="*/ 65503 w 888463"/>
                <a:gd name="connsiteY46" fmla="*/ 374904 h 468067"/>
                <a:gd name="connsiteX47" fmla="*/ 56359 w 888463"/>
                <a:gd name="connsiteY47" fmla="*/ 411480 h 468067"/>
                <a:gd name="connsiteX48" fmla="*/ 74647 w 888463"/>
                <a:gd name="connsiteY48" fmla="*/ 429768 h 468067"/>
                <a:gd name="connsiteX49" fmla="*/ 39572 w 888463"/>
                <a:gd name="connsiteY49" fmla="*/ 433523 h 468067"/>
                <a:gd name="connsiteX50" fmla="*/ 64648 w 888463"/>
                <a:gd name="connsiteY50" fmla="*/ 430387 h 468067"/>
                <a:gd name="connsiteX51" fmla="*/ 64646 w 888463"/>
                <a:gd name="connsiteY51" fmla="*/ 430387 h 468067"/>
                <a:gd name="connsiteX52" fmla="*/ 64646 w 888463"/>
                <a:gd name="connsiteY52" fmla="*/ 430387 h 468067"/>
                <a:gd name="connsiteX53" fmla="*/ 64646 w 888463"/>
                <a:gd name="connsiteY53" fmla="*/ 430387 h 468067"/>
                <a:gd name="connsiteX54" fmla="*/ 64647 w 888463"/>
                <a:gd name="connsiteY54" fmla="*/ 430387 h 468067"/>
                <a:gd name="connsiteX55" fmla="*/ 0 w 888463"/>
                <a:gd name="connsiteY55" fmla="*/ 468067 h 468067"/>
                <a:gd name="connsiteX0" fmla="*/ 0 w 888463"/>
                <a:gd name="connsiteY0" fmla="*/ 468067 h 468067"/>
                <a:gd name="connsiteX1" fmla="*/ 64646 w 888463"/>
                <a:gd name="connsiteY1" fmla="*/ 430387 h 468067"/>
                <a:gd name="connsiteX2" fmla="*/ 64647 w 888463"/>
                <a:gd name="connsiteY2" fmla="*/ 430387 h 468067"/>
                <a:gd name="connsiteX3" fmla="*/ 64647 w 888463"/>
                <a:gd name="connsiteY3" fmla="*/ 430387 h 468067"/>
                <a:gd name="connsiteX4" fmla="*/ 39572 w 888463"/>
                <a:gd name="connsiteY4" fmla="*/ 433523 h 468067"/>
                <a:gd name="connsiteX5" fmla="*/ 184375 w 888463"/>
                <a:gd name="connsiteY5" fmla="*/ 384048 h 468067"/>
                <a:gd name="connsiteX6" fmla="*/ 376399 w 888463"/>
                <a:gd name="connsiteY6" fmla="*/ 301752 h 468067"/>
                <a:gd name="connsiteX7" fmla="*/ 458695 w 888463"/>
                <a:gd name="connsiteY7" fmla="*/ 192024 h 468067"/>
                <a:gd name="connsiteX8" fmla="*/ 604999 w 888463"/>
                <a:gd name="connsiteY8" fmla="*/ 155448 h 468067"/>
                <a:gd name="connsiteX9" fmla="*/ 650719 w 888463"/>
                <a:gd name="connsiteY9" fmla="*/ 155448 h 468067"/>
                <a:gd name="connsiteX10" fmla="*/ 687295 w 888463"/>
                <a:gd name="connsiteY10" fmla="*/ 137160 h 468067"/>
                <a:gd name="connsiteX11" fmla="*/ 641575 w 888463"/>
                <a:gd name="connsiteY11" fmla="*/ 137160 h 468067"/>
                <a:gd name="connsiteX12" fmla="*/ 550135 w 888463"/>
                <a:gd name="connsiteY12" fmla="*/ 137160 h 468067"/>
                <a:gd name="connsiteX13" fmla="*/ 495271 w 888463"/>
                <a:gd name="connsiteY13" fmla="*/ 146304 h 468067"/>
                <a:gd name="connsiteX14" fmla="*/ 486127 w 888463"/>
                <a:gd name="connsiteY14" fmla="*/ 155448 h 468067"/>
                <a:gd name="connsiteX15" fmla="*/ 467839 w 888463"/>
                <a:gd name="connsiteY15" fmla="*/ 146304 h 468067"/>
                <a:gd name="connsiteX16" fmla="*/ 595855 w 888463"/>
                <a:gd name="connsiteY16" fmla="*/ 91440 h 468067"/>
                <a:gd name="connsiteX17" fmla="*/ 650719 w 888463"/>
                <a:gd name="connsiteY17" fmla="*/ 91440 h 468067"/>
                <a:gd name="connsiteX18" fmla="*/ 742159 w 888463"/>
                <a:gd name="connsiteY18" fmla="*/ 82296 h 468067"/>
                <a:gd name="connsiteX19" fmla="*/ 870175 w 888463"/>
                <a:gd name="connsiteY19" fmla="*/ 27432 h 468067"/>
                <a:gd name="connsiteX20" fmla="*/ 851887 w 888463"/>
                <a:gd name="connsiteY20" fmla="*/ 0 h 468067"/>
                <a:gd name="connsiteX21" fmla="*/ 815311 w 888463"/>
                <a:gd name="connsiteY21" fmla="*/ 27432 h 468067"/>
                <a:gd name="connsiteX22" fmla="*/ 778735 w 888463"/>
                <a:gd name="connsiteY22" fmla="*/ 36576 h 468067"/>
                <a:gd name="connsiteX23" fmla="*/ 705583 w 888463"/>
                <a:gd name="connsiteY23" fmla="*/ 64008 h 468067"/>
                <a:gd name="connsiteX24" fmla="*/ 650719 w 888463"/>
                <a:gd name="connsiteY24" fmla="*/ 64008 h 468067"/>
                <a:gd name="connsiteX25" fmla="*/ 540991 w 888463"/>
                <a:gd name="connsiteY25" fmla="*/ 64008 h 468067"/>
                <a:gd name="connsiteX26" fmla="*/ 486127 w 888463"/>
                <a:gd name="connsiteY26" fmla="*/ 100584 h 468067"/>
                <a:gd name="connsiteX27" fmla="*/ 449551 w 888463"/>
                <a:gd name="connsiteY27" fmla="*/ 146304 h 468067"/>
                <a:gd name="connsiteX28" fmla="*/ 403831 w 888463"/>
                <a:gd name="connsiteY28" fmla="*/ 182880 h 468067"/>
                <a:gd name="connsiteX29" fmla="*/ 358111 w 888463"/>
                <a:gd name="connsiteY29" fmla="*/ 256032 h 468067"/>
                <a:gd name="connsiteX30" fmla="*/ 284959 w 888463"/>
                <a:gd name="connsiteY30" fmla="*/ 301752 h 468067"/>
                <a:gd name="connsiteX31" fmla="*/ 184375 w 888463"/>
                <a:gd name="connsiteY31" fmla="*/ 347472 h 468067"/>
                <a:gd name="connsiteX32" fmla="*/ 147799 w 888463"/>
                <a:gd name="connsiteY32" fmla="*/ 374904 h 468067"/>
                <a:gd name="connsiteX33" fmla="*/ 102079 w 888463"/>
                <a:gd name="connsiteY33" fmla="*/ 402336 h 468067"/>
                <a:gd name="connsiteX34" fmla="*/ 83791 w 888463"/>
                <a:gd name="connsiteY34" fmla="*/ 402336 h 468067"/>
                <a:gd name="connsiteX35" fmla="*/ 102079 w 888463"/>
                <a:gd name="connsiteY35" fmla="*/ 365760 h 468067"/>
                <a:gd name="connsiteX36" fmla="*/ 156943 w 888463"/>
                <a:gd name="connsiteY36" fmla="*/ 301752 h 468067"/>
                <a:gd name="connsiteX37" fmla="*/ 248383 w 888463"/>
                <a:gd name="connsiteY37" fmla="*/ 219456 h 468067"/>
                <a:gd name="connsiteX38" fmla="*/ 294103 w 888463"/>
                <a:gd name="connsiteY38" fmla="*/ 146304 h 468067"/>
                <a:gd name="connsiteX39" fmla="*/ 294103 w 888463"/>
                <a:gd name="connsiteY39" fmla="*/ 64008 h 468067"/>
                <a:gd name="connsiteX40" fmla="*/ 284959 w 888463"/>
                <a:gd name="connsiteY40" fmla="*/ 54864 h 468067"/>
                <a:gd name="connsiteX41" fmla="*/ 275815 w 888463"/>
                <a:gd name="connsiteY41" fmla="*/ 128016 h 468067"/>
                <a:gd name="connsiteX42" fmla="*/ 248383 w 888463"/>
                <a:gd name="connsiteY42" fmla="*/ 173736 h 468067"/>
                <a:gd name="connsiteX43" fmla="*/ 175231 w 888463"/>
                <a:gd name="connsiteY43" fmla="*/ 237744 h 468067"/>
                <a:gd name="connsiteX44" fmla="*/ 147799 w 888463"/>
                <a:gd name="connsiteY44" fmla="*/ 256032 h 468067"/>
                <a:gd name="connsiteX45" fmla="*/ 74647 w 888463"/>
                <a:gd name="connsiteY45" fmla="*/ 347472 h 468067"/>
                <a:gd name="connsiteX46" fmla="*/ 65503 w 888463"/>
                <a:gd name="connsiteY46" fmla="*/ 374904 h 468067"/>
                <a:gd name="connsiteX47" fmla="*/ 56359 w 888463"/>
                <a:gd name="connsiteY47" fmla="*/ 411480 h 468067"/>
                <a:gd name="connsiteX48" fmla="*/ 74647 w 888463"/>
                <a:gd name="connsiteY48" fmla="*/ 429768 h 468067"/>
                <a:gd name="connsiteX49" fmla="*/ 129278 w 888463"/>
                <a:gd name="connsiteY49" fmla="*/ 448761 h 468067"/>
                <a:gd name="connsiteX50" fmla="*/ 64648 w 888463"/>
                <a:gd name="connsiteY50" fmla="*/ 430387 h 468067"/>
                <a:gd name="connsiteX51" fmla="*/ 64646 w 888463"/>
                <a:gd name="connsiteY51" fmla="*/ 430387 h 468067"/>
                <a:gd name="connsiteX52" fmla="*/ 64646 w 888463"/>
                <a:gd name="connsiteY52" fmla="*/ 430387 h 468067"/>
                <a:gd name="connsiteX53" fmla="*/ 64646 w 888463"/>
                <a:gd name="connsiteY53" fmla="*/ 430387 h 468067"/>
                <a:gd name="connsiteX54" fmla="*/ 64647 w 888463"/>
                <a:gd name="connsiteY54" fmla="*/ 430387 h 468067"/>
                <a:gd name="connsiteX55" fmla="*/ 0 w 888463"/>
                <a:gd name="connsiteY55" fmla="*/ 468067 h 468067"/>
                <a:gd name="connsiteX0" fmla="*/ 0 w 888463"/>
                <a:gd name="connsiteY0" fmla="*/ 468067 h 468067"/>
                <a:gd name="connsiteX1" fmla="*/ 64646 w 888463"/>
                <a:gd name="connsiteY1" fmla="*/ 430387 h 468067"/>
                <a:gd name="connsiteX2" fmla="*/ 64647 w 888463"/>
                <a:gd name="connsiteY2" fmla="*/ 430387 h 468067"/>
                <a:gd name="connsiteX3" fmla="*/ 64647 w 888463"/>
                <a:gd name="connsiteY3" fmla="*/ 430387 h 468067"/>
                <a:gd name="connsiteX4" fmla="*/ 129278 w 888463"/>
                <a:gd name="connsiteY4" fmla="*/ 448761 h 468067"/>
                <a:gd name="connsiteX5" fmla="*/ 184375 w 888463"/>
                <a:gd name="connsiteY5" fmla="*/ 384048 h 468067"/>
                <a:gd name="connsiteX6" fmla="*/ 376399 w 888463"/>
                <a:gd name="connsiteY6" fmla="*/ 301752 h 468067"/>
                <a:gd name="connsiteX7" fmla="*/ 458695 w 888463"/>
                <a:gd name="connsiteY7" fmla="*/ 192024 h 468067"/>
                <a:gd name="connsiteX8" fmla="*/ 604999 w 888463"/>
                <a:gd name="connsiteY8" fmla="*/ 155448 h 468067"/>
                <a:gd name="connsiteX9" fmla="*/ 650719 w 888463"/>
                <a:gd name="connsiteY9" fmla="*/ 155448 h 468067"/>
                <a:gd name="connsiteX10" fmla="*/ 687295 w 888463"/>
                <a:gd name="connsiteY10" fmla="*/ 137160 h 468067"/>
                <a:gd name="connsiteX11" fmla="*/ 641575 w 888463"/>
                <a:gd name="connsiteY11" fmla="*/ 137160 h 468067"/>
                <a:gd name="connsiteX12" fmla="*/ 550135 w 888463"/>
                <a:gd name="connsiteY12" fmla="*/ 137160 h 468067"/>
                <a:gd name="connsiteX13" fmla="*/ 495271 w 888463"/>
                <a:gd name="connsiteY13" fmla="*/ 146304 h 468067"/>
                <a:gd name="connsiteX14" fmla="*/ 486127 w 888463"/>
                <a:gd name="connsiteY14" fmla="*/ 155448 h 468067"/>
                <a:gd name="connsiteX15" fmla="*/ 467839 w 888463"/>
                <a:gd name="connsiteY15" fmla="*/ 146304 h 468067"/>
                <a:gd name="connsiteX16" fmla="*/ 595855 w 888463"/>
                <a:gd name="connsiteY16" fmla="*/ 91440 h 468067"/>
                <a:gd name="connsiteX17" fmla="*/ 650719 w 888463"/>
                <a:gd name="connsiteY17" fmla="*/ 91440 h 468067"/>
                <a:gd name="connsiteX18" fmla="*/ 742159 w 888463"/>
                <a:gd name="connsiteY18" fmla="*/ 82296 h 468067"/>
                <a:gd name="connsiteX19" fmla="*/ 870175 w 888463"/>
                <a:gd name="connsiteY19" fmla="*/ 27432 h 468067"/>
                <a:gd name="connsiteX20" fmla="*/ 851887 w 888463"/>
                <a:gd name="connsiteY20" fmla="*/ 0 h 468067"/>
                <a:gd name="connsiteX21" fmla="*/ 815311 w 888463"/>
                <a:gd name="connsiteY21" fmla="*/ 27432 h 468067"/>
                <a:gd name="connsiteX22" fmla="*/ 778735 w 888463"/>
                <a:gd name="connsiteY22" fmla="*/ 36576 h 468067"/>
                <a:gd name="connsiteX23" fmla="*/ 705583 w 888463"/>
                <a:gd name="connsiteY23" fmla="*/ 64008 h 468067"/>
                <a:gd name="connsiteX24" fmla="*/ 650719 w 888463"/>
                <a:gd name="connsiteY24" fmla="*/ 64008 h 468067"/>
                <a:gd name="connsiteX25" fmla="*/ 540991 w 888463"/>
                <a:gd name="connsiteY25" fmla="*/ 64008 h 468067"/>
                <a:gd name="connsiteX26" fmla="*/ 486127 w 888463"/>
                <a:gd name="connsiteY26" fmla="*/ 100584 h 468067"/>
                <a:gd name="connsiteX27" fmla="*/ 449551 w 888463"/>
                <a:gd name="connsiteY27" fmla="*/ 146304 h 468067"/>
                <a:gd name="connsiteX28" fmla="*/ 403831 w 888463"/>
                <a:gd name="connsiteY28" fmla="*/ 182880 h 468067"/>
                <a:gd name="connsiteX29" fmla="*/ 358111 w 888463"/>
                <a:gd name="connsiteY29" fmla="*/ 256032 h 468067"/>
                <a:gd name="connsiteX30" fmla="*/ 284959 w 888463"/>
                <a:gd name="connsiteY30" fmla="*/ 301752 h 468067"/>
                <a:gd name="connsiteX31" fmla="*/ 184375 w 888463"/>
                <a:gd name="connsiteY31" fmla="*/ 347472 h 468067"/>
                <a:gd name="connsiteX32" fmla="*/ 147799 w 888463"/>
                <a:gd name="connsiteY32" fmla="*/ 374904 h 468067"/>
                <a:gd name="connsiteX33" fmla="*/ 102079 w 888463"/>
                <a:gd name="connsiteY33" fmla="*/ 402336 h 468067"/>
                <a:gd name="connsiteX34" fmla="*/ 83791 w 888463"/>
                <a:gd name="connsiteY34" fmla="*/ 402336 h 468067"/>
                <a:gd name="connsiteX35" fmla="*/ 102079 w 888463"/>
                <a:gd name="connsiteY35" fmla="*/ 365760 h 468067"/>
                <a:gd name="connsiteX36" fmla="*/ 156943 w 888463"/>
                <a:gd name="connsiteY36" fmla="*/ 301752 h 468067"/>
                <a:gd name="connsiteX37" fmla="*/ 248383 w 888463"/>
                <a:gd name="connsiteY37" fmla="*/ 219456 h 468067"/>
                <a:gd name="connsiteX38" fmla="*/ 294103 w 888463"/>
                <a:gd name="connsiteY38" fmla="*/ 146304 h 468067"/>
                <a:gd name="connsiteX39" fmla="*/ 294103 w 888463"/>
                <a:gd name="connsiteY39" fmla="*/ 64008 h 468067"/>
                <a:gd name="connsiteX40" fmla="*/ 284959 w 888463"/>
                <a:gd name="connsiteY40" fmla="*/ 54864 h 468067"/>
                <a:gd name="connsiteX41" fmla="*/ 275815 w 888463"/>
                <a:gd name="connsiteY41" fmla="*/ 128016 h 468067"/>
                <a:gd name="connsiteX42" fmla="*/ 248383 w 888463"/>
                <a:gd name="connsiteY42" fmla="*/ 173736 h 468067"/>
                <a:gd name="connsiteX43" fmla="*/ 175231 w 888463"/>
                <a:gd name="connsiteY43" fmla="*/ 237744 h 468067"/>
                <a:gd name="connsiteX44" fmla="*/ 147799 w 888463"/>
                <a:gd name="connsiteY44" fmla="*/ 256032 h 468067"/>
                <a:gd name="connsiteX45" fmla="*/ 74647 w 888463"/>
                <a:gd name="connsiteY45" fmla="*/ 347472 h 468067"/>
                <a:gd name="connsiteX46" fmla="*/ 65503 w 888463"/>
                <a:gd name="connsiteY46" fmla="*/ 374904 h 468067"/>
                <a:gd name="connsiteX47" fmla="*/ 56359 w 888463"/>
                <a:gd name="connsiteY47" fmla="*/ 411480 h 468067"/>
                <a:gd name="connsiteX48" fmla="*/ 74647 w 888463"/>
                <a:gd name="connsiteY48" fmla="*/ 429768 h 468067"/>
                <a:gd name="connsiteX49" fmla="*/ 129278 w 888463"/>
                <a:gd name="connsiteY49" fmla="*/ 448761 h 468067"/>
                <a:gd name="connsiteX50" fmla="*/ 64648 w 888463"/>
                <a:gd name="connsiteY50" fmla="*/ 430387 h 468067"/>
                <a:gd name="connsiteX51" fmla="*/ 64646 w 888463"/>
                <a:gd name="connsiteY51" fmla="*/ 430387 h 468067"/>
                <a:gd name="connsiteX52" fmla="*/ 64646 w 888463"/>
                <a:gd name="connsiteY52" fmla="*/ 430387 h 468067"/>
                <a:gd name="connsiteX53" fmla="*/ 64646 w 888463"/>
                <a:gd name="connsiteY53" fmla="*/ 430387 h 468067"/>
                <a:gd name="connsiteX54" fmla="*/ 64647 w 888463"/>
                <a:gd name="connsiteY54" fmla="*/ 430387 h 468067"/>
                <a:gd name="connsiteX55" fmla="*/ 0 w 888463"/>
                <a:gd name="connsiteY55" fmla="*/ 468067 h 468067"/>
                <a:gd name="connsiteX0" fmla="*/ 4179 w 892642"/>
                <a:gd name="connsiteY0" fmla="*/ 468067 h 468590"/>
                <a:gd name="connsiteX1" fmla="*/ 68825 w 892642"/>
                <a:gd name="connsiteY1" fmla="*/ 430387 h 468590"/>
                <a:gd name="connsiteX2" fmla="*/ 68826 w 892642"/>
                <a:gd name="connsiteY2" fmla="*/ 430387 h 468590"/>
                <a:gd name="connsiteX3" fmla="*/ 68826 w 892642"/>
                <a:gd name="connsiteY3" fmla="*/ 430387 h 468590"/>
                <a:gd name="connsiteX4" fmla="*/ 133457 w 892642"/>
                <a:gd name="connsiteY4" fmla="*/ 448761 h 468590"/>
                <a:gd name="connsiteX5" fmla="*/ 188554 w 892642"/>
                <a:gd name="connsiteY5" fmla="*/ 384048 h 468590"/>
                <a:gd name="connsiteX6" fmla="*/ 380578 w 892642"/>
                <a:gd name="connsiteY6" fmla="*/ 301752 h 468590"/>
                <a:gd name="connsiteX7" fmla="*/ 462874 w 892642"/>
                <a:gd name="connsiteY7" fmla="*/ 192024 h 468590"/>
                <a:gd name="connsiteX8" fmla="*/ 609178 w 892642"/>
                <a:gd name="connsiteY8" fmla="*/ 155448 h 468590"/>
                <a:gd name="connsiteX9" fmla="*/ 654898 w 892642"/>
                <a:gd name="connsiteY9" fmla="*/ 155448 h 468590"/>
                <a:gd name="connsiteX10" fmla="*/ 691474 w 892642"/>
                <a:gd name="connsiteY10" fmla="*/ 137160 h 468590"/>
                <a:gd name="connsiteX11" fmla="*/ 645754 w 892642"/>
                <a:gd name="connsiteY11" fmla="*/ 137160 h 468590"/>
                <a:gd name="connsiteX12" fmla="*/ 554314 w 892642"/>
                <a:gd name="connsiteY12" fmla="*/ 137160 h 468590"/>
                <a:gd name="connsiteX13" fmla="*/ 499450 w 892642"/>
                <a:gd name="connsiteY13" fmla="*/ 146304 h 468590"/>
                <a:gd name="connsiteX14" fmla="*/ 490306 w 892642"/>
                <a:gd name="connsiteY14" fmla="*/ 155448 h 468590"/>
                <a:gd name="connsiteX15" fmla="*/ 472018 w 892642"/>
                <a:gd name="connsiteY15" fmla="*/ 146304 h 468590"/>
                <a:gd name="connsiteX16" fmla="*/ 600034 w 892642"/>
                <a:gd name="connsiteY16" fmla="*/ 91440 h 468590"/>
                <a:gd name="connsiteX17" fmla="*/ 654898 w 892642"/>
                <a:gd name="connsiteY17" fmla="*/ 91440 h 468590"/>
                <a:gd name="connsiteX18" fmla="*/ 746338 w 892642"/>
                <a:gd name="connsiteY18" fmla="*/ 82296 h 468590"/>
                <a:gd name="connsiteX19" fmla="*/ 874354 w 892642"/>
                <a:gd name="connsiteY19" fmla="*/ 27432 h 468590"/>
                <a:gd name="connsiteX20" fmla="*/ 856066 w 892642"/>
                <a:gd name="connsiteY20" fmla="*/ 0 h 468590"/>
                <a:gd name="connsiteX21" fmla="*/ 819490 w 892642"/>
                <a:gd name="connsiteY21" fmla="*/ 27432 h 468590"/>
                <a:gd name="connsiteX22" fmla="*/ 782914 w 892642"/>
                <a:gd name="connsiteY22" fmla="*/ 36576 h 468590"/>
                <a:gd name="connsiteX23" fmla="*/ 709762 w 892642"/>
                <a:gd name="connsiteY23" fmla="*/ 64008 h 468590"/>
                <a:gd name="connsiteX24" fmla="*/ 654898 w 892642"/>
                <a:gd name="connsiteY24" fmla="*/ 64008 h 468590"/>
                <a:gd name="connsiteX25" fmla="*/ 545170 w 892642"/>
                <a:gd name="connsiteY25" fmla="*/ 64008 h 468590"/>
                <a:gd name="connsiteX26" fmla="*/ 490306 w 892642"/>
                <a:gd name="connsiteY26" fmla="*/ 100584 h 468590"/>
                <a:gd name="connsiteX27" fmla="*/ 453730 w 892642"/>
                <a:gd name="connsiteY27" fmla="*/ 146304 h 468590"/>
                <a:gd name="connsiteX28" fmla="*/ 408010 w 892642"/>
                <a:gd name="connsiteY28" fmla="*/ 182880 h 468590"/>
                <a:gd name="connsiteX29" fmla="*/ 362290 w 892642"/>
                <a:gd name="connsiteY29" fmla="*/ 256032 h 468590"/>
                <a:gd name="connsiteX30" fmla="*/ 289138 w 892642"/>
                <a:gd name="connsiteY30" fmla="*/ 301752 h 468590"/>
                <a:gd name="connsiteX31" fmla="*/ 188554 w 892642"/>
                <a:gd name="connsiteY31" fmla="*/ 347472 h 468590"/>
                <a:gd name="connsiteX32" fmla="*/ 151978 w 892642"/>
                <a:gd name="connsiteY32" fmla="*/ 374904 h 468590"/>
                <a:gd name="connsiteX33" fmla="*/ 106258 w 892642"/>
                <a:gd name="connsiteY33" fmla="*/ 402336 h 468590"/>
                <a:gd name="connsiteX34" fmla="*/ 87970 w 892642"/>
                <a:gd name="connsiteY34" fmla="*/ 402336 h 468590"/>
                <a:gd name="connsiteX35" fmla="*/ 106258 w 892642"/>
                <a:gd name="connsiteY35" fmla="*/ 365760 h 468590"/>
                <a:gd name="connsiteX36" fmla="*/ 161122 w 892642"/>
                <a:gd name="connsiteY36" fmla="*/ 301752 h 468590"/>
                <a:gd name="connsiteX37" fmla="*/ 252562 w 892642"/>
                <a:gd name="connsiteY37" fmla="*/ 219456 h 468590"/>
                <a:gd name="connsiteX38" fmla="*/ 298282 w 892642"/>
                <a:gd name="connsiteY38" fmla="*/ 146304 h 468590"/>
                <a:gd name="connsiteX39" fmla="*/ 298282 w 892642"/>
                <a:gd name="connsiteY39" fmla="*/ 64008 h 468590"/>
                <a:gd name="connsiteX40" fmla="*/ 289138 w 892642"/>
                <a:gd name="connsiteY40" fmla="*/ 54864 h 468590"/>
                <a:gd name="connsiteX41" fmla="*/ 279994 w 892642"/>
                <a:gd name="connsiteY41" fmla="*/ 128016 h 468590"/>
                <a:gd name="connsiteX42" fmla="*/ 252562 w 892642"/>
                <a:gd name="connsiteY42" fmla="*/ 173736 h 468590"/>
                <a:gd name="connsiteX43" fmla="*/ 179410 w 892642"/>
                <a:gd name="connsiteY43" fmla="*/ 237744 h 468590"/>
                <a:gd name="connsiteX44" fmla="*/ 151978 w 892642"/>
                <a:gd name="connsiteY44" fmla="*/ 256032 h 468590"/>
                <a:gd name="connsiteX45" fmla="*/ 78826 w 892642"/>
                <a:gd name="connsiteY45" fmla="*/ 347472 h 468590"/>
                <a:gd name="connsiteX46" fmla="*/ 69682 w 892642"/>
                <a:gd name="connsiteY46" fmla="*/ 374904 h 468590"/>
                <a:gd name="connsiteX47" fmla="*/ 60538 w 892642"/>
                <a:gd name="connsiteY47" fmla="*/ 411480 h 468590"/>
                <a:gd name="connsiteX48" fmla="*/ 78826 w 892642"/>
                <a:gd name="connsiteY48" fmla="*/ 429768 h 468590"/>
                <a:gd name="connsiteX49" fmla="*/ 133457 w 892642"/>
                <a:gd name="connsiteY49" fmla="*/ 448761 h 468590"/>
                <a:gd name="connsiteX50" fmla="*/ 68827 w 892642"/>
                <a:gd name="connsiteY50" fmla="*/ 430387 h 468590"/>
                <a:gd name="connsiteX51" fmla="*/ 68825 w 892642"/>
                <a:gd name="connsiteY51" fmla="*/ 430387 h 468590"/>
                <a:gd name="connsiteX52" fmla="*/ 68825 w 892642"/>
                <a:gd name="connsiteY52" fmla="*/ 430387 h 468590"/>
                <a:gd name="connsiteX53" fmla="*/ 68825 w 892642"/>
                <a:gd name="connsiteY53" fmla="*/ 430387 h 468590"/>
                <a:gd name="connsiteX54" fmla="*/ 43751 w 892642"/>
                <a:gd name="connsiteY54" fmla="*/ 433523 h 468590"/>
                <a:gd name="connsiteX55" fmla="*/ 4179 w 892642"/>
                <a:gd name="connsiteY55" fmla="*/ 468067 h 468590"/>
                <a:gd name="connsiteX0" fmla="*/ 4179 w 892642"/>
                <a:gd name="connsiteY0" fmla="*/ 468067 h 483829"/>
                <a:gd name="connsiteX1" fmla="*/ 68825 w 892642"/>
                <a:gd name="connsiteY1" fmla="*/ 430387 h 483829"/>
                <a:gd name="connsiteX2" fmla="*/ 68826 w 892642"/>
                <a:gd name="connsiteY2" fmla="*/ 430387 h 483829"/>
                <a:gd name="connsiteX3" fmla="*/ 68826 w 892642"/>
                <a:gd name="connsiteY3" fmla="*/ 430387 h 483829"/>
                <a:gd name="connsiteX4" fmla="*/ 133457 w 892642"/>
                <a:gd name="connsiteY4" fmla="*/ 448761 h 483829"/>
                <a:gd name="connsiteX5" fmla="*/ 188554 w 892642"/>
                <a:gd name="connsiteY5" fmla="*/ 384048 h 483829"/>
                <a:gd name="connsiteX6" fmla="*/ 380578 w 892642"/>
                <a:gd name="connsiteY6" fmla="*/ 301752 h 483829"/>
                <a:gd name="connsiteX7" fmla="*/ 462874 w 892642"/>
                <a:gd name="connsiteY7" fmla="*/ 192024 h 483829"/>
                <a:gd name="connsiteX8" fmla="*/ 609178 w 892642"/>
                <a:gd name="connsiteY8" fmla="*/ 155448 h 483829"/>
                <a:gd name="connsiteX9" fmla="*/ 654898 w 892642"/>
                <a:gd name="connsiteY9" fmla="*/ 155448 h 483829"/>
                <a:gd name="connsiteX10" fmla="*/ 691474 w 892642"/>
                <a:gd name="connsiteY10" fmla="*/ 137160 h 483829"/>
                <a:gd name="connsiteX11" fmla="*/ 645754 w 892642"/>
                <a:gd name="connsiteY11" fmla="*/ 137160 h 483829"/>
                <a:gd name="connsiteX12" fmla="*/ 554314 w 892642"/>
                <a:gd name="connsiteY12" fmla="*/ 137160 h 483829"/>
                <a:gd name="connsiteX13" fmla="*/ 499450 w 892642"/>
                <a:gd name="connsiteY13" fmla="*/ 146304 h 483829"/>
                <a:gd name="connsiteX14" fmla="*/ 490306 w 892642"/>
                <a:gd name="connsiteY14" fmla="*/ 155448 h 483829"/>
                <a:gd name="connsiteX15" fmla="*/ 472018 w 892642"/>
                <a:gd name="connsiteY15" fmla="*/ 146304 h 483829"/>
                <a:gd name="connsiteX16" fmla="*/ 600034 w 892642"/>
                <a:gd name="connsiteY16" fmla="*/ 91440 h 483829"/>
                <a:gd name="connsiteX17" fmla="*/ 654898 w 892642"/>
                <a:gd name="connsiteY17" fmla="*/ 91440 h 483829"/>
                <a:gd name="connsiteX18" fmla="*/ 746338 w 892642"/>
                <a:gd name="connsiteY18" fmla="*/ 82296 h 483829"/>
                <a:gd name="connsiteX19" fmla="*/ 874354 w 892642"/>
                <a:gd name="connsiteY19" fmla="*/ 27432 h 483829"/>
                <a:gd name="connsiteX20" fmla="*/ 856066 w 892642"/>
                <a:gd name="connsiteY20" fmla="*/ 0 h 483829"/>
                <a:gd name="connsiteX21" fmla="*/ 819490 w 892642"/>
                <a:gd name="connsiteY21" fmla="*/ 27432 h 483829"/>
                <a:gd name="connsiteX22" fmla="*/ 782914 w 892642"/>
                <a:gd name="connsiteY22" fmla="*/ 36576 h 483829"/>
                <a:gd name="connsiteX23" fmla="*/ 709762 w 892642"/>
                <a:gd name="connsiteY23" fmla="*/ 64008 h 483829"/>
                <a:gd name="connsiteX24" fmla="*/ 654898 w 892642"/>
                <a:gd name="connsiteY24" fmla="*/ 64008 h 483829"/>
                <a:gd name="connsiteX25" fmla="*/ 545170 w 892642"/>
                <a:gd name="connsiteY25" fmla="*/ 64008 h 483829"/>
                <a:gd name="connsiteX26" fmla="*/ 490306 w 892642"/>
                <a:gd name="connsiteY26" fmla="*/ 100584 h 483829"/>
                <a:gd name="connsiteX27" fmla="*/ 453730 w 892642"/>
                <a:gd name="connsiteY27" fmla="*/ 146304 h 483829"/>
                <a:gd name="connsiteX28" fmla="*/ 408010 w 892642"/>
                <a:gd name="connsiteY28" fmla="*/ 182880 h 483829"/>
                <a:gd name="connsiteX29" fmla="*/ 362290 w 892642"/>
                <a:gd name="connsiteY29" fmla="*/ 256032 h 483829"/>
                <a:gd name="connsiteX30" fmla="*/ 289138 w 892642"/>
                <a:gd name="connsiteY30" fmla="*/ 301752 h 483829"/>
                <a:gd name="connsiteX31" fmla="*/ 188554 w 892642"/>
                <a:gd name="connsiteY31" fmla="*/ 347472 h 483829"/>
                <a:gd name="connsiteX32" fmla="*/ 151978 w 892642"/>
                <a:gd name="connsiteY32" fmla="*/ 374904 h 483829"/>
                <a:gd name="connsiteX33" fmla="*/ 106258 w 892642"/>
                <a:gd name="connsiteY33" fmla="*/ 402336 h 483829"/>
                <a:gd name="connsiteX34" fmla="*/ 87970 w 892642"/>
                <a:gd name="connsiteY34" fmla="*/ 402336 h 483829"/>
                <a:gd name="connsiteX35" fmla="*/ 106258 w 892642"/>
                <a:gd name="connsiteY35" fmla="*/ 365760 h 483829"/>
                <a:gd name="connsiteX36" fmla="*/ 161122 w 892642"/>
                <a:gd name="connsiteY36" fmla="*/ 301752 h 483829"/>
                <a:gd name="connsiteX37" fmla="*/ 252562 w 892642"/>
                <a:gd name="connsiteY37" fmla="*/ 219456 h 483829"/>
                <a:gd name="connsiteX38" fmla="*/ 298282 w 892642"/>
                <a:gd name="connsiteY38" fmla="*/ 146304 h 483829"/>
                <a:gd name="connsiteX39" fmla="*/ 298282 w 892642"/>
                <a:gd name="connsiteY39" fmla="*/ 64008 h 483829"/>
                <a:gd name="connsiteX40" fmla="*/ 289138 w 892642"/>
                <a:gd name="connsiteY40" fmla="*/ 54864 h 483829"/>
                <a:gd name="connsiteX41" fmla="*/ 279994 w 892642"/>
                <a:gd name="connsiteY41" fmla="*/ 128016 h 483829"/>
                <a:gd name="connsiteX42" fmla="*/ 252562 w 892642"/>
                <a:gd name="connsiteY42" fmla="*/ 173736 h 483829"/>
                <a:gd name="connsiteX43" fmla="*/ 179410 w 892642"/>
                <a:gd name="connsiteY43" fmla="*/ 237744 h 483829"/>
                <a:gd name="connsiteX44" fmla="*/ 151978 w 892642"/>
                <a:gd name="connsiteY44" fmla="*/ 256032 h 483829"/>
                <a:gd name="connsiteX45" fmla="*/ 78826 w 892642"/>
                <a:gd name="connsiteY45" fmla="*/ 347472 h 483829"/>
                <a:gd name="connsiteX46" fmla="*/ 69682 w 892642"/>
                <a:gd name="connsiteY46" fmla="*/ 374904 h 483829"/>
                <a:gd name="connsiteX47" fmla="*/ 60538 w 892642"/>
                <a:gd name="connsiteY47" fmla="*/ 411480 h 483829"/>
                <a:gd name="connsiteX48" fmla="*/ 78826 w 892642"/>
                <a:gd name="connsiteY48" fmla="*/ 429768 h 483829"/>
                <a:gd name="connsiteX49" fmla="*/ 133457 w 892642"/>
                <a:gd name="connsiteY49" fmla="*/ 448761 h 483829"/>
                <a:gd name="connsiteX50" fmla="*/ 68827 w 892642"/>
                <a:gd name="connsiteY50" fmla="*/ 430387 h 483829"/>
                <a:gd name="connsiteX51" fmla="*/ 68825 w 892642"/>
                <a:gd name="connsiteY51" fmla="*/ 430387 h 483829"/>
                <a:gd name="connsiteX52" fmla="*/ 68825 w 892642"/>
                <a:gd name="connsiteY52" fmla="*/ 430387 h 483829"/>
                <a:gd name="connsiteX53" fmla="*/ 93886 w 892642"/>
                <a:gd name="connsiteY53" fmla="*/ 483306 h 483829"/>
                <a:gd name="connsiteX54" fmla="*/ 43751 w 892642"/>
                <a:gd name="connsiteY54" fmla="*/ 433523 h 483829"/>
                <a:gd name="connsiteX55" fmla="*/ 4179 w 892642"/>
                <a:gd name="connsiteY55" fmla="*/ 468067 h 483829"/>
                <a:gd name="connsiteX0" fmla="*/ 4179 w 892642"/>
                <a:gd name="connsiteY0" fmla="*/ 468067 h 483829"/>
                <a:gd name="connsiteX1" fmla="*/ 68825 w 892642"/>
                <a:gd name="connsiteY1" fmla="*/ 430387 h 483829"/>
                <a:gd name="connsiteX2" fmla="*/ 68826 w 892642"/>
                <a:gd name="connsiteY2" fmla="*/ 430387 h 483829"/>
                <a:gd name="connsiteX3" fmla="*/ 68826 w 892642"/>
                <a:gd name="connsiteY3" fmla="*/ 430387 h 483829"/>
                <a:gd name="connsiteX4" fmla="*/ 133457 w 892642"/>
                <a:gd name="connsiteY4" fmla="*/ 448761 h 483829"/>
                <a:gd name="connsiteX5" fmla="*/ 188554 w 892642"/>
                <a:gd name="connsiteY5" fmla="*/ 384048 h 483829"/>
                <a:gd name="connsiteX6" fmla="*/ 380578 w 892642"/>
                <a:gd name="connsiteY6" fmla="*/ 301752 h 483829"/>
                <a:gd name="connsiteX7" fmla="*/ 462874 w 892642"/>
                <a:gd name="connsiteY7" fmla="*/ 192024 h 483829"/>
                <a:gd name="connsiteX8" fmla="*/ 609178 w 892642"/>
                <a:gd name="connsiteY8" fmla="*/ 155448 h 483829"/>
                <a:gd name="connsiteX9" fmla="*/ 654898 w 892642"/>
                <a:gd name="connsiteY9" fmla="*/ 155448 h 483829"/>
                <a:gd name="connsiteX10" fmla="*/ 691474 w 892642"/>
                <a:gd name="connsiteY10" fmla="*/ 137160 h 483829"/>
                <a:gd name="connsiteX11" fmla="*/ 645754 w 892642"/>
                <a:gd name="connsiteY11" fmla="*/ 137160 h 483829"/>
                <a:gd name="connsiteX12" fmla="*/ 554314 w 892642"/>
                <a:gd name="connsiteY12" fmla="*/ 137160 h 483829"/>
                <a:gd name="connsiteX13" fmla="*/ 499450 w 892642"/>
                <a:gd name="connsiteY13" fmla="*/ 146304 h 483829"/>
                <a:gd name="connsiteX14" fmla="*/ 490306 w 892642"/>
                <a:gd name="connsiteY14" fmla="*/ 155448 h 483829"/>
                <a:gd name="connsiteX15" fmla="*/ 472018 w 892642"/>
                <a:gd name="connsiteY15" fmla="*/ 146304 h 483829"/>
                <a:gd name="connsiteX16" fmla="*/ 600034 w 892642"/>
                <a:gd name="connsiteY16" fmla="*/ 91440 h 483829"/>
                <a:gd name="connsiteX17" fmla="*/ 654898 w 892642"/>
                <a:gd name="connsiteY17" fmla="*/ 91440 h 483829"/>
                <a:gd name="connsiteX18" fmla="*/ 746338 w 892642"/>
                <a:gd name="connsiteY18" fmla="*/ 82296 h 483829"/>
                <a:gd name="connsiteX19" fmla="*/ 874354 w 892642"/>
                <a:gd name="connsiteY19" fmla="*/ 27432 h 483829"/>
                <a:gd name="connsiteX20" fmla="*/ 856066 w 892642"/>
                <a:gd name="connsiteY20" fmla="*/ 0 h 483829"/>
                <a:gd name="connsiteX21" fmla="*/ 819490 w 892642"/>
                <a:gd name="connsiteY21" fmla="*/ 27432 h 483829"/>
                <a:gd name="connsiteX22" fmla="*/ 782914 w 892642"/>
                <a:gd name="connsiteY22" fmla="*/ 36576 h 483829"/>
                <a:gd name="connsiteX23" fmla="*/ 709762 w 892642"/>
                <a:gd name="connsiteY23" fmla="*/ 64008 h 483829"/>
                <a:gd name="connsiteX24" fmla="*/ 654898 w 892642"/>
                <a:gd name="connsiteY24" fmla="*/ 64008 h 483829"/>
                <a:gd name="connsiteX25" fmla="*/ 545170 w 892642"/>
                <a:gd name="connsiteY25" fmla="*/ 64008 h 483829"/>
                <a:gd name="connsiteX26" fmla="*/ 490306 w 892642"/>
                <a:gd name="connsiteY26" fmla="*/ 100584 h 483829"/>
                <a:gd name="connsiteX27" fmla="*/ 453730 w 892642"/>
                <a:gd name="connsiteY27" fmla="*/ 146304 h 483829"/>
                <a:gd name="connsiteX28" fmla="*/ 408010 w 892642"/>
                <a:gd name="connsiteY28" fmla="*/ 182880 h 483829"/>
                <a:gd name="connsiteX29" fmla="*/ 362290 w 892642"/>
                <a:gd name="connsiteY29" fmla="*/ 256032 h 483829"/>
                <a:gd name="connsiteX30" fmla="*/ 289138 w 892642"/>
                <a:gd name="connsiteY30" fmla="*/ 301752 h 483829"/>
                <a:gd name="connsiteX31" fmla="*/ 188554 w 892642"/>
                <a:gd name="connsiteY31" fmla="*/ 347472 h 483829"/>
                <a:gd name="connsiteX32" fmla="*/ 151978 w 892642"/>
                <a:gd name="connsiteY32" fmla="*/ 374904 h 483829"/>
                <a:gd name="connsiteX33" fmla="*/ 106258 w 892642"/>
                <a:gd name="connsiteY33" fmla="*/ 402336 h 483829"/>
                <a:gd name="connsiteX34" fmla="*/ 87970 w 892642"/>
                <a:gd name="connsiteY34" fmla="*/ 402336 h 483829"/>
                <a:gd name="connsiteX35" fmla="*/ 106258 w 892642"/>
                <a:gd name="connsiteY35" fmla="*/ 365760 h 483829"/>
                <a:gd name="connsiteX36" fmla="*/ 161122 w 892642"/>
                <a:gd name="connsiteY36" fmla="*/ 301752 h 483829"/>
                <a:gd name="connsiteX37" fmla="*/ 252562 w 892642"/>
                <a:gd name="connsiteY37" fmla="*/ 219456 h 483829"/>
                <a:gd name="connsiteX38" fmla="*/ 298282 w 892642"/>
                <a:gd name="connsiteY38" fmla="*/ 146304 h 483829"/>
                <a:gd name="connsiteX39" fmla="*/ 298282 w 892642"/>
                <a:gd name="connsiteY39" fmla="*/ 64008 h 483829"/>
                <a:gd name="connsiteX40" fmla="*/ 289138 w 892642"/>
                <a:gd name="connsiteY40" fmla="*/ 54864 h 483829"/>
                <a:gd name="connsiteX41" fmla="*/ 279994 w 892642"/>
                <a:gd name="connsiteY41" fmla="*/ 128016 h 483829"/>
                <a:gd name="connsiteX42" fmla="*/ 252562 w 892642"/>
                <a:gd name="connsiteY42" fmla="*/ 173736 h 483829"/>
                <a:gd name="connsiteX43" fmla="*/ 179410 w 892642"/>
                <a:gd name="connsiteY43" fmla="*/ 237744 h 483829"/>
                <a:gd name="connsiteX44" fmla="*/ 151978 w 892642"/>
                <a:gd name="connsiteY44" fmla="*/ 256032 h 483829"/>
                <a:gd name="connsiteX45" fmla="*/ 78826 w 892642"/>
                <a:gd name="connsiteY45" fmla="*/ 347472 h 483829"/>
                <a:gd name="connsiteX46" fmla="*/ 69682 w 892642"/>
                <a:gd name="connsiteY46" fmla="*/ 374904 h 483829"/>
                <a:gd name="connsiteX47" fmla="*/ 60538 w 892642"/>
                <a:gd name="connsiteY47" fmla="*/ 411480 h 483829"/>
                <a:gd name="connsiteX48" fmla="*/ 78826 w 892642"/>
                <a:gd name="connsiteY48" fmla="*/ 429768 h 483829"/>
                <a:gd name="connsiteX49" fmla="*/ 133457 w 892642"/>
                <a:gd name="connsiteY49" fmla="*/ 448761 h 483829"/>
                <a:gd name="connsiteX50" fmla="*/ 68827 w 892642"/>
                <a:gd name="connsiteY50" fmla="*/ 430387 h 483829"/>
                <a:gd name="connsiteX51" fmla="*/ 68825 w 892642"/>
                <a:gd name="connsiteY51" fmla="*/ 430387 h 483829"/>
                <a:gd name="connsiteX52" fmla="*/ 93887 w 892642"/>
                <a:gd name="connsiteY52" fmla="*/ 483305 h 483829"/>
                <a:gd name="connsiteX53" fmla="*/ 93886 w 892642"/>
                <a:gd name="connsiteY53" fmla="*/ 483306 h 483829"/>
                <a:gd name="connsiteX54" fmla="*/ 43751 w 892642"/>
                <a:gd name="connsiteY54" fmla="*/ 433523 h 483829"/>
                <a:gd name="connsiteX55" fmla="*/ 4179 w 892642"/>
                <a:gd name="connsiteY55" fmla="*/ 468067 h 483829"/>
                <a:gd name="connsiteX0" fmla="*/ 4179 w 892642"/>
                <a:gd name="connsiteY0" fmla="*/ 468067 h 483829"/>
                <a:gd name="connsiteX1" fmla="*/ 68825 w 892642"/>
                <a:gd name="connsiteY1" fmla="*/ 430387 h 483829"/>
                <a:gd name="connsiteX2" fmla="*/ 68826 w 892642"/>
                <a:gd name="connsiteY2" fmla="*/ 430387 h 483829"/>
                <a:gd name="connsiteX3" fmla="*/ 68826 w 892642"/>
                <a:gd name="connsiteY3" fmla="*/ 430387 h 483829"/>
                <a:gd name="connsiteX4" fmla="*/ 133457 w 892642"/>
                <a:gd name="connsiteY4" fmla="*/ 448761 h 483829"/>
                <a:gd name="connsiteX5" fmla="*/ 188554 w 892642"/>
                <a:gd name="connsiteY5" fmla="*/ 384048 h 483829"/>
                <a:gd name="connsiteX6" fmla="*/ 380578 w 892642"/>
                <a:gd name="connsiteY6" fmla="*/ 301752 h 483829"/>
                <a:gd name="connsiteX7" fmla="*/ 462874 w 892642"/>
                <a:gd name="connsiteY7" fmla="*/ 192024 h 483829"/>
                <a:gd name="connsiteX8" fmla="*/ 609178 w 892642"/>
                <a:gd name="connsiteY8" fmla="*/ 155448 h 483829"/>
                <a:gd name="connsiteX9" fmla="*/ 654898 w 892642"/>
                <a:gd name="connsiteY9" fmla="*/ 155448 h 483829"/>
                <a:gd name="connsiteX10" fmla="*/ 691474 w 892642"/>
                <a:gd name="connsiteY10" fmla="*/ 137160 h 483829"/>
                <a:gd name="connsiteX11" fmla="*/ 645754 w 892642"/>
                <a:gd name="connsiteY11" fmla="*/ 137160 h 483829"/>
                <a:gd name="connsiteX12" fmla="*/ 554314 w 892642"/>
                <a:gd name="connsiteY12" fmla="*/ 137160 h 483829"/>
                <a:gd name="connsiteX13" fmla="*/ 499450 w 892642"/>
                <a:gd name="connsiteY13" fmla="*/ 146304 h 483829"/>
                <a:gd name="connsiteX14" fmla="*/ 490306 w 892642"/>
                <a:gd name="connsiteY14" fmla="*/ 155448 h 483829"/>
                <a:gd name="connsiteX15" fmla="*/ 472018 w 892642"/>
                <a:gd name="connsiteY15" fmla="*/ 146304 h 483829"/>
                <a:gd name="connsiteX16" fmla="*/ 600034 w 892642"/>
                <a:gd name="connsiteY16" fmla="*/ 91440 h 483829"/>
                <a:gd name="connsiteX17" fmla="*/ 654898 w 892642"/>
                <a:gd name="connsiteY17" fmla="*/ 91440 h 483829"/>
                <a:gd name="connsiteX18" fmla="*/ 746338 w 892642"/>
                <a:gd name="connsiteY18" fmla="*/ 82296 h 483829"/>
                <a:gd name="connsiteX19" fmla="*/ 874354 w 892642"/>
                <a:gd name="connsiteY19" fmla="*/ 27432 h 483829"/>
                <a:gd name="connsiteX20" fmla="*/ 856066 w 892642"/>
                <a:gd name="connsiteY20" fmla="*/ 0 h 483829"/>
                <a:gd name="connsiteX21" fmla="*/ 819490 w 892642"/>
                <a:gd name="connsiteY21" fmla="*/ 27432 h 483829"/>
                <a:gd name="connsiteX22" fmla="*/ 782914 w 892642"/>
                <a:gd name="connsiteY22" fmla="*/ 36576 h 483829"/>
                <a:gd name="connsiteX23" fmla="*/ 709762 w 892642"/>
                <a:gd name="connsiteY23" fmla="*/ 64008 h 483829"/>
                <a:gd name="connsiteX24" fmla="*/ 654898 w 892642"/>
                <a:gd name="connsiteY24" fmla="*/ 64008 h 483829"/>
                <a:gd name="connsiteX25" fmla="*/ 545170 w 892642"/>
                <a:gd name="connsiteY25" fmla="*/ 64008 h 483829"/>
                <a:gd name="connsiteX26" fmla="*/ 490306 w 892642"/>
                <a:gd name="connsiteY26" fmla="*/ 100584 h 483829"/>
                <a:gd name="connsiteX27" fmla="*/ 453730 w 892642"/>
                <a:gd name="connsiteY27" fmla="*/ 146304 h 483829"/>
                <a:gd name="connsiteX28" fmla="*/ 408010 w 892642"/>
                <a:gd name="connsiteY28" fmla="*/ 182880 h 483829"/>
                <a:gd name="connsiteX29" fmla="*/ 362290 w 892642"/>
                <a:gd name="connsiteY29" fmla="*/ 256032 h 483829"/>
                <a:gd name="connsiteX30" fmla="*/ 289138 w 892642"/>
                <a:gd name="connsiteY30" fmla="*/ 301752 h 483829"/>
                <a:gd name="connsiteX31" fmla="*/ 188554 w 892642"/>
                <a:gd name="connsiteY31" fmla="*/ 347472 h 483829"/>
                <a:gd name="connsiteX32" fmla="*/ 151978 w 892642"/>
                <a:gd name="connsiteY32" fmla="*/ 374904 h 483829"/>
                <a:gd name="connsiteX33" fmla="*/ 106258 w 892642"/>
                <a:gd name="connsiteY33" fmla="*/ 402336 h 483829"/>
                <a:gd name="connsiteX34" fmla="*/ 87970 w 892642"/>
                <a:gd name="connsiteY34" fmla="*/ 402336 h 483829"/>
                <a:gd name="connsiteX35" fmla="*/ 106258 w 892642"/>
                <a:gd name="connsiteY35" fmla="*/ 365760 h 483829"/>
                <a:gd name="connsiteX36" fmla="*/ 161122 w 892642"/>
                <a:gd name="connsiteY36" fmla="*/ 301752 h 483829"/>
                <a:gd name="connsiteX37" fmla="*/ 252562 w 892642"/>
                <a:gd name="connsiteY37" fmla="*/ 219456 h 483829"/>
                <a:gd name="connsiteX38" fmla="*/ 298282 w 892642"/>
                <a:gd name="connsiteY38" fmla="*/ 146304 h 483829"/>
                <a:gd name="connsiteX39" fmla="*/ 298282 w 892642"/>
                <a:gd name="connsiteY39" fmla="*/ 64008 h 483829"/>
                <a:gd name="connsiteX40" fmla="*/ 289138 w 892642"/>
                <a:gd name="connsiteY40" fmla="*/ 54864 h 483829"/>
                <a:gd name="connsiteX41" fmla="*/ 279994 w 892642"/>
                <a:gd name="connsiteY41" fmla="*/ 128016 h 483829"/>
                <a:gd name="connsiteX42" fmla="*/ 252562 w 892642"/>
                <a:gd name="connsiteY42" fmla="*/ 173736 h 483829"/>
                <a:gd name="connsiteX43" fmla="*/ 179410 w 892642"/>
                <a:gd name="connsiteY43" fmla="*/ 237744 h 483829"/>
                <a:gd name="connsiteX44" fmla="*/ 151978 w 892642"/>
                <a:gd name="connsiteY44" fmla="*/ 256032 h 483829"/>
                <a:gd name="connsiteX45" fmla="*/ 78826 w 892642"/>
                <a:gd name="connsiteY45" fmla="*/ 347472 h 483829"/>
                <a:gd name="connsiteX46" fmla="*/ 69682 w 892642"/>
                <a:gd name="connsiteY46" fmla="*/ 374904 h 483829"/>
                <a:gd name="connsiteX47" fmla="*/ 60538 w 892642"/>
                <a:gd name="connsiteY47" fmla="*/ 411480 h 483829"/>
                <a:gd name="connsiteX48" fmla="*/ 78826 w 892642"/>
                <a:gd name="connsiteY48" fmla="*/ 429768 h 483829"/>
                <a:gd name="connsiteX49" fmla="*/ 133457 w 892642"/>
                <a:gd name="connsiteY49" fmla="*/ 448761 h 483829"/>
                <a:gd name="connsiteX50" fmla="*/ 68827 w 892642"/>
                <a:gd name="connsiteY50" fmla="*/ 430387 h 483829"/>
                <a:gd name="connsiteX51" fmla="*/ 93887 w 892642"/>
                <a:gd name="connsiteY51" fmla="*/ 483305 h 483829"/>
                <a:gd name="connsiteX52" fmla="*/ 93887 w 892642"/>
                <a:gd name="connsiteY52" fmla="*/ 483305 h 483829"/>
                <a:gd name="connsiteX53" fmla="*/ 93886 w 892642"/>
                <a:gd name="connsiteY53" fmla="*/ 483306 h 483829"/>
                <a:gd name="connsiteX54" fmla="*/ 43751 w 892642"/>
                <a:gd name="connsiteY54" fmla="*/ 433523 h 483829"/>
                <a:gd name="connsiteX55" fmla="*/ 4179 w 892642"/>
                <a:gd name="connsiteY55" fmla="*/ 468067 h 483829"/>
                <a:gd name="connsiteX0" fmla="*/ 13188 w 901651"/>
                <a:gd name="connsiteY0" fmla="*/ 468067 h 483829"/>
                <a:gd name="connsiteX1" fmla="*/ 77834 w 901651"/>
                <a:gd name="connsiteY1" fmla="*/ 430387 h 483829"/>
                <a:gd name="connsiteX2" fmla="*/ 77835 w 901651"/>
                <a:gd name="connsiteY2" fmla="*/ 430387 h 483829"/>
                <a:gd name="connsiteX3" fmla="*/ 77835 w 901651"/>
                <a:gd name="connsiteY3" fmla="*/ 430387 h 483829"/>
                <a:gd name="connsiteX4" fmla="*/ 142466 w 901651"/>
                <a:gd name="connsiteY4" fmla="*/ 448761 h 483829"/>
                <a:gd name="connsiteX5" fmla="*/ 197563 w 901651"/>
                <a:gd name="connsiteY5" fmla="*/ 384048 h 483829"/>
                <a:gd name="connsiteX6" fmla="*/ 389587 w 901651"/>
                <a:gd name="connsiteY6" fmla="*/ 301752 h 483829"/>
                <a:gd name="connsiteX7" fmla="*/ 471883 w 901651"/>
                <a:gd name="connsiteY7" fmla="*/ 192024 h 483829"/>
                <a:gd name="connsiteX8" fmla="*/ 618187 w 901651"/>
                <a:gd name="connsiteY8" fmla="*/ 155448 h 483829"/>
                <a:gd name="connsiteX9" fmla="*/ 663907 w 901651"/>
                <a:gd name="connsiteY9" fmla="*/ 155448 h 483829"/>
                <a:gd name="connsiteX10" fmla="*/ 700483 w 901651"/>
                <a:gd name="connsiteY10" fmla="*/ 137160 h 483829"/>
                <a:gd name="connsiteX11" fmla="*/ 654763 w 901651"/>
                <a:gd name="connsiteY11" fmla="*/ 137160 h 483829"/>
                <a:gd name="connsiteX12" fmla="*/ 563323 w 901651"/>
                <a:gd name="connsiteY12" fmla="*/ 137160 h 483829"/>
                <a:gd name="connsiteX13" fmla="*/ 508459 w 901651"/>
                <a:gd name="connsiteY13" fmla="*/ 146304 h 483829"/>
                <a:gd name="connsiteX14" fmla="*/ 499315 w 901651"/>
                <a:gd name="connsiteY14" fmla="*/ 155448 h 483829"/>
                <a:gd name="connsiteX15" fmla="*/ 481027 w 901651"/>
                <a:gd name="connsiteY15" fmla="*/ 146304 h 483829"/>
                <a:gd name="connsiteX16" fmla="*/ 609043 w 901651"/>
                <a:gd name="connsiteY16" fmla="*/ 91440 h 483829"/>
                <a:gd name="connsiteX17" fmla="*/ 663907 w 901651"/>
                <a:gd name="connsiteY17" fmla="*/ 91440 h 483829"/>
                <a:gd name="connsiteX18" fmla="*/ 755347 w 901651"/>
                <a:gd name="connsiteY18" fmla="*/ 82296 h 483829"/>
                <a:gd name="connsiteX19" fmla="*/ 883363 w 901651"/>
                <a:gd name="connsiteY19" fmla="*/ 27432 h 483829"/>
                <a:gd name="connsiteX20" fmla="*/ 865075 w 901651"/>
                <a:gd name="connsiteY20" fmla="*/ 0 h 483829"/>
                <a:gd name="connsiteX21" fmla="*/ 828499 w 901651"/>
                <a:gd name="connsiteY21" fmla="*/ 27432 h 483829"/>
                <a:gd name="connsiteX22" fmla="*/ 791923 w 901651"/>
                <a:gd name="connsiteY22" fmla="*/ 36576 h 483829"/>
                <a:gd name="connsiteX23" fmla="*/ 718771 w 901651"/>
                <a:gd name="connsiteY23" fmla="*/ 64008 h 483829"/>
                <a:gd name="connsiteX24" fmla="*/ 663907 w 901651"/>
                <a:gd name="connsiteY24" fmla="*/ 64008 h 483829"/>
                <a:gd name="connsiteX25" fmla="*/ 554179 w 901651"/>
                <a:gd name="connsiteY25" fmla="*/ 64008 h 483829"/>
                <a:gd name="connsiteX26" fmla="*/ 499315 w 901651"/>
                <a:gd name="connsiteY26" fmla="*/ 100584 h 483829"/>
                <a:gd name="connsiteX27" fmla="*/ 462739 w 901651"/>
                <a:gd name="connsiteY27" fmla="*/ 146304 h 483829"/>
                <a:gd name="connsiteX28" fmla="*/ 417019 w 901651"/>
                <a:gd name="connsiteY28" fmla="*/ 182880 h 483829"/>
                <a:gd name="connsiteX29" fmla="*/ 371299 w 901651"/>
                <a:gd name="connsiteY29" fmla="*/ 256032 h 483829"/>
                <a:gd name="connsiteX30" fmla="*/ 298147 w 901651"/>
                <a:gd name="connsiteY30" fmla="*/ 301752 h 483829"/>
                <a:gd name="connsiteX31" fmla="*/ 197563 w 901651"/>
                <a:gd name="connsiteY31" fmla="*/ 347472 h 483829"/>
                <a:gd name="connsiteX32" fmla="*/ 160987 w 901651"/>
                <a:gd name="connsiteY32" fmla="*/ 374904 h 483829"/>
                <a:gd name="connsiteX33" fmla="*/ 115267 w 901651"/>
                <a:gd name="connsiteY33" fmla="*/ 402336 h 483829"/>
                <a:gd name="connsiteX34" fmla="*/ 96979 w 901651"/>
                <a:gd name="connsiteY34" fmla="*/ 402336 h 483829"/>
                <a:gd name="connsiteX35" fmla="*/ 115267 w 901651"/>
                <a:gd name="connsiteY35" fmla="*/ 365760 h 483829"/>
                <a:gd name="connsiteX36" fmla="*/ 170131 w 901651"/>
                <a:gd name="connsiteY36" fmla="*/ 301752 h 483829"/>
                <a:gd name="connsiteX37" fmla="*/ 261571 w 901651"/>
                <a:gd name="connsiteY37" fmla="*/ 219456 h 483829"/>
                <a:gd name="connsiteX38" fmla="*/ 307291 w 901651"/>
                <a:gd name="connsiteY38" fmla="*/ 146304 h 483829"/>
                <a:gd name="connsiteX39" fmla="*/ 307291 w 901651"/>
                <a:gd name="connsiteY39" fmla="*/ 64008 h 483829"/>
                <a:gd name="connsiteX40" fmla="*/ 298147 w 901651"/>
                <a:gd name="connsiteY40" fmla="*/ 54864 h 483829"/>
                <a:gd name="connsiteX41" fmla="*/ 289003 w 901651"/>
                <a:gd name="connsiteY41" fmla="*/ 128016 h 483829"/>
                <a:gd name="connsiteX42" fmla="*/ 261571 w 901651"/>
                <a:gd name="connsiteY42" fmla="*/ 173736 h 483829"/>
                <a:gd name="connsiteX43" fmla="*/ 188419 w 901651"/>
                <a:gd name="connsiteY43" fmla="*/ 237744 h 483829"/>
                <a:gd name="connsiteX44" fmla="*/ 160987 w 901651"/>
                <a:gd name="connsiteY44" fmla="*/ 256032 h 483829"/>
                <a:gd name="connsiteX45" fmla="*/ 87835 w 901651"/>
                <a:gd name="connsiteY45" fmla="*/ 347472 h 483829"/>
                <a:gd name="connsiteX46" fmla="*/ 78691 w 901651"/>
                <a:gd name="connsiteY46" fmla="*/ 374904 h 483829"/>
                <a:gd name="connsiteX47" fmla="*/ 69547 w 901651"/>
                <a:gd name="connsiteY47" fmla="*/ 411480 h 483829"/>
                <a:gd name="connsiteX48" fmla="*/ 87835 w 901651"/>
                <a:gd name="connsiteY48" fmla="*/ 429768 h 483829"/>
                <a:gd name="connsiteX49" fmla="*/ 142466 w 901651"/>
                <a:gd name="connsiteY49" fmla="*/ 448761 h 483829"/>
                <a:gd name="connsiteX50" fmla="*/ 77836 w 901651"/>
                <a:gd name="connsiteY50" fmla="*/ 430387 h 483829"/>
                <a:gd name="connsiteX51" fmla="*/ 102896 w 901651"/>
                <a:gd name="connsiteY51" fmla="*/ 483305 h 483829"/>
                <a:gd name="connsiteX52" fmla="*/ 102896 w 901651"/>
                <a:gd name="connsiteY52" fmla="*/ 483305 h 483829"/>
                <a:gd name="connsiteX53" fmla="*/ 102895 w 901651"/>
                <a:gd name="connsiteY53" fmla="*/ 483306 h 483829"/>
                <a:gd name="connsiteX54" fmla="*/ 13190 w 901651"/>
                <a:gd name="connsiteY54" fmla="*/ 468067 h 483829"/>
                <a:gd name="connsiteX55" fmla="*/ 13188 w 901651"/>
                <a:gd name="connsiteY55" fmla="*/ 468067 h 483829"/>
                <a:gd name="connsiteX0" fmla="*/ 13189 w 901652"/>
                <a:gd name="connsiteY0" fmla="*/ 468067 h 483829"/>
                <a:gd name="connsiteX1" fmla="*/ 77835 w 901652"/>
                <a:gd name="connsiteY1" fmla="*/ 430387 h 483829"/>
                <a:gd name="connsiteX2" fmla="*/ 77836 w 901652"/>
                <a:gd name="connsiteY2" fmla="*/ 430387 h 483829"/>
                <a:gd name="connsiteX3" fmla="*/ 77836 w 901652"/>
                <a:gd name="connsiteY3" fmla="*/ 430387 h 483829"/>
                <a:gd name="connsiteX4" fmla="*/ 142467 w 901652"/>
                <a:gd name="connsiteY4" fmla="*/ 448761 h 483829"/>
                <a:gd name="connsiteX5" fmla="*/ 197564 w 901652"/>
                <a:gd name="connsiteY5" fmla="*/ 384048 h 483829"/>
                <a:gd name="connsiteX6" fmla="*/ 389588 w 901652"/>
                <a:gd name="connsiteY6" fmla="*/ 301752 h 483829"/>
                <a:gd name="connsiteX7" fmla="*/ 471884 w 901652"/>
                <a:gd name="connsiteY7" fmla="*/ 192024 h 483829"/>
                <a:gd name="connsiteX8" fmla="*/ 618188 w 901652"/>
                <a:gd name="connsiteY8" fmla="*/ 155448 h 483829"/>
                <a:gd name="connsiteX9" fmla="*/ 663908 w 901652"/>
                <a:gd name="connsiteY9" fmla="*/ 155448 h 483829"/>
                <a:gd name="connsiteX10" fmla="*/ 700484 w 901652"/>
                <a:gd name="connsiteY10" fmla="*/ 137160 h 483829"/>
                <a:gd name="connsiteX11" fmla="*/ 654764 w 901652"/>
                <a:gd name="connsiteY11" fmla="*/ 137160 h 483829"/>
                <a:gd name="connsiteX12" fmla="*/ 563324 w 901652"/>
                <a:gd name="connsiteY12" fmla="*/ 137160 h 483829"/>
                <a:gd name="connsiteX13" fmla="*/ 508460 w 901652"/>
                <a:gd name="connsiteY13" fmla="*/ 146304 h 483829"/>
                <a:gd name="connsiteX14" fmla="*/ 499316 w 901652"/>
                <a:gd name="connsiteY14" fmla="*/ 155448 h 483829"/>
                <a:gd name="connsiteX15" fmla="*/ 481028 w 901652"/>
                <a:gd name="connsiteY15" fmla="*/ 146304 h 483829"/>
                <a:gd name="connsiteX16" fmla="*/ 609044 w 901652"/>
                <a:gd name="connsiteY16" fmla="*/ 91440 h 483829"/>
                <a:gd name="connsiteX17" fmla="*/ 663908 w 901652"/>
                <a:gd name="connsiteY17" fmla="*/ 91440 h 483829"/>
                <a:gd name="connsiteX18" fmla="*/ 755348 w 901652"/>
                <a:gd name="connsiteY18" fmla="*/ 82296 h 483829"/>
                <a:gd name="connsiteX19" fmla="*/ 883364 w 901652"/>
                <a:gd name="connsiteY19" fmla="*/ 27432 h 483829"/>
                <a:gd name="connsiteX20" fmla="*/ 865076 w 901652"/>
                <a:gd name="connsiteY20" fmla="*/ 0 h 483829"/>
                <a:gd name="connsiteX21" fmla="*/ 828500 w 901652"/>
                <a:gd name="connsiteY21" fmla="*/ 27432 h 483829"/>
                <a:gd name="connsiteX22" fmla="*/ 791924 w 901652"/>
                <a:gd name="connsiteY22" fmla="*/ 36576 h 483829"/>
                <a:gd name="connsiteX23" fmla="*/ 718772 w 901652"/>
                <a:gd name="connsiteY23" fmla="*/ 64008 h 483829"/>
                <a:gd name="connsiteX24" fmla="*/ 663908 w 901652"/>
                <a:gd name="connsiteY24" fmla="*/ 64008 h 483829"/>
                <a:gd name="connsiteX25" fmla="*/ 554180 w 901652"/>
                <a:gd name="connsiteY25" fmla="*/ 64008 h 483829"/>
                <a:gd name="connsiteX26" fmla="*/ 499316 w 901652"/>
                <a:gd name="connsiteY26" fmla="*/ 100584 h 483829"/>
                <a:gd name="connsiteX27" fmla="*/ 462740 w 901652"/>
                <a:gd name="connsiteY27" fmla="*/ 146304 h 483829"/>
                <a:gd name="connsiteX28" fmla="*/ 417020 w 901652"/>
                <a:gd name="connsiteY28" fmla="*/ 182880 h 483829"/>
                <a:gd name="connsiteX29" fmla="*/ 371300 w 901652"/>
                <a:gd name="connsiteY29" fmla="*/ 256032 h 483829"/>
                <a:gd name="connsiteX30" fmla="*/ 298148 w 901652"/>
                <a:gd name="connsiteY30" fmla="*/ 301752 h 483829"/>
                <a:gd name="connsiteX31" fmla="*/ 197564 w 901652"/>
                <a:gd name="connsiteY31" fmla="*/ 347472 h 483829"/>
                <a:gd name="connsiteX32" fmla="*/ 160988 w 901652"/>
                <a:gd name="connsiteY32" fmla="*/ 374904 h 483829"/>
                <a:gd name="connsiteX33" fmla="*/ 115268 w 901652"/>
                <a:gd name="connsiteY33" fmla="*/ 402336 h 483829"/>
                <a:gd name="connsiteX34" fmla="*/ 96980 w 901652"/>
                <a:gd name="connsiteY34" fmla="*/ 402336 h 483829"/>
                <a:gd name="connsiteX35" fmla="*/ 115268 w 901652"/>
                <a:gd name="connsiteY35" fmla="*/ 365760 h 483829"/>
                <a:gd name="connsiteX36" fmla="*/ 170132 w 901652"/>
                <a:gd name="connsiteY36" fmla="*/ 301752 h 483829"/>
                <a:gd name="connsiteX37" fmla="*/ 261572 w 901652"/>
                <a:gd name="connsiteY37" fmla="*/ 219456 h 483829"/>
                <a:gd name="connsiteX38" fmla="*/ 307292 w 901652"/>
                <a:gd name="connsiteY38" fmla="*/ 146304 h 483829"/>
                <a:gd name="connsiteX39" fmla="*/ 307292 w 901652"/>
                <a:gd name="connsiteY39" fmla="*/ 64008 h 483829"/>
                <a:gd name="connsiteX40" fmla="*/ 298148 w 901652"/>
                <a:gd name="connsiteY40" fmla="*/ 54864 h 483829"/>
                <a:gd name="connsiteX41" fmla="*/ 289004 w 901652"/>
                <a:gd name="connsiteY41" fmla="*/ 128016 h 483829"/>
                <a:gd name="connsiteX42" fmla="*/ 261572 w 901652"/>
                <a:gd name="connsiteY42" fmla="*/ 173736 h 483829"/>
                <a:gd name="connsiteX43" fmla="*/ 188420 w 901652"/>
                <a:gd name="connsiteY43" fmla="*/ 237744 h 483829"/>
                <a:gd name="connsiteX44" fmla="*/ 160988 w 901652"/>
                <a:gd name="connsiteY44" fmla="*/ 256032 h 483829"/>
                <a:gd name="connsiteX45" fmla="*/ 87836 w 901652"/>
                <a:gd name="connsiteY45" fmla="*/ 347472 h 483829"/>
                <a:gd name="connsiteX46" fmla="*/ 78692 w 901652"/>
                <a:gd name="connsiteY46" fmla="*/ 374904 h 483829"/>
                <a:gd name="connsiteX47" fmla="*/ 69548 w 901652"/>
                <a:gd name="connsiteY47" fmla="*/ 411480 h 483829"/>
                <a:gd name="connsiteX48" fmla="*/ 87836 w 901652"/>
                <a:gd name="connsiteY48" fmla="*/ 429768 h 483829"/>
                <a:gd name="connsiteX49" fmla="*/ 142467 w 901652"/>
                <a:gd name="connsiteY49" fmla="*/ 448761 h 483829"/>
                <a:gd name="connsiteX50" fmla="*/ 102897 w 901652"/>
                <a:gd name="connsiteY50" fmla="*/ 483305 h 483829"/>
                <a:gd name="connsiteX51" fmla="*/ 102897 w 901652"/>
                <a:gd name="connsiteY51" fmla="*/ 483305 h 483829"/>
                <a:gd name="connsiteX52" fmla="*/ 102897 w 901652"/>
                <a:gd name="connsiteY52" fmla="*/ 483305 h 483829"/>
                <a:gd name="connsiteX53" fmla="*/ 102896 w 901652"/>
                <a:gd name="connsiteY53" fmla="*/ 483306 h 483829"/>
                <a:gd name="connsiteX54" fmla="*/ 13191 w 901652"/>
                <a:gd name="connsiteY54" fmla="*/ 468067 h 483829"/>
                <a:gd name="connsiteX55" fmla="*/ 13189 w 901652"/>
                <a:gd name="connsiteY55" fmla="*/ 468067 h 483829"/>
                <a:gd name="connsiteX0" fmla="*/ 13189 w 901652"/>
                <a:gd name="connsiteY0" fmla="*/ 468067 h 489519"/>
                <a:gd name="connsiteX1" fmla="*/ 77835 w 901652"/>
                <a:gd name="connsiteY1" fmla="*/ 430387 h 489519"/>
                <a:gd name="connsiteX2" fmla="*/ 77836 w 901652"/>
                <a:gd name="connsiteY2" fmla="*/ 430387 h 489519"/>
                <a:gd name="connsiteX3" fmla="*/ 77836 w 901652"/>
                <a:gd name="connsiteY3" fmla="*/ 430387 h 489519"/>
                <a:gd name="connsiteX4" fmla="*/ 142467 w 901652"/>
                <a:gd name="connsiteY4" fmla="*/ 448761 h 489519"/>
                <a:gd name="connsiteX5" fmla="*/ 197564 w 901652"/>
                <a:gd name="connsiteY5" fmla="*/ 384048 h 489519"/>
                <a:gd name="connsiteX6" fmla="*/ 389588 w 901652"/>
                <a:gd name="connsiteY6" fmla="*/ 301752 h 489519"/>
                <a:gd name="connsiteX7" fmla="*/ 471884 w 901652"/>
                <a:gd name="connsiteY7" fmla="*/ 192024 h 489519"/>
                <a:gd name="connsiteX8" fmla="*/ 618188 w 901652"/>
                <a:gd name="connsiteY8" fmla="*/ 155448 h 489519"/>
                <a:gd name="connsiteX9" fmla="*/ 663908 w 901652"/>
                <a:gd name="connsiteY9" fmla="*/ 155448 h 489519"/>
                <a:gd name="connsiteX10" fmla="*/ 700484 w 901652"/>
                <a:gd name="connsiteY10" fmla="*/ 137160 h 489519"/>
                <a:gd name="connsiteX11" fmla="*/ 654764 w 901652"/>
                <a:gd name="connsiteY11" fmla="*/ 137160 h 489519"/>
                <a:gd name="connsiteX12" fmla="*/ 563324 w 901652"/>
                <a:gd name="connsiteY12" fmla="*/ 137160 h 489519"/>
                <a:gd name="connsiteX13" fmla="*/ 508460 w 901652"/>
                <a:gd name="connsiteY13" fmla="*/ 146304 h 489519"/>
                <a:gd name="connsiteX14" fmla="*/ 499316 w 901652"/>
                <a:gd name="connsiteY14" fmla="*/ 155448 h 489519"/>
                <a:gd name="connsiteX15" fmla="*/ 481028 w 901652"/>
                <a:gd name="connsiteY15" fmla="*/ 146304 h 489519"/>
                <a:gd name="connsiteX16" fmla="*/ 609044 w 901652"/>
                <a:gd name="connsiteY16" fmla="*/ 91440 h 489519"/>
                <a:gd name="connsiteX17" fmla="*/ 663908 w 901652"/>
                <a:gd name="connsiteY17" fmla="*/ 91440 h 489519"/>
                <a:gd name="connsiteX18" fmla="*/ 755348 w 901652"/>
                <a:gd name="connsiteY18" fmla="*/ 82296 h 489519"/>
                <a:gd name="connsiteX19" fmla="*/ 883364 w 901652"/>
                <a:gd name="connsiteY19" fmla="*/ 27432 h 489519"/>
                <a:gd name="connsiteX20" fmla="*/ 865076 w 901652"/>
                <a:gd name="connsiteY20" fmla="*/ 0 h 489519"/>
                <a:gd name="connsiteX21" fmla="*/ 828500 w 901652"/>
                <a:gd name="connsiteY21" fmla="*/ 27432 h 489519"/>
                <a:gd name="connsiteX22" fmla="*/ 791924 w 901652"/>
                <a:gd name="connsiteY22" fmla="*/ 36576 h 489519"/>
                <a:gd name="connsiteX23" fmla="*/ 718772 w 901652"/>
                <a:gd name="connsiteY23" fmla="*/ 64008 h 489519"/>
                <a:gd name="connsiteX24" fmla="*/ 663908 w 901652"/>
                <a:gd name="connsiteY24" fmla="*/ 64008 h 489519"/>
                <a:gd name="connsiteX25" fmla="*/ 554180 w 901652"/>
                <a:gd name="connsiteY25" fmla="*/ 64008 h 489519"/>
                <a:gd name="connsiteX26" fmla="*/ 499316 w 901652"/>
                <a:gd name="connsiteY26" fmla="*/ 100584 h 489519"/>
                <a:gd name="connsiteX27" fmla="*/ 462740 w 901652"/>
                <a:gd name="connsiteY27" fmla="*/ 146304 h 489519"/>
                <a:gd name="connsiteX28" fmla="*/ 417020 w 901652"/>
                <a:gd name="connsiteY28" fmla="*/ 182880 h 489519"/>
                <a:gd name="connsiteX29" fmla="*/ 371300 w 901652"/>
                <a:gd name="connsiteY29" fmla="*/ 256032 h 489519"/>
                <a:gd name="connsiteX30" fmla="*/ 298148 w 901652"/>
                <a:gd name="connsiteY30" fmla="*/ 301752 h 489519"/>
                <a:gd name="connsiteX31" fmla="*/ 197564 w 901652"/>
                <a:gd name="connsiteY31" fmla="*/ 347472 h 489519"/>
                <a:gd name="connsiteX32" fmla="*/ 160988 w 901652"/>
                <a:gd name="connsiteY32" fmla="*/ 374904 h 489519"/>
                <a:gd name="connsiteX33" fmla="*/ 115268 w 901652"/>
                <a:gd name="connsiteY33" fmla="*/ 402336 h 489519"/>
                <a:gd name="connsiteX34" fmla="*/ 96980 w 901652"/>
                <a:gd name="connsiteY34" fmla="*/ 402336 h 489519"/>
                <a:gd name="connsiteX35" fmla="*/ 115268 w 901652"/>
                <a:gd name="connsiteY35" fmla="*/ 365760 h 489519"/>
                <a:gd name="connsiteX36" fmla="*/ 170132 w 901652"/>
                <a:gd name="connsiteY36" fmla="*/ 301752 h 489519"/>
                <a:gd name="connsiteX37" fmla="*/ 261572 w 901652"/>
                <a:gd name="connsiteY37" fmla="*/ 219456 h 489519"/>
                <a:gd name="connsiteX38" fmla="*/ 307292 w 901652"/>
                <a:gd name="connsiteY38" fmla="*/ 146304 h 489519"/>
                <a:gd name="connsiteX39" fmla="*/ 307292 w 901652"/>
                <a:gd name="connsiteY39" fmla="*/ 64008 h 489519"/>
                <a:gd name="connsiteX40" fmla="*/ 298148 w 901652"/>
                <a:gd name="connsiteY40" fmla="*/ 54864 h 489519"/>
                <a:gd name="connsiteX41" fmla="*/ 289004 w 901652"/>
                <a:gd name="connsiteY41" fmla="*/ 128016 h 489519"/>
                <a:gd name="connsiteX42" fmla="*/ 261572 w 901652"/>
                <a:gd name="connsiteY42" fmla="*/ 173736 h 489519"/>
                <a:gd name="connsiteX43" fmla="*/ 188420 w 901652"/>
                <a:gd name="connsiteY43" fmla="*/ 237744 h 489519"/>
                <a:gd name="connsiteX44" fmla="*/ 160988 w 901652"/>
                <a:gd name="connsiteY44" fmla="*/ 256032 h 489519"/>
                <a:gd name="connsiteX45" fmla="*/ 87836 w 901652"/>
                <a:gd name="connsiteY45" fmla="*/ 347472 h 489519"/>
                <a:gd name="connsiteX46" fmla="*/ 78692 w 901652"/>
                <a:gd name="connsiteY46" fmla="*/ 374904 h 489519"/>
                <a:gd name="connsiteX47" fmla="*/ 69548 w 901652"/>
                <a:gd name="connsiteY47" fmla="*/ 411480 h 489519"/>
                <a:gd name="connsiteX48" fmla="*/ 102898 w 901652"/>
                <a:gd name="connsiteY48" fmla="*/ 483305 h 489519"/>
                <a:gd name="connsiteX49" fmla="*/ 142467 w 901652"/>
                <a:gd name="connsiteY49" fmla="*/ 448761 h 489519"/>
                <a:gd name="connsiteX50" fmla="*/ 102897 w 901652"/>
                <a:gd name="connsiteY50" fmla="*/ 483305 h 489519"/>
                <a:gd name="connsiteX51" fmla="*/ 102897 w 901652"/>
                <a:gd name="connsiteY51" fmla="*/ 483305 h 489519"/>
                <a:gd name="connsiteX52" fmla="*/ 102897 w 901652"/>
                <a:gd name="connsiteY52" fmla="*/ 483305 h 489519"/>
                <a:gd name="connsiteX53" fmla="*/ 102896 w 901652"/>
                <a:gd name="connsiteY53" fmla="*/ 483306 h 489519"/>
                <a:gd name="connsiteX54" fmla="*/ 13191 w 901652"/>
                <a:gd name="connsiteY54" fmla="*/ 468067 h 489519"/>
                <a:gd name="connsiteX55" fmla="*/ 13189 w 901652"/>
                <a:gd name="connsiteY55" fmla="*/ 468067 h 489519"/>
                <a:gd name="connsiteX0" fmla="*/ 13189 w 901652"/>
                <a:gd name="connsiteY0" fmla="*/ 468067 h 489519"/>
                <a:gd name="connsiteX1" fmla="*/ 77835 w 901652"/>
                <a:gd name="connsiteY1" fmla="*/ 430387 h 489519"/>
                <a:gd name="connsiteX2" fmla="*/ 77836 w 901652"/>
                <a:gd name="connsiteY2" fmla="*/ 430387 h 489519"/>
                <a:gd name="connsiteX3" fmla="*/ 13192 w 901652"/>
                <a:gd name="connsiteY3" fmla="*/ 468067 h 489519"/>
                <a:gd name="connsiteX4" fmla="*/ 142467 w 901652"/>
                <a:gd name="connsiteY4" fmla="*/ 448761 h 489519"/>
                <a:gd name="connsiteX5" fmla="*/ 197564 w 901652"/>
                <a:gd name="connsiteY5" fmla="*/ 384048 h 489519"/>
                <a:gd name="connsiteX6" fmla="*/ 389588 w 901652"/>
                <a:gd name="connsiteY6" fmla="*/ 301752 h 489519"/>
                <a:gd name="connsiteX7" fmla="*/ 471884 w 901652"/>
                <a:gd name="connsiteY7" fmla="*/ 192024 h 489519"/>
                <a:gd name="connsiteX8" fmla="*/ 618188 w 901652"/>
                <a:gd name="connsiteY8" fmla="*/ 155448 h 489519"/>
                <a:gd name="connsiteX9" fmla="*/ 663908 w 901652"/>
                <a:gd name="connsiteY9" fmla="*/ 155448 h 489519"/>
                <a:gd name="connsiteX10" fmla="*/ 700484 w 901652"/>
                <a:gd name="connsiteY10" fmla="*/ 137160 h 489519"/>
                <a:gd name="connsiteX11" fmla="*/ 654764 w 901652"/>
                <a:gd name="connsiteY11" fmla="*/ 137160 h 489519"/>
                <a:gd name="connsiteX12" fmla="*/ 563324 w 901652"/>
                <a:gd name="connsiteY12" fmla="*/ 137160 h 489519"/>
                <a:gd name="connsiteX13" fmla="*/ 508460 w 901652"/>
                <a:gd name="connsiteY13" fmla="*/ 146304 h 489519"/>
                <a:gd name="connsiteX14" fmla="*/ 499316 w 901652"/>
                <a:gd name="connsiteY14" fmla="*/ 155448 h 489519"/>
                <a:gd name="connsiteX15" fmla="*/ 481028 w 901652"/>
                <a:gd name="connsiteY15" fmla="*/ 146304 h 489519"/>
                <a:gd name="connsiteX16" fmla="*/ 609044 w 901652"/>
                <a:gd name="connsiteY16" fmla="*/ 91440 h 489519"/>
                <a:gd name="connsiteX17" fmla="*/ 663908 w 901652"/>
                <a:gd name="connsiteY17" fmla="*/ 91440 h 489519"/>
                <a:gd name="connsiteX18" fmla="*/ 755348 w 901652"/>
                <a:gd name="connsiteY18" fmla="*/ 82296 h 489519"/>
                <a:gd name="connsiteX19" fmla="*/ 883364 w 901652"/>
                <a:gd name="connsiteY19" fmla="*/ 27432 h 489519"/>
                <a:gd name="connsiteX20" fmla="*/ 865076 w 901652"/>
                <a:gd name="connsiteY20" fmla="*/ 0 h 489519"/>
                <a:gd name="connsiteX21" fmla="*/ 828500 w 901652"/>
                <a:gd name="connsiteY21" fmla="*/ 27432 h 489519"/>
                <a:gd name="connsiteX22" fmla="*/ 791924 w 901652"/>
                <a:gd name="connsiteY22" fmla="*/ 36576 h 489519"/>
                <a:gd name="connsiteX23" fmla="*/ 718772 w 901652"/>
                <a:gd name="connsiteY23" fmla="*/ 64008 h 489519"/>
                <a:gd name="connsiteX24" fmla="*/ 663908 w 901652"/>
                <a:gd name="connsiteY24" fmla="*/ 64008 h 489519"/>
                <a:gd name="connsiteX25" fmla="*/ 554180 w 901652"/>
                <a:gd name="connsiteY25" fmla="*/ 64008 h 489519"/>
                <a:gd name="connsiteX26" fmla="*/ 499316 w 901652"/>
                <a:gd name="connsiteY26" fmla="*/ 100584 h 489519"/>
                <a:gd name="connsiteX27" fmla="*/ 462740 w 901652"/>
                <a:gd name="connsiteY27" fmla="*/ 146304 h 489519"/>
                <a:gd name="connsiteX28" fmla="*/ 417020 w 901652"/>
                <a:gd name="connsiteY28" fmla="*/ 182880 h 489519"/>
                <a:gd name="connsiteX29" fmla="*/ 371300 w 901652"/>
                <a:gd name="connsiteY29" fmla="*/ 256032 h 489519"/>
                <a:gd name="connsiteX30" fmla="*/ 298148 w 901652"/>
                <a:gd name="connsiteY30" fmla="*/ 301752 h 489519"/>
                <a:gd name="connsiteX31" fmla="*/ 197564 w 901652"/>
                <a:gd name="connsiteY31" fmla="*/ 347472 h 489519"/>
                <a:gd name="connsiteX32" fmla="*/ 160988 w 901652"/>
                <a:gd name="connsiteY32" fmla="*/ 374904 h 489519"/>
                <a:gd name="connsiteX33" fmla="*/ 115268 w 901652"/>
                <a:gd name="connsiteY33" fmla="*/ 402336 h 489519"/>
                <a:gd name="connsiteX34" fmla="*/ 96980 w 901652"/>
                <a:gd name="connsiteY34" fmla="*/ 402336 h 489519"/>
                <a:gd name="connsiteX35" fmla="*/ 115268 w 901652"/>
                <a:gd name="connsiteY35" fmla="*/ 365760 h 489519"/>
                <a:gd name="connsiteX36" fmla="*/ 170132 w 901652"/>
                <a:gd name="connsiteY36" fmla="*/ 301752 h 489519"/>
                <a:gd name="connsiteX37" fmla="*/ 261572 w 901652"/>
                <a:gd name="connsiteY37" fmla="*/ 219456 h 489519"/>
                <a:gd name="connsiteX38" fmla="*/ 307292 w 901652"/>
                <a:gd name="connsiteY38" fmla="*/ 146304 h 489519"/>
                <a:gd name="connsiteX39" fmla="*/ 307292 w 901652"/>
                <a:gd name="connsiteY39" fmla="*/ 64008 h 489519"/>
                <a:gd name="connsiteX40" fmla="*/ 298148 w 901652"/>
                <a:gd name="connsiteY40" fmla="*/ 54864 h 489519"/>
                <a:gd name="connsiteX41" fmla="*/ 289004 w 901652"/>
                <a:gd name="connsiteY41" fmla="*/ 128016 h 489519"/>
                <a:gd name="connsiteX42" fmla="*/ 261572 w 901652"/>
                <a:gd name="connsiteY42" fmla="*/ 173736 h 489519"/>
                <a:gd name="connsiteX43" fmla="*/ 188420 w 901652"/>
                <a:gd name="connsiteY43" fmla="*/ 237744 h 489519"/>
                <a:gd name="connsiteX44" fmla="*/ 160988 w 901652"/>
                <a:gd name="connsiteY44" fmla="*/ 256032 h 489519"/>
                <a:gd name="connsiteX45" fmla="*/ 87836 w 901652"/>
                <a:gd name="connsiteY45" fmla="*/ 347472 h 489519"/>
                <a:gd name="connsiteX46" fmla="*/ 78692 w 901652"/>
                <a:gd name="connsiteY46" fmla="*/ 374904 h 489519"/>
                <a:gd name="connsiteX47" fmla="*/ 69548 w 901652"/>
                <a:gd name="connsiteY47" fmla="*/ 411480 h 489519"/>
                <a:gd name="connsiteX48" fmla="*/ 102898 w 901652"/>
                <a:gd name="connsiteY48" fmla="*/ 483305 h 489519"/>
                <a:gd name="connsiteX49" fmla="*/ 142467 w 901652"/>
                <a:gd name="connsiteY49" fmla="*/ 448761 h 489519"/>
                <a:gd name="connsiteX50" fmla="*/ 102897 w 901652"/>
                <a:gd name="connsiteY50" fmla="*/ 483305 h 489519"/>
                <a:gd name="connsiteX51" fmla="*/ 102897 w 901652"/>
                <a:gd name="connsiteY51" fmla="*/ 483305 h 489519"/>
                <a:gd name="connsiteX52" fmla="*/ 102897 w 901652"/>
                <a:gd name="connsiteY52" fmla="*/ 483305 h 489519"/>
                <a:gd name="connsiteX53" fmla="*/ 102896 w 901652"/>
                <a:gd name="connsiteY53" fmla="*/ 483306 h 489519"/>
                <a:gd name="connsiteX54" fmla="*/ 13191 w 901652"/>
                <a:gd name="connsiteY54" fmla="*/ 468067 h 489519"/>
                <a:gd name="connsiteX55" fmla="*/ 13189 w 901652"/>
                <a:gd name="connsiteY55" fmla="*/ 468067 h 489519"/>
                <a:gd name="connsiteX0" fmla="*/ 13189 w 901652"/>
                <a:gd name="connsiteY0" fmla="*/ 468067 h 489519"/>
                <a:gd name="connsiteX1" fmla="*/ 77835 w 901652"/>
                <a:gd name="connsiteY1" fmla="*/ 430387 h 489519"/>
                <a:gd name="connsiteX2" fmla="*/ 13192 w 901652"/>
                <a:gd name="connsiteY2" fmla="*/ 468067 h 489519"/>
                <a:gd name="connsiteX3" fmla="*/ 13192 w 901652"/>
                <a:gd name="connsiteY3" fmla="*/ 468067 h 489519"/>
                <a:gd name="connsiteX4" fmla="*/ 142467 w 901652"/>
                <a:gd name="connsiteY4" fmla="*/ 448761 h 489519"/>
                <a:gd name="connsiteX5" fmla="*/ 197564 w 901652"/>
                <a:gd name="connsiteY5" fmla="*/ 384048 h 489519"/>
                <a:gd name="connsiteX6" fmla="*/ 389588 w 901652"/>
                <a:gd name="connsiteY6" fmla="*/ 301752 h 489519"/>
                <a:gd name="connsiteX7" fmla="*/ 471884 w 901652"/>
                <a:gd name="connsiteY7" fmla="*/ 192024 h 489519"/>
                <a:gd name="connsiteX8" fmla="*/ 618188 w 901652"/>
                <a:gd name="connsiteY8" fmla="*/ 155448 h 489519"/>
                <a:gd name="connsiteX9" fmla="*/ 663908 w 901652"/>
                <a:gd name="connsiteY9" fmla="*/ 155448 h 489519"/>
                <a:gd name="connsiteX10" fmla="*/ 700484 w 901652"/>
                <a:gd name="connsiteY10" fmla="*/ 137160 h 489519"/>
                <a:gd name="connsiteX11" fmla="*/ 654764 w 901652"/>
                <a:gd name="connsiteY11" fmla="*/ 137160 h 489519"/>
                <a:gd name="connsiteX12" fmla="*/ 563324 w 901652"/>
                <a:gd name="connsiteY12" fmla="*/ 137160 h 489519"/>
                <a:gd name="connsiteX13" fmla="*/ 508460 w 901652"/>
                <a:gd name="connsiteY13" fmla="*/ 146304 h 489519"/>
                <a:gd name="connsiteX14" fmla="*/ 499316 w 901652"/>
                <a:gd name="connsiteY14" fmla="*/ 155448 h 489519"/>
                <a:gd name="connsiteX15" fmla="*/ 481028 w 901652"/>
                <a:gd name="connsiteY15" fmla="*/ 146304 h 489519"/>
                <a:gd name="connsiteX16" fmla="*/ 609044 w 901652"/>
                <a:gd name="connsiteY16" fmla="*/ 91440 h 489519"/>
                <a:gd name="connsiteX17" fmla="*/ 663908 w 901652"/>
                <a:gd name="connsiteY17" fmla="*/ 91440 h 489519"/>
                <a:gd name="connsiteX18" fmla="*/ 755348 w 901652"/>
                <a:gd name="connsiteY18" fmla="*/ 82296 h 489519"/>
                <a:gd name="connsiteX19" fmla="*/ 883364 w 901652"/>
                <a:gd name="connsiteY19" fmla="*/ 27432 h 489519"/>
                <a:gd name="connsiteX20" fmla="*/ 865076 w 901652"/>
                <a:gd name="connsiteY20" fmla="*/ 0 h 489519"/>
                <a:gd name="connsiteX21" fmla="*/ 828500 w 901652"/>
                <a:gd name="connsiteY21" fmla="*/ 27432 h 489519"/>
                <a:gd name="connsiteX22" fmla="*/ 791924 w 901652"/>
                <a:gd name="connsiteY22" fmla="*/ 36576 h 489519"/>
                <a:gd name="connsiteX23" fmla="*/ 718772 w 901652"/>
                <a:gd name="connsiteY23" fmla="*/ 64008 h 489519"/>
                <a:gd name="connsiteX24" fmla="*/ 663908 w 901652"/>
                <a:gd name="connsiteY24" fmla="*/ 64008 h 489519"/>
                <a:gd name="connsiteX25" fmla="*/ 554180 w 901652"/>
                <a:gd name="connsiteY25" fmla="*/ 64008 h 489519"/>
                <a:gd name="connsiteX26" fmla="*/ 499316 w 901652"/>
                <a:gd name="connsiteY26" fmla="*/ 100584 h 489519"/>
                <a:gd name="connsiteX27" fmla="*/ 462740 w 901652"/>
                <a:gd name="connsiteY27" fmla="*/ 146304 h 489519"/>
                <a:gd name="connsiteX28" fmla="*/ 417020 w 901652"/>
                <a:gd name="connsiteY28" fmla="*/ 182880 h 489519"/>
                <a:gd name="connsiteX29" fmla="*/ 371300 w 901652"/>
                <a:gd name="connsiteY29" fmla="*/ 256032 h 489519"/>
                <a:gd name="connsiteX30" fmla="*/ 298148 w 901652"/>
                <a:gd name="connsiteY30" fmla="*/ 301752 h 489519"/>
                <a:gd name="connsiteX31" fmla="*/ 197564 w 901652"/>
                <a:gd name="connsiteY31" fmla="*/ 347472 h 489519"/>
                <a:gd name="connsiteX32" fmla="*/ 160988 w 901652"/>
                <a:gd name="connsiteY32" fmla="*/ 374904 h 489519"/>
                <a:gd name="connsiteX33" fmla="*/ 115268 w 901652"/>
                <a:gd name="connsiteY33" fmla="*/ 402336 h 489519"/>
                <a:gd name="connsiteX34" fmla="*/ 96980 w 901652"/>
                <a:gd name="connsiteY34" fmla="*/ 402336 h 489519"/>
                <a:gd name="connsiteX35" fmla="*/ 115268 w 901652"/>
                <a:gd name="connsiteY35" fmla="*/ 365760 h 489519"/>
                <a:gd name="connsiteX36" fmla="*/ 170132 w 901652"/>
                <a:gd name="connsiteY36" fmla="*/ 301752 h 489519"/>
                <a:gd name="connsiteX37" fmla="*/ 261572 w 901652"/>
                <a:gd name="connsiteY37" fmla="*/ 219456 h 489519"/>
                <a:gd name="connsiteX38" fmla="*/ 307292 w 901652"/>
                <a:gd name="connsiteY38" fmla="*/ 146304 h 489519"/>
                <a:gd name="connsiteX39" fmla="*/ 307292 w 901652"/>
                <a:gd name="connsiteY39" fmla="*/ 64008 h 489519"/>
                <a:gd name="connsiteX40" fmla="*/ 298148 w 901652"/>
                <a:gd name="connsiteY40" fmla="*/ 54864 h 489519"/>
                <a:gd name="connsiteX41" fmla="*/ 289004 w 901652"/>
                <a:gd name="connsiteY41" fmla="*/ 128016 h 489519"/>
                <a:gd name="connsiteX42" fmla="*/ 261572 w 901652"/>
                <a:gd name="connsiteY42" fmla="*/ 173736 h 489519"/>
                <a:gd name="connsiteX43" fmla="*/ 188420 w 901652"/>
                <a:gd name="connsiteY43" fmla="*/ 237744 h 489519"/>
                <a:gd name="connsiteX44" fmla="*/ 160988 w 901652"/>
                <a:gd name="connsiteY44" fmla="*/ 256032 h 489519"/>
                <a:gd name="connsiteX45" fmla="*/ 87836 w 901652"/>
                <a:gd name="connsiteY45" fmla="*/ 347472 h 489519"/>
                <a:gd name="connsiteX46" fmla="*/ 78692 w 901652"/>
                <a:gd name="connsiteY46" fmla="*/ 374904 h 489519"/>
                <a:gd name="connsiteX47" fmla="*/ 69548 w 901652"/>
                <a:gd name="connsiteY47" fmla="*/ 411480 h 489519"/>
                <a:gd name="connsiteX48" fmla="*/ 102898 w 901652"/>
                <a:gd name="connsiteY48" fmla="*/ 483305 h 489519"/>
                <a:gd name="connsiteX49" fmla="*/ 142467 w 901652"/>
                <a:gd name="connsiteY49" fmla="*/ 448761 h 489519"/>
                <a:gd name="connsiteX50" fmla="*/ 102897 w 901652"/>
                <a:gd name="connsiteY50" fmla="*/ 483305 h 489519"/>
                <a:gd name="connsiteX51" fmla="*/ 102897 w 901652"/>
                <a:gd name="connsiteY51" fmla="*/ 483305 h 489519"/>
                <a:gd name="connsiteX52" fmla="*/ 102897 w 901652"/>
                <a:gd name="connsiteY52" fmla="*/ 483305 h 489519"/>
                <a:gd name="connsiteX53" fmla="*/ 102896 w 901652"/>
                <a:gd name="connsiteY53" fmla="*/ 483306 h 489519"/>
                <a:gd name="connsiteX54" fmla="*/ 13191 w 901652"/>
                <a:gd name="connsiteY54" fmla="*/ 468067 h 489519"/>
                <a:gd name="connsiteX55" fmla="*/ 13189 w 901652"/>
                <a:gd name="connsiteY55" fmla="*/ 468067 h 489519"/>
                <a:gd name="connsiteX0" fmla="*/ 13189 w 901652"/>
                <a:gd name="connsiteY0" fmla="*/ 468067 h 489519"/>
                <a:gd name="connsiteX1" fmla="*/ 13192 w 901652"/>
                <a:gd name="connsiteY1" fmla="*/ 468067 h 489519"/>
                <a:gd name="connsiteX2" fmla="*/ 13192 w 901652"/>
                <a:gd name="connsiteY2" fmla="*/ 468067 h 489519"/>
                <a:gd name="connsiteX3" fmla="*/ 13192 w 901652"/>
                <a:gd name="connsiteY3" fmla="*/ 468067 h 489519"/>
                <a:gd name="connsiteX4" fmla="*/ 142467 w 901652"/>
                <a:gd name="connsiteY4" fmla="*/ 448761 h 489519"/>
                <a:gd name="connsiteX5" fmla="*/ 197564 w 901652"/>
                <a:gd name="connsiteY5" fmla="*/ 384048 h 489519"/>
                <a:gd name="connsiteX6" fmla="*/ 389588 w 901652"/>
                <a:gd name="connsiteY6" fmla="*/ 301752 h 489519"/>
                <a:gd name="connsiteX7" fmla="*/ 471884 w 901652"/>
                <a:gd name="connsiteY7" fmla="*/ 192024 h 489519"/>
                <a:gd name="connsiteX8" fmla="*/ 618188 w 901652"/>
                <a:gd name="connsiteY8" fmla="*/ 155448 h 489519"/>
                <a:gd name="connsiteX9" fmla="*/ 663908 w 901652"/>
                <a:gd name="connsiteY9" fmla="*/ 155448 h 489519"/>
                <a:gd name="connsiteX10" fmla="*/ 700484 w 901652"/>
                <a:gd name="connsiteY10" fmla="*/ 137160 h 489519"/>
                <a:gd name="connsiteX11" fmla="*/ 654764 w 901652"/>
                <a:gd name="connsiteY11" fmla="*/ 137160 h 489519"/>
                <a:gd name="connsiteX12" fmla="*/ 563324 w 901652"/>
                <a:gd name="connsiteY12" fmla="*/ 137160 h 489519"/>
                <a:gd name="connsiteX13" fmla="*/ 508460 w 901652"/>
                <a:gd name="connsiteY13" fmla="*/ 146304 h 489519"/>
                <a:gd name="connsiteX14" fmla="*/ 499316 w 901652"/>
                <a:gd name="connsiteY14" fmla="*/ 155448 h 489519"/>
                <a:gd name="connsiteX15" fmla="*/ 481028 w 901652"/>
                <a:gd name="connsiteY15" fmla="*/ 146304 h 489519"/>
                <a:gd name="connsiteX16" fmla="*/ 609044 w 901652"/>
                <a:gd name="connsiteY16" fmla="*/ 91440 h 489519"/>
                <a:gd name="connsiteX17" fmla="*/ 663908 w 901652"/>
                <a:gd name="connsiteY17" fmla="*/ 91440 h 489519"/>
                <a:gd name="connsiteX18" fmla="*/ 755348 w 901652"/>
                <a:gd name="connsiteY18" fmla="*/ 82296 h 489519"/>
                <a:gd name="connsiteX19" fmla="*/ 883364 w 901652"/>
                <a:gd name="connsiteY19" fmla="*/ 27432 h 489519"/>
                <a:gd name="connsiteX20" fmla="*/ 865076 w 901652"/>
                <a:gd name="connsiteY20" fmla="*/ 0 h 489519"/>
                <a:gd name="connsiteX21" fmla="*/ 828500 w 901652"/>
                <a:gd name="connsiteY21" fmla="*/ 27432 h 489519"/>
                <a:gd name="connsiteX22" fmla="*/ 791924 w 901652"/>
                <a:gd name="connsiteY22" fmla="*/ 36576 h 489519"/>
                <a:gd name="connsiteX23" fmla="*/ 718772 w 901652"/>
                <a:gd name="connsiteY23" fmla="*/ 64008 h 489519"/>
                <a:gd name="connsiteX24" fmla="*/ 663908 w 901652"/>
                <a:gd name="connsiteY24" fmla="*/ 64008 h 489519"/>
                <a:gd name="connsiteX25" fmla="*/ 554180 w 901652"/>
                <a:gd name="connsiteY25" fmla="*/ 64008 h 489519"/>
                <a:gd name="connsiteX26" fmla="*/ 499316 w 901652"/>
                <a:gd name="connsiteY26" fmla="*/ 100584 h 489519"/>
                <a:gd name="connsiteX27" fmla="*/ 462740 w 901652"/>
                <a:gd name="connsiteY27" fmla="*/ 146304 h 489519"/>
                <a:gd name="connsiteX28" fmla="*/ 417020 w 901652"/>
                <a:gd name="connsiteY28" fmla="*/ 182880 h 489519"/>
                <a:gd name="connsiteX29" fmla="*/ 371300 w 901652"/>
                <a:gd name="connsiteY29" fmla="*/ 256032 h 489519"/>
                <a:gd name="connsiteX30" fmla="*/ 298148 w 901652"/>
                <a:gd name="connsiteY30" fmla="*/ 301752 h 489519"/>
                <a:gd name="connsiteX31" fmla="*/ 197564 w 901652"/>
                <a:gd name="connsiteY31" fmla="*/ 347472 h 489519"/>
                <a:gd name="connsiteX32" fmla="*/ 160988 w 901652"/>
                <a:gd name="connsiteY32" fmla="*/ 374904 h 489519"/>
                <a:gd name="connsiteX33" fmla="*/ 115268 w 901652"/>
                <a:gd name="connsiteY33" fmla="*/ 402336 h 489519"/>
                <a:gd name="connsiteX34" fmla="*/ 96980 w 901652"/>
                <a:gd name="connsiteY34" fmla="*/ 402336 h 489519"/>
                <a:gd name="connsiteX35" fmla="*/ 115268 w 901652"/>
                <a:gd name="connsiteY35" fmla="*/ 365760 h 489519"/>
                <a:gd name="connsiteX36" fmla="*/ 170132 w 901652"/>
                <a:gd name="connsiteY36" fmla="*/ 301752 h 489519"/>
                <a:gd name="connsiteX37" fmla="*/ 261572 w 901652"/>
                <a:gd name="connsiteY37" fmla="*/ 219456 h 489519"/>
                <a:gd name="connsiteX38" fmla="*/ 307292 w 901652"/>
                <a:gd name="connsiteY38" fmla="*/ 146304 h 489519"/>
                <a:gd name="connsiteX39" fmla="*/ 307292 w 901652"/>
                <a:gd name="connsiteY39" fmla="*/ 64008 h 489519"/>
                <a:gd name="connsiteX40" fmla="*/ 298148 w 901652"/>
                <a:gd name="connsiteY40" fmla="*/ 54864 h 489519"/>
                <a:gd name="connsiteX41" fmla="*/ 289004 w 901652"/>
                <a:gd name="connsiteY41" fmla="*/ 128016 h 489519"/>
                <a:gd name="connsiteX42" fmla="*/ 261572 w 901652"/>
                <a:gd name="connsiteY42" fmla="*/ 173736 h 489519"/>
                <a:gd name="connsiteX43" fmla="*/ 188420 w 901652"/>
                <a:gd name="connsiteY43" fmla="*/ 237744 h 489519"/>
                <a:gd name="connsiteX44" fmla="*/ 160988 w 901652"/>
                <a:gd name="connsiteY44" fmla="*/ 256032 h 489519"/>
                <a:gd name="connsiteX45" fmla="*/ 87836 w 901652"/>
                <a:gd name="connsiteY45" fmla="*/ 347472 h 489519"/>
                <a:gd name="connsiteX46" fmla="*/ 78692 w 901652"/>
                <a:gd name="connsiteY46" fmla="*/ 374904 h 489519"/>
                <a:gd name="connsiteX47" fmla="*/ 69548 w 901652"/>
                <a:gd name="connsiteY47" fmla="*/ 411480 h 489519"/>
                <a:gd name="connsiteX48" fmla="*/ 102898 w 901652"/>
                <a:gd name="connsiteY48" fmla="*/ 483305 h 489519"/>
                <a:gd name="connsiteX49" fmla="*/ 142467 w 901652"/>
                <a:gd name="connsiteY49" fmla="*/ 448761 h 489519"/>
                <a:gd name="connsiteX50" fmla="*/ 102897 w 901652"/>
                <a:gd name="connsiteY50" fmla="*/ 483305 h 489519"/>
                <a:gd name="connsiteX51" fmla="*/ 102897 w 901652"/>
                <a:gd name="connsiteY51" fmla="*/ 483305 h 489519"/>
                <a:gd name="connsiteX52" fmla="*/ 102897 w 901652"/>
                <a:gd name="connsiteY52" fmla="*/ 483305 h 489519"/>
                <a:gd name="connsiteX53" fmla="*/ 102896 w 901652"/>
                <a:gd name="connsiteY53" fmla="*/ 483306 h 489519"/>
                <a:gd name="connsiteX54" fmla="*/ 13191 w 901652"/>
                <a:gd name="connsiteY54" fmla="*/ 468067 h 489519"/>
                <a:gd name="connsiteX55" fmla="*/ 13189 w 901652"/>
                <a:gd name="connsiteY55" fmla="*/ 468067 h 489519"/>
                <a:gd name="connsiteX0" fmla="*/ 13189 w 901652"/>
                <a:gd name="connsiteY0" fmla="*/ 468067 h 518372"/>
                <a:gd name="connsiteX1" fmla="*/ 13192 w 901652"/>
                <a:gd name="connsiteY1" fmla="*/ 468067 h 518372"/>
                <a:gd name="connsiteX2" fmla="*/ 13192 w 901652"/>
                <a:gd name="connsiteY2" fmla="*/ 468067 h 518372"/>
                <a:gd name="connsiteX3" fmla="*/ 13192 w 901652"/>
                <a:gd name="connsiteY3" fmla="*/ 468067 h 518372"/>
                <a:gd name="connsiteX4" fmla="*/ 142467 w 901652"/>
                <a:gd name="connsiteY4" fmla="*/ 448761 h 518372"/>
                <a:gd name="connsiteX5" fmla="*/ 197564 w 901652"/>
                <a:gd name="connsiteY5" fmla="*/ 384048 h 518372"/>
                <a:gd name="connsiteX6" fmla="*/ 389588 w 901652"/>
                <a:gd name="connsiteY6" fmla="*/ 301752 h 518372"/>
                <a:gd name="connsiteX7" fmla="*/ 471884 w 901652"/>
                <a:gd name="connsiteY7" fmla="*/ 192024 h 518372"/>
                <a:gd name="connsiteX8" fmla="*/ 618188 w 901652"/>
                <a:gd name="connsiteY8" fmla="*/ 155448 h 518372"/>
                <a:gd name="connsiteX9" fmla="*/ 663908 w 901652"/>
                <a:gd name="connsiteY9" fmla="*/ 155448 h 518372"/>
                <a:gd name="connsiteX10" fmla="*/ 700484 w 901652"/>
                <a:gd name="connsiteY10" fmla="*/ 137160 h 518372"/>
                <a:gd name="connsiteX11" fmla="*/ 654764 w 901652"/>
                <a:gd name="connsiteY11" fmla="*/ 137160 h 518372"/>
                <a:gd name="connsiteX12" fmla="*/ 563324 w 901652"/>
                <a:gd name="connsiteY12" fmla="*/ 137160 h 518372"/>
                <a:gd name="connsiteX13" fmla="*/ 508460 w 901652"/>
                <a:gd name="connsiteY13" fmla="*/ 146304 h 518372"/>
                <a:gd name="connsiteX14" fmla="*/ 499316 w 901652"/>
                <a:gd name="connsiteY14" fmla="*/ 155448 h 518372"/>
                <a:gd name="connsiteX15" fmla="*/ 481028 w 901652"/>
                <a:gd name="connsiteY15" fmla="*/ 146304 h 518372"/>
                <a:gd name="connsiteX16" fmla="*/ 609044 w 901652"/>
                <a:gd name="connsiteY16" fmla="*/ 91440 h 518372"/>
                <a:gd name="connsiteX17" fmla="*/ 663908 w 901652"/>
                <a:gd name="connsiteY17" fmla="*/ 91440 h 518372"/>
                <a:gd name="connsiteX18" fmla="*/ 755348 w 901652"/>
                <a:gd name="connsiteY18" fmla="*/ 82296 h 518372"/>
                <a:gd name="connsiteX19" fmla="*/ 883364 w 901652"/>
                <a:gd name="connsiteY19" fmla="*/ 27432 h 518372"/>
                <a:gd name="connsiteX20" fmla="*/ 865076 w 901652"/>
                <a:gd name="connsiteY20" fmla="*/ 0 h 518372"/>
                <a:gd name="connsiteX21" fmla="*/ 828500 w 901652"/>
                <a:gd name="connsiteY21" fmla="*/ 27432 h 518372"/>
                <a:gd name="connsiteX22" fmla="*/ 791924 w 901652"/>
                <a:gd name="connsiteY22" fmla="*/ 36576 h 518372"/>
                <a:gd name="connsiteX23" fmla="*/ 718772 w 901652"/>
                <a:gd name="connsiteY23" fmla="*/ 64008 h 518372"/>
                <a:gd name="connsiteX24" fmla="*/ 663908 w 901652"/>
                <a:gd name="connsiteY24" fmla="*/ 64008 h 518372"/>
                <a:gd name="connsiteX25" fmla="*/ 554180 w 901652"/>
                <a:gd name="connsiteY25" fmla="*/ 64008 h 518372"/>
                <a:gd name="connsiteX26" fmla="*/ 499316 w 901652"/>
                <a:gd name="connsiteY26" fmla="*/ 100584 h 518372"/>
                <a:gd name="connsiteX27" fmla="*/ 462740 w 901652"/>
                <a:gd name="connsiteY27" fmla="*/ 146304 h 518372"/>
                <a:gd name="connsiteX28" fmla="*/ 417020 w 901652"/>
                <a:gd name="connsiteY28" fmla="*/ 182880 h 518372"/>
                <a:gd name="connsiteX29" fmla="*/ 371300 w 901652"/>
                <a:gd name="connsiteY29" fmla="*/ 256032 h 518372"/>
                <a:gd name="connsiteX30" fmla="*/ 298148 w 901652"/>
                <a:gd name="connsiteY30" fmla="*/ 301752 h 518372"/>
                <a:gd name="connsiteX31" fmla="*/ 197564 w 901652"/>
                <a:gd name="connsiteY31" fmla="*/ 347472 h 518372"/>
                <a:gd name="connsiteX32" fmla="*/ 160988 w 901652"/>
                <a:gd name="connsiteY32" fmla="*/ 374904 h 518372"/>
                <a:gd name="connsiteX33" fmla="*/ 115268 w 901652"/>
                <a:gd name="connsiteY33" fmla="*/ 402336 h 518372"/>
                <a:gd name="connsiteX34" fmla="*/ 96980 w 901652"/>
                <a:gd name="connsiteY34" fmla="*/ 402336 h 518372"/>
                <a:gd name="connsiteX35" fmla="*/ 115268 w 901652"/>
                <a:gd name="connsiteY35" fmla="*/ 365760 h 518372"/>
                <a:gd name="connsiteX36" fmla="*/ 170132 w 901652"/>
                <a:gd name="connsiteY36" fmla="*/ 301752 h 518372"/>
                <a:gd name="connsiteX37" fmla="*/ 261572 w 901652"/>
                <a:gd name="connsiteY37" fmla="*/ 219456 h 518372"/>
                <a:gd name="connsiteX38" fmla="*/ 307292 w 901652"/>
                <a:gd name="connsiteY38" fmla="*/ 146304 h 518372"/>
                <a:gd name="connsiteX39" fmla="*/ 307292 w 901652"/>
                <a:gd name="connsiteY39" fmla="*/ 64008 h 518372"/>
                <a:gd name="connsiteX40" fmla="*/ 298148 w 901652"/>
                <a:gd name="connsiteY40" fmla="*/ 54864 h 518372"/>
                <a:gd name="connsiteX41" fmla="*/ 289004 w 901652"/>
                <a:gd name="connsiteY41" fmla="*/ 128016 h 518372"/>
                <a:gd name="connsiteX42" fmla="*/ 261572 w 901652"/>
                <a:gd name="connsiteY42" fmla="*/ 173736 h 518372"/>
                <a:gd name="connsiteX43" fmla="*/ 188420 w 901652"/>
                <a:gd name="connsiteY43" fmla="*/ 237744 h 518372"/>
                <a:gd name="connsiteX44" fmla="*/ 160988 w 901652"/>
                <a:gd name="connsiteY44" fmla="*/ 256032 h 518372"/>
                <a:gd name="connsiteX45" fmla="*/ 87836 w 901652"/>
                <a:gd name="connsiteY45" fmla="*/ 347472 h 518372"/>
                <a:gd name="connsiteX46" fmla="*/ 78692 w 901652"/>
                <a:gd name="connsiteY46" fmla="*/ 374904 h 518372"/>
                <a:gd name="connsiteX47" fmla="*/ 69548 w 901652"/>
                <a:gd name="connsiteY47" fmla="*/ 411480 h 518372"/>
                <a:gd name="connsiteX48" fmla="*/ 102898 w 901652"/>
                <a:gd name="connsiteY48" fmla="*/ 483305 h 518372"/>
                <a:gd name="connsiteX49" fmla="*/ 142467 w 901652"/>
                <a:gd name="connsiteY49" fmla="*/ 448761 h 518372"/>
                <a:gd name="connsiteX50" fmla="*/ 102897 w 901652"/>
                <a:gd name="connsiteY50" fmla="*/ 483305 h 518372"/>
                <a:gd name="connsiteX51" fmla="*/ 102897 w 901652"/>
                <a:gd name="connsiteY51" fmla="*/ 483305 h 518372"/>
                <a:gd name="connsiteX52" fmla="*/ 102897 w 901652"/>
                <a:gd name="connsiteY52" fmla="*/ 483305 h 518372"/>
                <a:gd name="connsiteX53" fmla="*/ 63328 w 901652"/>
                <a:gd name="connsiteY53" fmla="*/ 517849 h 518372"/>
                <a:gd name="connsiteX54" fmla="*/ 13191 w 901652"/>
                <a:gd name="connsiteY54" fmla="*/ 468067 h 518372"/>
                <a:gd name="connsiteX55" fmla="*/ 13189 w 901652"/>
                <a:gd name="connsiteY55" fmla="*/ 468067 h 518372"/>
                <a:gd name="connsiteX0" fmla="*/ 13189 w 901652"/>
                <a:gd name="connsiteY0" fmla="*/ 468067 h 518372"/>
                <a:gd name="connsiteX1" fmla="*/ 13192 w 901652"/>
                <a:gd name="connsiteY1" fmla="*/ 468067 h 518372"/>
                <a:gd name="connsiteX2" fmla="*/ 13192 w 901652"/>
                <a:gd name="connsiteY2" fmla="*/ 468067 h 518372"/>
                <a:gd name="connsiteX3" fmla="*/ 13192 w 901652"/>
                <a:gd name="connsiteY3" fmla="*/ 468067 h 518372"/>
                <a:gd name="connsiteX4" fmla="*/ 142467 w 901652"/>
                <a:gd name="connsiteY4" fmla="*/ 448761 h 518372"/>
                <a:gd name="connsiteX5" fmla="*/ 197564 w 901652"/>
                <a:gd name="connsiteY5" fmla="*/ 384048 h 518372"/>
                <a:gd name="connsiteX6" fmla="*/ 389588 w 901652"/>
                <a:gd name="connsiteY6" fmla="*/ 301752 h 518372"/>
                <a:gd name="connsiteX7" fmla="*/ 471884 w 901652"/>
                <a:gd name="connsiteY7" fmla="*/ 192024 h 518372"/>
                <a:gd name="connsiteX8" fmla="*/ 618188 w 901652"/>
                <a:gd name="connsiteY8" fmla="*/ 155448 h 518372"/>
                <a:gd name="connsiteX9" fmla="*/ 663908 w 901652"/>
                <a:gd name="connsiteY9" fmla="*/ 155448 h 518372"/>
                <a:gd name="connsiteX10" fmla="*/ 700484 w 901652"/>
                <a:gd name="connsiteY10" fmla="*/ 137160 h 518372"/>
                <a:gd name="connsiteX11" fmla="*/ 654764 w 901652"/>
                <a:gd name="connsiteY11" fmla="*/ 137160 h 518372"/>
                <a:gd name="connsiteX12" fmla="*/ 563324 w 901652"/>
                <a:gd name="connsiteY12" fmla="*/ 137160 h 518372"/>
                <a:gd name="connsiteX13" fmla="*/ 508460 w 901652"/>
                <a:gd name="connsiteY13" fmla="*/ 146304 h 518372"/>
                <a:gd name="connsiteX14" fmla="*/ 499316 w 901652"/>
                <a:gd name="connsiteY14" fmla="*/ 155448 h 518372"/>
                <a:gd name="connsiteX15" fmla="*/ 481028 w 901652"/>
                <a:gd name="connsiteY15" fmla="*/ 146304 h 518372"/>
                <a:gd name="connsiteX16" fmla="*/ 609044 w 901652"/>
                <a:gd name="connsiteY16" fmla="*/ 91440 h 518372"/>
                <a:gd name="connsiteX17" fmla="*/ 663908 w 901652"/>
                <a:gd name="connsiteY17" fmla="*/ 91440 h 518372"/>
                <a:gd name="connsiteX18" fmla="*/ 755348 w 901652"/>
                <a:gd name="connsiteY18" fmla="*/ 82296 h 518372"/>
                <a:gd name="connsiteX19" fmla="*/ 883364 w 901652"/>
                <a:gd name="connsiteY19" fmla="*/ 27432 h 518372"/>
                <a:gd name="connsiteX20" fmla="*/ 865076 w 901652"/>
                <a:gd name="connsiteY20" fmla="*/ 0 h 518372"/>
                <a:gd name="connsiteX21" fmla="*/ 828500 w 901652"/>
                <a:gd name="connsiteY21" fmla="*/ 27432 h 518372"/>
                <a:gd name="connsiteX22" fmla="*/ 791924 w 901652"/>
                <a:gd name="connsiteY22" fmla="*/ 36576 h 518372"/>
                <a:gd name="connsiteX23" fmla="*/ 718772 w 901652"/>
                <a:gd name="connsiteY23" fmla="*/ 64008 h 518372"/>
                <a:gd name="connsiteX24" fmla="*/ 663908 w 901652"/>
                <a:gd name="connsiteY24" fmla="*/ 64008 h 518372"/>
                <a:gd name="connsiteX25" fmla="*/ 554180 w 901652"/>
                <a:gd name="connsiteY25" fmla="*/ 64008 h 518372"/>
                <a:gd name="connsiteX26" fmla="*/ 499316 w 901652"/>
                <a:gd name="connsiteY26" fmla="*/ 100584 h 518372"/>
                <a:gd name="connsiteX27" fmla="*/ 462740 w 901652"/>
                <a:gd name="connsiteY27" fmla="*/ 146304 h 518372"/>
                <a:gd name="connsiteX28" fmla="*/ 417020 w 901652"/>
                <a:gd name="connsiteY28" fmla="*/ 182880 h 518372"/>
                <a:gd name="connsiteX29" fmla="*/ 371300 w 901652"/>
                <a:gd name="connsiteY29" fmla="*/ 256032 h 518372"/>
                <a:gd name="connsiteX30" fmla="*/ 298148 w 901652"/>
                <a:gd name="connsiteY30" fmla="*/ 301752 h 518372"/>
                <a:gd name="connsiteX31" fmla="*/ 197564 w 901652"/>
                <a:gd name="connsiteY31" fmla="*/ 347472 h 518372"/>
                <a:gd name="connsiteX32" fmla="*/ 160988 w 901652"/>
                <a:gd name="connsiteY32" fmla="*/ 374904 h 518372"/>
                <a:gd name="connsiteX33" fmla="*/ 115268 w 901652"/>
                <a:gd name="connsiteY33" fmla="*/ 402336 h 518372"/>
                <a:gd name="connsiteX34" fmla="*/ 96980 w 901652"/>
                <a:gd name="connsiteY34" fmla="*/ 402336 h 518372"/>
                <a:gd name="connsiteX35" fmla="*/ 115268 w 901652"/>
                <a:gd name="connsiteY35" fmla="*/ 365760 h 518372"/>
                <a:gd name="connsiteX36" fmla="*/ 170132 w 901652"/>
                <a:gd name="connsiteY36" fmla="*/ 301752 h 518372"/>
                <a:gd name="connsiteX37" fmla="*/ 261572 w 901652"/>
                <a:gd name="connsiteY37" fmla="*/ 219456 h 518372"/>
                <a:gd name="connsiteX38" fmla="*/ 307292 w 901652"/>
                <a:gd name="connsiteY38" fmla="*/ 146304 h 518372"/>
                <a:gd name="connsiteX39" fmla="*/ 307292 w 901652"/>
                <a:gd name="connsiteY39" fmla="*/ 64008 h 518372"/>
                <a:gd name="connsiteX40" fmla="*/ 298148 w 901652"/>
                <a:gd name="connsiteY40" fmla="*/ 54864 h 518372"/>
                <a:gd name="connsiteX41" fmla="*/ 289004 w 901652"/>
                <a:gd name="connsiteY41" fmla="*/ 128016 h 518372"/>
                <a:gd name="connsiteX42" fmla="*/ 261572 w 901652"/>
                <a:gd name="connsiteY42" fmla="*/ 173736 h 518372"/>
                <a:gd name="connsiteX43" fmla="*/ 188420 w 901652"/>
                <a:gd name="connsiteY43" fmla="*/ 237744 h 518372"/>
                <a:gd name="connsiteX44" fmla="*/ 160988 w 901652"/>
                <a:gd name="connsiteY44" fmla="*/ 256032 h 518372"/>
                <a:gd name="connsiteX45" fmla="*/ 87836 w 901652"/>
                <a:gd name="connsiteY45" fmla="*/ 347472 h 518372"/>
                <a:gd name="connsiteX46" fmla="*/ 78692 w 901652"/>
                <a:gd name="connsiteY46" fmla="*/ 374904 h 518372"/>
                <a:gd name="connsiteX47" fmla="*/ 69548 w 901652"/>
                <a:gd name="connsiteY47" fmla="*/ 411480 h 518372"/>
                <a:gd name="connsiteX48" fmla="*/ 102898 w 901652"/>
                <a:gd name="connsiteY48" fmla="*/ 483305 h 518372"/>
                <a:gd name="connsiteX49" fmla="*/ 142467 w 901652"/>
                <a:gd name="connsiteY49" fmla="*/ 448761 h 518372"/>
                <a:gd name="connsiteX50" fmla="*/ 102897 w 901652"/>
                <a:gd name="connsiteY50" fmla="*/ 483305 h 518372"/>
                <a:gd name="connsiteX51" fmla="*/ 102897 w 901652"/>
                <a:gd name="connsiteY51" fmla="*/ 483305 h 518372"/>
                <a:gd name="connsiteX52" fmla="*/ 102898 w 901652"/>
                <a:gd name="connsiteY52" fmla="*/ 483305 h 518372"/>
                <a:gd name="connsiteX53" fmla="*/ 63328 w 901652"/>
                <a:gd name="connsiteY53" fmla="*/ 517849 h 518372"/>
                <a:gd name="connsiteX54" fmla="*/ 13191 w 901652"/>
                <a:gd name="connsiteY54" fmla="*/ 468067 h 518372"/>
                <a:gd name="connsiteX55" fmla="*/ 13189 w 901652"/>
                <a:gd name="connsiteY55" fmla="*/ 468067 h 518372"/>
                <a:gd name="connsiteX0" fmla="*/ 13189 w 901652"/>
                <a:gd name="connsiteY0" fmla="*/ 468067 h 518372"/>
                <a:gd name="connsiteX1" fmla="*/ 13192 w 901652"/>
                <a:gd name="connsiteY1" fmla="*/ 468067 h 518372"/>
                <a:gd name="connsiteX2" fmla="*/ 13192 w 901652"/>
                <a:gd name="connsiteY2" fmla="*/ 468067 h 518372"/>
                <a:gd name="connsiteX3" fmla="*/ 13192 w 901652"/>
                <a:gd name="connsiteY3" fmla="*/ 468067 h 518372"/>
                <a:gd name="connsiteX4" fmla="*/ 142467 w 901652"/>
                <a:gd name="connsiteY4" fmla="*/ 448761 h 518372"/>
                <a:gd name="connsiteX5" fmla="*/ 197564 w 901652"/>
                <a:gd name="connsiteY5" fmla="*/ 384048 h 518372"/>
                <a:gd name="connsiteX6" fmla="*/ 389588 w 901652"/>
                <a:gd name="connsiteY6" fmla="*/ 301752 h 518372"/>
                <a:gd name="connsiteX7" fmla="*/ 471884 w 901652"/>
                <a:gd name="connsiteY7" fmla="*/ 192024 h 518372"/>
                <a:gd name="connsiteX8" fmla="*/ 618188 w 901652"/>
                <a:gd name="connsiteY8" fmla="*/ 155448 h 518372"/>
                <a:gd name="connsiteX9" fmla="*/ 663908 w 901652"/>
                <a:gd name="connsiteY9" fmla="*/ 155448 h 518372"/>
                <a:gd name="connsiteX10" fmla="*/ 700484 w 901652"/>
                <a:gd name="connsiteY10" fmla="*/ 137160 h 518372"/>
                <a:gd name="connsiteX11" fmla="*/ 654764 w 901652"/>
                <a:gd name="connsiteY11" fmla="*/ 137160 h 518372"/>
                <a:gd name="connsiteX12" fmla="*/ 563324 w 901652"/>
                <a:gd name="connsiteY12" fmla="*/ 137160 h 518372"/>
                <a:gd name="connsiteX13" fmla="*/ 508460 w 901652"/>
                <a:gd name="connsiteY13" fmla="*/ 146304 h 518372"/>
                <a:gd name="connsiteX14" fmla="*/ 499316 w 901652"/>
                <a:gd name="connsiteY14" fmla="*/ 155448 h 518372"/>
                <a:gd name="connsiteX15" fmla="*/ 481028 w 901652"/>
                <a:gd name="connsiteY15" fmla="*/ 146304 h 518372"/>
                <a:gd name="connsiteX16" fmla="*/ 609044 w 901652"/>
                <a:gd name="connsiteY16" fmla="*/ 91440 h 518372"/>
                <a:gd name="connsiteX17" fmla="*/ 663908 w 901652"/>
                <a:gd name="connsiteY17" fmla="*/ 91440 h 518372"/>
                <a:gd name="connsiteX18" fmla="*/ 755348 w 901652"/>
                <a:gd name="connsiteY18" fmla="*/ 82296 h 518372"/>
                <a:gd name="connsiteX19" fmla="*/ 883364 w 901652"/>
                <a:gd name="connsiteY19" fmla="*/ 27432 h 518372"/>
                <a:gd name="connsiteX20" fmla="*/ 865076 w 901652"/>
                <a:gd name="connsiteY20" fmla="*/ 0 h 518372"/>
                <a:gd name="connsiteX21" fmla="*/ 828500 w 901652"/>
                <a:gd name="connsiteY21" fmla="*/ 27432 h 518372"/>
                <a:gd name="connsiteX22" fmla="*/ 791924 w 901652"/>
                <a:gd name="connsiteY22" fmla="*/ 36576 h 518372"/>
                <a:gd name="connsiteX23" fmla="*/ 718772 w 901652"/>
                <a:gd name="connsiteY23" fmla="*/ 64008 h 518372"/>
                <a:gd name="connsiteX24" fmla="*/ 663908 w 901652"/>
                <a:gd name="connsiteY24" fmla="*/ 64008 h 518372"/>
                <a:gd name="connsiteX25" fmla="*/ 554180 w 901652"/>
                <a:gd name="connsiteY25" fmla="*/ 64008 h 518372"/>
                <a:gd name="connsiteX26" fmla="*/ 499316 w 901652"/>
                <a:gd name="connsiteY26" fmla="*/ 100584 h 518372"/>
                <a:gd name="connsiteX27" fmla="*/ 462740 w 901652"/>
                <a:gd name="connsiteY27" fmla="*/ 146304 h 518372"/>
                <a:gd name="connsiteX28" fmla="*/ 417020 w 901652"/>
                <a:gd name="connsiteY28" fmla="*/ 182880 h 518372"/>
                <a:gd name="connsiteX29" fmla="*/ 371300 w 901652"/>
                <a:gd name="connsiteY29" fmla="*/ 256032 h 518372"/>
                <a:gd name="connsiteX30" fmla="*/ 298148 w 901652"/>
                <a:gd name="connsiteY30" fmla="*/ 301752 h 518372"/>
                <a:gd name="connsiteX31" fmla="*/ 197564 w 901652"/>
                <a:gd name="connsiteY31" fmla="*/ 347472 h 518372"/>
                <a:gd name="connsiteX32" fmla="*/ 160988 w 901652"/>
                <a:gd name="connsiteY32" fmla="*/ 374904 h 518372"/>
                <a:gd name="connsiteX33" fmla="*/ 115268 w 901652"/>
                <a:gd name="connsiteY33" fmla="*/ 402336 h 518372"/>
                <a:gd name="connsiteX34" fmla="*/ 96980 w 901652"/>
                <a:gd name="connsiteY34" fmla="*/ 402336 h 518372"/>
                <a:gd name="connsiteX35" fmla="*/ 115268 w 901652"/>
                <a:gd name="connsiteY35" fmla="*/ 365760 h 518372"/>
                <a:gd name="connsiteX36" fmla="*/ 170132 w 901652"/>
                <a:gd name="connsiteY36" fmla="*/ 301752 h 518372"/>
                <a:gd name="connsiteX37" fmla="*/ 261572 w 901652"/>
                <a:gd name="connsiteY37" fmla="*/ 219456 h 518372"/>
                <a:gd name="connsiteX38" fmla="*/ 307292 w 901652"/>
                <a:gd name="connsiteY38" fmla="*/ 146304 h 518372"/>
                <a:gd name="connsiteX39" fmla="*/ 307292 w 901652"/>
                <a:gd name="connsiteY39" fmla="*/ 64008 h 518372"/>
                <a:gd name="connsiteX40" fmla="*/ 298148 w 901652"/>
                <a:gd name="connsiteY40" fmla="*/ 54864 h 518372"/>
                <a:gd name="connsiteX41" fmla="*/ 289004 w 901652"/>
                <a:gd name="connsiteY41" fmla="*/ 128016 h 518372"/>
                <a:gd name="connsiteX42" fmla="*/ 261572 w 901652"/>
                <a:gd name="connsiteY42" fmla="*/ 173736 h 518372"/>
                <a:gd name="connsiteX43" fmla="*/ 188420 w 901652"/>
                <a:gd name="connsiteY43" fmla="*/ 237744 h 518372"/>
                <a:gd name="connsiteX44" fmla="*/ 160988 w 901652"/>
                <a:gd name="connsiteY44" fmla="*/ 256032 h 518372"/>
                <a:gd name="connsiteX45" fmla="*/ 87836 w 901652"/>
                <a:gd name="connsiteY45" fmla="*/ 347472 h 518372"/>
                <a:gd name="connsiteX46" fmla="*/ 78692 w 901652"/>
                <a:gd name="connsiteY46" fmla="*/ 374904 h 518372"/>
                <a:gd name="connsiteX47" fmla="*/ 69548 w 901652"/>
                <a:gd name="connsiteY47" fmla="*/ 411480 h 518372"/>
                <a:gd name="connsiteX48" fmla="*/ 102898 w 901652"/>
                <a:gd name="connsiteY48" fmla="*/ 483305 h 518372"/>
                <a:gd name="connsiteX49" fmla="*/ 142467 w 901652"/>
                <a:gd name="connsiteY49" fmla="*/ 448761 h 518372"/>
                <a:gd name="connsiteX50" fmla="*/ 102897 w 901652"/>
                <a:gd name="connsiteY50" fmla="*/ 483305 h 518372"/>
                <a:gd name="connsiteX51" fmla="*/ 102897 w 901652"/>
                <a:gd name="connsiteY51" fmla="*/ 483305 h 518372"/>
                <a:gd name="connsiteX52" fmla="*/ 63328 w 901652"/>
                <a:gd name="connsiteY52" fmla="*/ 517849 h 518372"/>
                <a:gd name="connsiteX53" fmla="*/ 63328 w 901652"/>
                <a:gd name="connsiteY53" fmla="*/ 517849 h 518372"/>
                <a:gd name="connsiteX54" fmla="*/ 13191 w 901652"/>
                <a:gd name="connsiteY54" fmla="*/ 468067 h 518372"/>
                <a:gd name="connsiteX55" fmla="*/ 13189 w 901652"/>
                <a:gd name="connsiteY55" fmla="*/ 468067 h 518372"/>
                <a:gd name="connsiteX0" fmla="*/ 13189 w 901652"/>
                <a:gd name="connsiteY0" fmla="*/ 468067 h 518372"/>
                <a:gd name="connsiteX1" fmla="*/ 13192 w 901652"/>
                <a:gd name="connsiteY1" fmla="*/ 468067 h 518372"/>
                <a:gd name="connsiteX2" fmla="*/ 13192 w 901652"/>
                <a:gd name="connsiteY2" fmla="*/ 468067 h 518372"/>
                <a:gd name="connsiteX3" fmla="*/ 13192 w 901652"/>
                <a:gd name="connsiteY3" fmla="*/ 468067 h 518372"/>
                <a:gd name="connsiteX4" fmla="*/ 142467 w 901652"/>
                <a:gd name="connsiteY4" fmla="*/ 448761 h 518372"/>
                <a:gd name="connsiteX5" fmla="*/ 197564 w 901652"/>
                <a:gd name="connsiteY5" fmla="*/ 384048 h 518372"/>
                <a:gd name="connsiteX6" fmla="*/ 389588 w 901652"/>
                <a:gd name="connsiteY6" fmla="*/ 301752 h 518372"/>
                <a:gd name="connsiteX7" fmla="*/ 471884 w 901652"/>
                <a:gd name="connsiteY7" fmla="*/ 192024 h 518372"/>
                <a:gd name="connsiteX8" fmla="*/ 618188 w 901652"/>
                <a:gd name="connsiteY8" fmla="*/ 155448 h 518372"/>
                <a:gd name="connsiteX9" fmla="*/ 663908 w 901652"/>
                <a:gd name="connsiteY9" fmla="*/ 155448 h 518372"/>
                <a:gd name="connsiteX10" fmla="*/ 700484 w 901652"/>
                <a:gd name="connsiteY10" fmla="*/ 137160 h 518372"/>
                <a:gd name="connsiteX11" fmla="*/ 654764 w 901652"/>
                <a:gd name="connsiteY11" fmla="*/ 137160 h 518372"/>
                <a:gd name="connsiteX12" fmla="*/ 563324 w 901652"/>
                <a:gd name="connsiteY12" fmla="*/ 137160 h 518372"/>
                <a:gd name="connsiteX13" fmla="*/ 508460 w 901652"/>
                <a:gd name="connsiteY13" fmla="*/ 146304 h 518372"/>
                <a:gd name="connsiteX14" fmla="*/ 499316 w 901652"/>
                <a:gd name="connsiteY14" fmla="*/ 155448 h 518372"/>
                <a:gd name="connsiteX15" fmla="*/ 481028 w 901652"/>
                <a:gd name="connsiteY15" fmla="*/ 146304 h 518372"/>
                <a:gd name="connsiteX16" fmla="*/ 609044 w 901652"/>
                <a:gd name="connsiteY16" fmla="*/ 91440 h 518372"/>
                <a:gd name="connsiteX17" fmla="*/ 663908 w 901652"/>
                <a:gd name="connsiteY17" fmla="*/ 91440 h 518372"/>
                <a:gd name="connsiteX18" fmla="*/ 755348 w 901652"/>
                <a:gd name="connsiteY18" fmla="*/ 82296 h 518372"/>
                <a:gd name="connsiteX19" fmla="*/ 883364 w 901652"/>
                <a:gd name="connsiteY19" fmla="*/ 27432 h 518372"/>
                <a:gd name="connsiteX20" fmla="*/ 865076 w 901652"/>
                <a:gd name="connsiteY20" fmla="*/ 0 h 518372"/>
                <a:gd name="connsiteX21" fmla="*/ 828500 w 901652"/>
                <a:gd name="connsiteY21" fmla="*/ 27432 h 518372"/>
                <a:gd name="connsiteX22" fmla="*/ 791924 w 901652"/>
                <a:gd name="connsiteY22" fmla="*/ 36576 h 518372"/>
                <a:gd name="connsiteX23" fmla="*/ 718772 w 901652"/>
                <a:gd name="connsiteY23" fmla="*/ 64008 h 518372"/>
                <a:gd name="connsiteX24" fmla="*/ 663908 w 901652"/>
                <a:gd name="connsiteY24" fmla="*/ 64008 h 518372"/>
                <a:gd name="connsiteX25" fmla="*/ 554180 w 901652"/>
                <a:gd name="connsiteY25" fmla="*/ 64008 h 518372"/>
                <a:gd name="connsiteX26" fmla="*/ 499316 w 901652"/>
                <a:gd name="connsiteY26" fmla="*/ 100584 h 518372"/>
                <a:gd name="connsiteX27" fmla="*/ 462740 w 901652"/>
                <a:gd name="connsiteY27" fmla="*/ 146304 h 518372"/>
                <a:gd name="connsiteX28" fmla="*/ 417020 w 901652"/>
                <a:gd name="connsiteY28" fmla="*/ 182880 h 518372"/>
                <a:gd name="connsiteX29" fmla="*/ 371300 w 901652"/>
                <a:gd name="connsiteY29" fmla="*/ 256032 h 518372"/>
                <a:gd name="connsiteX30" fmla="*/ 298148 w 901652"/>
                <a:gd name="connsiteY30" fmla="*/ 301752 h 518372"/>
                <a:gd name="connsiteX31" fmla="*/ 197564 w 901652"/>
                <a:gd name="connsiteY31" fmla="*/ 347472 h 518372"/>
                <a:gd name="connsiteX32" fmla="*/ 160988 w 901652"/>
                <a:gd name="connsiteY32" fmla="*/ 374904 h 518372"/>
                <a:gd name="connsiteX33" fmla="*/ 115268 w 901652"/>
                <a:gd name="connsiteY33" fmla="*/ 402336 h 518372"/>
                <a:gd name="connsiteX34" fmla="*/ 96980 w 901652"/>
                <a:gd name="connsiteY34" fmla="*/ 402336 h 518372"/>
                <a:gd name="connsiteX35" fmla="*/ 115268 w 901652"/>
                <a:gd name="connsiteY35" fmla="*/ 365760 h 518372"/>
                <a:gd name="connsiteX36" fmla="*/ 170132 w 901652"/>
                <a:gd name="connsiteY36" fmla="*/ 301752 h 518372"/>
                <a:gd name="connsiteX37" fmla="*/ 261572 w 901652"/>
                <a:gd name="connsiteY37" fmla="*/ 219456 h 518372"/>
                <a:gd name="connsiteX38" fmla="*/ 307292 w 901652"/>
                <a:gd name="connsiteY38" fmla="*/ 146304 h 518372"/>
                <a:gd name="connsiteX39" fmla="*/ 307292 w 901652"/>
                <a:gd name="connsiteY39" fmla="*/ 64008 h 518372"/>
                <a:gd name="connsiteX40" fmla="*/ 298148 w 901652"/>
                <a:gd name="connsiteY40" fmla="*/ 54864 h 518372"/>
                <a:gd name="connsiteX41" fmla="*/ 289004 w 901652"/>
                <a:gd name="connsiteY41" fmla="*/ 128016 h 518372"/>
                <a:gd name="connsiteX42" fmla="*/ 261572 w 901652"/>
                <a:gd name="connsiteY42" fmla="*/ 173736 h 518372"/>
                <a:gd name="connsiteX43" fmla="*/ 188420 w 901652"/>
                <a:gd name="connsiteY43" fmla="*/ 237744 h 518372"/>
                <a:gd name="connsiteX44" fmla="*/ 160988 w 901652"/>
                <a:gd name="connsiteY44" fmla="*/ 256032 h 518372"/>
                <a:gd name="connsiteX45" fmla="*/ 87836 w 901652"/>
                <a:gd name="connsiteY45" fmla="*/ 347472 h 518372"/>
                <a:gd name="connsiteX46" fmla="*/ 78692 w 901652"/>
                <a:gd name="connsiteY46" fmla="*/ 374904 h 518372"/>
                <a:gd name="connsiteX47" fmla="*/ 69548 w 901652"/>
                <a:gd name="connsiteY47" fmla="*/ 411480 h 518372"/>
                <a:gd name="connsiteX48" fmla="*/ 102898 w 901652"/>
                <a:gd name="connsiteY48" fmla="*/ 483305 h 518372"/>
                <a:gd name="connsiteX49" fmla="*/ 142467 w 901652"/>
                <a:gd name="connsiteY49" fmla="*/ 448761 h 518372"/>
                <a:gd name="connsiteX50" fmla="*/ 102897 w 901652"/>
                <a:gd name="connsiteY50" fmla="*/ 483305 h 518372"/>
                <a:gd name="connsiteX51" fmla="*/ 63328 w 901652"/>
                <a:gd name="connsiteY51" fmla="*/ 517849 h 518372"/>
                <a:gd name="connsiteX52" fmla="*/ 63328 w 901652"/>
                <a:gd name="connsiteY52" fmla="*/ 517849 h 518372"/>
                <a:gd name="connsiteX53" fmla="*/ 63328 w 901652"/>
                <a:gd name="connsiteY53" fmla="*/ 517849 h 518372"/>
                <a:gd name="connsiteX54" fmla="*/ 13191 w 901652"/>
                <a:gd name="connsiteY54" fmla="*/ 468067 h 518372"/>
                <a:gd name="connsiteX55" fmla="*/ 13189 w 901652"/>
                <a:gd name="connsiteY55" fmla="*/ 468067 h 518372"/>
                <a:gd name="connsiteX0" fmla="*/ 13189 w 901652"/>
                <a:gd name="connsiteY0" fmla="*/ 468067 h 518372"/>
                <a:gd name="connsiteX1" fmla="*/ 13192 w 901652"/>
                <a:gd name="connsiteY1" fmla="*/ 468067 h 518372"/>
                <a:gd name="connsiteX2" fmla="*/ 13192 w 901652"/>
                <a:gd name="connsiteY2" fmla="*/ 468067 h 518372"/>
                <a:gd name="connsiteX3" fmla="*/ 13192 w 901652"/>
                <a:gd name="connsiteY3" fmla="*/ 468067 h 518372"/>
                <a:gd name="connsiteX4" fmla="*/ 142467 w 901652"/>
                <a:gd name="connsiteY4" fmla="*/ 448761 h 518372"/>
                <a:gd name="connsiteX5" fmla="*/ 197564 w 901652"/>
                <a:gd name="connsiteY5" fmla="*/ 384048 h 518372"/>
                <a:gd name="connsiteX6" fmla="*/ 389588 w 901652"/>
                <a:gd name="connsiteY6" fmla="*/ 301752 h 518372"/>
                <a:gd name="connsiteX7" fmla="*/ 471884 w 901652"/>
                <a:gd name="connsiteY7" fmla="*/ 192024 h 518372"/>
                <a:gd name="connsiteX8" fmla="*/ 618188 w 901652"/>
                <a:gd name="connsiteY8" fmla="*/ 155448 h 518372"/>
                <a:gd name="connsiteX9" fmla="*/ 663908 w 901652"/>
                <a:gd name="connsiteY9" fmla="*/ 155448 h 518372"/>
                <a:gd name="connsiteX10" fmla="*/ 700484 w 901652"/>
                <a:gd name="connsiteY10" fmla="*/ 137160 h 518372"/>
                <a:gd name="connsiteX11" fmla="*/ 654764 w 901652"/>
                <a:gd name="connsiteY11" fmla="*/ 137160 h 518372"/>
                <a:gd name="connsiteX12" fmla="*/ 563324 w 901652"/>
                <a:gd name="connsiteY12" fmla="*/ 137160 h 518372"/>
                <a:gd name="connsiteX13" fmla="*/ 508460 w 901652"/>
                <a:gd name="connsiteY13" fmla="*/ 146304 h 518372"/>
                <a:gd name="connsiteX14" fmla="*/ 499316 w 901652"/>
                <a:gd name="connsiteY14" fmla="*/ 155448 h 518372"/>
                <a:gd name="connsiteX15" fmla="*/ 481028 w 901652"/>
                <a:gd name="connsiteY15" fmla="*/ 146304 h 518372"/>
                <a:gd name="connsiteX16" fmla="*/ 609044 w 901652"/>
                <a:gd name="connsiteY16" fmla="*/ 91440 h 518372"/>
                <a:gd name="connsiteX17" fmla="*/ 663908 w 901652"/>
                <a:gd name="connsiteY17" fmla="*/ 91440 h 518372"/>
                <a:gd name="connsiteX18" fmla="*/ 755348 w 901652"/>
                <a:gd name="connsiteY18" fmla="*/ 82296 h 518372"/>
                <a:gd name="connsiteX19" fmla="*/ 883364 w 901652"/>
                <a:gd name="connsiteY19" fmla="*/ 27432 h 518372"/>
                <a:gd name="connsiteX20" fmla="*/ 865076 w 901652"/>
                <a:gd name="connsiteY20" fmla="*/ 0 h 518372"/>
                <a:gd name="connsiteX21" fmla="*/ 828500 w 901652"/>
                <a:gd name="connsiteY21" fmla="*/ 27432 h 518372"/>
                <a:gd name="connsiteX22" fmla="*/ 791924 w 901652"/>
                <a:gd name="connsiteY22" fmla="*/ 36576 h 518372"/>
                <a:gd name="connsiteX23" fmla="*/ 718772 w 901652"/>
                <a:gd name="connsiteY23" fmla="*/ 64008 h 518372"/>
                <a:gd name="connsiteX24" fmla="*/ 663908 w 901652"/>
                <a:gd name="connsiteY24" fmla="*/ 64008 h 518372"/>
                <a:gd name="connsiteX25" fmla="*/ 554180 w 901652"/>
                <a:gd name="connsiteY25" fmla="*/ 64008 h 518372"/>
                <a:gd name="connsiteX26" fmla="*/ 499316 w 901652"/>
                <a:gd name="connsiteY26" fmla="*/ 100584 h 518372"/>
                <a:gd name="connsiteX27" fmla="*/ 462740 w 901652"/>
                <a:gd name="connsiteY27" fmla="*/ 146304 h 518372"/>
                <a:gd name="connsiteX28" fmla="*/ 417020 w 901652"/>
                <a:gd name="connsiteY28" fmla="*/ 182880 h 518372"/>
                <a:gd name="connsiteX29" fmla="*/ 371300 w 901652"/>
                <a:gd name="connsiteY29" fmla="*/ 256032 h 518372"/>
                <a:gd name="connsiteX30" fmla="*/ 298148 w 901652"/>
                <a:gd name="connsiteY30" fmla="*/ 301752 h 518372"/>
                <a:gd name="connsiteX31" fmla="*/ 197564 w 901652"/>
                <a:gd name="connsiteY31" fmla="*/ 347472 h 518372"/>
                <a:gd name="connsiteX32" fmla="*/ 160988 w 901652"/>
                <a:gd name="connsiteY32" fmla="*/ 374904 h 518372"/>
                <a:gd name="connsiteX33" fmla="*/ 115268 w 901652"/>
                <a:gd name="connsiteY33" fmla="*/ 402336 h 518372"/>
                <a:gd name="connsiteX34" fmla="*/ 96980 w 901652"/>
                <a:gd name="connsiteY34" fmla="*/ 402336 h 518372"/>
                <a:gd name="connsiteX35" fmla="*/ 115268 w 901652"/>
                <a:gd name="connsiteY35" fmla="*/ 365760 h 518372"/>
                <a:gd name="connsiteX36" fmla="*/ 170132 w 901652"/>
                <a:gd name="connsiteY36" fmla="*/ 301752 h 518372"/>
                <a:gd name="connsiteX37" fmla="*/ 261572 w 901652"/>
                <a:gd name="connsiteY37" fmla="*/ 219456 h 518372"/>
                <a:gd name="connsiteX38" fmla="*/ 307292 w 901652"/>
                <a:gd name="connsiteY38" fmla="*/ 146304 h 518372"/>
                <a:gd name="connsiteX39" fmla="*/ 307292 w 901652"/>
                <a:gd name="connsiteY39" fmla="*/ 64008 h 518372"/>
                <a:gd name="connsiteX40" fmla="*/ 298148 w 901652"/>
                <a:gd name="connsiteY40" fmla="*/ 54864 h 518372"/>
                <a:gd name="connsiteX41" fmla="*/ 289004 w 901652"/>
                <a:gd name="connsiteY41" fmla="*/ 128016 h 518372"/>
                <a:gd name="connsiteX42" fmla="*/ 261572 w 901652"/>
                <a:gd name="connsiteY42" fmla="*/ 173736 h 518372"/>
                <a:gd name="connsiteX43" fmla="*/ 188420 w 901652"/>
                <a:gd name="connsiteY43" fmla="*/ 237744 h 518372"/>
                <a:gd name="connsiteX44" fmla="*/ 160988 w 901652"/>
                <a:gd name="connsiteY44" fmla="*/ 256032 h 518372"/>
                <a:gd name="connsiteX45" fmla="*/ 87836 w 901652"/>
                <a:gd name="connsiteY45" fmla="*/ 347472 h 518372"/>
                <a:gd name="connsiteX46" fmla="*/ 78692 w 901652"/>
                <a:gd name="connsiteY46" fmla="*/ 374904 h 518372"/>
                <a:gd name="connsiteX47" fmla="*/ 69548 w 901652"/>
                <a:gd name="connsiteY47" fmla="*/ 411480 h 518372"/>
                <a:gd name="connsiteX48" fmla="*/ 102898 w 901652"/>
                <a:gd name="connsiteY48" fmla="*/ 483305 h 518372"/>
                <a:gd name="connsiteX49" fmla="*/ 142467 w 901652"/>
                <a:gd name="connsiteY49" fmla="*/ 448761 h 518372"/>
                <a:gd name="connsiteX50" fmla="*/ 13192 w 901652"/>
                <a:gd name="connsiteY50" fmla="*/ 468067 h 518372"/>
                <a:gd name="connsiteX51" fmla="*/ 63328 w 901652"/>
                <a:gd name="connsiteY51" fmla="*/ 517849 h 518372"/>
                <a:gd name="connsiteX52" fmla="*/ 63328 w 901652"/>
                <a:gd name="connsiteY52" fmla="*/ 517849 h 518372"/>
                <a:gd name="connsiteX53" fmla="*/ 63328 w 901652"/>
                <a:gd name="connsiteY53" fmla="*/ 517849 h 518372"/>
                <a:gd name="connsiteX54" fmla="*/ 13191 w 901652"/>
                <a:gd name="connsiteY54" fmla="*/ 468067 h 518372"/>
                <a:gd name="connsiteX55" fmla="*/ 13189 w 901652"/>
                <a:gd name="connsiteY55" fmla="*/ 468067 h 518372"/>
                <a:gd name="connsiteX0" fmla="*/ 13189 w 901652"/>
                <a:gd name="connsiteY0" fmla="*/ 468067 h 518372"/>
                <a:gd name="connsiteX1" fmla="*/ 13192 w 901652"/>
                <a:gd name="connsiteY1" fmla="*/ 468067 h 518372"/>
                <a:gd name="connsiteX2" fmla="*/ 13192 w 901652"/>
                <a:gd name="connsiteY2" fmla="*/ 468067 h 518372"/>
                <a:gd name="connsiteX3" fmla="*/ 13192 w 901652"/>
                <a:gd name="connsiteY3" fmla="*/ 468067 h 518372"/>
                <a:gd name="connsiteX4" fmla="*/ 142467 w 901652"/>
                <a:gd name="connsiteY4" fmla="*/ 448761 h 518372"/>
                <a:gd name="connsiteX5" fmla="*/ 197564 w 901652"/>
                <a:gd name="connsiteY5" fmla="*/ 384048 h 518372"/>
                <a:gd name="connsiteX6" fmla="*/ 389588 w 901652"/>
                <a:gd name="connsiteY6" fmla="*/ 301752 h 518372"/>
                <a:gd name="connsiteX7" fmla="*/ 471884 w 901652"/>
                <a:gd name="connsiteY7" fmla="*/ 192024 h 518372"/>
                <a:gd name="connsiteX8" fmla="*/ 618188 w 901652"/>
                <a:gd name="connsiteY8" fmla="*/ 155448 h 518372"/>
                <a:gd name="connsiteX9" fmla="*/ 663908 w 901652"/>
                <a:gd name="connsiteY9" fmla="*/ 155448 h 518372"/>
                <a:gd name="connsiteX10" fmla="*/ 700484 w 901652"/>
                <a:gd name="connsiteY10" fmla="*/ 137160 h 518372"/>
                <a:gd name="connsiteX11" fmla="*/ 654764 w 901652"/>
                <a:gd name="connsiteY11" fmla="*/ 137160 h 518372"/>
                <a:gd name="connsiteX12" fmla="*/ 563324 w 901652"/>
                <a:gd name="connsiteY12" fmla="*/ 137160 h 518372"/>
                <a:gd name="connsiteX13" fmla="*/ 508460 w 901652"/>
                <a:gd name="connsiteY13" fmla="*/ 146304 h 518372"/>
                <a:gd name="connsiteX14" fmla="*/ 499316 w 901652"/>
                <a:gd name="connsiteY14" fmla="*/ 155448 h 518372"/>
                <a:gd name="connsiteX15" fmla="*/ 481028 w 901652"/>
                <a:gd name="connsiteY15" fmla="*/ 146304 h 518372"/>
                <a:gd name="connsiteX16" fmla="*/ 609044 w 901652"/>
                <a:gd name="connsiteY16" fmla="*/ 91440 h 518372"/>
                <a:gd name="connsiteX17" fmla="*/ 663908 w 901652"/>
                <a:gd name="connsiteY17" fmla="*/ 91440 h 518372"/>
                <a:gd name="connsiteX18" fmla="*/ 755348 w 901652"/>
                <a:gd name="connsiteY18" fmla="*/ 82296 h 518372"/>
                <a:gd name="connsiteX19" fmla="*/ 883364 w 901652"/>
                <a:gd name="connsiteY19" fmla="*/ 27432 h 518372"/>
                <a:gd name="connsiteX20" fmla="*/ 865076 w 901652"/>
                <a:gd name="connsiteY20" fmla="*/ 0 h 518372"/>
                <a:gd name="connsiteX21" fmla="*/ 828500 w 901652"/>
                <a:gd name="connsiteY21" fmla="*/ 27432 h 518372"/>
                <a:gd name="connsiteX22" fmla="*/ 791924 w 901652"/>
                <a:gd name="connsiteY22" fmla="*/ 36576 h 518372"/>
                <a:gd name="connsiteX23" fmla="*/ 718772 w 901652"/>
                <a:gd name="connsiteY23" fmla="*/ 64008 h 518372"/>
                <a:gd name="connsiteX24" fmla="*/ 663908 w 901652"/>
                <a:gd name="connsiteY24" fmla="*/ 64008 h 518372"/>
                <a:gd name="connsiteX25" fmla="*/ 554180 w 901652"/>
                <a:gd name="connsiteY25" fmla="*/ 64008 h 518372"/>
                <a:gd name="connsiteX26" fmla="*/ 499316 w 901652"/>
                <a:gd name="connsiteY26" fmla="*/ 100584 h 518372"/>
                <a:gd name="connsiteX27" fmla="*/ 462740 w 901652"/>
                <a:gd name="connsiteY27" fmla="*/ 146304 h 518372"/>
                <a:gd name="connsiteX28" fmla="*/ 417020 w 901652"/>
                <a:gd name="connsiteY28" fmla="*/ 182880 h 518372"/>
                <a:gd name="connsiteX29" fmla="*/ 371300 w 901652"/>
                <a:gd name="connsiteY29" fmla="*/ 256032 h 518372"/>
                <a:gd name="connsiteX30" fmla="*/ 298148 w 901652"/>
                <a:gd name="connsiteY30" fmla="*/ 301752 h 518372"/>
                <a:gd name="connsiteX31" fmla="*/ 197564 w 901652"/>
                <a:gd name="connsiteY31" fmla="*/ 347472 h 518372"/>
                <a:gd name="connsiteX32" fmla="*/ 160988 w 901652"/>
                <a:gd name="connsiteY32" fmla="*/ 374904 h 518372"/>
                <a:gd name="connsiteX33" fmla="*/ 115268 w 901652"/>
                <a:gd name="connsiteY33" fmla="*/ 402336 h 518372"/>
                <a:gd name="connsiteX34" fmla="*/ 96980 w 901652"/>
                <a:gd name="connsiteY34" fmla="*/ 402336 h 518372"/>
                <a:gd name="connsiteX35" fmla="*/ 115268 w 901652"/>
                <a:gd name="connsiteY35" fmla="*/ 365760 h 518372"/>
                <a:gd name="connsiteX36" fmla="*/ 170132 w 901652"/>
                <a:gd name="connsiteY36" fmla="*/ 301752 h 518372"/>
                <a:gd name="connsiteX37" fmla="*/ 261572 w 901652"/>
                <a:gd name="connsiteY37" fmla="*/ 219456 h 518372"/>
                <a:gd name="connsiteX38" fmla="*/ 307292 w 901652"/>
                <a:gd name="connsiteY38" fmla="*/ 146304 h 518372"/>
                <a:gd name="connsiteX39" fmla="*/ 307292 w 901652"/>
                <a:gd name="connsiteY39" fmla="*/ 64008 h 518372"/>
                <a:gd name="connsiteX40" fmla="*/ 298148 w 901652"/>
                <a:gd name="connsiteY40" fmla="*/ 54864 h 518372"/>
                <a:gd name="connsiteX41" fmla="*/ 289004 w 901652"/>
                <a:gd name="connsiteY41" fmla="*/ 128016 h 518372"/>
                <a:gd name="connsiteX42" fmla="*/ 261572 w 901652"/>
                <a:gd name="connsiteY42" fmla="*/ 173736 h 518372"/>
                <a:gd name="connsiteX43" fmla="*/ 188420 w 901652"/>
                <a:gd name="connsiteY43" fmla="*/ 237744 h 518372"/>
                <a:gd name="connsiteX44" fmla="*/ 160988 w 901652"/>
                <a:gd name="connsiteY44" fmla="*/ 256032 h 518372"/>
                <a:gd name="connsiteX45" fmla="*/ 87836 w 901652"/>
                <a:gd name="connsiteY45" fmla="*/ 347472 h 518372"/>
                <a:gd name="connsiteX46" fmla="*/ 78692 w 901652"/>
                <a:gd name="connsiteY46" fmla="*/ 374904 h 518372"/>
                <a:gd name="connsiteX47" fmla="*/ 69548 w 901652"/>
                <a:gd name="connsiteY47" fmla="*/ 411480 h 518372"/>
                <a:gd name="connsiteX48" fmla="*/ 13192 w 901652"/>
                <a:gd name="connsiteY48" fmla="*/ 468067 h 518372"/>
                <a:gd name="connsiteX49" fmla="*/ 142467 w 901652"/>
                <a:gd name="connsiteY49" fmla="*/ 448761 h 518372"/>
                <a:gd name="connsiteX50" fmla="*/ 13192 w 901652"/>
                <a:gd name="connsiteY50" fmla="*/ 468067 h 518372"/>
                <a:gd name="connsiteX51" fmla="*/ 63328 w 901652"/>
                <a:gd name="connsiteY51" fmla="*/ 517849 h 518372"/>
                <a:gd name="connsiteX52" fmla="*/ 63328 w 901652"/>
                <a:gd name="connsiteY52" fmla="*/ 517849 h 518372"/>
                <a:gd name="connsiteX53" fmla="*/ 63328 w 901652"/>
                <a:gd name="connsiteY53" fmla="*/ 517849 h 518372"/>
                <a:gd name="connsiteX54" fmla="*/ 13191 w 901652"/>
                <a:gd name="connsiteY54" fmla="*/ 468067 h 518372"/>
                <a:gd name="connsiteX55" fmla="*/ 13189 w 901652"/>
                <a:gd name="connsiteY55" fmla="*/ 468067 h 518372"/>
                <a:gd name="connsiteX0" fmla="*/ 13189 w 901652"/>
                <a:gd name="connsiteY0" fmla="*/ 468067 h 517849"/>
                <a:gd name="connsiteX1" fmla="*/ 13192 w 901652"/>
                <a:gd name="connsiteY1" fmla="*/ 468067 h 517849"/>
                <a:gd name="connsiteX2" fmla="*/ 13192 w 901652"/>
                <a:gd name="connsiteY2" fmla="*/ 468067 h 517849"/>
                <a:gd name="connsiteX3" fmla="*/ 13192 w 901652"/>
                <a:gd name="connsiteY3" fmla="*/ 468067 h 517849"/>
                <a:gd name="connsiteX4" fmla="*/ 142467 w 901652"/>
                <a:gd name="connsiteY4" fmla="*/ 448761 h 517849"/>
                <a:gd name="connsiteX5" fmla="*/ 197564 w 901652"/>
                <a:gd name="connsiteY5" fmla="*/ 384048 h 517849"/>
                <a:gd name="connsiteX6" fmla="*/ 389588 w 901652"/>
                <a:gd name="connsiteY6" fmla="*/ 301752 h 517849"/>
                <a:gd name="connsiteX7" fmla="*/ 471884 w 901652"/>
                <a:gd name="connsiteY7" fmla="*/ 192024 h 517849"/>
                <a:gd name="connsiteX8" fmla="*/ 618188 w 901652"/>
                <a:gd name="connsiteY8" fmla="*/ 155448 h 517849"/>
                <a:gd name="connsiteX9" fmla="*/ 663908 w 901652"/>
                <a:gd name="connsiteY9" fmla="*/ 155448 h 517849"/>
                <a:gd name="connsiteX10" fmla="*/ 700484 w 901652"/>
                <a:gd name="connsiteY10" fmla="*/ 137160 h 517849"/>
                <a:gd name="connsiteX11" fmla="*/ 654764 w 901652"/>
                <a:gd name="connsiteY11" fmla="*/ 137160 h 517849"/>
                <a:gd name="connsiteX12" fmla="*/ 563324 w 901652"/>
                <a:gd name="connsiteY12" fmla="*/ 137160 h 517849"/>
                <a:gd name="connsiteX13" fmla="*/ 508460 w 901652"/>
                <a:gd name="connsiteY13" fmla="*/ 146304 h 517849"/>
                <a:gd name="connsiteX14" fmla="*/ 499316 w 901652"/>
                <a:gd name="connsiteY14" fmla="*/ 155448 h 517849"/>
                <a:gd name="connsiteX15" fmla="*/ 481028 w 901652"/>
                <a:gd name="connsiteY15" fmla="*/ 146304 h 517849"/>
                <a:gd name="connsiteX16" fmla="*/ 609044 w 901652"/>
                <a:gd name="connsiteY16" fmla="*/ 91440 h 517849"/>
                <a:gd name="connsiteX17" fmla="*/ 663908 w 901652"/>
                <a:gd name="connsiteY17" fmla="*/ 91440 h 517849"/>
                <a:gd name="connsiteX18" fmla="*/ 755348 w 901652"/>
                <a:gd name="connsiteY18" fmla="*/ 82296 h 517849"/>
                <a:gd name="connsiteX19" fmla="*/ 883364 w 901652"/>
                <a:gd name="connsiteY19" fmla="*/ 27432 h 517849"/>
                <a:gd name="connsiteX20" fmla="*/ 865076 w 901652"/>
                <a:gd name="connsiteY20" fmla="*/ 0 h 517849"/>
                <a:gd name="connsiteX21" fmla="*/ 828500 w 901652"/>
                <a:gd name="connsiteY21" fmla="*/ 27432 h 517849"/>
                <a:gd name="connsiteX22" fmla="*/ 791924 w 901652"/>
                <a:gd name="connsiteY22" fmla="*/ 36576 h 517849"/>
                <a:gd name="connsiteX23" fmla="*/ 718772 w 901652"/>
                <a:gd name="connsiteY23" fmla="*/ 64008 h 517849"/>
                <a:gd name="connsiteX24" fmla="*/ 663908 w 901652"/>
                <a:gd name="connsiteY24" fmla="*/ 64008 h 517849"/>
                <a:gd name="connsiteX25" fmla="*/ 554180 w 901652"/>
                <a:gd name="connsiteY25" fmla="*/ 64008 h 517849"/>
                <a:gd name="connsiteX26" fmla="*/ 499316 w 901652"/>
                <a:gd name="connsiteY26" fmla="*/ 100584 h 517849"/>
                <a:gd name="connsiteX27" fmla="*/ 462740 w 901652"/>
                <a:gd name="connsiteY27" fmla="*/ 146304 h 517849"/>
                <a:gd name="connsiteX28" fmla="*/ 417020 w 901652"/>
                <a:gd name="connsiteY28" fmla="*/ 182880 h 517849"/>
                <a:gd name="connsiteX29" fmla="*/ 371300 w 901652"/>
                <a:gd name="connsiteY29" fmla="*/ 256032 h 517849"/>
                <a:gd name="connsiteX30" fmla="*/ 298148 w 901652"/>
                <a:gd name="connsiteY30" fmla="*/ 301752 h 517849"/>
                <a:gd name="connsiteX31" fmla="*/ 197564 w 901652"/>
                <a:gd name="connsiteY31" fmla="*/ 347472 h 517849"/>
                <a:gd name="connsiteX32" fmla="*/ 160988 w 901652"/>
                <a:gd name="connsiteY32" fmla="*/ 374904 h 517849"/>
                <a:gd name="connsiteX33" fmla="*/ 115268 w 901652"/>
                <a:gd name="connsiteY33" fmla="*/ 402336 h 517849"/>
                <a:gd name="connsiteX34" fmla="*/ 96980 w 901652"/>
                <a:gd name="connsiteY34" fmla="*/ 402336 h 517849"/>
                <a:gd name="connsiteX35" fmla="*/ 115268 w 901652"/>
                <a:gd name="connsiteY35" fmla="*/ 365760 h 517849"/>
                <a:gd name="connsiteX36" fmla="*/ 170132 w 901652"/>
                <a:gd name="connsiteY36" fmla="*/ 301752 h 517849"/>
                <a:gd name="connsiteX37" fmla="*/ 261572 w 901652"/>
                <a:gd name="connsiteY37" fmla="*/ 219456 h 517849"/>
                <a:gd name="connsiteX38" fmla="*/ 307292 w 901652"/>
                <a:gd name="connsiteY38" fmla="*/ 146304 h 517849"/>
                <a:gd name="connsiteX39" fmla="*/ 307292 w 901652"/>
                <a:gd name="connsiteY39" fmla="*/ 64008 h 517849"/>
                <a:gd name="connsiteX40" fmla="*/ 298148 w 901652"/>
                <a:gd name="connsiteY40" fmla="*/ 54864 h 517849"/>
                <a:gd name="connsiteX41" fmla="*/ 289004 w 901652"/>
                <a:gd name="connsiteY41" fmla="*/ 128016 h 517849"/>
                <a:gd name="connsiteX42" fmla="*/ 261572 w 901652"/>
                <a:gd name="connsiteY42" fmla="*/ 173736 h 517849"/>
                <a:gd name="connsiteX43" fmla="*/ 188420 w 901652"/>
                <a:gd name="connsiteY43" fmla="*/ 237744 h 517849"/>
                <a:gd name="connsiteX44" fmla="*/ 160988 w 901652"/>
                <a:gd name="connsiteY44" fmla="*/ 256032 h 517849"/>
                <a:gd name="connsiteX45" fmla="*/ 87836 w 901652"/>
                <a:gd name="connsiteY45" fmla="*/ 347472 h 517849"/>
                <a:gd name="connsiteX46" fmla="*/ 78692 w 901652"/>
                <a:gd name="connsiteY46" fmla="*/ 374904 h 517849"/>
                <a:gd name="connsiteX47" fmla="*/ 69548 w 901652"/>
                <a:gd name="connsiteY47" fmla="*/ 411480 h 517849"/>
                <a:gd name="connsiteX48" fmla="*/ 13192 w 901652"/>
                <a:gd name="connsiteY48" fmla="*/ 468067 h 517849"/>
                <a:gd name="connsiteX49" fmla="*/ 142467 w 901652"/>
                <a:gd name="connsiteY49" fmla="*/ 448761 h 517849"/>
                <a:gd name="connsiteX50" fmla="*/ 13192 w 901652"/>
                <a:gd name="connsiteY50" fmla="*/ 468067 h 517849"/>
                <a:gd name="connsiteX51" fmla="*/ 63328 w 901652"/>
                <a:gd name="connsiteY51" fmla="*/ 517849 h 517849"/>
                <a:gd name="connsiteX52" fmla="*/ 63328 w 901652"/>
                <a:gd name="connsiteY52" fmla="*/ 517849 h 517849"/>
                <a:gd name="connsiteX53" fmla="*/ 142469 w 901652"/>
                <a:gd name="connsiteY53" fmla="*/ 448761 h 517849"/>
                <a:gd name="connsiteX54" fmla="*/ 13191 w 901652"/>
                <a:gd name="connsiteY54" fmla="*/ 468067 h 517849"/>
                <a:gd name="connsiteX55" fmla="*/ 13189 w 901652"/>
                <a:gd name="connsiteY55" fmla="*/ 468067 h 517849"/>
                <a:gd name="connsiteX0" fmla="*/ 45163 w 933626"/>
                <a:gd name="connsiteY0" fmla="*/ 468067 h 650398"/>
                <a:gd name="connsiteX1" fmla="*/ 45166 w 933626"/>
                <a:gd name="connsiteY1" fmla="*/ 468067 h 650398"/>
                <a:gd name="connsiteX2" fmla="*/ 45166 w 933626"/>
                <a:gd name="connsiteY2" fmla="*/ 468067 h 650398"/>
                <a:gd name="connsiteX3" fmla="*/ 45166 w 933626"/>
                <a:gd name="connsiteY3" fmla="*/ 468067 h 650398"/>
                <a:gd name="connsiteX4" fmla="*/ 174441 w 933626"/>
                <a:gd name="connsiteY4" fmla="*/ 448761 h 650398"/>
                <a:gd name="connsiteX5" fmla="*/ 229538 w 933626"/>
                <a:gd name="connsiteY5" fmla="*/ 384048 h 650398"/>
                <a:gd name="connsiteX6" fmla="*/ 421562 w 933626"/>
                <a:gd name="connsiteY6" fmla="*/ 301752 h 650398"/>
                <a:gd name="connsiteX7" fmla="*/ 503858 w 933626"/>
                <a:gd name="connsiteY7" fmla="*/ 192024 h 650398"/>
                <a:gd name="connsiteX8" fmla="*/ 650162 w 933626"/>
                <a:gd name="connsiteY8" fmla="*/ 155448 h 650398"/>
                <a:gd name="connsiteX9" fmla="*/ 695882 w 933626"/>
                <a:gd name="connsiteY9" fmla="*/ 155448 h 650398"/>
                <a:gd name="connsiteX10" fmla="*/ 732458 w 933626"/>
                <a:gd name="connsiteY10" fmla="*/ 137160 h 650398"/>
                <a:gd name="connsiteX11" fmla="*/ 686738 w 933626"/>
                <a:gd name="connsiteY11" fmla="*/ 137160 h 650398"/>
                <a:gd name="connsiteX12" fmla="*/ 595298 w 933626"/>
                <a:gd name="connsiteY12" fmla="*/ 137160 h 650398"/>
                <a:gd name="connsiteX13" fmla="*/ 540434 w 933626"/>
                <a:gd name="connsiteY13" fmla="*/ 146304 h 650398"/>
                <a:gd name="connsiteX14" fmla="*/ 531290 w 933626"/>
                <a:gd name="connsiteY14" fmla="*/ 155448 h 650398"/>
                <a:gd name="connsiteX15" fmla="*/ 513002 w 933626"/>
                <a:gd name="connsiteY15" fmla="*/ 146304 h 650398"/>
                <a:gd name="connsiteX16" fmla="*/ 641018 w 933626"/>
                <a:gd name="connsiteY16" fmla="*/ 91440 h 650398"/>
                <a:gd name="connsiteX17" fmla="*/ 695882 w 933626"/>
                <a:gd name="connsiteY17" fmla="*/ 91440 h 650398"/>
                <a:gd name="connsiteX18" fmla="*/ 787322 w 933626"/>
                <a:gd name="connsiteY18" fmla="*/ 82296 h 650398"/>
                <a:gd name="connsiteX19" fmla="*/ 915338 w 933626"/>
                <a:gd name="connsiteY19" fmla="*/ 27432 h 650398"/>
                <a:gd name="connsiteX20" fmla="*/ 897050 w 933626"/>
                <a:gd name="connsiteY20" fmla="*/ 0 h 650398"/>
                <a:gd name="connsiteX21" fmla="*/ 860474 w 933626"/>
                <a:gd name="connsiteY21" fmla="*/ 27432 h 650398"/>
                <a:gd name="connsiteX22" fmla="*/ 823898 w 933626"/>
                <a:gd name="connsiteY22" fmla="*/ 36576 h 650398"/>
                <a:gd name="connsiteX23" fmla="*/ 750746 w 933626"/>
                <a:gd name="connsiteY23" fmla="*/ 64008 h 650398"/>
                <a:gd name="connsiteX24" fmla="*/ 695882 w 933626"/>
                <a:gd name="connsiteY24" fmla="*/ 64008 h 650398"/>
                <a:gd name="connsiteX25" fmla="*/ 586154 w 933626"/>
                <a:gd name="connsiteY25" fmla="*/ 64008 h 650398"/>
                <a:gd name="connsiteX26" fmla="*/ 531290 w 933626"/>
                <a:gd name="connsiteY26" fmla="*/ 100584 h 650398"/>
                <a:gd name="connsiteX27" fmla="*/ 494714 w 933626"/>
                <a:gd name="connsiteY27" fmla="*/ 146304 h 650398"/>
                <a:gd name="connsiteX28" fmla="*/ 448994 w 933626"/>
                <a:gd name="connsiteY28" fmla="*/ 182880 h 650398"/>
                <a:gd name="connsiteX29" fmla="*/ 403274 w 933626"/>
                <a:gd name="connsiteY29" fmla="*/ 256032 h 650398"/>
                <a:gd name="connsiteX30" fmla="*/ 330122 w 933626"/>
                <a:gd name="connsiteY30" fmla="*/ 301752 h 650398"/>
                <a:gd name="connsiteX31" fmla="*/ 229538 w 933626"/>
                <a:gd name="connsiteY31" fmla="*/ 347472 h 650398"/>
                <a:gd name="connsiteX32" fmla="*/ 192962 w 933626"/>
                <a:gd name="connsiteY32" fmla="*/ 374904 h 650398"/>
                <a:gd name="connsiteX33" fmla="*/ 147242 w 933626"/>
                <a:gd name="connsiteY33" fmla="*/ 402336 h 650398"/>
                <a:gd name="connsiteX34" fmla="*/ 128954 w 933626"/>
                <a:gd name="connsiteY34" fmla="*/ 402336 h 650398"/>
                <a:gd name="connsiteX35" fmla="*/ 147242 w 933626"/>
                <a:gd name="connsiteY35" fmla="*/ 365760 h 650398"/>
                <a:gd name="connsiteX36" fmla="*/ 202106 w 933626"/>
                <a:gd name="connsiteY36" fmla="*/ 301752 h 650398"/>
                <a:gd name="connsiteX37" fmla="*/ 293546 w 933626"/>
                <a:gd name="connsiteY37" fmla="*/ 219456 h 650398"/>
                <a:gd name="connsiteX38" fmla="*/ 339266 w 933626"/>
                <a:gd name="connsiteY38" fmla="*/ 146304 h 650398"/>
                <a:gd name="connsiteX39" fmla="*/ 339266 w 933626"/>
                <a:gd name="connsiteY39" fmla="*/ 64008 h 650398"/>
                <a:gd name="connsiteX40" fmla="*/ 330122 w 933626"/>
                <a:gd name="connsiteY40" fmla="*/ 54864 h 650398"/>
                <a:gd name="connsiteX41" fmla="*/ 320978 w 933626"/>
                <a:gd name="connsiteY41" fmla="*/ 128016 h 650398"/>
                <a:gd name="connsiteX42" fmla="*/ 293546 w 933626"/>
                <a:gd name="connsiteY42" fmla="*/ 173736 h 650398"/>
                <a:gd name="connsiteX43" fmla="*/ 220394 w 933626"/>
                <a:gd name="connsiteY43" fmla="*/ 237744 h 650398"/>
                <a:gd name="connsiteX44" fmla="*/ 192962 w 933626"/>
                <a:gd name="connsiteY44" fmla="*/ 256032 h 650398"/>
                <a:gd name="connsiteX45" fmla="*/ 119810 w 933626"/>
                <a:gd name="connsiteY45" fmla="*/ 347472 h 650398"/>
                <a:gd name="connsiteX46" fmla="*/ 110666 w 933626"/>
                <a:gd name="connsiteY46" fmla="*/ 374904 h 650398"/>
                <a:gd name="connsiteX47" fmla="*/ 101522 w 933626"/>
                <a:gd name="connsiteY47" fmla="*/ 411480 h 650398"/>
                <a:gd name="connsiteX48" fmla="*/ 45166 w 933626"/>
                <a:gd name="connsiteY48" fmla="*/ 468067 h 650398"/>
                <a:gd name="connsiteX49" fmla="*/ 174441 w 933626"/>
                <a:gd name="connsiteY49" fmla="*/ 448761 h 650398"/>
                <a:gd name="connsiteX50" fmla="*/ 45166 w 933626"/>
                <a:gd name="connsiteY50" fmla="*/ 468067 h 650398"/>
                <a:gd name="connsiteX51" fmla="*/ 95302 w 933626"/>
                <a:gd name="connsiteY51" fmla="*/ 517849 h 650398"/>
                <a:gd name="connsiteX52" fmla="*/ 0 w 933626"/>
                <a:gd name="connsiteY52" fmla="*/ 650398 h 650398"/>
                <a:gd name="connsiteX53" fmla="*/ 174443 w 933626"/>
                <a:gd name="connsiteY53" fmla="*/ 448761 h 650398"/>
                <a:gd name="connsiteX54" fmla="*/ 45165 w 933626"/>
                <a:gd name="connsiteY54" fmla="*/ 468067 h 650398"/>
                <a:gd name="connsiteX55" fmla="*/ 45163 w 933626"/>
                <a:gd name="connsiteY55" fmla="*/ 468067 h 650398"/>
                <a:gd name="connsiteX0" fmla="*/ 97376 w 985839"/>
                <a:gd name="connsiteY0" fmla="*/ 468067 h 707344"/>
                <a:gd name="connsiteX1" fmla="*/ 97379 w 985839"/>
                <a:gd name="connsiteY1" fmla="*/ 468067 h 707344"/>
                <a:gd name="connsiteX2" fmla="*/ 97379 w 985839"/>
                <a:gd name="connsiteY2" fmla="*/ 468067 h 707344"/>
                <a:gd name="connsiteX3" fmla="*/ 97379 w 985839"/>
                <a:gd name="connsiteY3" fmla="*/ 468067 h 707344"/>
                <a:gd name="connsiteX4" fmla="*/ 226654 w 985839"/>
                <a:gd name="connsiteY4" fmla="*/ 448761 h 707344"/>
                <a:gd name="connsiteX5" fmla="*/ 281751 w 985839"/>
                <a:gd name="connsiteY5" fmla="*/ 384048 h 707344"/>
                <a:gd name="connsiteX6" fmla="*/ 473775 w 985839"/>
                <a:gd name="connsiteY6" fmla="*/ 301752 h 707344"/>
                <a:gd name="connsiteX7" fmla="*/ 556071 w 985839"/>
                <a:gd name="connsiteY7" fmla="*/ 192024 h 707344"/>
                <a:gd name="connsiteX8" fmla="*/ 702375 w 985839"/>
                <a:gd name="connsiteY8" fmla="*/ 155448 h 707344"/>
                <a:gd name="connsiteX9" fmla="*/ 748095 w 985839"/>
                <a:gd name="connsiteY9" fmla="*/ 155448 h 707344"/>
                <a:gd name="connsiteX10" fmla="*/ 784671 w 985839"/>
                <a:gd name="connsiteY10" fmla="*/ 137160 h 707344"/>
                <a:gd name="connsiteX11" fmla="*/ 738951 w 985839"/>
                <a:gd name="connsiteY11" fmla="*/ 137160 h 707344"/>
                <a:gd name="connsiteX12" fmla="*/ 647511 w 985839"/>
                <a:gd name="connsiteY12" fmla="*/ 137160 h 707344"/>
                <a:gd name="connsiteX13" fmla="*/ 592647 w 985839"/>
                <a:gd name="connsiteY13" fmla="*/ 146304 h 707344"/>
                <a:gd name="connsiteX14" fmla="*/ 583503 w 985839"/>
                <a:gd name="connsiteY14" fmla="*/ 155448 h 707344"/>
                <a:gd name="connsiteX15" fmla="*/ 565215 w 985839"/>
                <a:gd name="connsiteY15" fmla="*/ 146304 h 707344"/>
                <a:gd name="connsiteX16" fmla="*/ 693231 w 985839"/>
                <a:gd name="connsiteY16" fmla="*/ 91440 h 707344"/>
                <a:gd name="connsiteX17" fmla="*/ 748095 w 985839"/>
                <a:gd name="connsiteY17" fmla="*/ 91440 h 707344"/>
                <a:gd name="connsiteX18" fmla="*/ 839535 w 985839"/>
                <a:gd name="connsiteY18" fmla="*/ 82296 h 707344"/>
                <a:gd name="connsiteX19" fmla="*/ 967551 w 985839"/>
                <a:gd name="connsiteY19" fmla="*/ 27432 h 707344"/>
                <a:gd name="connsiteX20" fmla="*/ 949263 w 985839"/>
                <a:gd name="connsiteY20" fmla="*/ 0 h 707344"/>
                <a:gd name="connsiteX21" fmla="*/ 912687 w 985839"/>
                <a:gd name="connsiteY21" fmla="*/ 27432 h 707344"/>
                <a:gd name="connsiteX22" fmla="*/ 876111 w 985839"/>
                <a:gd name="connsiteY22" fmla="*/ 36576 h 707344"/>
                <a:gd name="connsiteX23" fmla="*/ 802959 w 985839"/>
                <a:gd name="connsiteY23" fmla="*/ 64008 h 707344"/>
                <a:gd name="connsiteX24" fmla="*/ 748095 w 985839"/>
                <a:gd name="connsiteY24" fmla="*/ 64008 h 707344"/>
                <a:gd name="connsiteX25" fmla="*/ 638367 w 985839"/>
                <a:gd name="connsiteY25" fmla="*/ 64008 h 707344"/>
                <a:gd name="connsiteX26" fmla="*/ 583503 w 985839"/>
                <a:gd name="connsiteY26" fmla="*/ 100584 h 707344"/>
                <a:gd name="connsiteX27" fmla="*/ 546927 w 985839"/>
                <a:gd name="connsiteY27" fmla="*/ 146304 h 707344"/>
                <a:gd name="connsiteX28" fmla="*/ 501207 w 985839"/>
                <a:gd name="connsiteY28" fmla="*/ 182880 h 707344"/>
                <a:gd name="connsiteX29" fmla="*/ 455487 w 985839"/>
                <a:gd name="connsiteY29" fmla="*/ 256032 h 707344"/>
                <a:gd name="connsiteX30" fmla="*/ 382335 w 985839"/>
                <a:gd name="connsiteY30" fmla="*/ 301752 h 707344"/>
                <a:gd name="connsiteX31" fmla="*/ 281751 w 985839"/>
                <a:gd name="connsiteY31" fmla="*/ 347472 h 707344"/>
                <a:gd name="connsiteX32" fmla="*/ 245175 w 985839"/>
                <a:gd name="connsiteY32" fmla="*/ 374904 h 707344"/>
                <a:gd name="connsiteX33" fmla="*/ 199455 w 985839"/>
                <a:gd name="connsiteY33" fmla="*/ 402336 h 707344"/>
                <a:gd name="connsiteX34" fmla="*/ 181167 w 985839"/>
                <a:gd name="connsiteY34" fmla="*/ 402336 h 707344"/>
                <a:gd name="connsiteX35" fmla="*/ 199455 w 985839"/>
                <a:gd name="connsiteY35" fmla="*/ 365760 h 707344"/>
                <a:gd name="connsiteX36" fmla="*/ 254319 w 985839"/>
                <a:gd name="connsiteY36" fmla="*/ 301752 h 707344"/>
                <a:gd name="connsiteX37" fmla="*/ 345759 w 985839"/>
                <a:gd name="connsiteY37" fmla="*/ 219456 h 707344"/>
                <a:gd name="connsiteX38" fmla="*/ 391479 w 985839"/>
                <a:gd name="connsiteY38" fmla="*/ 146304 h 707344"/>
                <a:gd name="connsiteX39" fmla="*/ 391479 w 985839"/>
                <a:gd name="connsiteY39" fmla="*/ 64008 h 707344"/>
                <a:gd name="connsiteX40" fmla="*/ 382335 w 985839"/>
                <a:gd name="connsiteY40" fmla="*/ 54864 h 707344"/>
                <a:gd name="connsiteX41" fmla="*/ 373191 w 985839"/>
                <a:gd name="connsiteY41" fmla="*/ 128016 h 707344"/>
                <a:gd name="connsiteX42" fmla="*/ 345759 w 985839"/>
                <a:gd name="connsiteY42" fmla="*/ 173736 h 707344"/>
                <a:gd name="connsiteX43" fmla="*/ 272607 w 985839"/>
                <a:gd name="connsiteY43" fmla="*/ 237744 h 707344"/>
                <a:gd name="connsiteX44" fmla="*/ 245175 w 985839"/>
                <a:gd name="connsiteY44" fmla="*/ 256032 h 707344"/>
                <a:gd name="connsiteX45" fmla="*/ 172023 w 985839"/>
                <a:gd name="connsiteY45" fmla="*/ 347472 h 707344"/>
                <a:gd name="connsiteX46" fmla="*/ 162879 w 985839"/>
                <a:gd name="connsiteY46" fmla="*/ 374904 h 707344"/>
                <a:gd name="connsiteX47" fmla="*/ 153735 w 985839"/>
                <a:gd name="connsiteY47" fmla="*/ 411480 h 707344"/>
                <a:gd name="connsiteX48" fmla="*/ 97379 w 985839"/>
                <a:gd name="connsiteY48" fmla="*/ 468067 h 707344"/>
                <a:gd name="connsiteX49" fmla="*/ 226654 w 985839"/>
                <a:gd name="connsiteY49" fmla="*/ 448761 h 707344"/>
                <a:gd name="connsiteX50" fmla="*/ 97379 w 985839"/>
                <a:gd name="connsiteY50" fmla="*/ 468067 h 707344"/>
                <a:gd name="connsiteX51" fmla="*/ 0 w 985839"/>
                <a:gd name="connsiteY51" fmla="*/ 707344 h 707344"/>
                <a:gd name="connsiteX52" fmla="*/ 52213 w 985839"/>
                <a:gd name="connsiteY52" fmla="*/ 650398 h 707344"/>
                <a:gd name="connsiteX53" fmla="*/ 226656 w 985839"/>
                <a:gd name="connsiteY53" fmla="*/ 448761 h 707344"/>
                <a:gd name="connsiteX54" fmla="*/ 97378 w 985839"/>
                <a:gd name="connsiteY54" fmla="*/ 468067 h 707344"/>
                <a:gd name="connsiteX55" fmla="*/ 97376 w 985839"/>
                <a:gd name="connsiteY55" fmla="*/ 468067 h 707344"/>
                <a:gd name="connsiteX0" fmla="*/ 97376 w 985839"/>
                <a:gd name="connsiteY0" fmla="*/ 468067 h 740255"/>
                <a:gd name="connsiteX1" fmla="*/ 97379 w 985839"/>
                <a:gd name="connsiteY1" fmla="*/ 468067 h 740255"/>
                <a:gd name="connsiteX2" fmla="*/ 97379 w 985839"/>
                <a:gd name="connsiteY2" fmla="*/ 468067 h 740255"/>
                <a:gd name="connsiteX3" fmla="*/ 97379 w 985839"/>
                <a:gd name="connsiteY3" fmla="*/ 468067 h 740255"/>
                <a:gd name="connsiteX4" fmla="*/ 226654 w 985839"/>
                <a:gd name="connsiteY4" fmla="*/ 448761 h 740255"/>
                <a:gd name="connsiteX5" fmla="*/ 281751 w 985839"/>
                <a:gd name="connsiteY5" fmla="*/ 384048 h 740255"/>
                <a:gd name="connsiteX6" fmla="*/ 473775 w 985839"/>
                <a:gd name="connsiteY6" fmla="*/ 301752 h 740255"/>
                <a:gd name="connsiteX7" fmla="*/ 556071 w 985839"/>
                <a:gd name="connsiteY7" fmla="*/ 192024 h 740255"/>
                <a:gd name="connsiteX8" fmla="*/ 702375 w 985839"/>
                <a:gd name="connsiteY8" fmla="*/ 155448 h 740255"/>
                <a:gd name="connsiteX9" fmla="*/ 748095 w 985839"/>
                <a:gd name="connsiteY9" fmla="*/ 155448 h 740255"/>
                <a:gd name="connsiteX10" fmla="*/ 784671 w 985839"/>
                <a:gd name="connsiteY10" fmla="*/ 137160 h 740255"/>
                <a:gd name="connsiteX11" fmla="*/ 738951 w 985839"/>
                <a:gd name="connsiteY11" fmla="*/ 137160 h 740255"/>
                <a:gd name="connsiteX12" fmla="*/ 647511 w 985839"/>
                <a:gd name="connsiteY12" fmla="*/ 137160 h 740255"/>
                <a:gd name="connsiteX13" fmla="*/ 592647 w 985839"/>
                <a:gd name="connsiteY13" fmla="*/ 146304 h 740255"/>
                <a:gd name="connsiteX14" fmla="*/ 583503 w 985839"/>
                <a:gd name="connsiteY14" fmla="*/ 155448 h 740255"/>
                <a:gd name="connsiteX15" fmla="*/ 565215 w 985839"/>
                <a:gd name="connsiteY15" fmla="*/ 146304 h 740255"/>
                <a:gd name="connsiteX16" fmla="*/ 693231 w 985839"/>
                <a:gd name="connsiteY16" fmla="*/ 91440 h 740255"/>
                <a:gd name="connsiteX17" fmla="*/ 748095 w 985839"/>
                <a:gd name="connsiteY17" fmla="*/ 91440 h 740255"/>
                <a:gd name="connsiteX18" fmla="*/ 839535 w 985839"/>
                <a:gd name="connsiteY18" fmla="*/ 82296 h 740255"/>
                <a:gd name="connsiteX19" fmla="*/ 967551 w 985839"/>
                <a:gd name="connsiteY19" fmla="*/ 27432 h 740255"/>
                <a:gd name="connsiteX20" fmla="*/ 949263 w 985839"/>
                <a:gd name="connsiteY20" fmla="*/ 0 h 740255"/>
                <a:gd name="connsiteX21" fmla="*/ 912687 w 985839"/>
                <a:gd name="connsiteY21" fmla="*/ 27432 h 740255"/>
                <a:gd name="connsiteX22" fmla="*/ 876111 w 985839"/>
                <a:gd name="connsiteY22" fmla="*/ 36576 h 740255"/>
                <a:gd name="connsiteX23" fmla="*/ 802959 w 985839"/>
                <a:gd name="connsiteY23" fmla="*/ 64008 h 740255"/>
                <a:gd name="connsiteX24" fmla="*/ 748095 w 985839"/>
                <a:gd name="connsiteY24" fmla="*/ 64008 h 740255"/>
                <a:gd name="connsiteX25" fmla="*/ 638367 w 985839"/>
                <a:gd name="connsiteY25" fmla="*/ 64008 h 740255"/>
                <a:gd name="connsiteX26" fmla="*/ 583503 w 985839"/>
                <a:gd name="connsiteY26" fmla="*/ 100584 h 740255"/>
                <a:gd name="connsiteX27" fmla="*/ 546927 w 985839"/>
                <a:gd name="connsiteY27" fmla="*/ 146304 h 740255"/>
                <a:gd name="connsiteX28" fmla="*/ 501207 w 985839"/>
                <a:gd name="connsiteY28" fmla="*/ 182880 h 740255"/>
                <a:gd name="connsiteX29" fmla="*/ 455487 w 985839"/>
                <a:gd name="connsiteY29" fmla="*/ 256032 h 740255"/>
                <a:gd name="connsiteX30" fmla="*/ 382335 w 985839"/>
                <a:gd name="connsiteY30" fmla="*/ 301752 h 740255"/>
                <a:gd name="connsiteX31" fmla="*/ 281751 w 985839"/>
                <a:gd name="connsiteY31" fmla="*/ 347472 h 740255"/>
                <a:gd name="connsiteX32" fmla="*/ 245175 w 985839"/>
                <a:gd name="connsiteY32" fmla="*/ 374904 h 740255"/>
                <a:gd name="connsiteX33" fmla="*/ 199455 w 985839"/>
                <a:gd name="connsiteY33" fmla="*/ 402336 h 740255"/>
                <a:gd name="connsiteX34" fmla="*/ 181167 w 985839"/>
                <a:gd name="connsiteY34" fmla="*/ 402336 h 740255"/>
                <a:gd name="connsiteX35" fmla="*/ 199455 w 985839"/>
                <a:gd name="connsiteY35" fmla="*/ 365760 h 740255"/>
                <a:gd name="connsiteX36" fmla="*/ 254319 w 985839"/>
                <a:gd name="connsiteY36" fmla="*/ 301752 h 740255"/>
                <a:gd name="connsiteX37" fmla="*/ 345759 w 985839"/>
                <a:gd name="connsiteY37" fmla="*/ 219456 h 740255"/>
                <a:gd name="connsiteX38" fmla="*/ 391479 w 985839"/>
                <a:gd name="connsiteY38" fmla="*/ 146304 h 740255"/>
                <a:gd name="connsiteX39" fmla="*/ 391479 w 985839"/>
                <a:gd name="connsiteY39" fmla="*/ 64008 h 740255"/>
                <a:gd name="connsiteX40" fmla="*/ 382335 w 985839"/>
                <a:gd name="connsiteY40" fmla="*/ 54864 h 740255"/>
                <a:gd name="connsiteX41" fmla="*/ 373191 w 985839"/>
                <a:gd name="connsiteY41" fmla="*/ 128016 h 740255"/>
                <a:gd name="connsiteX42" fmla="*/ 345759 w 985839"/>
                <a:gd name="connsiteY42" fmla="*/ 173736 h 740255"/>
                <a:gd name="connsiteX43" fmla="*/ 272607 w 985839"/>
                <a:gd name="connsiteY43" fmla="*/ 237744 h 740255"/>
                <a:gd name="connsiteX44" fmla="*/ 245175 w 985839"/>
                <a:gd name="connsiteY44" fmla="*/ 256032 h 740255"/>
                <a:gd name="connsiteX45" fmla="*/ 172023 w 985839"/>
                <a:gd name="connsiteY45" fmla="*/ 347472 h 740255"/>
                <a:gd name="connsiteX46" fmla="*/ 162879 w 985839"/>
                <a:gd name="connsiteY46" fmla="*/ 374904 h 740255"/>
                <a:gd name="connsiteX47" fmla="*/ 153735 w 985839"/>
                <a:gd name="connsiteY47" fmla="*/ 411480 h 740255"/>
                <a:gd name="connsiteX48" fmla="*/ 97379 w 985839"/>
                <a:gd name="connsiteY48" fmla="*/ 468067 h 740255"/>
                <a:gd name="connsiteX49" fmla="*/ 226654 w 985839"/>
                <a:gd name="connsiteY49" fmla="*/ 448761 h 740255"/>
                <a:gd name="connsiteX50" fmla="*/ 97379 w 985839"/>
                <a:gd name="connsiteY50" fmla="*/ 468067 h 740255"/>
                <a:gd name="connsiteX51" fmla="*/ 0 w 985839"/>
                <a:gd name="connsiteY51" fmla="*/ 707344 h 740255"/>
                <a:gd name="connsiteX52" fmla="*/ 52213 w 985839"/>
                <a:gd name="connsiteY52" fmla="*/ 650398 h 740255"/>
                <a:gd name="connsiteX53" fmla="*/ 91804 w 985839"/>
                <a:gd name="connsiteY53" fmla="*/ 739732 h 740255"/>
                <a:gd name="connsiteX54" fmla="*/ 97378 w 985839"/>
                <a:gd name="connsiteY54" fmla="*/ 468067 h 740255"/>
                <a:gd name="connsiteX55" fmla="*/ 97376 w 985839"/>
                <a:gd name="connsiteY55" fmla="*/ 468067 h 740255"/>
                <a:gd name="connsiteX0" fmla="*/ 156644 w 985839"/>
                <a:gd name="connsiteY0" fmla="*/ 536508 h 740255"/>
                <a:gd name="connsiteX1" fmla="*/ 97379 w 985839"/>
                <a:gd name="connsiteY1" fmla="*/ 468067 h 740255"/>
                <a:gd name="connsiteX2" fmla="*/ 97379 w 985839"/>
                <a:gd name="connsiteY2" fmla="*/ 468067 h 740255"/>
                <a:gd name="connsiteX3" fmla="*/ 97379 w 985839"/>
                <a:gd name="connsiteY3" fmla="*/ 468067 h 740255"/>
                <a:gd name="connsiteX4" fmla="*/ 226654 w 985839"/>
                <a:gd name="connsiteY4" fmla="*/ 448761 h 740255"/>
                <a:gd name="connsiteX5" fmla="*/ 281751 w 985839"/>
                <a:gd name="connsiteY5" fmla="*/ 384048 h 740255"/>
                <a:gd name="connsiteX6" fmla="*/ 473775 w 985839"/>
                <a:gd name="connsiteY6" fmla="*/ 301752 h 740255"/>
                <a:gd name="connsiteX7" fmla="*/ 556071 w 985839"/>
                <a:gd name="connsiteY7" fmla="*/ 192024 h 740255"/>
                <a:gd name="connsiteX8" fmla="*/ 702375 w 985839"/>
                <a:gd name="connsiteY8" fmla="*/ 155448 h 740255"/>
                <a:gd name="connsiteX9" fmla="*/ 748095 w 985839"/>
                <a:gd name="connsiteY9" fmla="*/ 155448 h 740255"/>
                <a:gd name="connsiteX10" fmla="*/ 784671 w 985839"/>
                <a:gd name="connsiteY10" fmla="*/ 137160 h 740255"/>
                <a:gd name="connsiteX11" fmla="*/ 738951 w 985839"/>
                <a:gd name="connsiteY11" fmla="*/ 137160 h 740255"/>
                <a:gd name="connsiteX12" fmla="*/ 647511 w 985839"/>
                <a:gd name="connsiteY12" fmla="*/ 137160 h 740255"/>
                <a:gd name="connsiteX13" fmla="*/ 592647 w 985839"/>
                <a:gd name="connsiteY13" fmla="*/ 146304 h 740255"/>
                <a:gd name="connsiteX14" fmla="*/ 583503 w 985839"/>
                <a:gd name="connsiteY14" fmla="*/ 155448 h 740255"/>
                <a:gd name="connsiteX15" fmla="*/ 565215 w 985839"/>
                <a:gd name="connsiteY15" fmla="*/ 146304 h 740255"/>
                <a:gd name="connsiteX16" fmla="*/ 693231 w 985839"/>
                <a:gd name="connsiteY16" fmla="*/ 91440 h 740255"/>
                <a:gd name="connsiteX17" fmla="*/ 748095 w 985839"/>
                <a:gd name="connsiteY17" fmla="*/ 91440 h 740255"/>
                <a:gd name="connsiteX18" fmla="*/ 839535 w 985839"/>
                <a:gd name="connsiteY18" fmla="*/ 82296 h 740255"/>
                <a:gd name="connsiteX19" fmla="*/ 967551 w 985839"/>
                <a:gd name="connsiteY19" fmla="*/ 27432 h 740255"/>
                <a:gd name="connsiteX20" fmla="*/ 949263 w 985839"/>
                <a:gd name="connsiteY20" fmla="*/ 0 h 740255"/>
                <a:gd name="connsiteX21" fmla="*/ 912687 w 985839"/>
                <a:gd name="connsiteY21" fmla="*/ 27432 h 740255"/>
                <a:gd name="connsiteX22" fmla="*/ 876111 w 985839"/>
                <a:gd name="connsiteY22" fmla="*/ 36576 h 740255"/>
                <a:gd name="connsiteX23" fmla="*/ 802959 w 985839"/>
                <a:gd name="connsiteY23" fmla="*/ 64008 h 740255"/>
                <a:gd name="connsiteX24" fmla="*/ 748095 w 985839"/>
                <a:gd name="connsiteY24" fmla="*/ 64008 h 740255"/>
                <a:gd name="connsiteX25" fmla="*/ 638367 w 985839"/>
                <a:gd name="connsiteY25" fmla="*/ 64008 h 740255"/>
                <a:gd name="connsiteX26" fmla="*/ 583503 w 985839"/>
                <a:gd name="connsiteY26" fmla="*/ 100584 h 740255"/>
                <a:gd name="connsiteX27" fmla="*/ 546927 w 985839"/>
                <a:gd name="connsiteY27" fmla="*/ 146304 h 740255"/>
                <a:gd name="connsiteX28" fmla="*/ 501207 w 985839"/>
                <a:gd name="connsiteY28" fmla="*/ 182880 h 740255"/>
                <a:gd name="connsiteX29" fmla="*/ 455487 w 985839"/>
                <a:gd name="connsiteY29" fmla="*/ 256032 h 740255"/>
                <a:gd name="connsiteX30" fmla="*/ 382335 w 985839"/>
                <a:gd name="connsiteY30" fmla="*/ 301752 h 740255"/>
                <a:gd name="connsiteX31" fmla="*/ 281751 w 985839"/>
                <a:gd name="connsiteY31" fmla="*/ 347472 h 740255"/>
                <a:gd name="connsiteX32" fmla="*/ 245175 w 985839"/>
                <a:gd name="connsiteY32" fmla="*/ 374904 h 740255"/>
                <a:gd name="connsiteX33" fmla="*/ 199455 w 985839"/>
                <a:gd name="connsiteY33" fmla="*/ 402336 h 740255"/>
                <a:gd name="connsiteX34" fmla="*/ 181167 w 985839"/>
                <a:gd name="connsiteY34" fmla="*/ 402336 h 740255"/>
                <a:gd name="connsiteX35" fmla="*/ 199455 w 985839"/>
                <a:gd name="connsiteY35" fmla="*/ 365760 h 740255"/>
                <a:gd name="connsiteX36" fmla="*/ 254319 w 985839"/>
                <a:gd name="connsiteY36" fmla="*/ 301752 h 740255"/>
                <a:gd name="connsiteX37" fmla="*/ 345759 w 985839"/>
                <a:gd name="connsiteY37" fmla="*/ 219456 h 740255"/>
                <a:gd name="connsiteX38" fmla="*/ 391479 w 985839"/>
                <a:gd name="connsiteY38" fmla="*/ 146304 h 740255"/>
                <a:gd name="connsiteX39" fmla="*/ 391479 w 985839"/>
                <a:gd name="connsiteY39" fmla="*/ 64008 h 740255"/>
                <a:gd name="connsiteX40" fmla="*/ 382335 w 985839"/>
                <a:gd name="connsiteY40" fmla="*/ 54864 h 740255"/>
                <a:gd name="connsiteX41" fmla="*/ 373191 w 985839"/>
                <a:gd name="connsiteY41" fmla="*/ 128016 h 740255"/>
                <a:gd name="connsiteX42" fmla="*/ 345759 w 985839"/>
                <a:gd name="connsiteY42" fmla="*/ 173736 h 740255"/>
                <a:gd name="connsiteX43" fmla="*/ 272607 w 985839"/>
                <a:gd name="connsiteY43" fmla="*/ 237744 h 740255"/>
                <a:gd name="connsiteX44" fmla="*/ 245175 w 985839"/>
                <a:gd name="connsiteY44" fmla="*/ 256032 h 740255"/>
                <a:gd name="connsiteX45" fmla="*/ 172023 w 985839"/>
                <a:gd name="connsiteY45" fmla="*/ 347472 h 740255"/>
                <a:gd name="connsiteX46" fmla="*/ 162879 w 985839"/>
                <a:gd name="connsiteY46" fmla="*/ 374904 h 740255"/>
                <a:gd name="connsiteX47" fmla="*/ 153735 w 985839"/>
                <a:gd name="connsiteY47" fmla="*/ 411480 h 740255"/>
                <a:gd name="connsiteX48" fmla="*/ 97379 w 985839"/>
                <a:gd name="connsiteY48" fmla="*/ 468067 h 740255"/>
                <a:gd name="connsiteX49" fmla="*/ 226654 w 985839"/>
                <a:gd name="connsiteY49" fmla="*/ 448761 h 740255"/>
                <a:gd name="connsiteX50" fmla="*/ 97379 w 985839"/>
                <a:gd name="connsiteY50" fmla="*/ 468067 h 740255"/>
                <a:gd name="connsiteX51" fmla="*/ 0 w 985839"/>
                <a:gd name="connsiteY51" fmla="*/ 707344 h 740255"/>
                <a:gd name="connsiteX52" fmla="*/ 52213 w 985839"/>
                <a:gd name="connsiteY52" fmla="*/ 650398 h 740255"/>
                <a:gd name="connsiteX53" fmla="*/ 91804 w 985839"/>
                <a:gd name="connsiteY53" fmla="*/ 739732 h 740255"/>
                <a:gd name="connsiteX54" fmla="*/ 97378 w 985839"/>
                <a:gd name="connsiteY54" fmla="*/ 468067 h 740255"/>
                <a:gd name="connsiteX55" fmla="*/ 156644 w 985839"/>
                <a:gd name="connsiteY55" fmla="*/ 536508 h 740255"/>
                <a:gd name="connsiteX0" fmla="*/ 156644 w 985839"/>
                <a:gd name="connsiteY0" fmla="*/ 536508 h 740255"/>
                <a:gd name="connsiteX1" fmla="*/ 97379 w 985839"/>
                <a:gd name="connsiteY1" fmla="*/ 468067 h 740255"/>
                <a:gd name="connsiteX2" fmla="*/ 97379 w 985839"/>
                <a:gd name="connsiteY2" fmla="*/ 468067 h 740255"/>
                <a:gd name="connsiteX3" fmla="*/ 97379 w 985839"/>
                <a:gd name="connsiteY3" fmla="*/ 468067 h 740255"/>
                <a:gd name="connsiteX4" fmla="*/ 226654 w 985839"/>
                <a:gd name="connsiteY4" fmla="*/ 448761 h 740255"/>
                <a:gd name="connsiteX5" fmla="*/ 281751 w 985839"/>
                <a:gd name="connsiteY5" fmla="*/ 384048 h 740255"/>
                <a:gd name="connsiteX6" fmla="*/ 473775 w 985839"/>
                <a:gd name="connsiteY6" fmla="*/ 301752 h 740255"/>
                <a:gd name="connsiteX7" fmla="*/ 556071 w 985839"/>
                <a:gd name="connsiteY7" fmla="*/ 192024 h 740255"/>
                <a:gd name="connsiteX8" fmla="*/ 702375 w 985839"/>
                <a:gd name="connsiteY8" fmla="*/ 155448 h 740255"/>
                <a:gd name="connsiteX9" fmla="*/ 748095 w 985839"/>
                <a:gd name="connsiteY9" fmla="*/ 155448 h 740255"/>
                <a:gd name="connsiteX10" fmla="*/ 784671 w 985839"/>
                <a:gd name="connsiteY10" fmla="*/ 137160 h 740255"/>
                <a:gd name="connsiteX11" fmla="*/ 738951 w 985839"/>
                <a:gd name="connsiteY11" fmla="*/ 137160 h 740255"/>
                <a:gd name="connsiteX12" fmla="*/ 647511 w 985839"/>
                <a:gd name="connsiteY12" fmla="*/ 137160 h 740255"/>
                <a:gd name="connsiteX13" fmla="*/ 592647 w 985839"/>
                <a:gd name="connsiteY13" fmla="*/ 146304 h 740255"/>
                <a:gd name="connsiteX14" fmla="*/ 583503 w 985839"/>
                <a:gd name="connsiteY14" fmla="*/ 155448 h 740255"/>
                <a:gd name="connsiteX15" fmla="*/ 565215 w 985839"/>
                <a:gd name="connsiteY15" fmla="*/ 146304 h 740255"/>
                <a:gd name="connsiteX16" fmla="*/ 693231 w 985839"/>
                <a:gd name="connsiteY16" fmla="*/ 91440 h 740255"/>
                <a:gd name="connsiteX17" fmla="*/ 748095 w 985839"/>
                <a:gd name="connsiteY17" fmla="*/ 91440 h 740255"/>
                <a:gd name="connsiteX18" fmla="*/ 839535 w 985839"/>
                <a:gd name="connsiteY18" fmla="*/ 82296 h 740255"/>
                <a:gd name="connsiteX19" fmla="*/ 967551 w 985839"/>
                <a:gd name="connsiteY19" fmla="*/ 27432 h 740255"/>
                <a:gd name="connsiteX20" fmla="*/ 949263 w 985839"/>
                <a:gd name="connsiteY20" fmla="*/ 0 h 740255"/>
                <a:gd name="connsiteX21" fmla="*/ 912687 w 985839"/>
                <a:gd name="connsiteY21" fmla="*/ 27432 h 740255"/>
                <a:gd name="connsiteX22" fmla="*/ 876111 w 985839"/>
                <a:gd name="connsiteY22" fmla="*/ 36576 h 740255"/>
                <a:gd name="connsiteX23" fmla="*/ 802959 w 985839"/>
                <a:gd name="connsiteY23" fmla="*/ 64008 h 740255"/>
                <a:gd name="connsiteX24" fmla="*/ 748095 w 985839"/>
                <a:gd name="connsiteY24" fmla="*/ 64008 h 740255"/>
                <a:gd name="connsiteX25" fmla="*/ 638367 w 985839"/>
                <a:gd name="connsiteY25" fmla="*/ 64008 h 740255"/>
                <a:gd name="connsiteX26" fmla="*/ 583503 w 985839"/>
                <a:gd name="connsiteY26" fmla="*/ 100584 h 740255"/>
                <a:gd name="connsiteX27" fmla="*/ 546927 w 985839"/>
                <a:gd name="connsiteY27" fmla="*/ 146304 h 740255"/>
                <a:gd name="connsiteX28" fmla="*/ 501207 w 985839"/>
                <a:gd name="connsiteY28" fmla="*/ 182880 h 740255"/>
                <a:gd name="connsiteX29" fmla="*/ 455487 w 985839"/>
                <a:gd name="connsiteY29" fmla="*/ 256032 h 740255"/>
                <a:gd name="connsiteX30" fmla="*/ 382335 w 985839"/>
                <a:gd name="connsiteY30" fmla="*/ 301752 h 740255"/>
                <a:gd name="connsiteX31" fmla="*/ 281751 w 985839"/>
                <a:gd name="connsiteY31" fmla="*/ 347472 h 740255"/>
                <a:gd name="connsiteX32" fmla="*/ 245175 w 985839"/>
                <a:gd name="connsiteY32" fmla="*/ 374904 h 740255"/>
                <a:gd name="connsiteX33" fmla="*/ 199455 w 985839"/>
                <a:gd name="connsiteY33" fmla="*/ 402336 h 740255"/>
                <a:gd name="connsiteX34" fmla="*/ 181167 w 985839"/>
                <a:gd name="connsiteY34" fmla="*/ 402336 h 740255"/>
                <a:gd name="connsiteX35" fmla="*/ 199455 w 985839"/>
                <a:gd name="connsiteY35" fmla="*/ 365760 h 740255"/>
                <a:gd name="connsiteX36" fmla="*/ 254319 w 985839"/>
                <a:gd name="connsiteY36" fmla="*/ 301752 h 740255"/>
                <a:gd name="connsiteX37" fmla="*/ 345759 w 985839"/>
                <a:gd name="connsiteY37" fmla="*/ 219456 h 740255"/>
                <a:gd name="connsiteX38" fmla="*/ 391479 w 985839"/>
                <a:gd name="connsiteY38" fmla="*/ 146304 h 740255"/>
                <a:gd name="connsiteX39" fmla="*/ 391479 w 985839"/>
                <a:gd name="connsiteY39" fmla="*/ 64008 h 740255"/>
                <a:gd name="connsiteX40" fmla="*/ 382335 w 985839"/>
                <a:gd name="connsiteY40" fmla="*/ 54864 h 740255"/>
                <a:gd name="connsiteX41" fmla="*/ 373191 w 985839"/>
                <a:gd name="connsiteY41" fmla="*/ 128016 h 740255"/>
                <a:gd name="connsiteX42" fmla="*/ 345759 w 985839"/>
                <a:gd name="connsiteY42" fmla="*/ 173736 h 740255"/>
                <a:gd name="connsiteX43" fmla="*/ 272607 w 985839"/>
                <a:gd name="connsiteY43" fmla="*/ 237744 h 740255"/>
                <a:gd name="connsiteX44" fmla="*/ 245175 w 985839"/>
                <a:gd name="connsiteY44" fmla="*/ 256032 h 740255"/>
                <a:gd name="connsiteX45" fmla="*/ 172023 w 985839"/>
                <a:gd name="connsiteY45" fmla="*/ 347472 h 740255"/>
                <a:gd name="connsiteX46" fmla="*/ 162879 w 985839"/>
                <a:gd name="connsiteY46" fmla="*/ 374904 h 740255"/>
                <a:gd name="connsiteX47" fmla="*/ 153735 w 985839"/>
                <a:gd name="connsiteY47" fmla="*/ 411480 h 740255"/>
                <a:gd name="connsiteX48" fmla="*/ 97379 w 985839"/>
                <a:gd name="connsiteY48" fmla="*/ 468067 h 740255"/>
                <a:gd name="connsiteX49" fmla="*/ 226654 w 985839"/>
                <a:gd name="connsiteY49" fmla="*/ 448761 h 740255"/>
                <a:gd name="connsiteX50" fmla="*/ 97379 w 985839"/>
                <a:gd name="connsiteY50" fmla="*/ 468067 h 740255"/>
                <a:gd name="connsiteX51" fmla="*/ 0 w 985839"/>
                <a:gd name="connsiteY51" fmla="*/ 707344 h 740255"/>
                <a:gd name="connsiteX52" fmla="*/ 52213 w 985839"/>
                <a:gd name="connsiteY52" fmla="*/ 650398 h 740255"/>
                <a:gd name="connsiteX53" fmla="*/ 91804 w 985839"/>
                <a:gd name="connsiteY53" fmla="*/ 739732 h 740255"/>
                <a:gd name="connsiteX54" fmla="*/ 156644 w 985839"/>
                <a:gd name="connsiteY54" fmla="*/ 536508 h 740255"/>
                <a:gd name="connsiteX55" fmla="*/ 156644 w 985839"/>
                <a:gd name="connsiteY55" fmla="*/ 536508 h 740255"/>
                <a:gd name="connsiteX0" fmla="*/ 156644 w 985839"/>
                <a:gd name="connsiteY0" fmla="*/ 536508 h 740255"/>
                <a:gd name="connsiteX1" fmla="*/ 97379 w 985839"/>
                <a:gd name="connsiteY1" fmla="*/ 468067 h 740255"/>
                <a:gd name="connsiteX2" fmla="*/ 97379 w 985839"/>
                <a:gd name="connsiteY2" fmla="*/ 468067 h 740255"/>
                <a:gd name="connsiteX3" fmla="*/ 97379 w 985839"/>
                <a:gd name="connsiteY3" fmla="*/ 468067 h 740255"/>
                <a:gd name="connsiteX4" fmla="*/ 226654 w 985839"/>
                <a:gd name="connsiteY4" fmla="*/ 448761 h 740255"/>
                <a:gd name="connsiteX5" fmla="*/ 281751 w 985839"/>
                <a:gd name="connsiteY5" fmla="*/ 384048 h 740255"/>
                <a:gd name="connsiteX6" fmla="*/ 473775 w 985839"/>
                <a:gd name="connsiteY6" fmla="*/ 301752 h 740255"/>
                <a:gd name="connsiteX7" fmla="*/ 556071 w 985839"/>
                <a:gd name="connsiteY7" fmla="*/ 192024 h 740255"/>
                <a:gd name="connsiteX8" fmla="*/ 702375 w 985839"/>
                <a:gd name="connsiteY8" fmla="*/ 155448 h 740255"/>
                <a:gd name="connsiteX9" fmla="*/ 748095 w 985839"/>
                <a:gd name="connsiteY9" fmla="*/ 155448 h 740255"/>
                <a:gd name="connsiteX10" fmla="*/ 784671 w 985839"/>
                <a:gd name="connsiteY10" fmla="*/ 137160 h 740255"/>
                <a:gd name="connsiteX11" fmla="*/ 738951 w 985839"/>
                <a:gd name="connsiteY11" fmla="*/ 137160 h 740255"/>
                <a:gd name="connsiteX12" fmla="*/ 647511 w 985839"/>
                <a:gd name="connsiteY12" fmla="*/ 137160 h 740255"/>
                <a:gd name="connsiteX13" fmla="*/ 592647 w 985839"/>
                <a:gd name="connsiteY13" fmla="*/ 146304 h 740255"/>
                <a:gd name="connsiteX14" fmla="*/ 583503 w 985839"/>
                <a:gd name="connsiteY14" fmla="*/ 155448 h 740255"/>
                <a:gd name="connsiteX15" fmla="*/ 565215 w 985839"/>
                <a:gd name="connsiteY15" fmla="*/ 146304 h 740255"/>
                <a:gd name="connsiteX16" fmla="*/ 693231 w 985839"/>
                <a:gd name="connsiteY16" fmla="*/ 91440 h 740255"/>
                <a:gd name="connsiteX17" fmla="*/ 748095 w 985839"/>
                <a:gd name="connsiteY17" fmla="*/ 91440 h 740255"/>
                <a:gd name="connsiteX18" fmla="*/ 839535 w 985839"/>
                <a:gd name="connsiteY18" fmla="*/ 82296 h 740255"/>
                <a:gd name="connsiteX19" fmla="*/ 967551 w 985839"/>
                <a:gd name="connsiteY19" fmla="*/ 27432 h 740255"/>
                <a:gd name="connsiteX20" fmla="*/ 949263 w 985839"/>
                <a:gd name="connsiteY20" fmla="*/ 0 h 740255"/>
                <a:gd name="connsiteX21" fmla="*/ 912687 w 985839"/>
                <a:gd name="connsiteY21" fmla="*/ 27432 h 740255"/>
                <a:gd name="connsiteX22" fmla="*/ 876111 w 985839"/>
                <a:gd name="connsiteY22" fmla="*/ 36576 h 740255"/>
                <a:gd name="connsiteX23" fmla="*/ 802959 w 985839"/>
                <a:gd name="connsiteY23" fmla="*/ 64008 h 740255"/>
                <a:gd name="connsiteX24" fmla="*/ 748095 w 985839"/>
                <a:gd name="connsiteY24" fmla="*/ 64008 h 740255"/>
                <a:gd name="connsiteX25" fmla="*/ 638367 w 985839"/>
                <a:gd name="connsiteY25" fmla="*/ 64008 h 740255"/>
                <a:gd name="connsiteX26" fmla="*/ 583503 w 985839"/>
                <a:gd name="connsiteY26" fmla="*/ 100584 h 740255"/>
                <a:gd name="connsiteX27" fmla="*/ 546927 w 985839"/>
                <a:gd name="connsiteY27" fmla="*/ 146304 h 740255"/>
                <a:gd name="connsiteX28" fmla="*/ 501207 w 985839"/>
                <a:gd name="connsiteY28" fmla="*/ 182880 h 740255"/>
                <a:gd name="connsiteX29" fmla="*/ 455487 w 985839"/>
                <a:gd name="connsiteY29" fmla="*/ 256032 h 740255"/>
                <a:gd name="connsiteX30" fmla="*/ 382335 w 985839"/>
                <a:gd name="connsiteY30" fmla="*/ 301752 h 740255"/>
                <a:gd name="connsiteX31" fmla="*/ 281751 w 985839"/>
                <a:gd name="connsiteY31" fmla="*/ 347472 h 740255"/>
                <a:gd name="connsiteX32" fmla="*/ 245175 w 985839"/>
                <a:gd name="connsiteY32" fmla="*/ 374904 h 740255"/>
                <a:gd name="connsiteX33" fmla="*/ 199455 w 985839"/>
                <a:gd name="connsiteY33" fmla="*/ 402336 h 740255"/>
                <a:gd name="connsiteX34" fmla="*/ 181167 w 985839"/>
                <a:gd name="connsiteY34" fmla="*/ 402336 h 740255"/>
                <a:gd name="connsiteX35" fmla="*/ 199455 w 985839"/>
                <a:gd name="connsiteY35" fmla="*/ 365760 h 740255"/>
                <a:gd name="connsiteX36" fmla="*/ 254319 w 985839"/>
                <a:gd name="connsiteY36" fmla="*/ 301752 h 740255"/>
                <a:gd name="connsiteX37" fmla="*/ 345759 w 985839"/>
                <a:gd name="connsiteY37" fmla="*/ 219456 h 740255"/>
                <a:gd name="connsiteX38" fmla="*/ 391479 w 985839"/>
                <a:gd name="connsiteY38" fmla="*/ 146304 h 740255"/>
                <a:gd name="connsiteX39" fmla="*/ 391479 w 985839"/>
                <a:gd name="connsiteY39" fmla="*/ 64008 h 740255"/>
                <a:gd name="connsiteX40" fmla="*/ 382335 w 985839"/>
                <a:gd name="connsiteY40" fmla="*/ 54864 h 740255"/>
                <a:gd name="connsiteX41" fmla="*/ 373191 w 985839"/>
                <a:gd name="connsiteY41" fmla="*/ 128016 h 740255"/>
                <a:gd name="connsiteX42" fmla="*/ 345759 w 985839"/>
                <a:gd name="connsiteY42" fmla="*/ 173736 h 740255"/>
                <a:gd name="connsiteX43" fmla="*/ 272607 w 985839"/>
                <a:gd name="connsiteY43" fmla="*/ 237744 h 740255"/>
                <a:gd name="connsiteX44" fmla="*/ 245175 w 985839"/>
                <a:gd name="connsiteY44" fmla="*/ 256032 h 740255"/>
                <a:gd name="connsiteX45" fmla="*/ 172023 w 985839"/>
                <a:gd name="connsiteY45" fmla="*/ 347472 h 740255"/>
                <a:gd name="connsiteX46" fmla="*/ 162879 w 985839"/>
                <a:gd name="connsiteY46" fmla="*/ 374904 h 740255"/>
                <a:gd name="connsiteX47" fmla="*/ 153735 w 985839"/>
                <a:gd name="connsiteY47" fmla="*/ 411480 h 740255"/>
                <a:gd name="connsiteX48" fmla="*/ 97379 w 985839"/>
                <a:gd name="connsiteY48" fmla="*/ 468067 h 740255"/>
                <a:gd name="connsiteX49" fmla="*/ 226654 w 985839"/>
                <a:gd name="connsiteY49" fmla="*/ 448761 h 740255"/>
                <a:gd name="connsiteX50" fmla="*/ 156644 w 985839"/>
                <a:gd name="connsiteY50" fmla="*/ 536508 h 740255"/>
                <a:gd name="connsiteX51" fmla="*/ 0 w 985839"/>
                <a:gd name="connsiteY51" fmla="*/ 707344 h 740255"/>
                <a:gd name="connsiteX52" fmla="*/ 52213 w 985839"/>
                <a:gd name="connsiteY52" fmla="*/ 650398 h 740255"/>
                <a:gd name="connsiteX53" fmla="*/ 91804 w 985839"/>
                <a:gd name="connsiteY53" fmla="*/ 739732 h 740255"/>
                <a:gd name="connsiteX54" fmla="*/ 156644 w 985839"/>
                <a:gd name="connsiteY54" fmla="*/ 536508 h 740255"/>
                <a:gd name="connsiteX55" fmla="*/ 156644 w 985839"/>
                <a:gd name="connsiteY55" fmla="*/ 536508 h 740255"/>
                <a:gd name="connsiteX0" fmla="*/ 52215 w 985839"/>
                <a:gd name="connsiteY0" fmla="*/ 650399 h 740255"/>
                <a:gd name="connsiteX1" fmla="*/ 97379 w 985839"/>
                <a:gd name="connsiteY1" fmla="*/ 468067 h 740255"/>
                <a:gd name="connsiteX2" fmla="*/ 97379 w 985839"/>
                <a:gd name="connsiteY2" fmla="*/ 468067 h 740255"/>
                <a:gd name="connsiteX3" fmla="*/ 97379 w 985839"/>
                <a:gd name="connsiteY3" fmla="*/ 468067 h 740255"/>
                <a:gd name="connsiteX4" fmla="*/ 226654 w 985839"/>
                <a:gd name="connsiteY4" fmla="*/ 448761 h 740255"/>
                <a:gd name="connsiteX5" fmla="*/ 281751 w 985839"/>
                <a:gd name="connsiteY5" fmla="*/ 384048 h 740255"/>
                <a:gd name="connsiteX6" fmla="*/ 473775 w 985839"/>
                <a:gd name="connsiteY6" fmla="*/ 301752 h 740255"/>
                <a:gd name="connsiteX7" fmla="*/ 556071 w 985839"/>
                <a:gd name="connsiteY7" fmla="*/ 192024 h 740255"/>
                <a:gd name="connsiteX8" fmla="*/ 702375 w 985839"/>
                <a:gd name="connsiteY8" fmla="*/ 155448 h 740255"/>
                <a:gd name="connsiteX9" fmla="*/ 748095 w 985839"/>
                <a:gd name="connsiteY9" fmla="*/ 155448 h 740255"/>
                <a:gd name="connsiteX10" fmla="*/ 784671 w 985839"/>
                <a:gd name="connsiteY10" fmla="*/ 137160 h 740255"/>
                <a:gd name="connsiteX11" fmla="*/ 738951 w 985839"/>
                <a:gd name="connsiteY11" fmla="*/ 137160 h 740255"/>
                <a:gd name="connsiteX12" fmla="*/ 647511 w 985839"/>
                <a:gd name="connsiteY12" fmla="*/ 137160 h 740255"/>
                <a:gd name="connsiteX13" fmla="*/ 592647 w 985839"/>
                <a:gd name="connsiteY13" fmla="*/ 146304 h 740255"/>
                <a:gd name="connsiteX14" fmla="*/ 583503 w 985839"/>
                <a:gd name="connsiteY14" fmla="*/ 155448 h 740255"/>
                <a:gd name="connsiteX15" fmla="*/ 565215 w 985839"/>
                <a:gd name="connsiteY15" fmla="*/ 146304 h 740255"/>
                <a:gd name="connsiteX16" fmla="*/ 693231 w 985839"/>
                <a:gd name="connsiteY16" fmla="*/ 91440 h 740255"/>
                <a:gd name="connsiteX17" fmla="*/ 748095 w 985839"/>
                <a:gd name="connsiteY17" fmla="*/ 91440 h 740255"/>
                <a:gd name="connsiteX18" fmla="*/ 839535 w 985839"/>
                <a:gd name="connsiteY18" fmla="*/ 82296 h 740255"/>
                <a:gd name="connsiteX19" fmla="*/ 967551 w 985839"/>
                <a:gd name="connsiteY19" fmla="*/ 27432 h 740255"/>
                <a:gd name="connsiteX20" fmla="*/ 949263 w 985839"/>
                <a:gd name="connsiteY20" fmla="*/ 0 h 740255"/>
                <a:gd name="connsiteX21" fmla="*/ 912687 w 985839"/>
                <a:gd name="connsiteY21" fmla="*/ 27432 h 740255"/>
                <a:gd name="connsiteX22" fmla="*/ 876111 w 985839"/>
                <a:gd name="connsiteY22" fmla="*/ 36576 h 740255"/>
                <a:gd name="connsiteX23" fmla="*/ 802959 w 985839"/>
                <a:gd name="connsiteY23" fmla="*/ 64008 h 740255"/>
                <a:gd name="connsiteX24" fmla="*/ 748095 w 985839"/>
                <a:gd name="connsiteY24" fmla="*/ 64008 h 740255"/>
                <a:gd name="connsiteX25" fmla="*/ 638367 w 985839"/>
                <a:gd name="connsiteY25" fmla="*/ 64008 h 740255"/>
                <a:gd name="connsiteX26" fmla="*/ 583503 w 985839"/>
                <a:gd name="connsiteY26" fmla="*/ 100584 h 740255"/>
                <a:gd name="connsiteX27" fmla="*/ 546927 w 985839"/>
                <a:gd name="connsiteY27" fmla="*/ 146304 h 740255"/>
                <a:gd name="connsiteX28" fmla="*/ 501207 w 985839"/>
                <a:gd name="connsiteY28" fmla="*/ 182880 h 740255"/>
                <a:gd name="connsiteX29" fmla="*/ 455487 w 985839"/>
                <a:gd name="connsiteY29" fmla="*/ 256032 h 740255"/>
                <a:gd name="connsiteX30" fmla="*/ 382335 w 985839"/>
                <a:gd name="connsiteY30" fmla="*/ 301752 h 740255"/>
                <a:gd name="connsiteX31" fmla="*/ 281751 w 985839"/>
                <a:gd name="connsiteY31" fmla="*/ 347472 h 740255"/>
                <a:gd name="connsiteX32" fmla="*/ 245175 w 985839"/>
                <a:gd name="connsiteY32" fmla="*/ 374904 h 740255"/>
                <a:gd name="connsiteX33" fmla="*/ 199455 w 985839"/>
                <a:gd name="connsiteY33" fmla="*/ 402336 h 740255"/>
                <a:gd name="connsiteX34" fmla="*/ 181167 w 985839"/>
                <a:gd name="connsiteY34" fmla="*/ 402336 h 740255"/>
                <a:gd name="connsiteX35" fmla="*/ 199455 w 985839"/>
                <a:gd name="connsiteY35" fmla="*/ 365760 h 740255"/>
                <a:gd name="connsiteX36" fmla="*/ 254319 w 985839"/>
                <a:gd name="connsiteY36" fmla="*/ 301752 h 740255"/>
                <a:gd name="connsiteX37" fmla="*/ 345759 w 985839"/>
                <a:gd name="connsiteY37" fmla="*/ 219456 h 740255"/>
                <a:gd name="connsiteX38" fmla="*/ 391479 w 985839"/>
                <a:gd name="connsiteY38" fmla="*/ 146304 h 740255"/>
                <a:gd name="connsiteX39" fmla="*/ 391479 w 985839"/>
                <a:gd name="connsiteY39" fmla="*/ 64008 h 740255"/>
                <a:gd name="connsiteX40" fmla="*/ 382335 w 985839"/>
                <a:gd name="connsiteY40" fmla="*/ 54864 h 740255"/>
                <a:gd name="connsiteX41" fmla="*/ 373191 w 985839"/>
                <a:gd name="connsiteY41" fmla="*/ 128016 h 740255"/>
                <a:gd name="connsiteX42" fmla="*/ 345759 w 985839"/>
                <a:gd name="connsiteY42" fmla="*/ 173736 h 740255"/>
                <a:gd name="connsiteX43" fmla="*/ 272607 w 985839"/>
                <a:gd name="connsiteY43" fmla="*/ 237744 h 740255"/>
                <a:gd name="connsiteX44" fmla="*/ 245175 w 985839"/>
                <a:gd name="connsiteY44" fmla="*/ 256032 h 740255"/>
                <a:gd name="connsiteX45" fmla="*/ 172023 w 985839"/>
                <a:gd name="connsiteY45" fmla="*/ 347472 h 740255"/>
                <a:gd name="connsiteX46" fmla="*/ 162879 w 985839"/>
                <a:gd name="connsiteY46" fmla="*/ 374904 h 740255"/>
                <a:gd name="connsiteX47" fmla="*/ 153735 w 985839"/>
                <a:gd name="connsiteY47" fmla="*/ 411480 h 740255"/>
                <a:gd name="connsiteX48" fmla="*/ 97379 w 985839"/>
                <a:gd name="connsiteY48" fmla="*/ 468067 h 740255"/>
                <a:gd name="connsiteX49" fmla="*/ 226654 w 985839"/>
                <a:gd name="connsiteY49" fmla="*/ 448761 h 740255"/>
                <a:gd name="connsiteX50" fmla="*/ 156644 w 985839"/>
                <a:gd name="connsiteY50" fmla="*/ 536508 h 740255"/>
                <a:gd name="connsiteX51" fmla="*/ 0 w 985839"/>
                <a:gd name="connsiteY51" fmla="*/ 707344 h 740255"/>
                <a:gd name="connsiteX52" fmla="*/ 52213 w 985839"/>
                <a:gd name="connsiteY52" fmla="*/ 650398 h 740255"/>
                <a:gd name="connsiteX53" fmla="*/ 91804 w 985839"/>
                <a:gd name="connsiteY53" fmla="*/ 739732 h 740255"/>
                <a:gd name="connsiteX54" fmla="*/ 156644 w 985839"/>
                <a:gd name="connsiteY54" fmla="*/ 536508 h 740255"/>
                <a:gd name="connsiteX55" fmla="*/ 52215 w 985839"/>
                <a:gd name="connsiteY55" fmla="*/ 650399 h 740255"/>
                <a:gd name="connsiteX0" fmla="*/ -1 w 1038053"/>
                <a:gd name="connsiteY0" fmla="*/ 764290 h 764290"/>
                <a:gd name="connsiteX1" fmla="*/ 149593 w 1038053"/>
                <a:gd name="connsiteY1" fmla="*/ 468067 h 764290"/>
                <a:gd name="connsiteX2" fmla="*/ 149593 w 1038053"/>
                <a:gd name="connsiteY2" fmla="*/ 468067 h 764290"/>
                <a:gd name="connsiteX3" fmla="*/ 149593 w 1038053"/>
                <a:gd name="connsiteY3" fmla="*/ 468067 h 764290"/>
                <a:gd name="connsiteX4" fmla="*/ 278868 w 1038053"/>
                <a:gd name="connsiteY4" fmla="*/ 448761 h 764290"/>
                <a:gd name="connsiteX5" fmla="*/ 333965 w 1038053"/>
                <a:gd name="connsiteY5" fmla="*/ 384048 h 764290"/>
                <a:gd name="connsiteX6" fmla="*/ 525989 w 1038053"/>
                <a:gd name="connsiteY6" fmla="*/ 301752 h 764290"/>
                <a:gd name="connsiteX7" fmla="*/ 608285 w 1038053"/>
                <a:gd name="connsiteY7" fmla="*/ 192024 h 764290"/>
                <a:gd name="connsiteX8" fmla="*/ 754589 w 1038053"/>
                <a:gd name="connsiteY8" fmla="*/ 155448 h 764290"/>
                <a:gd name="connsiteX9" fmla="*/ 800309 w 1038053"/>
                <a:gd name="connsiteY9" fmla="*/ 155448 h 764290"/>
                <a:gd name="connsiteX10" fmla="*/ 836885 w 1038053"/>
                <a:gd name="connsiteY10" fmla="*/ 137160 h 764290"/>
                <a:gd name="connsiteX11" fmla="*/ 791165 w 1038053"/>
                <a:gd name="connsiteY11" fmla="*/ 137160 h 764290"/>
                <a:gd name="connsiteX12" fmla="*/ 699725 w 1038053"/>
                <a:gd name="connsiteY12" fmla="*/ 137160 h 764290"/>
                <a:gd name="connsiteX13" fmla="*/ 644861 w 1038053"/>
                <a:gd name="connsiteY13" fmla="*/ 146304 h 764290"/>
                <a:gd name="connsiteX14" fmla="*/ 635717 w 1038053"/>
                <a:gd name="connsiteY14" fmla="*/ 155448 h 764290"/>
                <a:gd name="connsiteX15" fmla="*/ 617429 w 1038053"/>
                <a:gd name="connsiteY15" fmla="*/ 146304 h 764290"/>
                <a:gd name="connsiteX16" fmla="*/ 745445 w 1038053"/>
                <a:gd name="connsiteY16" fmla="*/ 91440 h 764290"/>
                <a:gd name="connsiteX17" fmla="*/ 800309 w 1038053"/>
                <a:gd name="connsiteY17" fmla="*/ 91440 h 764290"/>
                <a:gd name="connsiteX18" fmla="*/ 891749 w 1038053"/>
                <a:gd name="connsiteY18" fmla="*/ 82296 h 764290"/>
                <a:gd name="connsiteX19" fmla="*/ 1019765 w 1038053"/>
                <a:gd name="connsiteY19" fmla="*/ 27432 h 764290"/>
                <a:gd name="connsiteX20" fmla="*/ 1001477 w 1038053"/>
                <a:gd name="connsiteY20" fmla="*/ 0 h 764290"/>
                <a:gd name="connsiteX21" fmla="*/ 964901 w 1038053"/>
                <a:gd name="connsiteY21" fmla="*/ 27432 h 764290"/>
                <a:gd name="connsiteX22" fmla="*/ 928325 w 1038053"/>
                <a:gd name="connsiteY22" fmla="*/ 36576 h 764290"/>
                <a:gd name="connsiteX23" fmla="*/ 855173 w 1038053"/>
                <a:gd name="connsiteY23" fmla="*/ 64008 h 764290"/>
                <a:gd name="connsiteX24" fmla="*/ 800309 w 1038053"/>
                <a:gd name="connsiteY24" fmla="*/ 64008 h 764290"/>
                <a:gd name="connsiteX25" fmla="*/ 690581 w 1038053"/>
                <a:gd name="connsiteY25" fmla="*/ 64008 h 764290"/>
                <a:gd name="connsiteX26" fmla="*/ 635717 w 1038053"/>
                <a:gd name="connsiteY26" fmla="*/ 100584 h 764290"/>
                <a:gd name="connsiteX27" fmla="*/ 599141 w 1038053"/>
                <a:gd name="connsiteY27" fmla="*/ 146304 h 764290"/>
                <a:gd name="connsiteX28" fmla="*/ 553421 w 1038053"/>
                <a:gd name="connsiteY28" fmla="*/ 182880 h 764290"/>
                <a:gd name="connsiteX29" fmla="*/ 507701 w 1038053"/>
                <a:gd name="connsiteY29" fmla="*/ 256032 h 764290"/>
                <a:gd name="connsiteX30" fmla="*/ 434549 w 1038053"/>
                <a:gd name="connsiteY30" fmla="*/ 301752 h 764290"/>
                <a:gd name="connsiteX31" fmla="*/ 333965 w 1038053"/>
                <a:gd name="connsiteY31" fmla="*/ 347472 h 764290"/>
                <a:gd name="connsiteX32" fmla="*/ 297389 w 1038053"/>
                <a:gd name="connsiteY32" fmla="*/ 374904 h 764290"/>
                <a:gd name="connsiteX33" fmla="*/ 251669 w 1038053"/>
                <a:gd name="connsiteY33" fmla="*/ 402336 h 764290"/>
                <a:gd name="connsiteX34" fmla="*/ 233381 w 1038053"/>
                <a:gd name="connsiteY34" fmla="*/ 402336 h 764290"/>
                <a:gd name="connsiteX35" fmla="*/ 251669 w 1038053"/>
                <a:gd name="connsiteY35" fmla="*/ 365760 h 764290"/>
                <a:gd name="connsiteX36" fmla="*/ 306533 w 1038053"/>
                <a:gd name="connsiteY36" fmla="*/ 301752 h 764290"/>
                <a:gd name="connsiteX37" fmla="*/ 397973 w 1038053"/>
                <a:gd name="connsiteY37" fmla="*/ 219456 h 764290"/>
                <a:gd name="connsiteX38" fmla="*/ 443693 w 1038053"/>
                <a:gd name="connsiteY38" fmla="*/ 146304 h 764290"/>
                <a:gd name="connsiteX39" fmla="*/ 443693 w 1038053"/>
                <a:gd name="connsiteY39" fmla="*/ 64008 h 764290"/>
                <a:gd name="connsiteX40" fmla="*/ 434549 w 1038053"/>
                <a:gd name="connsiteY40" fmla="*/ 54864 h 764290"/>
                <a:gd name="connsiteX41" fmla="*/ 425405 w 1038053"/>
                <a:gd name="connsiteY41" fmla="*/ 128016 h 764290"/>
                <a:gd name="connsiteX42" fmla="*/ 397973 w 1038053"/>
                <a:gd name="connsiteY42" fmla="*/ 173736 h 764290"/>
                <a:gd name="connsiteX43" fmla="*/ 324821 w 1038053"/>
                <a:gd name="connsiteY43" fmla="*/ 237744 h 764290"/>
                <a:gd name="connsiteX44" fmla="*/ 297389 w 1038053"/>
                <a:gd name="connsiteY44" fmla="*/ 256032 h 764290"/>
                <a:gd name="connsiteX45" fmla="*/ 224237 w 1038053"/>
                <a:gd name="connsiteY45" fmla="*/ 347472 h 764290"/>
                <a:gd name="connsiteX46" fmla="*/ 215093 w 1038053"/>
                <a:gd name="connsiteY46" fmla="*/ 374904 h 764290"/>
                <a:gd name="connsiteX47" fmla="*/ 205949 w 1038053"/>
                <a:gd name="connsiteY47" fmla="*/ 411480 h 764290"/>
                <a:gd name="connsiteX48" fmla="*/ 149593 w 1038053"/>
                <a:gd name="connsiteY48" fmla="*/ 468067 h 764290"/>
                <a:gd name="connsiteX49" fmla="*/ 278868 w 1038053"/>
                <a:gd name="connsiteY49" fmla="*/ 448761 h 764290"/>
                <a:gd name="connsiteX50" fmla="*/ 208858 w 1038053"/>
                <a:gd name="connsiteY50" fmla="*/ 536508 h 764290"/>
                <a:gd name="connsiteX51" fmla="*/ 52214 w 1038053"/>
                <a:gd name="connsiteY51" fmla="*/ 707344 h 764290"/>
                <a:gd name="connsiteX52" fmla="*/ 104427 w 1038053"/>
                <a:gd name="connsiteY52" fmla="*/ 650398 h 764290"/>
                <a:gd name="connsiteX53" fmla="*/ 144018 w 1038053"/>
                <a:gd name="connsiteY53" fmla="*/ 739732 h 764290"/>
                <a:gd name="connsiteX54" fmla="*/ 208858 w 1038053"/>
                <a:gd name="connsiteY54" fmla="*/ 536508 h 764290"/>
                <a:gd name="connsiteX55" fmla="*/ -1 w 1038053"/>
                <a:gd name="connsiteY55" fmla="*/ 764290 h 764290"/>
                <a:gd name="connsiteX0" fmla="*/ 0 w 1038054"/>
                <a:gd name="connsiteY0" fmla="*/ 764290 h 764291"/>
                <a:gd name="connsiteX1" fmla="*/ 149594 w 1038054"/>
                <a:gd name="connsiteY1" fmla="*/ 468067 h 764291"/>
                <a:gd name="connsiteX2" fmla="*/ 149594 w 1038054"/>
                <a:gd name="connsiteY2" fmla="*/ 468067 h 764291"/>
                <a:gd name="connsiteX3" fmla="*/ 149594 w 1038054"/>
                <a:gd name="connsiteY3" fmla="*/ 468067 h 764291"/>
                <a:gd name="connsiteX4" fmla="*/ 278869 w 1038054"/>
                <a:gd name="connsiteY4" fmla="*/ 448761 h 764291"/>
                <a:gd name="connsiteX5" fmla="*/ 333966 w 1038054"/>
                <a:gd name="connsiteY5" fmla="*/ 384048 h 764291"/>
                <a:gd name="connsiteX6" fmla="*/ 525990 w 1038054"/>
                <a:gd name="connsiteY6" fmla="*/ 301752 h 764291"/>
                <a:gd name="connsiteX7" fmla="*/ 608286 w 1038054"/>
                <a:gd name="connsiteY7" fmla="*/ 192024 h 764291"/>
                <a:gd name="connsiteX8" fmla="*/ 754590 w 1038054"/>
                <a:gd name="connsiteY8" fmla="*/ 155448 h 764291"/>
                <a:gd name="connsiteX9" fmla="*/ 800310 w 1038054"/>
                <a:gd name="connsiteY9" fmla="*/ 155448 h 764291"/>
                <a:gd name="connsiteX10" fmla="*/ 836886 w 1038054"/>
                <a:gd name="connsiteY10" fmla="*/ 137160 h 764291"/>
                <a:gd name="connsiteX11" fmla="*/ 791166 w 1038054"/>
                <a:gd name="connsiteY11" fmla="*/ 137160 h 764291"/>
                <a:gd name="connsiteX12" fmla="*/ 699726 w 1038054"/>
                <a:gd name="connsiteY12" fmla="*/ 137160 h 764291"/>
                <a:gd name="connsiteX13" fmla="*/ 644862 w 1038054"/>
                <a:gd name="connsiteY13" fmla="*/ 146304 h 764291"/>
                <a:gd name="connsiteX14" fmla="*/ 635718 w 1038054"/>
                <a:gd name="connsiteY14" fmla="*/ 155448 h 764291"/>
                <a:gd name="connsiteX15" fmla="*/ 617430 w 1038054"/>
                <a:gd name="connsiteY15" fmla="*/ 146304 h 764291"/>
                <a:gd name="connsiteX16" fmla="*/ 745446 w 1038054"/>
                <a:gd name="connsiteY16" fmla="*/ 91440 h 764291"/>
                <a:gd name="connsiteX17" fmla="*/ 800310 w 1038054"/>
                <a:gd name="connsiteY17" fmla="*/ 91440 h 764291"/>
                <a:gd name="connsiteX18" fmla="*/ 891750 w 1038054"/>
                <a:gd name="connsiteY18" fmla="*/ 82296 h 764291"/>
                <a:gd name="connsiteX19" fmla="*/ 1019766 w 1038054"/>
                <a:gd name="connsiteY19" fmla="*/ 27432 h 764291"/>
                <a:gd name="connsiteX20" fmla="*/ 1001478 w 1038054"/>
                <a:gd name="connsiteY20" fmla="*/ 0 h 764291"/>
                <a:gd name="connsiteX21" fmla="*/ 964902 w 1038054"/>
                <a:gd name="connsiteY21" fmla="*/ 27432 h 764291"/>
                <a:gd name="connsiteX22" fmla="*/ 928326 w 1038054"/>
                <a:gd name="connsiteY22" fmla="*/ 36576 h 764291"/>
                <a:gd name="connsiteX23" fmla="*/ 855174 w 1038054"/>
                <a:gd name="connsiteY23" fmla="*/ 64008 h 764291"/>
                <a:gd name="connsiteX24" fmla="*/ 800310 w 1038054"/>
                <a:gd name="connsiteY24" fmla="*/ 64008 h 764291"/>
                <a:gd name="connsiteX25" fmla="*/ 690582 w 1038054"/>
                <a:gd name="connsiteY25" fmla="*/ 64008 h 764291"/>
                <a:gd name="connsiteX26" fmla="*/ 635718 w 1038054"/>
                <a:gd name="connsiteY26" fmla="*/ 100584 h 764291"/>
                <a:gd name="connsiteX27" fmla="*/ 599142 w 1038054"/>
                <a:gd name="connsiteY27" fmla="*/ 146304 h 764291"/>
                <a:gd name="connsiteX28" fmla="*/ 553422 w 1038054"/>
                <a:gd name="connsiteY28" fmla="*/ 182880 h 764291"/>
                <a:gd name="connsiteX29" fmla="*/ 507702 w 1038054"/>
                <a:gd name="connsiteY29" fmla="*/ 256032 h 764291"/>
                <a:gd name="connsiteX30" fmla="*/ 434550 w 1038054"/>
                <a:gd name="connsiteY30" fmla="*/ 301752 h 764291"/>
                <a:gd name="connsiteX31" fmla="*/ 333966 w 1038054"/>
                <a:gd name="connsiteY31" fmla="*/ 347472 h 764291"/>
                <a:gd name="connsiteX32" fmla="*/ 297390 w 1038054"/>
                <a:gd name="connsiteY32" fmla="*/ 374904 h 764291"/>
                <a:gd name="connsiteX33" fmla="*/ 251670 w 1038054"/>
                <a:gd name="connsiteY33" fmla="*/ 402336 h 764291"/>
                <a:gd name="connsiteX34" fmla="*/ 233382 w 1038054"/>
                <a:gd name="connsiteY34" fmla="*/ 402336 h 764291"/>
                <a:gd name="connsiteX35" fmla="*/ 251670 w 1038054"/>
                <a:gd name="connsiteY35" fmla="*/ 365760 h 764291"/>
                <a:gd name="connsiteX36" fmla="*/ 306534 w 1038054"/>
                <a:gd name="connsiteY36" fmla="*/ 301752 h 764291"/>
                <a:gd name="connsiteX37" fmla="*/ 397974 w 1038054"/>
                <a:gd name="connsiteY37" fmla="*/ 219456 h 764291"/>
                <a:gd name="connsiteX38" fmla="*/ 443694 w 1038054"/>
                <a:gd name="connsiteY38" fmla="*/ 146304 h 764291"/>
                <a:gd name="connsiteX39" fmla="*/ 443694 w 1038054"/>
                <a:gd name="connsiteY39" fmla="*/ 64008 h 764291"/>
                <a:gd name="connsiteX40" fmla="*/ 434550 w 1038054"/>
                <a:gd name="connsiteY40" fmla="*/ 54864 h 764291"/>
                <a:gd name="connsiteX41" fmla="*/ 425406 w 1038054"/>
                <a:gd name="connsiteY41" fmla="*/ 128016 h 764291"/>
                <a:gd name="connsiteX42" fmla="*/ 397974 w 1038054"/>
                <a:gd name="connsiteY42" fmla="*/ 173736 h 764291"/>
                <a:gd name="connsiteX43" fmla="*/ 324822 w 1038054"/>
                <a:gd name="connsiteY43" fmla="*/ 237744 h 764291"/>
                <a:gd name="connsiteX44" fmla="*/ 297390 w 1038054"/>
                <a:gd name="connsiteY44" fmla="*/ 256032 h 764291"/>
                <a:gd name="connsiteX45" fmla="*/ 224238 w 1038054"/>
                <a:gd name="connsiteY45" fmla="*/ 347472 h 764291"/>
                <a:gd name="connsiteX46" fmla="*/ 215094 w 1038054"/>
                <a:gd name="connsiteY46" fmla="*/ 374904 h 764291"/>
                <a:gd name="connsiteX47" fmla="*/ 205950 w 1038054"/>
                <a:gd name="connsiteY47" fmla="*/ 411480 h 764291"/>
                <a:gd name="connsiteX48" fmla="*/ 149594 w 1038054"/>
                <a:gd name="connsiteY48" fmla="*/ 468067 h 764291"/>
                <a:gd name="connsiteX49" fmla="*/ 278869 w 1038054"/>
                <a:gd name="connsiteY49" fmla="*/ 448761 h 764291"/>
                <a:gd name="connsiteX50" fmla="*/ 208859 w 1038054"/>
                <a:gd name="connsiteY50" fmla="*/ 536508 h 764291"/>
                <a:gd name="connsiteX51" fmla="*/ 52215 w 1038054"/>
                <a:gd name="connsiteY51" fmla="*/ 707344 h 764291"/>
                <a:gd name="connsiteX52" fmla="*/ 104428 w 1038054"/>
                <a:gd name="connsiteY52" fmla="*/ 650398 h 764291"/>
                <a:gd name="connsiteX53" fmla="*/ 144019 w 1038054"/>
                <a:gd name="connsiteY53" fmla="*/ 739732 h 764291"/>
                <a:gd name="connsiteX54" fmla="*/ 0 w 1038054"/>
                <a:gd name="connsiteY54" fmla="*/ 764291 h 764291"/>
                <a:gd name="connsiteX55" fmla="*/ 0 w 1038054"/>
                <a:gd name="connsiteY55" fmla="*/ 764290 h 764291"/>
                <a:gd name="connsiteX0" fmla="*/ 0 w 1038054"/>
                <a:gd name="connsiteY0" fmla="*/ 764290 h 764291"/>
                <a:gd name="connsiteX1" fmla="*/ 149594 w 1038054"/>
                <a:gd name="connsiteY1" fmla="*/ 468067 h 764291"/>
                <a:gd name="connsiteX2" fmla="*/ 149594 w 1038054"/>
                <a:gd name="connsiteY2" fmla="*/ 468067 h 764291"/>
                <a:gd name="connsiteX3" fmla="*/ 149594 w 1038054"/>
                <a:gd name="connsiteY3" fmla="*/ 468067 h 764291"/>
                <a:gd name="connsiteX4" fmla="*/ 278869 w 1038054"/>
                <a:gd name="connsiteY4" fmla="*/ 448761 h 764291"/>
                <a:gd name="connsiteX5" fmla="*/ 333966 w 1038054"/>
                <a:gd name="connsiteY5" fmla="*/ 384048 h 764291"/>
                <a:gd name="connsiteX6" fmla="*/ 525990 w 1038054"/>
                <a:gd name="connsiteY6" fmla="*/ 301752 h 764291"/>
                <a:gd name="connsiteX7" fmla="*/ 608286 w 1038054"/>
                <a:gd name="connsiteY7" fmla="*/ 192024 h 764291"/>
                <a:gd name="connsiteX8" fmla="*/ 754590 w 1038054"/>
                <a:gd name="connsiteY8" fmla="*/ 155448 h 764291"/>
                <a:gd name="connsiteX9" fmla="*/ 800310 w 1038054"/>
                <a:gd name="connsiteY9" fmla="*/ 155448 h 764291"/>
                <a:gd name="connsiteX10" fmla="*/ 836886 w 1038054"/>
                <a:gd name="connsiteY10" fmla="*/ 137160 h 764291"/>
                <a:gd name="connsiteX11" fmla="*/ 791166 w 1038054"/>
                <a:gd name="connsiteY11" fmla="*/ 137160 h 764291"/>
                <a:gd name="connsiteX12" fmla="*/ 699726 w 1038054"/>
                <a:gd name="connsiteY12" fmla="*/ 137160 h 764291"/>
                <a:gd name="connsiteX13" fmla="*/ 644862 w 1038054"/>
                <a:gd name="connsiteY13" fmla="*/ 146304 h 764291"/>
                <a:gd name="connsiteX14" fmla="*/ 635718 w 1038054"/>
                <a:gd name="connsiteY14" fmla="*/ 155448 h 764291"/>
                <a:gd name="connsiteX15" fmla="*/ 617430 w 1038054"/>
                <a:gd name="connsiteY15" fmla="*/ 146304 h 764291"/>
                <a:gd name="connsiteX16" fmla="*/ 745446 w 1038054"/>
                <a:gd name="connsiteY16" fmla="*/ 91440 h 764291"/>
                <a:gd name="connsiteX17" fmla="*/ 800310 w 1038054"/>
                <a:gd name="connsiteY17" fmla="*/ 91440 h 764291"/>
                <a:gd name="connsiteX18" fmla="*/ 891750 w 1038054"/>
                <a:gd name="connsiteY18" fmla="*/ 82296 h 764291"/>
                <a:gd name="connsiteX19" fmla="*/ 1019766 w 1038054"/>
                <a:gd name="connsiteY19" fmla="*/ 27432 h 764291"/>
                <a:gd name="connsiteX20" fmla="*/ 1001478 w 1038054"/>
                <a:gd name="connsiteY20" fmla="*/ 0 h 764291"/>
                <a:gd name="connsiteX21" fmla="*/ 964902 w 1038054"/>
                <a:gd name="connsiteY21" fmla="*/ 27432 h 764291"/>
                <a:gd name="connsiteX22" fmla="*/ 928326 w 1038054"/>
                <a:gd name="connsiteY22" fmla="*/ 36576 h 764291"/>
                <a:gd name="connsiteX23" fmla="*/ 855174 w 1038054"/>
                <a:gd name="connsiteY23" fmla="*/ 64008 h 764291"/>
                <a:gd name="connsiteX24" fmla="*/ 800310 w 1038054"/>
                <a:gd name="connsiteY24" fmla="*/ 64008 h 764291"/>
                <a:gd name="connsiteX25" fmla="*/ 690582 w 1038054"/>
                <a:gd name="connsiteY25" fmla="*/ 64008 h 764291"/>
                <a:gd name="connsiteX26" fmla="*/ 635718 w 1038054"/>
                <a:gd name="connsiteY26" fmla="*/ 100584 h 764291"/>
                <a:gd name="connsiteX27" fmla="*/ 599142 w 1038054"/>
                <a:gd name="connsiteY27" fmla="*/ 146304 h 764291"/>
                <a:gd name="connsiteX28" fmla="*/ 553422 w 1038054"/>
                <a:gd name="connsiteY28" fmla="*/ 182880 h 764291"/>
                <a:gd name="connsiteX29" fmla="*/ 507702 w 1038054"/>
                <a:gd name="connsiteY29" fmla="*/ 256032 h 764291"/>
                <a:gd name="connsiteX30" fmla="*/ 434550 w 1038054"/>
                <a:gd name="connsiteY30" fmla="*/ 301752 h 764291"/>
                <a:gd name="connsiteX31" fmla="*/ 333966 w 1038054"/>
                <a:gd name="connsiteY31" fmla="*/ 347472 h 764291"/>
                <a:gd name="connsiteX32" fmla="*/ 297390 w 1038054"/>
                <a:gd name="connsiteY32" fmla="*/ 374904 h 764291"/>
                <a:gd name="connsiteX33" fmla="*/ 251670 w 1038054"/>
                <a:gd name="connsiteY33" fmla="*/ 402336 h 764291"/>
                <a:gd name="connsiteX34" fmla="*/ 233382 w 1038054"/>
                <a:gd name="connsiteY34" fmla="*/ 402336 h 764291"/>
                <a:gd name="connsiteX35" fmla="*/ 251670 w 1038054"/>
                <a:gd name="connsiteY35" fmla="*/ 365760 h 764291"/>
                <a:gd name="connsiteX36" fmla="*/ 306534 w 1038054"/>
                <a:gd name="connsiteY36" fmla="*/ 301752 h 764291"/>
                <a:gd name="connsiteX37" fmla="*/ 397974 w 1038054"/>
                <a:gd name="connsiteY37" fmla="*/ 219456 h 764291"/>
                <a:gd name="connsiteX38" fmla="*/ 443694 w 1038054"/>
                <a:gd name="connsiteY38" fmla="*/ 146304 h 764291"/>
                <a:gd name="connsiteX39" fmla="*/ 443694 w 1038054"/>
                <a:gd name="connsiteY39" fmla="*/ 64008 h 764291"/>
                <a:gd name="connsiteX40" fmla="*/ 434550 w 1038054"/>
                <a:gd name="connsiteY40" fmla="*/ 54864 h 764291"/>
                <a:gd name="connsiteX41" fmla="*/ 425406 w 1038054"/>
                <a:gd name="connsiteY41" fmla="*/ 128016 h 764291"/>
                <a:gd name="connsiteX42" fmla="*/ 397974 w 1038054"/>
                <a:gd name="connsiteY42" fmla="*/ 173736 h 764291"/>
                <a:gd name="connsiteX43" fmla="*/ 324822 w 1038054"/>
                <a:gd name="connsiteY43" fmla="*/ 237744 h 764291"/>
                <a:gd name="connsiteX44" fmla="*/ 297390 w 1038054"/>
                <a:gd name="connsiteY44" fmla="*/ 256032 h 764291"/>
                <a:gd name="connsiteX45" fmla="*/ 224238 w 1038054"/>
                <a:gd name="connsiteY45" fmla="*/ 347472 h 764291"/>
                <a:gd name="connsiteX46" fmla="*/ 215094 w 1038054"/>
                <a:gd name="connsiteY46" fmla="*/ 374904 h 764291"/>
                <a:gd name="connsiteX47" fmla="*/ 205950 w 1038054"/>
                <a:gd name="connsiteY47" fmla="*/ 411480 h 764291"/>
                <a:gd name="connsiteX48" fmla="*/ 149594 w 1038054"/>
                <a:gd name="connsiteY48" fmla="*/ 468067 h 764291"/>
                <a:gd name="connsiteX49" fmla="*/ 278869 w 1038054"/>
                <a:gd name="connsiteY49" fmla="*/ 448761 h 764291"/>
                <a:gd name="connsiteX50" fmla="*/ 208859 w 1038054"/>
                <a:gd name="connsiteY50" fmla="*/ 536508 h 764291"/>
                <a:gd name="connsiteX51" fmla="*/ 52215 w 1038054"/>
                <a:gd name="connsiteY51" fmla="*/ 707344 h 764291"/>
                <a:gd name="connsiteX52" fmla="*/ 144020 w 1038054"/>
                <a:gd name="connsiteY52" fmla="*/ 739734 h 764291"/>
                <a:gd name="connsiteX53" fmla="*/ 144019 w 1038054"/>
                <a:gd name="connsiteY53" fmla="*/ 739732 h 764291"/>
                <a:gd name="connsiteX54" fmla="*/ 0 w 1038054"/>
                <a:gd name="connsiteY54" fmla="*/ 764291 h 764291"/>
                <a:gd name="connsiteX55" fmla="*/ 0 w 1038054"/>
                <a:gd name="connsiteY55" fmla="*/ 764290 h 764291"/>
                <a:gd name="connsiteX0" fmla="*/ 0 w 1038054"/>
                <a:gd name="connsiteY0" fmla="*/ 764290 h 764291"/>
                <a:gd name="connsiteX1" fmla="*/ 149594 w 1038054"/>
                <a:gd name="connsiteY1" fmla="*/ 468067 h 764291"/>
                <a:gd name="connsiteX2" fmla="*/ 149594 w 1038054"/>
                <a:gd name="connsiteY2" fmla="*/ 468067 h 764291"/>
                <a:gd name="connsiteX3" fmla="*/ 149594 w 1038054"/>
                <a:gd name="connsiteY3" fmla="*/ 468067 h 764291"/>
                <a:gd name="connsiteX4" fmla="*/ 278869 w 1038054"/>
                <a:gd name="connsiteY4" fmla="*/ 448761 h 764291"/>
                <a:gd name="connsiteX5" fmla="*/ 333966 w 1038054"/>
                <a:gd name="connsiteY5" fmla="*/ 384048 h 764291"/>
                <a:gd name="connsiteX6" fmla="*/ 525990 w 1038054"/>
                <a:gd name="connsiteY6" fmla="*/ 301752 h 764291"/>
                <a:gd name="connsiteX7" fmla="*/ 608286 w 1038054"/>
                <a:gd name="connsiteY7" fmla="*/ 192024 h 764291"/>
                <a:gd name="connsiteX8" fmla="*/ 754590 w 1038054"/>
                <a:gd name="connsiteY8" fmla="*/ 155448 h 764291"/>
                <a:gd name="connsiteX9" fmla="*/ 800310 w 1038054"/>
                <a:gd name="connsiteY9" fmla="*/ 155448 h 764291"/>
                <a:gd name="connsiteX10" fmla="*/ 836886 w 1038054"/>
                <a:gd name="connsiteY10" fmla="*/ 137160 h 764291"/>
                <a:gd name="connsiteX11" fmla="*/ 791166 w 1038054"/>
                <a:gd name="connsiteY11" fmla="*/ 137160 h 764291"/>
                <a:gd name="connsiteX12" fmla="*/ 699726 w 1038054"/>
                <a:gd name="connsiteY12" fmla="*/ 137160 h 764291"/>
                <a:gd name="connsiteX13" fmla="*/ 644862 w 1038054"/>
                <a:gd name="connsiteY13" fmla="*/ 146304 h 764291"/>
                <a:gd name="connsiteX14" fmla="*/ 635718 w 1038054"/>
                <a:gd name="connsiteY14" fmla="*/ 155448 h 764291"/>
                <a:gd name="connsiteX15" fmla="*/ 617430 w 1038054"/>
                <a:gd name="connsiteY15" fmla="*/ 146304 h 764291"/>
                <a:gd name="connsiteX16" fmla="*/ 745446 w 1038054"/>
                <a:gd name="connsiteY16" fmla="*/ 91440 h 764291"/>
                <a:gd name="connsiteX17" fmla="*/ 800310 w 1038054"/>
                <a:gd name="connsiteY17" fmla="*/ 91440 h 764291"/>
                <a:gd name="connsiteX18" fmla="*/ 891750 w 1038054"/>
                <a:gd name="connsiteY18" fmla="*/ 82296 h 764291"/>
                <a:gd name="connsiteX19" fmla="*/ 1019766 w 1038054"/>
                <a:gd name="connsiteY19" fmla="*/ 27432 h 764291"/>
                <a:gd name="connsiteX20" fmla="*/ 1001478 w 1038054"/>
                <a:gd name="connsiteY20" fmla="*/ 0 h 764291"/>
                <a:gd name="connsiteX21" fmla="*/ 964902 w 1038054"/>
                <a:gd name="connsiteY21" fmla="*/ 27432 h 764291"/>
                <a:gd name="connsiteX22" fmla="*/ 928326 w 1038054"/>
                <a:gd name="connsiteY22" fmla="*/ 36576 h 764291"/>
                <a:gd name="connsiteX23" fmla="*/ 855174 w 1038054"/>
                <a:gd name="connsiteY23" fmla="*/ 64008 h 764291"/>
                <a:gd name="connsiteX24" fmla="*/ 800310 w 1038054"/>
                <a:gd name="connsiteY24" fmla="*/ 64008 h 764291"/>
                <a:gd name="connsiteX25" fmla="*/ 690582 w 1038054"/>
                <a:gd name="connsiteY25" fmla="*/ 64008 h 764291"/>
                <a:gd name="connsiteX26" fmla="*/ 635718 w 1038054"/>
                <a:gd name="connsiteY26" fmla="*/ 100584 h 764291"/>
                <a:gd name="connsiteX27" fmla="*/ 599142 w 1038054"/>
                <a:gd name="connsiteY27" fmla="*/ 146304 h 764291"/>
                <a:gd name="connsiteX28" fmla="*/ 553422 w 1038054"/>
                <a:gd name="connsiteY28" fmla="*/ 182880 h 764291"/>
                <a:gd name="connsiteX29" fmla="*/ 507702 w 1038054"/>
                <a:gd name="connsiteY29" fmla="*/ 256032 h 764291"/>
                <a:gd name="connsiteX30" fmla="*/ 434550 w 1038054"/>
                <a:gd name="connsiteY30" fmla="*/ 301752 h 764291"/>
                <a:gd name="connsiteX31" fmla="*/ 333966 w 1038054"/>
                <a:gd name="connsiteY31" fmla="*/ 347472 h 764291"/>
                <a:gd name="connsiteX32" fmla="*/ 297390 w 1038054"/>
                <a:gd name="connsiteY32" fmla="*/ 374904 h 764291"/>
                <a:gd name="connsiteX33" fmla="*/ 251670 w 1038054"/>
                <a:gd name="connsiteY33" fmla="*/ 402336 h 764291"/>
                <a:gd name="connsiteX34" fmla="*/ 233382 w 1038054"/>
                <a:gd name="connsiteY34" fmla="*/ 402336 h 764291"/>
                <a:gd name="connsiteX35" fmla="*/ 251670 w 1038054"/>
                <a:gd name="connsiteY35" fmla="*/ 365760 h 764291"/>
                <a:gd name="connsiteX36" fmla="*/ 306534 w 1038054"/>
                <a:gd name="connsiteY36" fmla="*/ 301752 h 764291"/>
                <a:gd name="connsiteX37" fmla="*/ 397974 w 1038054"/>
                <a:gd name="connsiteY37" fmla="*/ 219456 h 764291"/>
                <a:gd name="connsiteX38" fmla="*/ 443694 w 1038054"/>
                <a:gd name="connsiteY38" fmla="*/ 146304 h 764291"/>
                <a:gd name="connsiteX39" fmla="*/ 443694 w 1038054"/>
                <a:gd name="connsiteY39" fmla="*/ 64008 h 764291"/>
                <a:gd name="connsiteX40" fmla="*/ 434550 w 1038054"/>
                <a:gd name="connsiteY40" fmla="*/ 54864 h 764291"/>
                <a:gd name="connsiteX41" fmla="*/ 425406 w 1038054"/>
                <a:gd name="connsiteY41" fmla="*/ 128016 h 764291"/>
                <a:gd name="connsiteX42" fmla="*/ 397974 w 1038054"/>
                <a:gd name="connsiteY42" fmla="*/ 173736 h 764291"/>
                <a:gd name="connsiteX43" fmla="*/ 324822 w 1038054"/>
                <a:gd name="connsiteY43" fmla="*/ 237744 h 764291"/>
                <a:gd name="connsiteX44" fmla="*/ 297390 w 1038054"/>
                <a:gd name="connsiteY44" fmla="*/ 256032 h 764291"/>
                <a:gd name="connsiteX45" fmla="*/ 224238 w 1038054"/>
                <a:gd name="connsiteY45" fmla="*/ 347472 h 764291"/>
                <a:gd name="connsiteX46" fmla="*/ 215094 w 1038054"/>
                <a:gd name="connsiteY46" fmla="*/ 374904 h 764291"/>
                <a:gd name="connsiteX47" fmla="*/ 205950 w 1038054"/>
                <a:gd name="connsiteY47" fmla="*/ 411480 h 764291"/>
                <a:gd name="connsiteX48" fmla="*/ 149594 w 1038054"/>
                <a:gd name="connsiteY48" fmla="*/ 468067 h 764291"/>
                <a:gd name="connsiteX49" fmla="*/ 278869 w 1038054"/>
                <a:gd name="connsiteY49" fmla="*/ 448761 h 764291"/>
                <a:gd name="connsiteX50" fmla="*/ 208859 w 1038054"/>
                <a:gd name="connsiteY50" fmla="*/ 536508 h 764291"/>
                <a:gd name="connsiteX51" fmla="*/ 144020 w 1038054"/>
                <a:gd name="connsiteY51" fmla="*/ 739734 h 764291"/>
                <a:gd name="connsiteX52" fmla="*/ 144020 w 1038054"/>
                <a:gd name="connsiteY52" fmla="*/ 739734 h 764291"/>
                <a:gd name="connsiteX53" fmla="*/ 144019 w 1038054"/>
                <a:gd name="connsiteY53" fmla="*/ 739732 h 764291"/>
                <a:gd name="connsiteX54" fmla="*/ 0 w 1038054"/>
                <a:gd name="connsiteY54" fmla="*/ 764291 h 764291"/>
                <a:gd name="connsiteX55" fmla="*/ 0 w 1038054"/>
                <a:gd name="connsiteY55" fmla="*/ 764290 h 764291"/>
                <a:gd name="connsiteX0" fmla="*/ 104430 w 1038054"/>
                <a:gd name="connsiteY0" fmla="*/ 650399 h 764291"/>
                <a:gd name="connsiteX1" fmla="*/ 149594 w 1038054"/>
                <a:gd name="connsiteY1" fmla="*/ 468067 h 764291"/>
                <a:gd name="connsiteX2" fmla="*/ 149594 w 1038054"/>
                <a:gd name="connsiteY2" fmla="*/ 468067 h 764291"/>
                <a:gd name="connsiteX3" fmla="*/ 149594 w 1038054"/>
                <a:gd name="connsiteY3" fmla="*/ 468067 h 764291"/>
                <a:gd name="connsiteX4" fmla="*/ 278869 w 1038054"/>
                <a:gd name="connsiteY4" fmla="*/ 448761 h 764291"/>
                <a:gd name="connsiteX5" fmla="*/ 333966 w 1038054"/>
                <a:gd name="connsiteY5" fmla="*/ 384048 h 764291"/>
                <a:gd name="connsiteX6" fmla="*/ 525990 w 1038054"/>
                <a:gd name="connsiteY6" fmla="*/ 301752 h 764291"/>
                <a:gd name="connsiteX7" fmla="*/ 608286 w 1038054"/>
                <a:gd name="connsiteY7" fmla="*/ 192024 h 764291"/>
                <a:gd name="connsiteX8" fmla="*/ 754590 w 1038054"/>
                <a:gd name="connsiteY8" fmla="*/ 155448 h 764291"/>
                <a:gd name="connsiteX9" fmla="*/ 800310 w 1038054"/>
                <a:gd name="connsiteY9" fmla="*/ 155448 h 764291"/>
                <a:gd name="connsiteX10" fmla="*/ 836886 w 1038054"/>
                <a:gd name="connsiteY10" fmla="*/ 137160 h 764291"/>
                <a:gd name="connsiteX11" fmla="*/ 791166 w 1038054"/>
                <a:gd name="connsiteY11" fmla="*/ 137160 h 764291"/>
                <a:gd name="connsiteX12" fmla="*/ 699726 w 1038054"/>
                <a:gd name="connsiteY12" fmla="*/ 137160 h 764291"/>
                <a:gd name="connsiteX13" fmla="*/ 644862 w 1038054"/>
                <a:gd name="connsiteY13" fmla="*/ 146304 h 764291"/>
                <a:gd name="connsiteX14" fmla="*/ 635718 w 1038054"/>
                <a:gd name="connsiteY14" fmla="*/ 155448 h 764291"/>
                <a:gd name="connsiteX15" fmla="*/ 617430 w 1038054"/>
                <a:gd name="connsiteY15" fmla="*/ 146304 h 764291"/>
                <a:gd name="connsiteX16" fmla="*/ 745446 w 1038054"/>
                <a:gd name="connsiteY16" fmla="*/ 91440 h 764291"/>
                <a:gd name="connsiteX17" fmla="*/ 800310 w 1038054"/>
                <a:gd name="connsiteY17" fmla="*/ 91440 h 764291"/>
                <a:gd name="connsiteX18" fmla="*/ 891750 w 1038054"/>
                <a:gd name="connsiteY18" fmla="*/ 82296 h 764291"/>
                <a:gd name="connsiteX19" fmla="*/ 1019766 w 1038054"/>
                <a:gd name="connsiteY19" fmla="*/ 27432 h 764291"/>
                <a:gd name="connsiteX20" fmla="*/ 1001478 w 1038054"/>
                <a:gd name="connsiteY20" fmla="*/ 0 h 764291"/>
                <a:gd name="connsiteX21" fmla="*/ 964902 w 1038054"/>
                <a:gd name="connsiteY21" fmla="*/ 27432 h 764291"/>
                <a:gd name="connsiteX22" fmla="*/ 928326 w 1038054"/>
                <a:gd name="connsiteY22" fmla="*/ 36576 h 764291"/>
                <a:gd name="connsiteX23" fmla="*/ 855174 w 1038054"/>
                <a:gd name="connsiteY23" fmla="*/ 64008 h 764291"/>
                <a:gd name="connsiteX24" fmla="*/ 800310 w 1038054"/>
                <a:gd name="connsiteY24" fmla="*/ 64008 h 764291"/>
                <a:gd name="connsiteX25" fmla="*/ 690582 w 1038054"/>
                <a:gd name="connsiteY25" fmla="*/ 64008 h 764291"/>
                <a:gd name="connsiteX26" fmla="*/ 635718 w 1038054"/>
                <a:gd name="connsiteY26" fmla="*/ 100584 h 764291"/>
                <a:gd name="connsiteX27" fmla="*/ 599142 w 1038054"/>
                <a:gd name="connsiteY27" fmla="*/ 146304 h 764291"/>
                <a:gd name="connsiteX28" fmla="*/ 553422 w 1038054"/>
                <a:gd name="connsiteY28" fmla="*/ 182880 h 764291"/>
                <a:gd name="connsiteX29" fmla="*/ 507702 w 1038054"/>
                <a:gd name="connsiteY29" fmla="*/ 256032 h 764291"/>
                <a:gd name="connsiteX30" fmla="*/ 434550 w 1038054"/>
                <a:gd name="connsiteY30" fmla="*/ 301752 h 764291"/>
                <a:gd name="connsiteX31" fmla="*/ 333966 w 1038054"/>
                <a:gd name="connsiteY31" fmla="*/ 347472 h 764291"/>
                <a:gd name="connsiteX32" fmla="*/ 297390 w 1038054"/>
                <a:gd name="connsiteY32" fmla="*/ 374904 h 764291"/>
                <a:gd name="connsiteX33" fmla="*/ 251670 w 1038054"/>
                <a:gd name="connsiteY33" fmla="*/ 402336 h 764291"/>
                <a:gd name="connsiteX34" fmla="*/ 233382 w 1038054"/>
                <a:gd name="connsiteY34" fmla="*/ 402336 h 764291"/>
                <a:gd name="connsiteX35" fmla="*/ 251670 w 1038054"/>
                <a:gd name="connsiteY35" fmla="*/ 365760 h 764291"/>
                <a:gd name="connsiteX36" fmla="*/ 306534 w 1038054"/>
                <a:gd name="connsiteY36" fmla="*/ 301752 h 764291"/>
                <a:gd name="connsiteX37" fmla="*/ 397974 w 1038054"/>
                <a:gd name="connsiteY37" fmla="*/ 219456 h 764291"/>
                <a:gd name="connsiteX38" fmla="*/ 443694 w 1038054"/>
                <a:gd name="connsiteY38" fmla="*/ 146304 h 764291"/>
                <a:gd name="connsiteX39" fmla="*/ 443694 w 1038054"/>
                <a:gd name="connsiteY39" fmla="*/ 64008 h 764291"/>
                <a:gd name="connsiteX40" fmla="*/ 434550 w 1038054"/>
                <a:gd name="connsiteY40" fmla="*/ 54864 h 764291"/>
                <a:gd name="connsiteX41" fmla="*/ 425406 w 1038054"/>
                <a:gd name="connsiteY41" fmla="*/ 128016 h 764291"/>
                <a:gd name="connsiteX42" fmla="*/ 397974 w 1038054"/>
                <a:gd name="connsiteY42" fmla="*/ 173736 h 764291"/>
                <a:gd name="connsiteX43" fmla="*/ 324822 w 1038054"/>
                <a:gd name="connsiteY43" fmla="*/ 237744 h 764291"/>
                <a:gd name="connsiteX44" fmla="*/ 297390 w 1038054"/>
                <a:gd name="connsiteY44" fmla="*/ 256032 h 764291"/>
                <a:gd name="connsiteX45" fmla="*/ 224238 w 1038054"/>
                <a:gd name="connsiteY45" fmla="*/ 347472 h 764291"/>
                <a:gd name="connsiteX46" fmla="*/ 215094 w 1038054"/>
                <a:gd name="connsiteY46" fmla="*/ 374904 h 764291"/>
                <a:gd name="connsiteX47" fmla="*/ 205950 w 1038054"/>
                <a:gd name="connsiteY47" fmla="*/ 411480 h 764291"/>
                <a:gd name="connsiteX48" fmla="*/ 149594 w 1038054"/>
                <a:gd name="connsiteY48" fmla="*/ 468067 h 764291"/>
                <a:gd name="connsiteX49" fmla="*/ 278869 w 1038054"/>
                <a:gd name="connsiteY49" fmla="*/ 448761 h 764291"/>
                <a:gd name="connsiteX50" fmla="*/ 208859 w 1038054"/>
                <a:gd name="connsiteY50" fmla="*/ 536508 h 764291"/>
                <a:gd name="connsiteX51" fmla="*/ 144020 w 1038054"/>
                <a:gd name="connsiteY51" fmla="*/ 739734 h 764291"/>
                <a:gd name="connsiteX52" fmla="*/ 144020 w 1038054"/>
                <a:gd name="connsiteY52" fmla="*/ 739734 h 764291"/>
                <a:gd name="connsiteX53" fmla="*/ 144019 w 1038054"/>
                <a:gd name="connsiteY53" fmla="*/ 739732 h 764291"/>
                <a:gd name="connsiteX54" fmla="*/ 0 w 1038054"/>
                <a:gd name="connsiteY54" fmla="*/ 764291 h 764291"/>
                <a:gd name="connsiteX55" fmla="*/ 104430 w 1038054"/>
                <a:gd name="connsiteY55" fmla="*/ 650399 h 764291"/>
                <a:gd name="connsiteX0" fmla="*/ 104430 w 1038054"/>
                <a:gd name="connsiteY0" fmla="*/ 650399 h 764291"/>
                <a:gd name="connsiteX1" fmla="*/ 149594 w 1038054"/>
                <a:gd name="connsiteY1" fmla="*/ 468067 h 764291"/>
                <a:gd name="connsiteX2" fmla="*/ 149594 w 1038054"/>
                <a:gd name="connsiteY2" fmla="*/ 468067 h 764291"/>
                <a:gd name="connsiteX3" fmla="*/ 149594 w 1038054"/>
                <a:gd name="connsiteY3" fmla="*/ 468067 h 764291"/>
                <a:gd name="connsiteX4" fmla="*/ 278869 w 1038054"/>
                <a:gd name="connsiteY4" fmla="*/ 448761 h 764291"/>
                <a:gd name="connsiteX5" fmla="*/ 333966 w 1038054"/>
                <a:gd name="connsiteY5" fmla="*/ 384048 h 764291"/>
                <a:gd name="connsiteX6" fmla="*/ 525990 w 1038054"/>
                <a:gd name="connsiteY6" fmla="*/ 301752 h 764291"/>
                <a:gd name="connsiteX7" fmla="*/ 608286 w 1038054"/>
                <a:gd name="connsiteY7" fmla="*/ 192024 h 764291"/>
                <a:gd name="connsiteX8" fmla="*/ 754590 w 1038054"/>
                <a:gd name="connsiteY8" fmla="*/ 155448 h 764291"/>
                <a:gd name="connsiteX9" fmla="*/ 800310 w 1038054"/>
                <a:gd name="connsiteY9" fmla="*/ 155448 h 764291"/>
                <a:gd name="connsiteX10" fmla="*/ 836886 w 1038054"/>
                <a:gd name="connsiteY10" fmla="*/ 137160 h 764291"/>
                <a:gd name="connsiteX11" fmla="*/ 791166 w 1038054"/>
                <a:gd name="connsiteY11" fmla="*/ 137160 h 764291"/>
                <a:gd name="connsiteX12" fmla="*/ 699726 w 1038054"/>
                <a:gd name="connsiteY12" fmla="*/ 137160 h 764291"/>
                <a:gd name="connsiteX13" fmla="*/ 644862 w 1038054"/>
                <a:gd name="connsiteY13" fmla="*/ 146304 h 764291"/>
                <a:gd name="connsiteX14" fmla="*/ 635718 w 1038054"/>
                <a:gd name="connsiteY14" fmla="*/ 155448 h 764291"/>
                <a:gd name="connsiteX15" fmla="*/ 617430 w 1038054"/>
                <a:gd name="connsiteY15" fmla="*/ 146304 h 764291"/>
                <a:gd name="connsiteX16" fmla="*/ 745446 w 1038054"/>
                <a:gd name="connsiteY16" fmla="*/ 91440 h 764291"/>
                <a:gd name="connsiteX17" fmla="*/ 800310 w 1038054"/>
                <a:gd name="connsiteY17" fmla="*/ 91440 h 764291"/>
                <a:gd name="connsiteX18" fmla="*/ 891750 w 1038054"/>
                <a:gd name="connsiteY18" fmla="*/ 82296 h 764291"/>
                <a:gd name="connsiteX19" fmla="*/ 1019766 w 1038054"/>
                <a:gd name="connsiteY19" fmla="*/ 27432 h 764291"/>
                <a:gd name="connsiteX20" fmla="*/ 1001478 w 1038054"/>
                <a:gd name="connsiteY20" fmla="*/ 0 h 764291"/>
                <a:gd name="connsiteX21" fmla="*/ 964902 w 1038054"/>
                <a:gd name="connsiteY21" fmla="*/ 27432 h 764291"/>
                <a:gd name="connsiteX22" fmla="*/ 928326 w 1038054"/>
                <a:gd name="connsiteY22" fmla="*/ 36576 h 764291"/>
                <a:gd name="connsiteX23" fmla="*/ 855174 w 1038054"/>
                <a:gd name="connsiteY23" fmla="*/ 64008 h 764291"/>
                <a:gd name="connsiteX24" fmla="*/ 800310 w 1038054"/>
                <a:gd name="connsiteY24" fmla="*/ 64008 h 764291"/>
                <a:gd name="connsiteX25" fmla="*/ 690582 w 1038054"/>
                <a:gd name="connsiteY25" fmla="*/ 64008 h 764291"/>
                <a:gd name="connsiteX26" fmla="*/ 635718 w 1038054"/>
                <a:gd name="connsiteY26" fmla="*/ 100584 h 764291"/>
                <a:gd name="connsiteX27" fmla="*/ 599142 w 1038054"/>
                <a:gd name="connsiteY27" fmla="*/ 146304 h 764291"/>
                <a:gd name="connsiteX28" fmla="*/ 553422 w 1038054"/>
                <a:gd name="connsiteY28" fmla="*/ 182880 h 764291"/>
                <a:gd name="connsiteX29" fmla="*/ 507702 w 1038054"/>
                <a:gd name="connsiteY29" fmla="*/ 256032 h 764291"/>
                <a:gd name="connsiteX30" fmla="*/ 434550 w 1038054"/>
                <a:gd name="connsiteY30" fmla="*/ 301752 h 764291"/>
                <a:gd name="connsiteX31" fmla="*/ 333966 w 1038054"/>
                <a:gd name="connsiteY31" fmla="*/ 347472 h 764291"/>
                <a:gd name="connsiteX32" fmla="*/ 297390 w 1038054"/>
                <a:gd name="connsiteY32" fmla="*/ 374904 h 764291"/>
                <a:gd name="connsiteX33" fmla="*/ 251670 w 1038054"/>
                <a:gd name="connsiteY33" fmla="*/ 402336 h 764291"/>
                <a:gd name="connsiteX34" fmla="*/ 233382 w 1038054"/>
                <a:gd name="connsiteY34" fmla="*/ 402336 h 764291"/>
                <a:gd name="connsiteX35" fmla="*/ 251670 w 1038054"/>
                <a:gd name="connsiteY35" fmla="*/ 365760 h 764291"/>
                <a:gd name="connsiteX36" fmla="*/ 306534 w 1038054"/>
                <a:gd name="connsiteY36" fmla="*/ 301752 h 764291"/>
                <a:gd name="connsiteX37" fmla="*/ 397974 w 1038054"/>
                <a:gd name="connsiteY37" fmla="*/ 219456 h 764291"/>
                <a:gd name="connsiteX38" fmla="*/ 443694 w 1038054"/>
                <a:gd name="connsiteY38" fmla="*/ 146304 h 764291"/>
                <a:gd name="connsiteX39" fmla="*/ 443694 w 1038054"/>
                <a:gd name="connsiteY39" fmla="*/ 64008 h 764291"/>
                <a:gd name="connsiteX40" fmla="*/ 434550 w 1038054"/>
                <a:gd name="connsiteY40" fmla="*/ 54864 h 764291"/>
                <a:gd name="connsiteX41" fmla="*/ 425406 w 1038054"/>
                <a:gd name="connsiteY41" fmla="*/ 128016 h 764291"/>
                <a:gd name="connsiteX42" fmla="*/ 397974 w 1038054"/>
                <a:gd name="connsiteY42" fmla="*/ 173736 h 764291"/>
                <a:gd name="connsiteX43" fmla="*/ 324822 w 1038054"/>
                <a:gd name="connsiteY43" fmla="*/ 237744 h 764291"/>
                <a:gd name="connsiteX44" fmla="*/ 297390 w 1038054"/>
                <a:gd name="connsiteY44" fmla="*/ 256032 h 764291"/>
                <a:gd name="connsiteX45" fmla="*/ 224238 w 1038054"/>
                <a:gd name="connsiteY45" fmla="*/ 347472 h 764291"/>
                <a:gd name="connsiteX46" fmla="*/ 215094 w 1038054"/>
                <a:gd name="connsiteY46" fmla="*/ 374904 h 764291"/>
                <a:gd name="connsiteX47" fmla="*/ 205950 w 1038054"/>
                <a:gd name="connsiteY47" fmla="*/ 411480 h 764291"/>
                <a:gd name="connsiteX48" fmla="*/ 149594 w 1038054"/>
                <a:gd name="connsiteY48" fmla="*/ 468067 h 764291"/>
                <a:gd name="connsiteX49" fmla="*/ 208859 w 1038054"/>
                <a:gd name="connsiteY49" fmla="*/ 536509 h 764291"/>
                <a:gd name="connsiteX50" fmla="*/ 208859 w 1038054"/>
                <a:gd name="connsiteY50" fmla="*/ 536508 h 764291"/>
                <a:gd name="connsiteX51" fmla="*/ 144020 w 1038054"/>
                <a:gd name="connsiteY51" fmla="*/ 739734 h 764291"/>
                <a:gd name="connsiteX52" fmla="*/ 144020 w 1038054"/>
                <a:gd name="connsiteY52" fmla="*/ 739734 h 764291"/>
                <a:gd name="connsiteX53" fmla="*/ 144019 w 1038054"/>
                <a:gd name="connsiteY53" fmla="*/ 739732 h 764291"/>
                <a:gd name="connsiteX54" fmla="*/ 0 w 1038054"/>
                <a:gd name="connsiteY54" fmla="*/ 764291 h 764291"/>
                <a:gd name="connsiteX55" fmla="*/ 104430 w 1038054"/>
                <a:gd name="connsiteY55" fmla="*/ 650399 h 764291"/>
                <a:gd name="connsiteX0" fmla="*/ 104430 w 1038054"/>
                <a:gd name="connsiteY0" fmla="*/ 650399 h 764291"/>
                <a:gd name="connsiteX1" fmla="*/ 149594 w 1038054"/>
                <a:gd name="connsiteY1" fmla="*/ 468067 h 764291"/>
                <a:gd name="connsiteX2" fmla="*/ 149594 w 1038054"/>
                <a:gd name="connsiteY2" fmla="*/ 468067 h 764291"/>
                <a:gd name="connsiteX3" fmla="*/ 149594 w 1038054"/>
                <a:gd name="connsiteY3" fmla="*/ 468067 h 764291"/>
                <a:gd name="connsiteX4" fmla="*/ 278869 w 1038054"/>
                <a:gd name="connsiteY4" fmla="*/ 448761 h 764291"/>
                <a:gd name="connsiteX5" fmla="*/ 333966 w 1038054"/>
                <a:gd name="connsiteY5" fmla="*/ 384048 h 764291"/>
                <a:gd name="connsiteX6" fmla="*/ 525990 w 1038054"/>
                <a:gd name="connsiteY6" fmla="*/ 301752 h 764291"/>
                <a:gd name="connsiteX7" fmla="*/ 608286 w 1038054"/>
                <a:gd name="connsiteY7" fmla="*/ 192024 h 764291"/>
                <a:gd name="connsiteX8" fmla="*/ 754590 w 1038054"/>
                <a:gd name="connsiteY8" fmla="*/ 155448 h 764291"/>
                <a:gd name="connsiteX9" fmla="*/ 800310 w 1038054"/>
                <a:gd name="connsiteY9" fmla="*/ 155448 h 764291"/>
                <a:gd name="connsiteX10" fmla="*/ 836886 w 1038054"/>
                <a:gd name="connsiteY10" fmla="*/ 137160 h 764291"/>
                <a:gd name="connsiteX11" fmla="*/ 791166 w 1038054"/>
                <a:gd name="connsiteY11" fmla="*/ 137160 h 764291"/>
                <a:gd name="connsiteX12" fmla="*/ 699726 w 1038054"/>
                <a:gd name="connsiteY12" fmla="*/ 137160 h 764291"/>
                <a:gd name="connsiteX13" fmla="*/ 644862 w 1038054"/>
                <a:gd name="connsiteY13" fmla="*/ 146304 h 764291"/>
                <a:gd name="connsiteX14" fmla="*/ 635718 w 1038054"/>
                <a:gd name="connsiteY14" fmla="*/ 155448 h 764291"/>
                <a:gd name="connsiteX15" fmla="*/ 617430 w 1038054"/>
                <a:gd name="connsiteY15" fmla="*/ 146304 h 764291"/>
                <a:gd name="connsiteX16" fmla="*/ 745446 w 1038054"/>
                <a:gd name="connsiteY16" fmla="*/ 91440 h 764291"/>
                <a:gd name="connsiteX17" fmla="*/ 800310 w 1038054"/>
                <a:gd name="connsiteY17" fmla="*/ 91440 h 764291"/>
                <a:gd name="connsiteX18" fmla="*/ 891750 w 1038054"/>
                <a:gd name="connsiteY18" fmla="*/ 82296 h 764291"/>
                <a:gd name="connsiteX19" fmla="*/ 1019766 w 1038054"/>
                <a:gd name="connsiteY19" fmla="*/ 27432 h 764291"/>
                <a:gd name="connsiteX20" fmla="*/ 1001478 w 1038054"/>
                <a:gd name="connsiteY20" fmla="*/ 0 h 764291"/>
                <a:gd name="connsiteX21" fmla="*/ 964902 w 1038054"/>
                <a:gd name="connsiteY21" fmla="*/ 27432 h 764291"/>
                <a:gd name="connsiteX22" fmla="*/ 928326 w 1038054"/>
                <a:gd name="connsiteY22" fmla="*/ 36576 h 764291"/>
                <a:gd name="connsiteX23" fmla="*/ 855174 w 1038054"/>
                <a:gd name="connsiteY23" fmla="*/ 64008 h 764291"/>
                <a:gd name="connsiteX24" fmla="*/ 800310 w 1038054"/>
                <a:gd name="connsiteY24" fmla="*/ 64008 h 764291"/>
                <a:gd name="connsiteX25" fmla="*/ 690582 w 1038054"/>
                <a:gd name="connsiteY25" fmla="*/ 64008 h 764291"/>
                <a:gd name="connsiteX26" fmla="*/ 635718 w 1038054"/>
                <a:gd name="connsiteY26" fmla="*/ 100584 h 764291"/>
                <a:gd name="connsiteX27" fmla="*/ 599142 w 1038054"/>
                <a:gd name="connsiteY27" fmla="*/ 146304 h 764291"/>
                <a:gd name="connsiteX28" fmla="*/ 553422 w 1038054"/>
                <a:gd name="connsiteY28" fmla="*/ 182880 h 764291"/>
                <a:gd name="connsiteX29" fmla="*/ 507702 w 1038054"/>
                <a:gd name="connsiteY29" fmla="*/ 256032 h 764291"/>
                <a:gd name="connsiteX30" fmla="*/ 434550 w 1038054"/>
                <a:gd name="connsiteY30" fmla="*/ 301752 h 764291"/>
                <a:gd name="connsiteX31" fmla="*/ 333966 w 1038054"/>
                <a:gd name="connsiteY31" fmla="*/ 347472 h 764291"/>
                <a:gd name="connsiteX32" fmla="*/ 297390 w 1038054"/>
                <a:gd name="connsiteY32" fmla="*/ 374904 h 764291"/>
                <a:gd name="connsiteX33" fmla="*/ 251670 w 1038054"/>
                <a:gd name="connsiteY33" fmla="*/ 402336 h 764291"/>
                <a:gd name="connsiteX34" fmla="*/ 233382 w 1038054"/>
                <a:gd name="connsiteY34" fmla="*/ 402336 h 764291"/>
                <a:gd name="connsiteX35" fmla="*/ 251670 w 1038054"/>
                <a:gd name="connsiteY35" fmla="*/ 365760 h 764291"/>
                <a:gd name="connsiteX36" fmla="*/ 306534 w 1038054"/>
                <a:gd name="connsiteY36" fmla="*/ 301752 h 764291"/>
                <a:gd name="connsiteX37" fmla="*/ 397974 w 1038054"/>
                <a:gd name="connsiteY37" fmla="*/ 219456 h 764291"/>
                <a:gd name="connsiteX38" fmla="*/ 443694 w 1038054"/>
                <a:gd name="connsiteY38" fmla="*/ 146304 h 764291"/>
                <a:gd name="connsiteX39" fmla="*/ 443694 w 1038054"/>
                <a:gd name="connsiteY39" fmla="*/ 64008 h 764291"/>
                <a:gd name="connsiteX40" fmla="*/ 434550 w 1038054"/>
                <a:gd name="connsiteY40" fmla="*/ 54864 h 764291"/>
                <a:gd name="connsiteX41" fmla="*/ 425406 w 1038054"/>
                <a:gd name="connsiteY41" fmla="*/ 128016 h 764291"/>
                <a:gd name="connsiteX42" fmla="*/ 397974 w 1038054"/>
                <a:gd name="connsiteY42" fmla="*/ 173736 h 764291"/>
                <a:gd name="connsiteX43" fmla="*/ 324822 w 1038054"/>
                <a:gd name="connsiteY43" fmla="*/ 237744 h 764291"/>
                <a:gd name="connsiteX44" fmla="*/ 297390 w 1038054"/>
                <a:gd name="connsiteY44" fmla="*/ 256032 h 764291"/>
                <a:gd name="connsiteX45" fmla="*/ 224238 w 1038054"/>
                <a:gd name="connsiteY45" fmla="*/ 347472 h 764291"/>
                <a:gd name="connsiteX46" fmla="*/ 215094 w 1038054"/>
                <a:gd name="connsiteY46" fmla="*/ 374904 h 764291"/>
                <a:gd name="connsiteX47" fmla="*/ 205950 w 1038054"/>
                <a:gd name="connsiteY47" fmla="*/ 411480 h 764291"/>
                <a:gd name="connsiteX48" fmla="*/ 261074 w 1038054"/>
                <a:gd name="connsiteY48" fmla="*/ 479563 h 764291"/>
                <a:gd name="connsiteX49" fmla="*/ 208859 w 1038054"/>
                <a:gd name="connsiteY49" fmla="*/ 536509 h 764291"/>
                <a:gd name="connsiteX50" fmla="*/ 208859 w 1038054"/>
                <a:gd name="connsiteY50" fmla="*/ 536508 h 764291"/>
                <a:gd name="connsiteX51" fmla="*/ 144020 w 1038054"/>
                <a:gd name="connsiteY51" fmla="*/ 739734 h 764291"/>
                <a:gd name="connsiteX52" fmla="*/ 144020 w 1038054"/>
                <a:gd name="connsiteY52" fmla="*/ 739734 h 764291"/>
                <a:gd name="connsiteX53" fmla="*/ 144019 w 1038054"/>
                <a:gd name="connsiteY53" fmla="*/ 739732 h 764291"/>
                <a:gd name="connsiteX54" fmla="*/ 0 w 1038054"/>
                <a:gd name="connsiteY54" fmla="*/ 764291 h 764291"/>
                <a:gd name="connsiteX55" fmla="*/ 104430 w 1038054"/>
                <a:gd name="connsiteY55" fmla="*/ 650399 h 764291"/>
                <a:gd name="connsiteX0" fmla="*/ 104430 w 1038054"/>
                <a:gd name="connsiteY0" fmla="*/ 650399 h 764291"/>
                <a:gd name="connsiteX1" fmla="*/ 149594 w 1038054"/>
                <a:gd name="connsiteY1" fmla="*/ 468067 h 764291"/>
                <a:gd name="connsiteX2" fmla="*/ 149594 w 1038054"/>
                <a:gd name="connsiteY2" fmla="*/ 468067 h 764291"/>
                <a:gd name="connsiteX3" fmla="*/ 149594 w 1038054"/>
                <a:gd name="connsiteY3" fmla="*/ 468067 h 764291"/>
                <a:gd name="connsiteX4" fmla="*/ 169269 w 1038054"/>
                <a:gd name="connsiteY4" fmla="*/ 447175 h 764291"/>
                <a:gd name="connsiteX5" fmla="*/ 333966 w 1038054"/>
                <a:gd name="connsiteY5" fmla="*/ 384048 h 764291"/>
                <a:gd name="connsiteX6" fmla="*/ 525990 w 1038054"/>
                <a:gd name="connsiteY6" fmla="*/ 301752 h 764291"/>
                <a:gd name="connsiteX7" fmla="*/ 608286 w 1038054"/>
                <a:gd name="connsiteY7" fmla="*/ 192024 h 764291"/>
                <a:gd name="connsiteX8" fmla="*/ 754590 w 1038054"/>
                <a:gd name="connsiteY8" fmla="*/ 155448 h 764291"/>
                <a:gd name="connsiteX9" fmla="*/ 800310 w 1038054"/>
                <a:gd name="connsiteY9" fmla="*/ 155448 h 764291"/>
                <a:gd name="connsiteX10" fmla="*/ 836886 w 1038054"/>
                <a:gd name="connsiteY10" fmla="*/ 137160 h 764291"/>
                <a:gd name="connsiteX11" fmla="*/ 791166 w 1038054"/>
                <a:gd name="connsiteY11" fmla="*/ 137160 h 764291"/>
                <a:gd name="connsiteX12" fmla="*/ 699726 w 1038054"/>
                <a:gd name="connsiteY12" fmla="*/ 137160 h 764291"/>
                <a:gd name="connsiteX13" fmla="*/ 644862 w 1038054"/>
                <a:gd name="connsiteY13" fmla="*/ 146304 h 764291"/>
                <a:gd name="connsiteX14" fmla="*/ 635718 w 1038054"/>
                <a:gd name="connsiteY14" fmla="*/ 155448 h 764291"/>
                <a:gd name="connsiteX15" fmla="*/ 617430 w 1038054"/>
                <a:gd name="connsiteY15" fmla="*/ 146304 h 764291"/>
                <a:gd name="connsiteX16" fmla="*/ 745446 w 1038054"/>
                <a:gd name="connsiteY16" fmla="*/ 91440 h 764291"/>
                <a:gd name="connsiteX17" fmla="*/ 800310 w 1038054"/>
                <a:gd name="connsiteY17" fmla="*/ 91440 h 764291"/>
                <a:gd name="connsiteX18" fmla="*/ 891750 w 1038054"/>
                <a:gd name="connsiteY18" fmla="*/ 82296 h 764291"/>
                <a:gd name="connsiteX19" fmla="*/ 1019766 w 1038054"/>
                <a:gd name="connsiteY19" fmla="*/ 27432 h 764291"/>
                <a:gd name="connsiteX20" fmla="*/ 1001478 w 1038054"/>
                <a:gd name="connsiteY20" fmla="*/ 0 h 764291"/>
                <a:gd name="connsiteX21" fmla="*/ 964902 w 1038054"/>
                <a:gd name="connsiteY21" fmla="*/ 27432 h 764291"/>
                <a:gd name="connsiteX22" fmla="*/ 928326 w 1038054"/>
                <a:gd name="connsiteY22" fmla="*/ 36576 h 764291"/>
                <a:gd name="connsiteX23" fmla="*/ 855174 w 1038054"/>
                <a:gd name="connsiteY23" fmla="*/ 64008 h 764291"/>
                <a:gd name="connsiteX24" fmla="*/ 800310 w 1038054"/>
                <a:gd name="connsiteY24" fmla="*/ 64008 h 764291"/>
                <a:gd name="connsiteX25" fmla="*/ 690582 w 1038054"/>
                <a:gd name="connsiteY25" fmla="*/ 64008 h 764291"/>
                <a:gd name="connsiteX26" fmla="*/ 635718 w 1038054"/>
                <a:gd name="connsiteY26" fmla="*/ 100584 h 764291"/>
                <a:gd name="connsiteX27" fmla="*/ 599142 w 1038054"/>
                <a:gd name="connsiteY27" fmla="*/ 146304 h 764291"/>
                <a:gd name="connsiteX28" fmla="*/ 553422 w 1038054"/>
                <a:gd name="connsiteY28" fmla="*/ 182880 h 764291"/>
                <a:gd name="connsiteX29" fmla="*/ 507702 w 1038054"/>
                <a:gd name="connsiteY29" fmla="*/ 256032 h 764291"/>
                <a:gd name="connsiteX30" fmla="*/ 434550 w 1038054"/>
                <a:gd name="connsiteY30" fmla="*/ 301752 h 764291"/>
                <a:gd name="connsiteX31" fmla="*/ 333966 w 1038054"/>
                <a:gd name="connsiteY31" fmla="*/ 347472 h 764291"/>
                <a:gd name="connsiteX32" fmla="*/ 297390 w 1038054"/>
                <a:gd name="connsiteY32" fmla="*/ 374904 h 764291"/>
                <a:gd name="connsiteX33" fmla="*/ 251670 w 1038054"/>
                <a:gd name="connsiteY33" fmla="*/ 402336 h 764291"/>
                <a:gd name="connsiteX34" fmla="*/ 233382 w 1038054"/>
                <a:gd name="connsiteY34" fmla="*/ 402336 h 764291"/>
                <a:gd name="connsiteX35" fmla="*/ 251670 w 1038054"/>
                <a:gd name="connsiteY35" fmla="*/ 365760 h 764291"/>
                <a:gd name="connsiteX36" fmla="*/ 306534 w 1038054"/>
                <a:gd name="connsiteY36" fmla="*/ 301752 h 764291"/>
                <a:gd name="connsiteX37" fmla="*/ 397974 w 1038054"/>
                <a:gd name="connsiteY37" fmla="*/ 219456 h 764291"/>
                <a:gd name="connsiteX38" fmla="*/ 443694 w 1038054"/>
                <a:gd name="connsiteY38" fmla="*/ 146304 h 764291"/>
                <a:gd name="connsiteX39" fmla="*/ 443694 w 1038054"/>
                <a:gd name="connsiteY39" fmla="*/ 64008 h 764291"/>
                <a:gd name="connsiteX40" fmla="*/ 434550 w 1038054"/>
                <a:gd name="connsiteY40" fmla="*/ 54864 h 764291"/>
                <a:gd name="connsiteX41" fmla="*/ 425406 w 1038054"/>
                <a:gd name="connsiteY41" fmla="*/ 128016 h 764291"/>
                <a:gd name="connsiteX42" fmla="*/ 397974 w 1038054"/>
                <a:gd name="connsiteY42" fmla="*/ 173736 h 764291"/>
                <a:gd name="connsiteX43" fmla="*/ 324822 w 1038054"/>
                <a:gd name="connsiteY43" fmla="*/ 237744 h 764291"/>
                <a:gd name="connsiteX44" fmla="*/ 297390 w 1038054"/>
                <a:gd name="connsiteY44" fmla="*/ 256032 h 764291"/>
                <a:gd name="connsiteX45" fmla="*/ 224238 w 1038054"/>
                <a:gd name="connsiteY45" fmla="*/ 347472 h 764291"/>
                <a:gd name="connsiteX46" fmla="*/ 215094 w 1038054"/>
                <a:gd name="connsiteY46" fmla="*/ 374904 h 764291"/>
                <a:gd name="connsiteX47" fmla="*/ 205950 w 1038054"/>
                <a:gd name="connsiteY47" fmla="*/ 411480 h 764291"/>
                <a:gd name="connsiteX48" fmla="*/ 261074 w 1038054"/>
                <a:gd name="connsiteY48" fmla="*/ 479563 h 764291"/>
                <a:gd name="connsiteX49" fmla="*/ 208859 w 1038054"/>
                <a:gd name="connsiteY49" fmla="*/ 536509 h 764291"/>
                <a:gd name="connsiteX50" fmla="*/ 208859 w 1038054"/>
                <a:gd name="connsiteY50" fmla="*/ 536508 h 764291"/>
                <a:gd name="connsiteX51" fmla="*/ 144020 w 1038054"/>
                <a:gd name="connsiteY51" fmla="*/ 739734 h 764291"/>
                <a:gd name="connsiteX52" fmla="*/ 144020 w 1038054"/>
                <a:gd name="connsiteY52" fmla="*/ 739734 h 764291"/>
                <a:gd name="connsiteX53" fmla="*/ 144019 w 1038054"/>
                <a:gd name="connsiteY53" fmla="*/ 739732 h 764291"/>
                <a:gd name="connsiteX54" fmla="*/ 0 w 1038054"/>
                <a:gd name="connsiteY54" fmla="*/ 764291 h 764291"/>
                <a:gd name="connsiteX55" fmla="*/ 104430 w 1038054"/>
                <a:gd name="connsiteY55" fmla="*/ 650399 h 764291"/>
                <a:gd name="connsiteX0" fmla="*/ 104430 w 1038054"/>
                <a:gd name="connsiteY0" fmla="*/ 650399 h 764291"/>
                <a:gd name="connsiteX1" fmla="*/ 149594 w 1038054"/>
                <a:gd name="connsiteY1" fmla="*/ 468067 h 764291"/>
                <a:gd name="connsiteX2" fmla="*/ 149594 w 1038054"/>
                <a:gd name="connsiteY2" fmla="*/ 468067 h 764291"/>
                <a:gd name="connsiteX3" fmla="*/ 149594 w 1038054"/>
                <a:gd name="connsiteY3" fmla="*/ 468067 h 764291"/>
                <a:gd name="connsiteX4" fmla="*/ 169269 w 1038054"/>
                <a:gd name="connsiteY4" fmla="*/ 447175 h 764291"/>
                <a:gd name="connsiteX5" fmla="*/ 333966 w 1038054"/>
                <a:gd name="connsiteY5" fmla="*/ 384048 h 764291"/>
                <a:gd name="connsiteX6" fmla="*/ 525990 w 1038054"/>
                <a:gd name="connsiteY6" fmla="*/ 301752 h 764291"/>
                <a:gd name="connsiteX7" fmla="*/ 608286 w 1038054"/>
                <a:gd name="connsiteY7" fmla="*/ 192024 h 764291"/>
                <a:gd name="connsiteX8" fmla="*/ 754590 w 1038054"/>
                <a:gd name="connsiteY8" fmla="*/ 155448 h 764291"/>
                <a:gd name="connsiteX9" fmla="*/ 800310 w 1038054"/>
                <a:gd name="connsiteY9" fmla="*/ 155448 h 764291"/>
                <a:gd name="connsiteX10" fmla="*/ 836886 w 1038054"/>
                <a:gd name="connsiteY10" fmla="*/ 137160 h 764291"/>
                <a:gd name="connsiteX11" fmla="*/ 791166 w 1038054"/>
                <a:gd name="connsiteY11" fmla="*/ 137160 h 764291"/>
                <a:gd name="connsiteX12" fmla="*/ 699726 w 1038054"/>
                <a:gd name="connsiteY12" fmla="*/ 137160 h 764291"/>
                <a:gd name="connsiteX13" fmla="*/ 644862 w 1038054"/>
                <a:gd name="connsiteY13" fmla="*/ 146304 h 764291"/>
                <a:gd name="connsiteX14" fmla="*/ 635718 w 1038054"/>
                <a:gd name="connsiteY14" fmla="*/ 155448 h 764291"/>
                <a:gd name="connsiteX15" fmla="*/ 617430 w 1038054"/>
                <a:gd name="connsiteY15" fmla="*/ 146304 h 764291"/>
                <a:gd name="connsiteX16" fmla="*/ 745446 w 1038054"/>
                <a:gd name="connsiteY16" fmla="*/ 91440 h 764291"/>
                <a:gd name="connsiteX17" fmla="*/ 800310 w 1038054"/>
                <a:gd name="connsiteY17" fmla="*/ 91440 h 764291"/>
                <a:gd name="connsiteX18" fmla="*/ 891750 w 1038054"/>
                <a:gd name="connsiteY18" fmla="*/ 82296 h 764291"/>
                <a:gd name="connsiteX19" fmla="*/ 1019766 w 1038054"/>
                <a:gd name="connsiteY19" fmla="*/ 27432 h 764291"/>
                <a:gd name="connsiteX20" fmla="*/ 1001478 w 1038054"/>
                <a:gd name="connsiteY20" fmla="*/ 0 h 764291"/>
                <a:gd name="connsiteX21" fmla="*/ 964902 w 1038054"/>
                <a:gd name="connsiteY21" fmla="*/ 27432 h 764291"/>
                <a:gd name="connsiteX22" fmla="*/ 928326 w 1038054"/>
                <a:gd name="connsiteY22" fmla="*/ 36576 h 764291"/>
                <a:gd name="connsiteX23" fmla="*/ 855174 w 1038054"/>
                <a:gd name="connsiteY23" fmla="*/ 64008 h 764291"/>
                <a:gd name="connsiteX24" fmla="*/ 800310 w 1038054"/>
                <a:gd name="connsiteY24" fmla="*/ 64008 h 764291"/>
                <a:gd name="connsiteX25" fmla="*/ 690582 w 1038054"/>
                <a:gd name="connsiteY25" fmla="*/ 64008 h 764291"/>
                <a:gd name="connsiteX26" fmla="*/ 635718 w 1038054"/>
                <a:gd name="connsiteY26" fmla="*/ 100584 h 764291"/>
                <a:gd name="connsiteX27" fmla="*/ 599142 w 1038054"/>
                <a:gd name="connsiteY27" fmla="*/ 146304 h 764291"/>
                <a:gd name="connsiteX28" fmla="*/ 553422 w 1038054"/>
                <a:gd name="connsiteY28" fmla="*/ 182880 h 764291"/>
                <a:gd name="connsiteX29" fmla="*/ 507702 w 1038054"/>
                <a:gd name="connsiteY29" fmla="*/ 256032 h 764291"/>
                <a:gd name="connsiteX30" fmla="*/ 434550 w 1038054"/>
                <a:gd name="connsiteY30" fmla="*/ 301752 h 764291"/>
                <a:gd name="connsiteX31" fmla="*/ 333966 w 1038054"/>
                <a:gd name="connsiteY31" fmla="*/ 347472 h 764291"/>
                <a:gd name="connsiteX32" fmla="*/ 297390 w 1038054"/>
                <a:gd name="connsiteY32" fmla="*/ 374904 h 764291"/>
                <a:gd name="connsiteX33" fmla="*/ 251670 w 1038054"/>
                <a:gd name="connsiteY33" fmla="*/ 402336 h 764291"/>
                <a:gd name="connsiteX34" fmla="*/ 233382 w 1038054"/>
                <a:gd name="connsiteY34" fmla="*/ 402336 h 764291"/>
                <a:gd name="connsiteX35" fmla="*/ 251670 w 1038054"/>
                <a:gd name="connsiteY35" fmla="*/ 365760 h 764291"/>
                <a:gd name="connsiteX36" fmla="*/ 306534 w 1038054"/>
                <a:gd name="connsiteY36" fmla="*/ 301752 h 764291"/>
                <a:gd name="connsiteX37" fmla="*/ 397974 w 1038054"/>
                <a:gd name="connsiteY37" fmla="*/ 219456 h 764291"/>
                <a:gd name="connsiteX38" fmla="*/ 443694 w 1038054"/>
                <a:gd name="connsiteY38" fmla="*/ 146304 h 764291"/>
                <a:gd name="connsiteX39" fmla="*/ 443694 w 1038054"/>
                <a:gd name="connsiteY39" fmla="*/ 64008 h 764291"/>
                <a:gd name="connsiteX40" fmla="*/ 434550 w 1038054"/>
                <a:gd name="connsiteY40" fmla="*/ 54864 h 764291"/>
                <a:gd name="connsiteX41" fmla="*/ 425406 w 1038054"/>
                <a:gd name="connsiteY41" fmla="*/ 128016 h 764291"/>
                <a:gd name="connsiteX42" fmla="*/ 397974 w 1038054"/>
                <a:gd name="connsiteY42" fmla="*/ 173736 h 764291"/>
                <a:gd name="connsiteX43" fmla="*/ 324822 w 1038054"/>
                <a:gd name="connsiteY43" fmla="*/ 237744 h 764291"/>
                <a:gd name="connsiteX44" fmla="*/ 297390 w 1038054"/>
                <a:gd name="connsiteY44" fmla="*/ 256032 h 764291"/>
                <a:gd name="connsiteX45" fmla="*/ 224238 w 1038054"/>
                <a:gd name="connsiteY45" fmla="*/ 347472 h 764291"/>
                <a:gd name="connsiteX46" fmla="*/ 215094 w 1038054"/>
                <a:gd name="connsiteY46" fmla="*/ 374904 h 764291"/>
                <a:gd name="connsiteX47" fmla="*/ 169269 w 1038054"/>
                <a:gd name="connsiteY47" fmla="*/ 447175 h 764291"/>
                <a:gd name="connsiteX48" fmla="*/ 261074 w 1038054"/>
                <a:gd name="connsiteY48" fmla="*/ 479563 h 764291"/>
                <a:gd name="connsiteX49" fmla="*/ 208859 w 1038054"/>
                <a:gd name="connsiteY49" fmla="*/ 536509 h 764291"/>
                <a:gd name="connsiteX50" fmla="*/ 208859 w 1038054"/>
                <a:gd name="connsiteY50" fmla="*/ 536508 h 764291"/>
                <a:gd name="connsiteX51" fmla="*/ 144020 w 1038054"/>
                <a:gd name="connsiteY51" fmla="*/ 739734 h 764291"/>
                <a:gd name="connsiteX52" fmla="*/ 144020 w 1038054"/>
                <a:gd name="connsiteY52" fmla="*/ 739734 h 764291"/>
                <a:gd name="connsiteX53" fmla="*/ 144019 w 1038054"/>
                <a:gd name="connsiteY53" fmla="*/ 739732 h 764291"/>
                <a:gd name="connsiteX54" fmla="*/ 0 w 1038054"/>
                <a:gd name="connsiteY54" fmla="*/ 764291 h 764291"/>
                <a:gd name="connsiteX55" fmla="*/ 104430 w 1038054"/>
                <a:gd name="connsiteY55" fmla="*/ 650399 h 764291"/>
                <a:gd name="connsiteX0" fmla="*/ 104430 w 1038054"/>
                <a:gd name="connsiteY0" fmla="*/ 650399 h 764291"/>
                <a:gd name="connsiteX1" fmla="*/ 149594 w 1038054"/>
                <a:gd name="connsiteY1" fmla="*/ 468067 h 764291"/>
                <a:gd name="connsiteX2" fmla="*/ 149594 w 1038054"/>
                <a:gd name="connsiteY2" fmla="*/ 468067 h 764291"/>
                <a:gd name="connsiteX3" fmla="*/ 149594 w 1038054"/>
                <a:gd name="connsiteY3" fmla="*/ 468067 h 764291"/>
                <a:gd name="connsiteX4" fmla="*/ 169269 w 1038054"/>
                <a:gd name="connsiteY4" fmla="*/ 447175 h 764291"/>
                <a:gd name="connsiteX5" fmla="*/ 333966 w 1038054"/>
                <a:gd name="connsiteY5" fmla="*/ 384048 h 764291"/>
                <a:gd name="connsiteX6" fmla="*/ 525990 w 1038054"/>
                <a:gd name="connsiteY6" fmla="*/ 301752 h 764291"/>
                <a:gd name="connsiteX7" fmla="*/ 608286 w 1038054"/>
                <a:gd name="connsiteY7" fmla="*/ 192024 h 764291"/>
                <a:gd name="connsiteX8" fmla="*/ 754590 w 1038054"/>
                <a:gd name="connsiteY8" fmla="*/ 155448 h 764291"/>
                <a:gd name="connsiteX9" fmla="*/ 800310 w 1038054"/>
                <a:gd name="connsiteY9" fmla="*/ 155448 h 764291"/>
                <a:gd name="connsiteX10" fmla="*/ 836886 w 1038054"/>
                <a:gd name="connsiteY10" fmla="*/ 137160 h 764291"/>
                <a:gd name="connsiteX11" fmla="*/ 791166 w 1038054"/>
                <a:gd name="connsiteY11" fmla="*/ 137160 h 764291"/>
                <a:gd name="connsiteX12" fmla="*/ 699726 w 1038054"/>
                <a:gd name="connsiteY12" fmla="*/ 137160 h 764291"/>
                <a:gd name="connsiteX13" fmla="*/ 644862 w 1038054"/>
                <a:gd name="connsiteY13" fmla="*/ 146304 h 764291"/>
                <a:gd name="connsiteX14" fmla="*/ 635718 w 1038054"/>
                <a:gd name="connsiteY14" fmla="*/ 155448 h 764291"/>
                <a:gd name="connsiteX15" fmla="*/ 617430 w 1038054"/>
                <a:gd name="connsiteY15" fmla="*/ 146304 h 764291"/>
                <a:gd name="connsiteX16" fmla="*/ 745446 w 1038054"/>
                <a:gd name="connsiteY16" fmla="*/ 91440 h 764291"/>
                <a:gd name="connsiteX17" fmla="*/ 800310 w 1038054"/>
                <a:gd name="connsiteY17" fmla="*/ 91440 h 764291"/>
                <a:gd name="connsiteX18" fmla="*/ 891750 w 1038054"/>
                <a:gd name="connsiteY18" fmla="*/ 82296 h 764291"/>
                <a:gd name="connsiteX19" fmla="*/ 1019766 w 1038054"/>
                <a:gd name="connsiteY19" fmla="*/ 27432 h 764291"/>
                <a:gd name="connsiteX20" fmla="*/ 1001478 w 1038054"/>
                <a:gd name="connsiteY20" fmla="*/ 0 h 764291"/>
                <a:gd name="connsiteX21" fmla="*/ 964902 w 1038054"/>
                <a:gd name="connsiteY21" fmla="*/ 27432 h 764291"/>
                <a:gd name="connsiteX22" fmla="*/ 928326 w 1038054"/>
                <a:gd name="connsiteY22" fmla="*/ 36576 h 764291"/>
                <a:gd name="connsiteX23" fmla="*/ 855174 w 1038054"/>
                <a:gd name="connsiteY23" fmla="*/ 64008 h 764291"/>
                <a:gd name="connsiteX24" fmla="*/ 800310 w 1038054"/>
                <a:gd name="connsiteY24" fmla="*/ 64008 h 764291"/>
                <a:gd name="connsiteX25" fmla="*/ 690582 w 1038054"/>
                <a:gd name="connsiteY25" fmla="*/ 64008 h 764291"/>
                <a:gd name="connsiteX26" fmla="*/ 635718 w 1038054"/>
                <a:gd name="connsiteY26" fmla="*/ 100584 h 764291"/>
                <a:gd name="connsiteX27" fmla="*/ 599142 w 1038054"/>
                <a:gd name="connsiteY27" fmla="*/ 146304 h 764291"/>
                <a:gd name="connsiteX28" fmla="*/ 553422 w 1038054"/>
                <a:gd name="connsiteY28" fmla="*/ 182880 h 764291"/>
                <a:gd name="connsiteX29" fmla="*/ 507702 w 1038054"/>
                <a:gd name="connsiteY29" fmla="*/ 256032 h 764291"/>
                <a:gd name="connsiteX30" fmla="*/ 434550 w 1038054"/>
                <a:gd name="connsiteY30" fmla="*/ 301752 h 764291"/>
                <a:gd name="connsiteX31" fmla="*/ 333966 w 1038054"/>
                <a:gd name="connsiteY31" fmla="*/ 347472 h 764291"/>
                <a:gd name="connsiteX32" fmla="*/ 297390 w 1038054"/>
                <a:gd name="connsiteY32" fmla="*/ 374904 h 764291"/>
                <a:gd name="connsiteX33" fmla="*/ 251670 w 1038054"/>
                <a:gd name="connsiteY33" fmla="*/ 402336 h 764291"/>
                <a:gd name="connsiteX34" fmla="*/ 233382 w 1038054"/>
                <a:gd name="connsiteY34" fmla="*/ 402336 h 764291"/>
                <a:gd name="connsiteX35" fmla="*/ 251670 w 1038054"/>
                <a:gd name="connsiteY35" fmla="*/ 365760 h 764291"/>
                <a:gd name="connsiteX36" fmla="*/ 306534 w 1038054"/>
                <a:gd name="connsiteY36" fmla="*/ 301752 h 764291"/>
                <a:gd name="connsiteX37" fmla="*/ 397974 w 1038054"/>
                <a:gd name="connsiteY37" fmla="*/ 219456 h 764291"/>
                <a:gd name="connsiteX38" fmla="*/ 443694 w 1038054"/>
                <a:gd name="connsiteY38" fmla="*/ 146304 h 764291"/>
                <a:gd name="connsiteX39" fmla="*/ 443694 w 1038054"/>
                <a:gd name="connsiteY39" fmla="*/ 64008 h 764291"/>
                <a:gd name="connsiteX40" fmla="*/ 434550 w 1038054"/>
                <a:gd name="connsiteY40" fmla="*/ 54864 h 764291"/>
                <a:gd name="connsiteX41" fmla="*/ 425406 w 1038054"/>
                <a:gd name="connsiteY41" fmla="*/ 128016 h 764291"/>
                <a:gd name="connsiteX42" fmla="*/ 397974 w 1038054"/>
                <a:gd name="connsiteY42" fmla="*/ 173736 h 764291"/>
                <a:gd name="connsiteX43" fmla="*/ 324822 w 1038054"/>
                <a:gd name="connsiteY43" fmla="*/ 237744 h 764291"/>
                <a:gd name="connsiteX44" fmla="*/ 297390 w 1038054"/>
                <a:gd name="connsiteY44" fmla="*/ 256032 h 764291"/>
                <a:gd name="connsiteX45" fmla="*/ 224238 w 1038054"/>
                <a:gd name="connsiteY45" fmla="*/ 347472 h 764291"/>
                <a:gd name="connsiteX46" fmla="*/ 215094 w 1038054"/>
                <a:gd name="connsiteY46" fmla="*/ 374904 h 764291"/>
                <a:gd name="connsiteX47" fmla="*/ 261074 w 1038054"/>
                <a:gd name="connsiteY47" fmla="*/ 479563 h 764291"/>
                <a:gd name="connsiteX48" fmla="*/ 261074 w 1038054"/>
                <a:gd name="connsiteY48" fmla="*/ 479563 h 764291"/>
                <a:gd name="connsiteX49" fmla="*/ 208859 w 1038054"/>
                <a:gd name="connsiteY49" fmla="*/ 536509 h 764291"/>
                <a:gd name="connsiteX50" fmla="*/ 208859 w 1038054"/>
                <a:gd name="connsiteY50" fmla="*/ 536508 h 764291"/>
                <a:gd name="connsiteX51" fmla="*/ 144020 w 1038054"/>
                <a:gd name="connsiteY51" fmla="*/ 739734 h 764291"/>
                <a:gd name="connsiteX52" fmla="*/ 144020 w 1038054"/>
                <a:gd name="connsiteY52" fmla="*/ 739734 h 764291"/>
                <a:gd name="connsiteX53" fmla="*/ 144019 w 1038054"/>
                <a:gd name="connsiteY53" fmla="*/ 739732 h 764291"/>
                <a:gd name="connsiteX54" fmla="*/ 0 w 1038054"/>
                <a:gd name="connsiteY54" fmla="*/ 764291 h 764291"/>
                <a:gd name="connsiteX55" fmla="*/ 104430 w 1038054"/>
                <a:gd name="connsiteY55" fmla="*/ 650399 h 764291"/>
                <a:gd name="connsiteX0" fmla="*/ 104430 w 1038054"/>
                <a:gd name="connsiteY0" fmla="*/ 650399 h 764291"/>
                <a:gd name="connsiteX1" fmla="*/ 149594 w 1038054"/>
                <a:gd name="connsiteY1" fmla="*/ 468067 h 764291"/>
                <a:gd name="connsiteX2" fmla="*/ 149594 w 1038054"/>
                <a:gd name="connsiteY2" fmla="*/ 468067 h 764291"/>
                <a:gd name="connsiteX3" fmla="*/ 149594 w 1038054"/>
                <a:gd name="connsiteY3" fmla="*/ 468067 h 764291"/>
                <a:gd name="connsiteX4" fmla="*/ 261074 w 1038054"/>
                <a:gd name="connsiteY4" fmla="*/ 479563 h 764291"/>
                <a:gd name="connsiteX5" fmla="*/ 333966 w 1038054"/>
                <a:gd name="connsiteY5" fmla="*/ 384048 h 764291"/>
                <a:gd name="connsiteX6" fmla="*/ 525990 w 1038054"/>
                <a:gd name="connsiteY6" fmla="*/ 301752 h 764291"/>
                <a:gd name="connsiteX7" fmla="*/ 608286 w 1038054"/>
                <a:gd name="connsiteY7" fmla="*/ 192024 h 764291"/>
                <a:gd name="connsiteX8" fmla="*/ 754590 w 1038054"/>
                <a:gd name="connsiteY8" fmla="*/ 155448 h 764291"/>
                <a:gd name="connsiteX9" fmla="*/ 800310 w 1038054"/>
                <a:gd name="connsiteY9" fmla="*/ 155448 h 764291"/>
                <a:gd name="connsiteX10" fmla="*/ 836886 w 1038054"/>
                <a:gd name="connsiteY10" fmla="*/ 137160 h 764291"/>
                <a:gd name="connsiteX11" fmla="*/ 791166 w 1038054"/>
                <a:gd name="connsiteY11" fmla="*/ 137160 h 764291"/>
                <a:gd name="connsiteX12" fmla="*/ 699726 w 1038054"/>
                <a:gd name="connsiteY12" fmla="*/ 137160 h 764291"/>
                <a:gd name="connsiteX13" fmla="*/ 644862 w 1038054"/>
                <a:gd name="connsiteY13" fmla="*/ 146304 h 764291"/>
                <a:gd name="connsiteX14" fmla="*/ 635718 w 1038054"/>
                <a:gd name="connsiteY14" fmla="*/ 155448 h 764291"/>
                <a:gd name="connsiteX15" fmla="*/ 617430 w 1038054"/>
                <a:gd name="connsiteY15" fmla="*/ 146304 h 764291"/>
                <a:gd name="connsiteX16" fmla="*/ 745446 w 1038054"/>
                <a:gd name="connsiteY16" fmla="*/ 91440 h 764291"/>
                <a:gd name="connsiteX17" fmla="*/ 800310 w 1038054"/>
                <a:gd name="connsiteY17" fmla="*/ 91440 h 764291"/>
                <a:gd name="connsiteX18" fmla="*/ 891750 w 1038054"/>
                <a:gd name="connsiteY18" fmla="*/ 82296 h 764291"/>
                <a:gd name="connsiteX19" fmla="*/ 1019766 w 1038054"/>
                <a:gd name="connsiteY19" fmla="*/ 27432 h 764291"/>
                <a:gd name="connsiteX20" fmla="*/ 1001478 w 1038054"/>
                <a:gd name="connsiteY20" fmla="*/ 0 h 764291"/>
                <a:gd name="connsiteX21" fmla="*/ 964902 w 1038054"/>
                <a:gd name="connsiteY21" fmla="*/ 27432 h 764291"/>
                <a:gd name="connsiteX22" fmla="*/ 928326 w 1038054"/>
                <a:gd name="connsiteY22" fmla="*/ 36576 h 764291"/>
                <a:gd name="connsiteX23" fmla="*/ 855174 w 1038054"/>
                <a:gd name="connsiteY23" fmla="*/ 64008 h 764291"/>
                <a:gd name="connsiteX24" fmla="*/ 800310 w 1038054"/>
                <a:gd name="connsiteY24" fmla="*/ 64008 h 764291"/>
                <a:gd name="connsiteX25" fmla="*/ 690582 w 1038054"/>
                <a:gd name="connsiteY25" fmla="*/ 64008 h 764291"/>
                <a:gd name="connsiteX26" fmla="*/ 635718 w 1038054"/>
                <a:gd name="connsiteY26" fmla="*/ 100584 h 764291"/>
                <a:gd name="connsiteX27" fmla="*/ 599142 w 1038054"/>
                <a:gd name="connsiteY27" fmla="*/ 146304 h 764291"/>
                <a:gd name="connsiteX28" fmla="*/ 553422 w 1038054"/>
                <a:gd name="connsiteY28" fmla="*/ 182880 h 764291"/>
                <a:gd name="connsiteX29" fmla="*/ 507702 w 1038054"/>
                <a:gd name="connsiteY29" fmla="*/ 256032 h 764291"/>
                <a:gd name="connsiteX30" fmla="*/ 434550 w 1038054"/>
                <a:gd name="connsiteY30" fmla="*/ 301752 h 764291"/>
                <a:gd name="connsiteX31" fmla="*/ 333966 w 1038054"/>
                <a:gd name="connsiteY31" fmla="*/ 347472 h 764291"/>
                <a:gd name="connsiteX32" fmla="*/ 297390 w 1038054"/>
                <a:gd name="connsiteY32" fmla="*/ 374904 h 764291"/>
                <a:gd name="connsiteX33" fmla="*/ 251670 w 1038054"/>
                <a:gd name="connsiteY33" fmla="*/ 402336 h 764291"/>
                <a:gd name="connsiteX34" fmla="*/ 233382 w 1038054"/>
                <a:gd name="connsiteY34" fmla="*/ 402336 h 764291"/>
                <a:gd name="connsiteX35" fmla="*/ 251670 w 1038054"/>
                <a:gd name="connsiteY35" fmla="*/ 365760 h 764291"/>
                <a:gd name="connsiteX36" fmla="*/ 306534 w 1038054"/>
                <a:gd name="connsiteY36" fmla="*/ 301752 h 764291"/>
                <a:gd name="connsiteX37" fmla="*/ 397974 w 1038054"/>
                <a:gd name="connsiteY37" fmla="*/ 219456 h 764291"/>
                <a:gd name="connsiteX38" fmla="*/ 443694 w 1038054"/>
                <a:gd name="connsiteY38" fmla="*/ 146304 h 764291"/>
                <a:gd name="connsiteX39" fmla="*/ 443694 w 1038054"/>
                <a:gd name="connsiteY39" fmla="*/ 64008 h 764291"/>
                <a:gd name="connsiteX40" fmla="*/ 434550 w 1038054"/>
                <a:gd name="connsiteY40" fmla="*/ 54864 h 764291"/>
                <a:gd name="connsiteX41" fmla="*/ 425406 w 1038054"/>
                <a:gd name="connsiteY41" fmla="*/ 128016 h 764291"/>
                <a:gd name="connsiteX42" fmla="*/ 397974 w 1038054"/>
                <a:gd name="connsiteY42" fmla="*/ 173736 h 764291"/>
                <a:gd name="connsiteX43" fmla="*/ 324822 w 1038054"/>
                <a:gd name="connsiteY43" fmla="*/ 237744 h 764291"/>
                <a:gd name="connsiteX44" fmla="*/ 297390 w 1038054"/>
                <a:gd name="connsiteY44" fmla="*/ 256032 h 764291"/>
                <a:gd name="connsiteX45" fmla="*/ 224238 w 1038054"/>
                <a:gd name="connsiteY45" fmla="*/ 347472 h 764291"/>
                <a:gd name="connsiteX46" fmla="*/ 215094 w 1038054"/>
                <a:gd name="connsiteY46" fmla="*/ 374904 h 764291"/>
                <a:gd name="connsiteX47" fmla="*/ 261074 w 1038054"/>
                <a:gd name="connsiteY47" fmla="*/ 479563 h 764291"/>
                <a:gd name="connsiteX48" fmla="*/ 261074 w 1038054"/>
                <a:gd name="connsiteY48" fmla="*/ 479563 h 764291"/>
                <a:gd name="connsiteX49" fmla="*/ 208859 w 1038054"/>
                <a:gd name="connsiteY49" fmla="*/ 536509 h 764291"/>
                <a:gd name="connsiteX50" fmla="*/ 208859 w 1038054"/>
                <a:gd name="connsiteY50" fmla="*/ 536508 h 764291"/>
                <a:gd name="connsiteX51" fmla="*/ 144020 w 1038054"/>
                <a:gd name="connsiteY51" fmla="*/ 739734 h 764291"/>
                <a:gd name="connsiteX52" fmla="*/ 144020 w 1038054"/>
                <a:gd name="connsiteY52" fmla="*/ 739734 h 764291"/>
                <a:gd name="connsiteX53" fmla="*/ 144019 w 1038054"/>
                <a:gd name="connsiteY53" fmla="*/ 739732 h 764291"/>
                <a:gd name="connsiteX54" fmla="*/ 0 w 1038054"/>
                <a:gd name="connsiteY54" fmla="*/ 764291 h 764291"/>
                <a:gd name="connsiteX55" fmla="*/ 104430 w 1038054"/>
                <a:gd name="connsiteY55" fmla="*/ 650399 h 764291"/>
                <a:gd name="connsiteX0" fmla="*/ 104430 w 1038054"/>
                <a:gd name="connsiteY0" fmla="*/ 650399 h 764291"/>
                <a:gd name="connsiteX1" fmla="*/ 149594 w 1038054"/>
                <a:gd name="connsiteY1" fmla="*/ 468067 h 764291"/>
                <a:gd name="connsiteX2" fmla="*/ 149594 w 1038054"/>
                <a:gd name="connsiteY2" fmla="*/ 468067 h 764291"/>
                <a:gd name="connsiteX3" fmla="*/ 149594 w 1038054"/>
                <a:gd name="connsiteY3" fmla="*/ 468067 h 764291"/>
                <a:gd name="connsiteX4" fmla="*/ 261074 w 1038054"/>
                <a:gd name="connsiteY4" fmla="*/ 479563 h 764291"/>
                <a:gd name="connsiteX5" fmla="*/ 333966 w 1038054"/>
                <a:gd name="connsiteY5" fmla="*/ 384048 h 764291"/>
                <a:gd name="connsiteX6" fmla="*/ 525990 w 1038054"/>
                <a:gd name="connsiteY6" fmla="*/ 301752 h 764291"/>
                <a:gd name="connsiteX7" fmla="*/ 608286 w 1038054"/>
                <a:gd name="connsiteY7" fmla="*/ 192024 h 764291"/>
                <a:gd name="connsiteX8" fmla="*/ 754590 w 1038054"/>
                <a:gd name="connsiteY8" fmla="*/ 155448 h 764291"/>
                <a:gd name="connsiteX9" fmla="*/ 800310 w 1038054"/>
                <a:gd name="connsiteY9" fmla="*/ 155448 h 764291"/>
                <a:gd name="connsiteX10" fmla="*/ 836886 w 1038054"/>
                <a:gd name="connsiteY10" fmla="*/ 137160 h 764291"/>
                <a:gd name="connsiteX11" fmla="*/ 791166 w 1038054"/>
                <a:gd name="connsiteY11" fmla="*/ 137160 h 764291"/>
                <a:gd name="connsiteX12" fmla="*/ 699726 w 1038054"/>
                <a:gd name="connsiteY12" fmla="*/ 137160 h 764291"/>
                <a:gd name="connsiteX13" fmla="*/ 644862 w 1038054"/>
                <a:gd name="connsiteY13" fmla="*/ 146304 h 764291"/>
                <a:gd name="connsiteX14" fmla="*/ 635718 w 1038054"/>
                <a:gd name="connsiteY14" fmla="*/ 155448 h 764291"/>
                <a:gd name="connsiteX15" fmla="*/ 617430 w 1038054"/>
                <a:gd name="connsiteY15" fmla="*/ 146304 h 764291"/>
                <a:gd name="connsiteX16" fmla="*/ 745446 w 1038054"/>
                <a:gd name="connsiteY16" fmla="*/ 91440 h 764291"/>
                <a:gd name="connsiteX17" fmla="*/ 800310 w 1038054"/>
                <a:gd name="connsiteY17" fmla="*/ 91440 h 764291"/>
                <a:gd name="connsiteX18" fmla="*/ 891750 w 1038054"/>
                <a:gd name="connsiteY18" fmla="*/ 82296 h 764291"/>
                <a:gd name="connsiteX19" fmla="*/ 1019766 w 1038054"/>
                <a:gd name="connsiteY19" fmla="*/ 27432 h 764291"/>
                <a:gd name="connsiteX20" fmla="*/ 1001478 w 1038054"/>
                <a:gd name="connsiteY20" fmla="*/ 0 h 764291"/>
                <a:gd name="connsiteX21" fmla="*/ 964902 w 1038054"/>
                <a:gd name="connsiteY21" fmla="*/ 27432 h 764291"/>
                <a:gd name="connsiteX22" fmla="*/ 928326 w 1038054"/>
                <a:gd name="connsiteY22" fmla="*/ 36576 h 764291"/>
                <a:gd name="connsiteX23" fmla="*/ 855174 w 1038054"/>
                <a:gd name="connsiteY23" fmla="*/ 64008 h 764291"/>
                <a:gd name="connsiteX24" fmla="*/ 800310 w 1038054"/>
                <a:gd name="connsiteY24" fmla="*/ 64008 h 764291"/>
                <a:gd name="connsiteX25" fmla="*/ 690582 w 1038054"/>
                <a:gd name="connsiteY25" fmla="*/ 64008 h 764291"/>
                <a:gd name="connsiteX26" fmla="*/ 635718 w 1038054"/>
                <a:gd name="connsiteY26" fmla="*/ 100584 h 764291"/>
                <a:gd name="connsiteX27" fmla="*/ 599142 w 1038054"/>
                <a:gd name="connsiteY27" fmla="*/ 146304 h 764291"/>
                <a:gd name="connsiteX28" fmla="*/ 553422 w 1038054"/>
                <a:gd name="connsiteY28" fmla="*/ 182880 h 764291"/>
                <a:gd name="connsiteX29" fmla="*/ 507702 w 1038054"/>
                <a:gd name="connsiteY29" fmla="*/ 256032 h 764291"/>
                <a:gd name="connsiteX30" fmla="*/ 434550 w 1038054"/>
                <a:gd name="connsiteY30" fmla="*/ 301752 h 764291"/>
                <a:gd name="connsiteX31" fmla="*/ 333966 w 1038054"/>
                <a:gd name="connsiteY31" fmla="*/ 347472 h 764291"/>
                <a:gd name="connsiteX32" fmla="*/ 297390 w 1038054"/>
                <a:gd name="connsiteY32" fmla="*/ 374904 h 764291"/>
                <a:gd name="connsiteX33" fmla="*/ 251670 w 1038054"/>
                <a:gd name="connsiteY33" fmla="*/ 402336 h 764291"/>
                <a:gd name="connsiteX34" fmla="*/ 233382 w 1038054"/>
                <a:gd name="connsiteY34" fmla="*/ 402336 h 764291"/>
                <a:gd name="connsiteX35" fmla="*/ 251670 w 1038054"/>
                <a:gd name="connsiteY35" fmla="*/ 365760 h 764291"/>
                <a:gd name="connsiteX36" fmla="*/ 306534 w 1038054"/>
                <a:gd name="connsiteY36" fmla="*/ 301752 h 764291"/>
                <a:gd name="connsiteX37" fmla="*/ 397974 w 1038054"/>
                <a:gd name="connsiteY37" fmla="*/ 219456 h 764291"/>
                <a:gd name="connsiteX38" fmla="*/ 443694 w 1038054"/>
                <a:gd name="connsiteY38" fmla="*/ 146304 h 764291"/>
                <a:gd name="connsiteX39" fmla="*/ 443694 w 1038054"/>
                <a:gd name="connsiteY39" fmla="*/ 64008 h 764291"/>
                <a:gd name="connsiteX40" fmla="*/ 434550 w 1038054"/>
                <a:gd name="connsiteY40" fmla="*/ 54864 h 764291"/>
                <a:gd name="connsiteX41" fmla="*/ 425406 w 1038054"/>
                <a:gd name="connsiteY41" fmla="*/ 128016 h 764291"/>
                <a:gd name="connsiteX42" fmla="*/ 397974 w 1038054"/>
                <a:gd name="connsiteY42" fmla="*/ 173736 h 764291"/>
                <a:gd name="connsiteX43" fmla="*/ 324822 w 1038054"/>
                <a:gd name="connsiteY43" fmla="*/ 237744 h 764291"/>
                <a:gd name="connsiteX44" fmla="*/ 297390 w 1038054"/>
                <a:gd name="connsiteY44" fmla="*/ 256032 h 764291"/>
                <a:gd name="connsiteX45" fmla="*/ 224238 w 1038054"/>
                <a:gd name="connsiteY45" fmla="*/ 347472 h 764291"/>
                <a:gd name="connsiteX46" fmla="*/ 215094 w 1038054"/>
                <a:gd name="connsiteY46" fmla="*/ 374904 h 764291"/>
                <a:gd name="connsiteX47" fmla="*/ 261074 w 1038054"/>
                <a:gd name="connsiteY47" fmla="*/ 479563 h 764291"/>
                <a:gd name="connsiteX48" fmla="*/ 208859 w 1038054"/>
                <a:gd name="connsiteY48" fmla="*/ 536509 h 764291"/>
                <a:gd name="connsiteX49" fmla="*/ 208859 w 1038054"/>
                <a:gd name="connsiteY49" fmla="*/ 536509 h 764291"/>
                <a:gd name="connsiteX50" fmla="*/ 208859 w 1038054"/>
                <a:gd name="connsiteY50" fmla="*/ 536508 h 764291"/>
                <a:gd name="connsiteX51" fmla="*/ 144020 w 1038054"/>
                <a:gd name="connsiteY51" fmla="*/ 739734 h 764291"/>
                <a:gd name="connsiteX52" fmla="*/ 144020 w 1038054"/>
                <a:gd name="connsiteY52" fmla="*/ 739734 h 764291"/>
                <a:gd name="connsiteX53" fmla="*/ 144019 w 1038054"/>
                <a:gd name="connsiteY53" fmla="*/ 739732 h 764291"/>
                <a:gd name="connsiteX54" fmla="*/ 0 w 1038054"/>
                <a:gd name="connsiteY54" fmla="*/ 764291 h 764291"/>
                <a:gd name="connsiteX55" fmla="*/ 104430 w 1038054"/>
                <a:gd name="connsiteY55" fmla="*/ 650399 h 764291"/>
                <a:gd name="connsiteX0" fmla="*/ 126435 w 1060059"/>
                <a:gd name="connsiteY0" fmla="*/ 650399 h 764291"/>
                <a:gd name="connsiteX1" fmla="*/ 171599 w 1060059"/>
                <a:gd name="connsiteY1" fmla="*/ 468067 h 764291"/>
                <a:gd name="connsiteX2" fmla="*/ 171599 w 1060059"/>
                <a:gd name="connsiteY2" fmla="*/ 468067 h 764291"/>
                <a:gd name="connsiteX3" fmla="*/ 171599 w 1060059"/>
                <a:gd name="connsiteY3" fmla="*/ 468067 h 764291"/>
                <a:gd name="connsiteX4" fmla="*/ 283079 w 1060059"/>
                <a:gd name="connsiteY4" fmla="*/ 479563 h 764291"/>
                <a:gd name="connsiteX5" fmla="*/ 355971 w 1060059"/>
                <a:gd name="connsiteY5" fmla="*/ 384048 h 764291"/>
                <a:gd name="connsiteX6" fmla="*/ 547995 w 1060059"/>
                <a:gd name="connsiteY6" fmla="*/ 301752 h 764291"/>
                <a:gd name="connsiteX7" fmla="*/ 630291 w 1060059"/>
                <a:gd name="connsiteY7" fmla="*/ 192024 h 764291"/>
                <a:gd name="connsiteX8" fmla="*/ 776595 w 1060059"/>
                <a:gd name="connsiteY8" fmla="*/ 155448 h 764291"/>
                <a:gd name="connsiteX9" fmla="*/ 822315 w 1060059"/>
                <a:gd name="connsiteY9" fmla="*/ 155448 h 764291"/>
                <a:gd name="connsiteX10" fmla="*/ 858891 w 1060059"/>
                <a:gd name="connsiteY10" fmla="*/ 137160 h 764291"/>
                <a:gd name="connsiteX11" fmla="*/ 813171 w 1060059"/>
                <a:gd name="connsiteY11" fmla="*/ 137160 h 764291"/>
                <a:gd name="connsiteX12" fmla="*/ 721731 w 1060059"/>
                <a:gd name="connsiteY12" fmla="*/ 137160 h 764291"/>
                <a:gd name="connsiteX13" fmla="*/ 666867 w 1060059"/>
                <a:gd name="connsiteY13" fmla="*/ 146304 h 764291"/>
                <a:gd name="connsiteX14" fmla="*/ 657723 w 1060059"/>
                <a:gd name="connsiteY14" fmla="*/ 155448 h 764291"/>
                <a:gd name="connsiteX15" fmla="*/ 639435 w 1060059"/>
                <a:gd name="connsiteY15" fmla="*/ 146304 h 764291"/>
                <a:gd name="connsiteX16" fmla="*/ 767451 w 1060059"/>
                <a:gd name="connsiteY16" fmla="*/ 91440 h 764291"/>
                <a:gd name="connsiteX17" fmla="*/ 822315 w 1060059"/>
                <a:gd name="connsiteY17" fmla="*/ 91440 h 764291"/>
                <a:gd name="connsiteX18" fmla="*/ 913755 w 1060059"/>
                <a:gd name="connsiteY18" fmla="*/ 82296 h 764291"/>
                <a:gd name="connsiteX19" fmla="*/ 1041771 w 1060059"/>
                <a:gd name="connsiteY19" fmla="*/ 27432 h 764291"/>
                <a:gd name="connsiteX20" fmla="*/ 1023483 w 1060059"/>
                <a:gd name="connsiteY20" fmla="*/ 0 h 764291"/>
                <a:gd name="connsiteX21" fmla="*/ 986907 w 1060059"/>
                <a:gd name="connsiteY21" fmla="*/ 27432 h 764291"/>
                <a:gd name="connsiteX22" fmla="*/ 950331 w 1060059"/>
                <a:gd name="connsiteY22" fmla="*/ 36576 h 764291"/>
                <a:gd name="connsiteX23" fmla="*/ 877179 w 1060059"/>
                <a:gd name="connsiteY23" fmla="*/ 64008 h 764291"/>
                <a:gd name="connsiteX24" fmla="*/ 822315 w 1060059"/>
                <a:gd name="connsiteY24" fmla="*/ 64008 h 764291"/>
                <a:gd name="connsiteX25" fmla="*/ 712587 w 1060059"/>
                <a:gd name="connsiteY25" fmla="*/ 64008 h 764291"/>
                <a:gd name="connsiteX26" fmla="*/ 657723 w 1060059"/>
                <a:gd name="connsiteY26" fmla="*/ 100584 h 764291"/>
                <a:gd name="connsiteX27" fmla="*/ 621147 w 1060059"/>
                <a:gd name="connsiteY27" fmla="*/ 146304 h 764291"/>
                <a:gd name="connsiteX28" fmla="*/ 575427 w 1060059"/>
                <a:gd name="connsiteY28" fmla="*/ 182880 h 764291"/>
                <a:gd name="connsiteX29" fmla="*/ 529707 w 1060059"/>
                <a:gd name="connsiteY29" fmla="*/ 256032 h 764291"/>
                <a:gd name="connsiteX30" fmla="*/ 456555 w 1060059"/>
                <a:gd name="connsiteY30" fmla="*/ 301752 h 764291"/>
                <a:gd name="connsiteX31" fmla="*/ 355971 w 1060059"/>
                <a:gd name="connsiteY31" fmla="*/ 347472 h 764291"/>
                <a:gd name="connsiteX32" fmla="*/ 319395 w 1060059"/>
                <a:gd name="connsiteY32" fmla="*/ 374904 h 764291"/>
                <a:gd name="connsiteX33" fmla="*/ 273675 w 1060059"/>
                <a:gd name="connsiteY33" fmla="*/ 402336 h 764291"/>
                <a:gd name="connsiteX34" fmla="*/ 255387 w 1060059"/>
                <a:gd name="connsiteY34" fmla="*/ 402336 h 764291"/>
                <a:gd name="connsiteX35" fmla="*/ 273675 w 1060059"/>
                <a:gd name="connsiteY35" fmla="*/ 365760 h 764291"/>
                <a:gd name="connsiteX36" fmla="*/ 328539 w 1060059"/>
                <a:gd name="connsiteY36" fmla="*/ 301752 h 764291"/>
                <a:gd name="connsiteX37" fmla="*/ 419979 w 1060059"/>
                <a:gd name="connsiteY37" fmla="*/ 219456 h 764291"/>
                <a:gd name="connsiteX38" fmla="*/ 465699 w 1060059"/>
                <a:gd name="connsiteY38" fmla="*/ 146304 h 764291"/>
                <a:gd name="connsiteX39" fmla="*/ 465699 w 1060059"/>
                <a:gd name="connsiteY39" fmla="*/ 64008 h 764291"/>
                <a:gd name="connsiteX40" fmla="*/ 456555 w 1060059"/>
                <a:gd name="connsiteY40" fmla="*/ 54864 h 764291"/>
                <a:gd name="connsiteX41" fmla="*/ 447411 w 1060059"/>
                <a:gd name="connsiteY41" fmla="*/ 128016 h 764291"/>
                <a:gd name="connsiteX42" fmla="*/ 419979 w 1060059"/>
                <a:gd name="connsiteY42" fmla="*/ 173736 h 764291"/>
                <a:gd name="connsiteX43" fmla="*/ 346827 w 1060059"/>
                <a:gd name="connsiteY43" fmla="*/ 237744 h 764291"/>
                <a:gd name="connsiteX44" fmla="*/ 319395 w 1060059"/>
                <a:gd name="connsiteY44" fmla="*/ 256032 h 764291"/>
                <a:gd name="connsiteX45" fmla="*/ 246243 w 1060059"/>
                <a:gd name="connsiteY45" fmla="*/ 347472 h 764291"/>
                <a:gd name="connsiteX46" fmla="*/ 237099 w 1060059"/>
                <a:gd name="connsiteY46" fmla="*/ 374904 h 764291"/>
                <a:gd name="connsiteX47" fmla="*/ 7664 w 1060059"/>
                <a:gd name="connsiteY47" fmla="*/ 382398 h 764291"/>
                <a:gd name="connsiteX48" fmla="*/ 230864 w 1060059"/>
                <a:gd name="connsiteY48" fmla="*/ 536509 h 764291"/>
                <a:gd name="connsiteX49" fmla="*/ 230864 w 1060059"/>
                <a:gd name="connsiteY49" fmla="*/ 536509 h 764291"/>
                <a:gd name="connsiteX50" fmla="*/ 230864 w 1060059"/>
                <a:gd name="connsiteY50" fmla="*/ 536508 h 764291"/>
                <a:gd name="connsiteX51" fmla="*/ 166025 w 1060059"/>
                <a:gd name="connsiteY51" fmla="*/ 739734 h 764291"/>
                <a:gd name="connsiteX52" fmla="*/ 166025 w 1060059"/>
                <a:gd name="connsiteY52" fmla="*/ 739734 h 764291"/>
                <a:gd name="connsiteX53" fmla="*/ 166024 w 1060059"/>
                <a:gd name="connsiteY53" fmla="*/ 739732 h 764291"/>
                <a:gd name="connsiteX54" fmla="*/ 22005 w 1060059"/>
                <a:gd name="connsiteY54" fmla="*/ 764291 h 764291"/>
                <a:gd name="connsiteX55" fmla="*/ 126435 w 1060059"/>
                <a:gd name="connsiteY55" fmla="*/ 650399 h 764291"/>
                <a:gd name="connsiteX0" fmla="*/ 126434 w 1060058"/>
                <a:gd name="connsiteY0" fmla="*/ 650399 h 764291"/>
                <a:gd name="connsiteX1" fmla="*/ 171598 w 1060058"/>
                <a:gd name="connsiteY1" fmla="*/ 468067 h 764291"/>
                <a:gd name="connsiteX2" fmla="*/ 171598 w 1060058"/>
                <a:gd name="connsiteY2" fmla="*/ 468067 h 764291"/>
                <a:gd name="connsiteX3" fmla="*/ 171598 w 1060058"/>
                <a:gd name="connsiteY3" fmla="*/ 468067 h 764291"/>
                <a:gd name="connsiteX4" fmla="*/ 283078 w 1060058"/>
                <a:gd name="connsiteY4" fmla="*/ 479563 h 764291"/>
                <a:gd name="connsiteX5" fmla="*/ 355970 w 1060058"/>
                <a:gd name="connsiteY5" fmla="*/ 384048 h 764291"/>
                <a:gd name="connsiteX6" fmla="*/ 547994 w 1060058"/>
                <a:gd name="connsiteY6" fmla="*/ 301752 h 764291"/>
                <a:gd name="connsiteX7" fmla="*/ 630290 w 1060058"/>
                <a:gd name="connsiteY7" fmla="*/ 192024 h 764291"/>
                <a:gd name="connsiteX8" fmla="*/ 776594 w 1060058"/>
                <a:gd name="connsiteY8" fmla="*/ 155448 h 764291"/>
                <a:gd name="connsiteX9" fmla="*/ 822314 w 1060058"/>
                <a:gd name="connsiteY9" fmla="*/ 155448 h 764291"/>
                <a:gd name="connsiteX10" fmla="*/ 858890 w 1060058"/>
                <a:gd name="connsiteY10" fmla="*/ 137160 h 764291"/>
                <a:gd name="connsiteX11" fmla="*/ 813170 w 1060058"/>
                <a:gd name="connsiteY11" fmla="*/ 137160 h 764291"/>
                <a:gd name="connsiteX12" fmla="*/ 721730 w 1060058"/>
                <a:gd name="connsiteY12" fmla="*/ 137160 h 764291"/>
                <a:gd name="connsiteX13" fmla="*/ 666866 w 1060058"/>
                <a:gd name="connsiteY13" fmla="*/ 146304 h 764291"/>
                <a:gd name="connsiteX14" fmla="*/ 657722 w 1060058"/>
                <a:gd name="connsiteY14" fmla="*/ 155448 h 764291"/>
                <a:gd name="connsiteX15" fmla="*/ 639434 w 1060058"/>
                <a:gd name="connsiteY15" fmla="*/ 146304 h 764291"/>
                <a:gd name="connsiteX16" fmla="*/ 767450 w 1060058"/>
                <a:gd name="connsiteY16" fmla="*/ 91440 h 764291"/>
                <a:gd name="connsiteX17" fmla="*/ 822314 w 1060058"/>
                <a:gd name="connsiteY17" fmla="*/ 91440 h 764291"/>
                <a:gd name="connsiteX18" fmla="*/ 913754 w 1060058"/>
                <a:gd name="connsiteY18" fmla="*/ 82296 h 764291"/>
                <a:gd name="connsiteX19" fmla="*/ 1041770 w 1060058"/>
                <a:gd name="connsiteY19" fmla="*/ 27432 h 764291"/>
                <a:gd name="connsiteX20" fmla="*/ 1023482 w 1060058"/>
                <a:gd name="connsiteY20" fmla="*/ 0 h 764291"/>
                <a:gd name="connsiteX21" fmla="*/ 986906 w 1060058"/>
                <a:gd name="connsiteY21" fmla="*/ 27432 h 764291"/>
                <a:gd name="connsiteX22" fmla="*/ 950330 w 1060058"/>
                <a:gd name="connsiteY22" fmla="*/ 36576 h 764291"/>
                <a:gd name="connsiteX23" fmla="*/ 877178 w 1060058"/>
                <a:gd name="connsiteY23" fmla="*/ 64008 h 764291"/>
                <a:gd name="connsiteX24" fmla="*/ 822314 w 1060058"/>
                <a:gd name="connsiteY24" fmla="*/ 64008 h 764291"/>
                <a:gd name="connsiteX25" fmla="*/ 712586 w 1060058"/>
                <a:gd name="connsiteY25" fmla="*/ 64008 h 764291"/>
                <a:gd name="connsiteX26" fmla="*/ 657722 w 1060058"/>
                <a:gd name="connsiteY26" fmla="*/ 100584 h 764291"/>
                <a:gd name="connsiteX27" fmla="*/ 621146 w 1060058"/>
                <a:gd name="connsiteY27" fmla="*/ 146304 h 764291"/>
                <a:gd name="connsiteX28" fmla="*/ 575426 w 1060058"/>
                <a:gd name="connsiteY28" fmla="*/ 182880 h 764291"/>
                <a:gd name="connsiteX29" fmla="*/ 529706 w 1060058"/>
                <a:gd name="connsiteY29" fmla="*/ 256032 h 764291"/>
                <a:gd name="connsiteX30" fmla="*/ 456554 w 1060058"/>
                <a:gd name="connsiteY30" fmla="*/ 301752 h 764291"/>
                <a:gd name="connsiteX31" fmla="*/ 355970 w 1060058"/>
                <a:gd name="connsiteY31" fmla="*/ 347472 h 764291"/>
                <a:gd name="connsiteX32" fmla="*/ 319394 w 1060058"/>
                <a:gd name="connsiteY32" fmla="*/ 374904 h 764291"/>
                <a:gd name="connsiteX33" fmla="*/ 273674 w 1060058"/>
                <a:gd name="connsiteY33" fmla="*/ 402336 h 764291"/>
                <a:gd name="connsiteX34" fmla="*/ 255386 w 1060058"/>
                <a:gd name="connsiteY34" fmla="*/ 402336 h 764291"/>
                <a:gd name="connsiteX35" fmla="*/ 273674 w 1060058"/>
                <a:gd name="connsiteY35" fmla="*/ 365760 h 764291"/>
                <a:gd name="connsiteX36" fmla="*/ 328538 w 1060058"/>
                <a:gd name="connsiteY36" fmla="*/ 301752 h 764291"/>
                <a:gd name="connsiteX37" fmla="*/ 419978 w 1060058"/>
                <a:gd name="connsiteY37" fmla="*/ 219456 h 764291"/>
                <a:gd name="connsiteX38" fmla="*/ 465698 w 1060058"/>
                <a:gd name="connsiteY38" fmla="*/ 146304 h 764291"/>
                <a:gd name="connsiteX39" fmla="*/ 465698 w 1060058"/>
                <a:gd name="connsiteY39" fmla="*/ 64008 h 764291"/>
                <a:gd name="connsiteX40" fmla="*/ 456554 w 1060058"/>
                <a:gd name="connsiteY40" fmla="*/ 54864 h 764291"/>
                <a:gd name="connsiteX41" fmla="*/ 447410 w 1060058"/>
                <a:gd name="connsiteY41" fmla="*/ 128016 h 764291"/>
                <a:gd name="connsiteX42" fmla="*/ 419978 w 1060058"/>
                <a:gd name="connsiteY42" fmla="*/ 173736 h 764291"/>
                <a:gd name="connsiteX43" fmla="*/ 346826 w 1060058"/>
                <a:gd name="connsiteY43" fmla="*/ 237744 h 764291"/>
                <a:gd name="connsiteX44" fmla="*/ 319394 w 1060058"/>
                <a:gd name="connsiteY44" fmla="*/ 256032 h 764291"/>
                <a:gd name="connsiteX45" fmla="*/ 246242 w 1060058"/>
                <a:gd name="connsiteY45" fmla="*/ 347472 h 764291"/>
                <a:gd name="connsiteX46" fmla="*/ 237098 w 1060058"/>
                <a:gd name="connsiteY46" fmla="*/ 374904 h 764291"/>
                <a:gd name="connsiteX47" fmla="*/ 7663 w 1060058"/>
                <a:gd name="connsiteY47" fmla="*/ 382398 h 764291"/>
                <a:gd name="connsiteX48" fmla="*/ 230863 w 1060058"/>
                <a:gd name="connsiteY48" fmla="*/ 536509 h 764291"/>
                <a:gd name="connsiteX49" fmla="*/ 230863 w 1060058"/>
                <a:gd name="connsiteY49" fmla="*/ 536509 h 764291"/>
                <a:gd name="connsiteX50" fmla="*/ 86843 w 1060058"/>
                <a:gd name="connsiteY50" fmla="*/ 561066 h 764291"/>
                <a:gd name="connsiteX51" fmla="*/ 166024 w 1060058"/>
                <a:gd name="connsiteY51" fmla="*/ 739734 h 764291"/>
                <a:gd name="connsiteX52" fmla="*/ 166024 w 1060058"/>
                <a:gd name="connsiteY52" fmla="*/ 739734 h 764291"/>
                <a:gd name="connsiteX53" fmla="*/ 166023 w 1060058"/>
                <a:gd name="connsiteY53" fmla="*/ 739732 h 764291"/>
                <a:gd name="connsiteX54" fmla="*/ 22004 w 1060058"/>
                <a:gd name="connsiteY54" fmla="*/ 764291 h 764291"/>
                <a:gd name="connsiteX55" fmla="*/ 126434 w 1060058"/>
                <a:gd name="connsiteY55" fmla="*/ 650399 h 764291"/>
                <a:gd name="connsiteX0" fmla="*/ 148200 w 1081824"/>
                <a:gd name="connsiteY0" fmla="*/ 650399 h 764291"/>
                <a:gd name="connsiteX1" fmla="*/ 193364 w 1081824"/>
                <a:gd name="connsiteY1" fmla="*/ 468067 h 764291"/>
                <a:gd name="connsiteX2" fmla="*/ 193364 w 1081824"/>
                <a:gd name="connsiteY2" fmla="*/ 468067 h 764291"/>
                <a:gd name="connsiteX3" fmla="*/ 193364 w 1081824"/>
                <a:gd name="connsiteY3" fmla="*/ 468067 h 764291"/>
                <a:gd name="connsiteX4" fmla="*/ 304844 w 1081824"/>
                <a:gd name="connsiteY4" fmla="*/ 479563 h 764291"/>
                <a:gd name="connsiteX5" fmla="*/ 377736 w 1081824"/>
                <a:gd name="connsiteY5" fmla="*/ 384048 h 764291"/>
                <a:gd name="connsiteX6" fmla="*/ 569760 w 1081824"/>
                <a:gd name="connsiteY6" fmla="*/ 301752 h 764291"/>
                <a:gd name="connsiteX7" fmla="*/ 652056 w 1081824"/>
                <a:gd name="connsiteY7" fmla="*/ 192024 h 764291"/>
                <a:gd name="connsiteX8" fmla="*/ 798360 w 1081824"/>
                <a:gd name="connsiteY8" fmla="*/ 155448 h 764291"/>
                <a:gd name="connsiteX9" fmla="*/ 844080 w 1081824"/>
                <a:gd name="connsiteY9" fmla="*/ 155448 h 764291"/>
                <a:gd name="connsiteX10" fmla="*/ 880656 w 1081824"/>
                <a:gd name="connsiteY10" fmla="*/ 137160 h 764291"/>
                <a:gd name="connsiteX11" fmla="*/ 834936 w 1081824"/>
                <a:gd name="connsiteY11" fmla="*/ 137160 h 764291"/>
                <a:gd name="connsiteX12" fmla="*/ 743496 w 1081824"/>
                <a:gd name="connsiteY12" fmla="*/ 137160 h 764291"/>
                <a:gd name="connsiteX13" fmla="*/ 688632 w 1081824"/>
                <a:gd name="connsiteY13" fmla="*/ 146304 h 764291"/>
                <a:gd name="connsiteX14" fmla="*/ 679488 w 1081824"/>
                <a:gd name="connsiteY14" fmla="*/ 155448 h 764291"/>
                <a:gd name="connsiteX15" fmla="*/ 661200 w 1081824"/>
                <a:gd name="connsiteY15" fmla="*/ 146304 h 764291"/>
                <a:gd name="connsiteX16" fmla="*/ 789216 w 1081824"/>
                <a:gd name="connsiteY16" fmla="*/ 91440 h 764291"/>
                <a:gd name="connsiteX17" fmla="*/ 844080 w 1081824"/>
                <a:gd name="connsiteY17" fmla="*/ 91440 h 764291"/>
                <a:gd name="connsiteX18" fmla="*/ 935520 w 1081824"/>
                <a:gd name="connsiteY18" fmla="*/ 82296 h 764291"/>
                <a:gd name="connsiteX19" fmla="*/ 1063536 w 1081824"/>
                <a:gd name="connsiteY19" fmla="*/ 27432 h 764291"/>
                <a:gd name="connsiteX20" fmla="*/ 1045248 w 1081824"/>
                <a:gd name="connsiteY20" fmla="*/ 0 h 764291"/>
                <a:gd name="connsiteX21" fmla="*/ 1008672 w 1081824"/>
                <a:gd name="connsiteY21" fmla="*/ 27432 h 764291"/>
                <a:gd name="connsiteX22" fmla="*/ 972096 w 1081824"/>
                <a:gd name="connsiteY22" fmla="*/ 36576 h 764291"/>
                <a:gd name="connsiteX23" fmla="*/ 898944 w 1081824"/>
                <a:gd name="connsiteY23" fmla="*/ 64008 h 764291"/>
                <a:gd name="connsiteX24" fmla="*/ 844080 w 1081824"/>
                <a:gd name="connsiteY24" fmla="*/ 64008 h 764291"/>
                <a:gd name="connsiteX25" fmla="*/ 734352 w 1081824"/>
                <a:gd name="connsiteY25" fmla="*/ 64008 h 764291"/>
                <a:gd name="connsiteX26" fmla="*/ 679488 w 1081824"/>
                <a:gd name="connsiteY26" fmla="*/ 100584 h 764291"/>
                <a:gd name="connsiteX27" fmla="*/ 642912 w 1081824"/>
                <a:gd name="connsiteY27" fmla="*/ 146304 h 764291"/>
                <a:gd name="connsiteX28" fmla="*/ 597192 w 1081824"/>
                <a:gd name="connsiteY28" fmla="*/ 182880 h 764291"/>
                <a:gd name="connsiteX29" fmla="*/ 551472 w 1081824"/>
                <a:gd name="connsiteY29" fmla="*/ 256032 h 764291"/>
                <a:gd name="connsiteX30" fmla="*/ 478320 w 1081824"/>
                <a:gd name="connsiteY30" fmla="*/ 301752 h 764291"/>
                <a:gd name="connsiteX31" fmla="*/ 377736 w 1081824"/>
                <a:gd name="connsiteY31" fmla="*/ 347472 h 764291"/>
                <a:gd name="connsiteX32" fmla="*/ 341160 w 1081824"/>
                <a:gd name="connsiteY32" fmla="*/ 374904 h 764291"/>
                <a:gd name="connsiteX33" fmla="*/ 295440 w 1081824"/>
                <a:gd name="connsiteY33" fmla="*/ 402336 h 764291"/>
                <a:gd name="connsiteX34" fmla="*/ 277152 w 1081824"/>
                <a:gd name="connsiteY34" fmla="*/ 402336 h 764291"/>
                <a:gd name="connsiteX35" fmla="*/ 295440 w 1081824"/>
                <a:gd name="connsiteY35" fmla="*/ 365760 h 764291"/>
                <a:gd name="connsiteX36" fmla="*/ 350304 w 1081824"/>
                <a:gd name="connsiteY36" fmla="*/ 301752 h 764291"/>
                <a:gd name="connsiteX37" fmla="*/ 441744 w 1081824"/>
                <a:gd name="connsiteY37" fmla="*/ 219456 h 764291"/>
                <a:gd name="connsiteX38" fmla="*/ 487464 w 1081824"/>
                <a:gd name="connsiteY38" fmla="*/ 146304 h 764291"/>
                <a:gd name="connsiteX39" fmla="*/ 487464 w 1081824"/>
                <a:gd name="connsiteY39" fmla="*/ 64008 h 764291"/>
                <a:gd name="connsiteX40" fmla="*/ 478320 w 1081824"/>
                <a:gd name="connsiteY40" fmla="*/ 54864 h 764291"/>
                <a:gd name="connsiteX41" fmla="*/ 469176 w 1081824"/>
                <a:gd name="connsiteY41" fmla="*/ 128016 h 764291"/>
                <a:gd name="connsiteX42" fmla="*/ 441744 w 1081824"/>
                <a:gd name="connsiteY42" fmla="*/ 173736 h 764291"/>
                <a:gd name="connsiteX43" fmla="*/ 368592 w 1081824"/>
                <a:gd name="connsiteY43" fmla="*/ 237744 h 764291"/>
                <a:gd name="connsiteX44" fmla="*/ 341160 w 1081824"/>
                <a:gd name="connsiteY44" fmla="*/ 256032 h 764291"/>
                <a:gd name="connsiteX45" fmla="*/ 268008 w 1081824"/>
                <a:gd name="connsiteY45" fmla="*/ 347472 h 764291"/>
                <a:gd name="connsiteX46" fmla="*/ 258864 w 1081824"/>
                <a:gd name="connsiteY46" fmla="*/ 374904 h 764291"/>
                <a:gd name="connsiteX47" fmla="*/ 29429 w 1081824"/>
                <a:gd name="connsiteY47" fmla="*/ 382398 h 764291"/>
                <a:gd name="connsiteX48" fmla="*/ 252629 w 1081824"/>
                <a:gd name="connsiteY48" fmla="*/ 536509 h 764291"/>
                <a:gd name="connsiteX49" fmla="*/ 252629 w 1081824"/>
                <a:gd name="connsiteY49" fmla="*/ 536509 h 764291"/>
                <a:gd name="connsiteX50" fmla="*/ 108609 w 1081824"/>
                <a:gd name="connsiteY50" fmla="*/ 561066 h 764291"/>
                <a:gd name="connsiteX51" fmla="*/ 187790 w 1081824"/>
                <a:gd name="connsiteY51" fmla="*/ 739734 h 764291"/>
                <a:gd name="connsiteX52" fmla="*/ 187790 w 1081824"/>
                <a:gd name="connsiteY52" fmla="*/ 739734 h 764291"/>
                <a:gd name="connsiteX53" fmla="*/ 4179 w 1081824"/>
                <a:gd name="connsiteY53" fmla="*/ 674957 h 764291"/>
                <a:gd name="connsiteX54" fmla="*/ 43770 w 1081824"/>
                <a:gd name="connsiteY54" fmla="*/ 764291 h 764291"/>
                <a:gd name="connsiteX55" fmla="*/ 148200 w 1081824"/>
                <a:gd name="connsiteY55" fmla="*/ 650399 h 764291"/>
                <a:gd name="connsiteX0" fmla="*/ 148200 w 1081824"/>
                <a:gd name="connsiteY0" fmla="*/ 650399 h 764291"/>
                <a:gd name="connsiteX1" fmla="*/ 193364 w 1081824"/>
                <a:gd name="connsiteY1" fmla="*/ 468067 h 764291"/>
                <a:gd name="connsiteX2" fmla="*/ 193364 w 1081824"/>
                <a:gd name="connsiteY2" fmla="*/ 468067 h 764291"/>
                <a:gd name="connsiteX3" fmla="*/ 193364 w 1081824"/>
                <a:gd name="connsiteY3" fmla="*/ 468067 h 764291"/>
                <a:gd name="connsiteX4" fmla="*/ 304844 w 1081824"/>
                <a:gd name="connsiteY4" fmla="*/ 479563 h 764291"/>
                <a:gd name="connsiteX5" fmla="*/ 377736 w 1081824"/>
                <a:gd name="connsiteY5" fmla="*/ 384048 h 764291"/>
                <a:gd name="connsiteX6" fmla="*/ 569760 w 1081824"/>
                <a:gd name="connsiteY6" fmla="*/ 301752 h 764291"/>
                <a:gd name="connsiteX7" fmla="*/ 652056 w 1081824"/>
                <a:gd name="connsiteY7" fmla="*/ 192024 h 764291"/>
                <a:gd name="connsiteX8" fmla="*/ 798360 w 1081824"/>
                <a:gd name="connsiteY8" fmla="*/ 155448 h 764291"/>
                <a:gd name="connsiteX9" fmla="*/ 844080 w 1081824"/>
                <a:gd name="connsiteY9" fmla="*/ 155448 h 764291"/>
                <a:gd name="connsiteX10" fmla="*/ 880656 w 1081824"/>
                <a:gd name="connsiteY10" fmla="*/ 137160 h 764291"/>
                <a:gd name="connsiteX11" fmla="*/ 834936 w 1081824"/>
                <a:gd name="connsiteY11" fmla="*/ 137160 h 764291"/>
                <a:gd name="connsiteX12" fmla="*/ 743496 w 1081824"/>
                <a:gd name="connsiteY12" fmla="*/ 137160 h 764291"/>
                <a:gd name="connsiteX13" fmla="*/ 688632 w 1081824"/>
                <a:gd name="connsiteY13" fmla="*/ 146304 h 764291"/>
                <a:gd name="connsiteX14" fmla="*/ 679488 w 1081824"/>
                <a:gd name="connsiteY14" fmla="*/ 155448 h 764291"/>
                <a:gd name="connsiteX15" fmla="*/ 661200 w 1081824"/>
                <a:gd name="connsiteY15" fmla="*/ 146304 h 764291"/>
                <a:gd name="connsiteX16" fmla="*/ 789216 w 1081824"/>
                <a:gd name="connsiteY16" fmla="*/ 91440 h 764291"/>
                <a:gd name="connsiteX17" fmla="*/ 844080 w 1081824"/>
                <a:gd name="connsiteY17" fmla="*/ 91440 h 764291"/>
                <a:gd name="connsiteX18" fmla="*/ 935520 w 1081824"/>
                <a:gd name="connsiteY18" fmla="*/ 82296 h 764291"/>
                <a:gd name="connsiteX19" fmla="*/ 1063536 w 1081824"/>
                <a:gd name="connsiteY19" fmla="*/ 27432 h 764291"/>
                <a:gd name="connsiteX20" fmla="*/ 1045248 w 1081824"/>
                <a:gd name="connsiteY20" fmla="*/ 0 h 764291"/>
                <a:gd name="connsiteX21" fmla="*/ 1008672 w 1081824"/>
                <a:gd name="connsiteY21" fmla="*/ 27432 h 764291"/>
                <a:gd name="connsiteX22" fmla="*/ 972096 w 1081824"/>
                <a:gd name="connsiteY22" fmla="*/ 36576 h 764291"/>
                <a:gd name="connsiteX23" fmla="*/ 898944 w 1081824"/>
                <a:gd name="connsiteY23" fmla="*/ 64008 h 764291"/>
                <a:gd name="connsiteX24" fmla="*/ 844080 w 1081824"/>
                <a:gd name="connsiteY24" fmla="*/ 64008 h 764291"/>
                <a:gd name="connsiteX25" fmla="*/ 734352 w 1081824"/>
                <a:gd name="connsiteY25" fmla="*/ 64008 h 764291"/>
                <a:gd name="connsiteX26" fmla="*/ 679488 w 1081824"/>
                <a:gd name="connsiteY26" fmla="*/ 100584 h 764291"/>
                <a:gd name="connsiteX27" fmla="*/ 642912 w 1081824"/>
                <a:gd name="connsiteY27" fmla="*/ 146304 h 764291"/>
                <a:gd name="connsiteX28" fmla="*/ 597192 w 1081824"/>
                <a:gd name="connsiteY28" fmla="*/ 182880 h 764291"/>
                <a:gd name="connsiteX29" fmla="*/ 551472 w 1081824"/>
                <a:gd name="connsiteY29" fmla="*/ 256032 h 764291"/>
                <a:gd name="connsiteX30" fmla="*/ 478320 w 1081824"/>
                <a:gd name="connsiteY30" fmla="*/ 301752 h 764291"/>
                <a:gd name="connsiteX31" fmla="*/ 377736 w 1081824"/>
                <a:gd name="connsiteY31" fmla="*/ 347472 h 764291"/>
                <a:gd name="connsiteX32" fmla="*/ 341160 w 1081824"/>
                <a:gd name="connsiteY32" fmla="*/ 374904 h 764291"/>
                <a:gd name="connsiteX33" fmla="*/ 295440 w 1081824"/>
                <a:gd name="connsiteY33" fmla="*/ 402336 h 764291"/>
                <a:gd name="connsiteX34" fmla="*/ 277152 w 1081824"/>
                <a:gd name="connsiteY34" fmla="*/ 402336 h 764291"/>
                <a:gd name="connsiteX35" fmla="*/ 295440 w 1081824"/>
                <a:gd name="connsiteY35" fmla="*/ 365760 h 764291"/>
                <a:gd name="connsiteX36" fmla="*/ 350304 w 1081824"/>
                <a:gd name="connsiteY36" fmla="*/ 301752 h 764291"/>
                <a:gd name="connsiteX37" fmla="*/ 441744 w 1081824"/>
                <a:gd name="connsiteY37" fmla="*/ 219456 h 764291"/>
                <a:gd name="connsiteX38" fmla="*/ 487464 w 1081824"/>
                <a:gd name="connsiteY38" fmla="*/ 146304 h 764291"/>
                <a:gd name="connsiteX39" fmla="*/ 487464 w 1081824"/>
                <a:gd name="connsiteY39" fmla="*/ 64008 h 764291"/>
                <a:gd name="connsiteX40" fmla="*/ 478320 w 1081824"/>
                <a:gd name="connsiteY40" fmla="*/ 54864 h 764291"/>
                <a:gd name="connsiteX41" fmla="*/ 469176 w 1081824"/>
                <a:gd name="connsiteY41" fmla="*/ 128016 h 764291"/>
                <a:gd name="connsiteX42" fmla="*/ 441744 w 1081824"/>
                <a:gd name="connsiteY42" fmla="*/ 173736 h 764291"/>
                <a:gd name="connsiteX43" fmla="*/ 368592 w 1081824"/>
                <a:gd name="connsiteY43" fmla="*/ 237744 h 764291"/>
                <a:gd name="connsiteX44" fmla="*/ 341160 w 1081824"/>
                <a:gd name="connsiteY44" fmla="*/ 256032 h 764291"/>
                <a:gd name="connsiteX45" fmla="*/ 268008 w 1081824"/>
                <a:gd name="connsiteY45" fmla="*/ 347472 h 764291"/>
                <a:gd name="connsiteX46" fmla="*/ 258864 w 1081824"/>
                <a:gd name="connsiteY46" fmla="*/ 374904 h 764291"/>
                <a:gd name="connsiteX47" fmla="*/ 29429 w 1081824"/>
                <a:gd name="connsiteY47" fmla="*/ 382398 h 764291"/>
                <a:gd name="connsiteX48" fmla="*/ 252629 w 1081824"/>
                <a:gd name="connsiteY48" fmla="*/ 536509 h 764291"/>
                <a:gd name="connsiteX49" fmla="*/ 252629 w 1081824"/>
                <a:gd name="connsiteY49" fmla="*/ 536509 h 764291"/>
                <a:gd name="connsiteX50" fmla="*/ 108609 w 1081824"/>
                <a:gd name="connsiteY50" fmla="*/ 561066 h 764291"/>
                <a:gd name="connsiteX51" fmla="*/ 187790 w 1081824"/>
                <a:gd name="connsiteY51" fmla="*/ 739734 h 764291"/>
                <a:gd name="connsiteX52" fmla="*/ 4178 w 1081824"/>
                <a:gd name="connsiteY52" fmla="*/ 674957 h 764291"/>
                <a:gd name="connsiteX53" fmla="*/ 4179 w 1081824"/>
                <a:gd name="connsiteY53" fmla="*/ 674957 h 764291"/>
                <a:gd name="connsiteX54" fmla="*/ 43770 w 1081824"/>
                <a:gd name="connsiteY54" fmla="*/ 764291 h 764291"/>
                <a:gd name="connsiteX55" fmla="*/ 148200 w 1081824"/>
                <a:gd name="connsiteY55" fmla="*/ 650399 h 764291"/>
                <a:gd name="connsiteX0" fmla="*/ 183612 w 1117236"/>
                <a:gd name="connsiteY0" fmla="*/ 650399 h 764291"/>
                <a:gd name="connsiteX1" fmla="*/ 228776 w 1117236"/>
                <a:gd name="connsiteY1" fmla="*/ 468067 h 764291"/>
                <a:gd name="connsiteX2" fmla="*/ 228776 w 1117236"/>
                <a:gd name="connsiteY2" fmla="*/ 468067 h 764291"/>
                <a:gd name="connsiteX3" fmla="*/ 228776 w 1117236"/>
                <a:gd name="connsiteY3" fmla="*/ 468067 h 764291"/>
                <a:gd name="connsiteX4" fmla="*/ 340256 w 1117236"/>
                <a:gd name="connsiteY4" fmla="*/ 479563 h 764291"/>
                <a:gd name="connsiteX5" fmla="*/ 413148 w 1117236"/>
                <a:gd name="connsiteY5" fmla="*/ 384048 h 764291"/>
                <a:gd name="connsiteX6" fmla="*/ 605172 w 1117236"/>
                <a:gd name="connsiteY6" fmla="*/ 301752 h 764291"/>
                <a:gd name="connsiteX7" fmla="*/ 687468 w 1117236"/>
                <a:gd name="connsiteY7" fmla="*/ 192024 h 764291"/>
                <a:gd name="connsiteX8" fmla="*/ 833772 w 1117236"/>
                <a:gd name="connsiteY8" fmla="*/ 155448 h 764291"/>
                <a:gd name="connsiteX9" fmla="*/ 879492 w 1117236"/>
                <a:gd name="connsiteY9" fmla="*/ 155448 h 764291"/>
                <a:gd name="connsiteX10" fmla="*/ 916068 w 1117236"/>
                <a:gd name="connsiteY10" fmla="*/ 137160 h 764291"/>
                <a:gd name="connsiteX11" fmla="*/ 870348 w 1117236"/>
                <a:gd name="connsiteY11" fmla="*/ 137160 h 764291"/>
                <a:gd name="connsiteX12" fmla="*/ 778908 w 1117236"/>
                <a:gd name="connsiteY12" fmla="*/ 137160 h 764291"/>
                <a:gd name="connsiteX13" fmla="*/ 724044 w 1117236"/>
                <a:gd name="connsiteY13" fmla="*/ 146304 h 764291"/>
                <a:gd name="connsiteX14" fmla="*/ 714900 w 1117236"/>
                <a:gd name="connsiteY14" fmla="*/ 155448 h 764291"/>
                <a:gd name="connsiteX15" fmla="*/ 696612 w 1117236"/>
                <a:gd name="connsiteY15" fmla="*/ 146304 h 764291"/>
                <a:gd name="connsiteX16" fmla="*/ 824628 w 1117236"/>
                <a:gd name="connsiteY16" fmla="*/ 91440 h 764291"/>
                <a:gd name="connsiteX17" fmla="*/ 879492 w 1117236"/>
                <a:gd name="connsiteY17" fmla="*/ 91440 h 764291"/>
                <a:gd name="connsiteX18" fmla="*/ 970932 w 1117236"/>
                <a:gd name="connsiteY18" fmla="*/ 82296 h 764291"/>
                <a:gd name="connsiteX19" fmla="*/ 1098948 w 1117236"/>
                <a:gd name="connsiteY19" fmla="*/ 27432 h 764291"/>
                <a:gd name="connsiteX20" fmla="*/ 1080660 w 1117236"/>
                <a:gd name="connsiteY20" fmla="*/ 0 h 764291"/>
                <a:gd name="connsiteX21" fmla="*/ 1044084 w 1117236"/>
                <a:gd name="connsiteY21" fmla="*/ 27432 h 764291"/>
                <a:gd name="connsiteX22" fmla="*/ 1007508 w 1117236"/>
                <a:gd name="connsiteY22" fmla="*/ 36576 h 764291"/>
                <a:gd name="connsiteX23" fmla="*/ 934356 w 1117236"/>
                <a:gd name="connsiteY23" fmla="*/ 64008 h 764291"/>
                <a:gd name="connsiteX24" fmla="*/ 879492 w 1117236"/>
                <a:gd name="connsiteY24" fmla="*/ 64008 h 764291"/>
                <a:gd name="connsiteX25" fmla="*/ 769764 w 1117236"/>
                <a:gd name="connsiteY25" fmla="*/ 64008 h 764291"/>
                <a:gd name="connsiteX26" fmla="*/ 714900 w 1117236"/>
                <a:gd name="connsiteY26" fmla="*/ 100584 h 764291"/>
                <a:gd name="connsiteX27" fmla="*/ 678324 w 1117236"/>
                <a:gd name="connsiteY27" fmla="*/ 146304 h 764291"/>
                <a:gd name="connsiteX28" fmla="*/ 632604 w 1117236"/>
                <a:gd name="connsiteY28" fmla="*/ 182880 h 764291"/>
                <a:gd name="connsiteX29" fmla="*/ 586884 w 1117236"/>
                <a:gd name="connsiteY29" fmla="*/ 256032 h 764291"/>
                <a:gd name="connsiteX30" fmla="*/ 513732 w 1117236"/>
                <a:gd name="connsiteY30" fmla="*/ 301752 h 764291"/>
                <a:gd name="connsiteX31" fmla="*/ 413148 w 1117236"/>
                <a:gd name="connsiteY31" fmla="*/ 347472 h 764291"/>
                <a:gd name="connsiteX32" fmla="*/ 376572 w 1117236"/>
                <a:gd name="connsiteY32" fmla="*/ 374904 h 764291"/>
                <a:gd name="connsiteX33" fmla="*/ 330852 w 1117236"/>
                <a:gd name="connsiteY33" fmla="*/ 402336 h 764291"/>
                <a:gd name="connsiteX34" fmla="*/ 312564 w 1117236"/>
                <a:gd name="connsiteY34" fmla="*/ 402336 h 764291"/>
                <a:gd name="connsiteX35" fmla="*/ 330852 w 1117236"/>
                <a:gd name="connsiteY35" fmla="*/ 365760 h 764291"/>
                <a:gd name="connsiteX36" fmla="*/ 385716 w 1117236"/>
                <a:gd name="connsiteY36" fmla="*/ 301752 h 764291"/>
                <a:gd name="connsiteX37" fmla="*/ 477156 w 1117236"/>
                <a:gd name="connsiteY37" fmla="*/ 219456 h 764291"/>
                <a:gd name="connsiteX38" fmla="*/ 522876 w 1117236"/>
                <a:gd name="connsiteY38" fmla="*/ 146304 h 764291"/>
                <a:gd name="connsiteX39" fmla="*/ 522876 w 1117236"/>
                <a:gd name="connsiteY39" fmla="*/ 64008 h 764291"/>
                <a:gd name="connsiteX40" fmla="*/ 513732 w 1117236"/>
                <a:gd name="connsiteY40" fmla="*/ 54864 h 764291"/>
                <a:gd name="connsiteX41" fmla="*/ 504588 w 1117236"/>
                <a:gd name="connsiteY41" fmla="*/ 128016 h 764291"/>
                <a:gd name="connsiteX42" fmla="*/ 477156 w 1117236"/>
                <a:gd name="connsiteY42" fmla="*/ 173736 h 764291"/>
                <a:gd name="connsiteX43" fmla="*/ 404004 w 1117236"/>
                <a:gd name="connsiteY43" fmla="*/ 237744 h 764291"/>
                <a:gd name="connsiteX44" fmla="*/ 376572 w 1117236"/>
                <a:gd name="connsiteY44" fmla="*/ 256032 h 764291"/>
                <a:gd name="connsiteX45" fmla="*/ 303420 w 1117236"/>
                <a:gd name="connsiteY45" fmla="*/ 347472 h 764291"/>
                <a:gd name="connsiteX46" fmla="*/ 294276 w 1117236"/>
                <a:gd name="connsiteY46" fmla="*/ 374904 h 764291"/>
                <a:gd name="connsiteX47" fmla="*/ 64841 w 1117236"/>
                <a:gd name="connsiteY47" fmla="*/ 382398 h 764291"/>
                <a:gd name="connsiteX48" fmla="*/ 288041 w 1117236"/>
                <a:gd name="connsiteY48" fmla="*/ 536509 h 764291"/>
                <a:gd name="connsiteX49" fmla="*/ 288041 w 1117236"/>
                <a:gd name="connsiteY49" fmla="*/ 536509 h 764291"/>
                <a:gd name="connsiteX50" fmla="*/ 144021 w 1117236"/>
                <a:gd name="connsiteY50" fmla="*/ 561066 h 764291"/>
                <a:gd name="connsiteX51" fmla="*/ 0 w 1117236"/>
                <a:gd name="connsiteY51" fmla="*/ 585623 h 764291"/>
                <a:gd name="connsiteX52" fmla="*/ 39590 w 1117236"/>
                <a:gd name="connsiteY52" fmla="*/ 674957 h 764291"/>
                <a:gd name="connsiteX53" fmla="*/ 39591 w 1117236"/>
                <a:gd name="connsiteY53" fmla="*/ 674957 h 764291"/>
                <a:gd name="connsiteX54" fmla="*/ 79182 w 1117236"/>
                <a:gd name="connsiteY54" fmla="*/ 764291 h 764291"/>
                <a:gd name="connsiteX55" fmla="*/ 183612 w 1117236"/>
                <a:gd name="connsiteY55" fmla="*/ 650399 h 764291"/>
                <a:gd name="connsiteX0" fmla="*/ 183612 w 1117236"/>
                <a:gd name="connsiteY0" fmla="*/ 650399 h 764291"/>
                <a:gd name="connsiteX1" fmla="*/ 228776 w 1117236"/>
                <a:gd name="connsiteY1" fmla="*/ 468067 h 764291"/>
                <a:gd name="connsiteX2" fmla="*/ 228776 w 1117236"/>
                <a:gd name="connsiteY2" fmla="*/ 468067 h 764291"/>
                <a:gd name="connsiteX3" fmla="*/ 228776 w 1117236"/>
                <a:gd name="connsiteY3" fmla="*/ 468067 h 764291"/>
                <a:gd name="connsiteX4" fmla="*/ 340256 w 1117236"/>
                <a:gd name="connsiteY4" fmla="*/ 479563 h 764291"/>
                <a:gd name="connsiteX5" fmla="*/ 413148 w 1117236"/>
                <a:gd name="connsiteY5" fmla="*/ 384048 h 764291"/>
                <a:gd name="connsiteX6" fmla="*/ 605172 w 1117236"/>
                <a:gd name="connsiteY6" fmla="*/ 301752 h 764291"/>
                <a:gd name="connsiteX7" fmla="*/ 687468 w 1117236"/>
                <a:gd name="connsiteY7" fmla="*/ 192024 h 764291"/>
                <a:gd name="connsiteX8" fmla="*/ 833772 w 1117236"/>
                <a:gd name="connsiteY8" fmla="*/ 155448 h 764291"/>
                <a:gd name="connsiteX9" fmla="*/ 879492 w 1117236"/>
                <a:gd name="connsiteY9" fmla="*/ 155448 h 764291"/>
                <a:gd name="connsiteX10" fmla="*/ 916068 w 1117236"/>
                <a:gd name="connsiteY10" fmla="*/ 137160 h 764291"/>
                <a:gd name="connsiteX11" fmla="*/ 870348 w 1117236"/>
                <a:gd name="connsiteY11" fmla="*/ 137160 h 764291"/>
                <a:gd name="connsiteX12" fmla="*/ 778908 w 1117236"/>
                <a:gd name="connsiteY12" fmla="*/ 137160 h 764291"/>
                <a:gd name="connsiteX13" fmla="*/ 724044 w 1117236"/>
                <a:gd name="connsiteY13" fmla="*/ 146304 h 764291"/>
                <a:gd name="connsiteX14" fmla="*/ 714900 w 1117236"/>
                <a:gd name="connsiteY14" fmla="*/ 155448 h 764291"/>
                <a:gd name="connsiteX15" fmla="*/ 696612 w 1117236"/>
                <a:gd name="connsiteY15" fmla="*/ 146304 h 764291"/>
                <a:gd name="connsiteX16" fmla="*/ 824628 w 1117236"/>
                <a:gd name="connsiteY16" fmla="*/ 91440 h 764291"/>
                <a:gd name="connsiteX17" fmla="*/ 879492 w 1117236"/>
                <a:gd name="connsiteY17" fmla="*/ 91440 h 764291"/>
                <a:gd name="connsiteX18" fmla="*/ 970932 w 1117236"/>
                <a:gd name="connsiteY18" fmla="*/ 82296 h 764291"/>
                <a:gd name="connsiteX19" fmla="*/ 1098948 w 1117236"/>
                <a:gd name="connsiteY19" fmla="*/ 27432 h 764291"/>
                <a:gd name="connsiteX20" fmla="*/ 1080660 w 1117236"/>
                <a:gd name="connsiteY20" fmla="*/ 0 h 764291"/>
                <a:gd name="connsiteX21" fmla="*/ 1044084 w 1117236"/>
                <a:gd name="connsiteY21" fmla="*/ 27432 h 764291"/>
                <a:gd name="connsiteX22" fmla="*/ 1007508 w 1117236"/>
                <a:gd name="connsiteY22" fmla="*/ 36576 h 764291"/>
                <a:gd name="connsiteX23" fmla="*/ 934356 w 1117236"/>
                <a:gd name="connsiteY23" fmla="*/ 64008 h 764291"/>
                <a:gd name="connsiteX24" fmla="*/ 879492 w 1117236"/>
                <a:gd name="connsiteY24" fmla="*/ 64008 h 764291"/>
                <a:gd name="connsiteX25" fmla="*/ 769764 w 1117236"/>
                <a:gd name="connsiteY25" fmla="*/ 64008 h 764291"/>
                <a:gd name="connsiteX26" fmla="*/ 714900 w 1117236"/>
                <a:gd name="connsiteY26" fmla="*/ 100584 h 764291"/>
                <a:gd name="connsiteX27" fmla="*/ 678324 w 1117236"/>
                <a:gd name="connsiteY27" fmla="*/ 146304 h 764291"/>
                <a:gd name="connsiteX28" fmla="*/ 632604 w 1117236"/>
                <a:gd name="connsiteY28" fmla="*/ 182880 h 764291"/>
                <a:gd name="connsiteX29" fmla="*/ 586884 w 1117236"/>
                <a:gd name="connsiteY29" fmla="*/ 256032 h 764291"/>
                <a:gd name="connsiteX30" fmla="*/ 513732 w 1117236"/>
                <a:gd name="connsiteY30" fmla="*/ 301752 h 764291"/>
                <a:gd name="connsiteX31" fmla="*/ 413148 w 1117236"/>
                <a:gd name="connsiteY31" fmla="*/ 347472 h 764291"/>
                <a:gd name="connsiteX32" fmla="*/ 376572 w 1117236"/>
                <a:gd name="connsiteY32" fmla="*/ 374904 h 764291"/>
                <a:gd name="connsiteX33" fmla="*/ 330852 w 1117236"/>
                <a:gd name="connsiteY33" fmla="*/ 402336 h 764291"/>
                <a:gd name="connsiteX34" fmla="*/ 312564 w 1117236"/>
                <a:gd name="connsiteY34" fmla="*/ 402336 h 764291"/>
                <a:gd name="connsiteX35" fmla="*/ 330852 w 1117236"/>
                <a:gd name="connsiteY35" fmla="*/ 365760 h 764291"/>
                <a:gd name="connsiteX36" fmla="*/ 385716 w 1117236"/>
                <a:gd name="connsiteY36" fmla="*/ 301752 h 764291"/>
                <a:gd name="connsiteX37" fmla="*/ 477156 w 1117236"/>
                <a:gd name="connsiteY37" fmla="*/ 219456 h 764291"/>
                <a:gd name="connsiteX38" fmla="*/ 522876 w 1117236"/>
                <a:gd name="connsiteY38" fmla="*/ 146304 h 764291"/>
                <a:gd name="connsiteX39" fmla="*/ 522876 w 1117236"/>
                <a:gd name="connsiteY39" fmla="*/ 64008 h 764291"/>
                <a:gd name="connsiteX40" fmla="*/ 513732 w 1117236"/>
                <a:gd name="connsiteY40" fmla="*/ 54864 h 764291"/>
                <a:gd name="connsiteX41" fmla="*/ 504588 w 1117236"/>
                <a:gd name="connsiteY41" fmla="*/ 128016 h 764291"/>
                <a:gd name="connsiteX42" fmla="*/ 477156 w 1117236"/>
                <a:gd name="connsiteY42" fmla="*/ 173736 h 764291"/>
                <a:gd name="connsiteX43" fmla="*/ 404004 w 1117236"/>
                <a:gd name="connsiteY43" fmla="*/ 237744 h 764291"/>
                <a:gd name="connsiteX44" fmla="*/ 376572 w 1117236"/>
                <a:gd name="connsiteY44" fmla="*/ 256032 h 764291"/>
                <a:gd name="connsiteX45" fmla="*/ 303420 w 1117236"/>
                <a:gd name="connsiteY45" fmla="*/ 347472 h 764291"/>
                <a:gd name="connsiteX46" fmla="*/ 294276 w 1117236"/>
                <a:gd name="connsiteY46" fmla="*/ 374904 h 764291"/>
                <a:gd name="connsiteX47" fmla="*/ 64841 w 1117236"/>
                <a:gd name="connsiteY47" fmla="*/ 382398 h 764291"/>
                <a:gd name="connsiteX48" fmla="*/ 288041 w 1117236"/>
                <a:gd name="connsiteY48" fmla="*/ 536509 h 764291"/>
                <a:gd name="connsiteX49" fmla="*/ 52216 w 1117236"/>
                <a:gd name="connsiteY49" fmla="*/ 528677 h 764291"/>
                <a:gd name="connsiteX50" fmla="*/ 144021 w 1117236"/>
                <a:gd name="connsiteY50" fmla="*/ 561066 h 764291"/>
                <a:gd name="connsiteX51" fmla="*/ 0 w 1117236"/>
                <a:gd name="connsiteY51" fmla="*/ 585623 h 764291"/>
                <a:gd name="connsiteX52" fmla="*/ 39590 w 1117236"/>
                <a:gd name="connsiteY52" fmla="*/ 674957 h 764291"/>
                <a:gd name="connsiteX53" fmla="*/ 39591 w 1117236"/>
                <a:gd name="connsiteY53" fmla="*/ 674957 h 764291"/>
                <a:gd name="connsiteX54" fmla="*/ 79182 w 1117236"/>
                <a:gd name="connsiteY54" fmla="*/ 764291 h 764291"/>
                <a:gd name="connsiteX55" fmla="*/ 183612 w 1117236"/>
                <a:gd name="connsiteY55" fmla="*/ 650399 h 764291"/>
                <a:gd name="connsiteX0" fmla="*/ 183612 w 1117236"/>
                <a:gd name="connsiteY0" fmla="*/ 650399 h 764291"/>
                <a:gd name="connsiteX1" fmla="*/ 228776 w 1117236"/>
                <a:gd name="connsiteY1" fmla="*/ 468067 h 764291"/>
                <a:gd name="connsiteX2" fmla="*/ 228776 w 1117236"/>
                <a:gd name="connsiteY2" fmla="*/ 468067 h 764291"/>
                <a:gd name="connsiteX3" fmla="*/ 228776 w 1117236"/>
                <a:gd name="connsiteY3" fmla="*/ 468067 h 764291"/>
                <a:gd name="connsiteX4" fmla="*/ 340256 w 1117236"/>
                <a:gd name="connsiteY4" fmla="*/ 479563 h 764291"/>
                <a:gd name="connsiteX5" fmla="*/ 413148 w 1117236"/>
                <a:gd name="connsiteY5" fmla="*/ 384048 h 764291"/>
                <a:gd name="connsiteX6" fmla="*/ 605172 w 1117236"/>
                <a:gd name="connsiteY6" fmla="*/ 301752 h 764291"/>
                <a:gd name="connsiteX7" fmla="*/ 687468 w 1117236"/>
                <a:gd name="connsiteY7" fmla="*/ 192024 h 764291"/>
                <a:gd name="connsiteX8" fmla="*/ 833772 w 1117236"/>
                <a:gd name="connsiteY8" fmla="*/ 155448 h 764291"/>
                <a:gd name="connsiteX9" fmla="*/ 879492 w 1117236"/>
                <a:gd name="connsiteY9" fmla="*/ 155448 h 764291"/>
                <a:gd name="connsiteX10" fmla="*/ 916068 w 1117236"/>
                <a:gd name="connsiteY10" fmla="*/ 137160 h 764291"/>
                <a:gd name="connsiteX11" fmla="*/ 870348 w 1117236"/>
                <a:gd name="connsiteY11" fmla="*/ 137160 h 764291"/>
                <a:gd name="connsiteX12" fmla="*/ 778908 w 1117236"/>
                <a:gd name="connsiteY12" fmla="*/ 137160 h 764291"/>
                <a:gd name="connsiteX13" fmla="*/ 724044 w 1117236"/>
                <a:gd name="connsiteY13" fmla="*/ 146304 h 764291"/>
                <a:gd name="connsiteX14" fmla="*/ 714900 w 1117236"/>
                <a:gd name="connsiteY14" fmla="*/ 155448 h 764291"/>
                <a:gd name="connsiteX15" fmla="*/ 696612 w 1117236"/>
                <a:gd name="connsiteY15" fmla="*/ 146304 h 764291"/>
                <a:gd name="connsiteX16" fmla="*/ 824628 w 1117236"/>
                <a:gd name="connsiteY16" fmla="*/ 91440 h 764291"/>
                <a:gd name="connsiteX17" fmla="*/ 879492 w 1117236"/>
                <a:gd name="connsiteY17" fmla="*/ 91440 h 764291"/>
                <a:gd name="connsiteX18" fmla="*/ 970932 w 1117236"/>
                <a:gd name="connsiteY18" fmla="*/ 82296 h 764291"/>
                <a:gd name="connsiteX19" fmla="*/ 1098948 w 1117236"/>
                <a:gd name="connsiteY19" fmla="*/ 27432 h 764291"/>
                <a:gd name="connsiteX20" fmla="*/ 1080660 w 1117236"/>
                <a:gd name="connsiteY20" fmla="*/ 0 h 764291"/>
                <a:gd name="connsiteX21" fmla="*/ 1044084 w 1117236"/>
                <a:gd name="connsiteY21" fmla="*/ 27432 h 764291"/>
                <a:gd name="connsiteX22" fmla="*/ 1007508 w 1117236"/>
                <a:gd name="connsiteY22" fmla="*/ 36576 h 764291"/>
                <a:gd name="connsiteX23" fmla="*/ 934356 w 1117236"/>
                <a:gd name="connsiteY23" fmla="*/ 64008 h 764291"/>
                <a:gd name="connsiteX24" fmla="*/ 879492 w 1117236"/>
                <a:gd name="connsiteY24" fmla="*/ 64008 h 764291"/>
                <a:gd name="connsiteX25" fmla="*/ 769764 w 1117236"/>
                <a:gd name="connsiteY25" fmla="*/ 64008 h 764291"/>
                <a:gd name="connsiteX26" fmla="*/ 714900 w 1117236"/>
                <a:gd name="connsiteY26" fmla="*/ 100584 h 764291"/>
                <a:gd name="connsiteX27" fmla="*/ 678324 w 1117236"/>
                <a:gd name="connsiteY27" fmla="*/ 146304 h 764291"/>
                <a:gd name="connsiteX28" fmla="*/ 632604 w 1117236"/>
                <a:gd name="connsiteY28" fmla="*/ 182880 h 764291"/>
                <a:gd name="connsiteX29" fmla="*/ 586884 w 1117236"/>
                <a:gd name="connsiteY29" fmla="*/ 256032 h 764291"/>
                <a:gd name="connsiteX30" fmla="*/ 513732 w 1117236"/>
                <a:gd name="connsiteY30" fmla="*/ 301752 h 764291"/>
                <a:gd name="connsiteX31" fmla="*/ 413148 w 1117236"/>
                <a:gd name="connsiteY31" fmla="*/ 347472 h 764291"/>
                <a:gd name="connsiteX32" fmla="*/ 376572 w 1117236"/>
                <a:gd name="connsiteY32" fmla="*/ 374904 h 764291"/>
                <a:gd name="connsiteX33" fmla="*/ 330852 w 1117236"/>
                <a:gd name="connsiteY33" fmla="*/ 402336 h 764291"/>
                <a:gd name="connsiteX34" fmla="*/ 312564 w 1117236"/>
                <a:gd name="connsiteY34" fmla="*/ 402336 h 764291"/>
                <a:gd name="connsiteX35" fmla="*/ 330852 w 1117236"/>
                <a:gd name="connsiteY35" fmla="*/ 365760 h 764291"/>
                <a:gd name="connsiteX36" fmla="*/ 385716 w 1117236"/>
                <a:gd name="connsiteY36" fmla="*/ 301752 h 764291"/>
                <a:gd name="connsiteX37" fmla="*/ 477156 w 1117236"/>
                <a:gd name="connsiteY37" fmla="*/ 219456 h 764291"/>
                <a:gd name="connsiteX38" fmla="*/ 522876 w 1117236"/>
                <a:gd name="connsiteY38" fmla="*/ 146304 h 764291"/>
                <a:gd name="connsiteX39" fmla="*/ 522876 w 1117236"/>
                <a:gd name="connsiteY39" fmla="*/ 64008 h 764291"/>
                <a:gd name="connsiteX40" fmla="*/ 513732 w 1117236"/>
                <a:gd name="connsiteY40" fmla="*/ 54864 h 764291"/>
                <a:gd name="connsiteX41" fmla="*/ 504588 w 1117236"/>
                <a:gd name="connsiteY41" fmla="*/ 128016 h 764291"/>
                <a:gd name="connsiteX42" fmla="*/ 477156 w 1117236"/>
                <a:gd name="connsiteY42" fmla="*/ 173736 h 764291"/>
                <a:gd name="connsiteX43" fmla="*/ 404004 w 1117236"/>
                <a:gd name="connsiteY43" fmla="*/ 237744 h 764291"/>
                <a:gd name="connsiteX44" fmla="*/ 376572 w 1117236"/>
                <a:gd name="connsiteY44" fmla="*/ 256032 h 764291"/>
                <a:gd name="connsiteX45" fmla="*/ 303420 w 1117236"/>
                <a:gd name="connsiteY45" fmla="*/ 347472 h 764291"/>
                <a:gd name="connsiteX46" fmla="*/ 294276 w 1117236"/>
                <a:gd name="connsiteY46" fmla="*/ 374904 h 764291"/>
                <a:gd name="connsiteX47" fmla="*/ 64841 w 1117236"/>
                <a:gd name="connsiteY47" fmla="*/ 382398 h 764291"/>
                <a:gd name="connsiteX48" fmla="*/ 104431 w 1117236"/>
                <a:gd name="connsiteY48" fmla="*/ 471732 h 764291"/>
                <a:gd name="connsiteX49" fmla="*/ 52216 w 1117236"/>
                <a:gd name="connsiteY49" fmla="*/ 528677 h 764291"/>
                <a:gd name="connsiteX50" fmla="*/ 144021 w 1117236"/>
                <a:gd name="connsiteY50" fmla="*/ 561066 h 764291"/>
                <a:gd name="connsiteX51" fmla="*/ 0 w 1117236"/>
                <a:gd name="connsiteY51" fmla="*/ 585623 h 764291"/>
                <a:gd name="connsiteX52" fmla="*/ 39590 w 1117236"/>
                <a:gd name="connsiteY52" fmla="*/ 674957 h 764291"/>
                <a:gd name="connsiteX53" fmla="*/ 39591 w 1117236"/>
                <a:gd name="connsiteY53" fmla="*/ 674957 h 764291"/>
                <a:gd name="connsiteX54" fmla="*/ 79182 w 1117236"/>
                <a:gd name="connsiteY54" fmla="*/ 764291 h 764291"/>
                <a:gd name="connsiteX55" fmla="*/ 183612 w 1117236"/>
                <a:gd name="connsiteY55" fmla="*/ 650399 h 764291"/>
                <a:gd name="connsiteX0" fmla="*/ 183612 w 1117236"/>
                <a:gd name="connsiteY0" fmla="*/ 650399 h 764291"/>
                <a:gd name="connsiteX1" fmla="*/ 228776 w 1117236"/>
                <a:gd name="connsiteY1" fmla="*/ 468067 h 764291"/>
                <a:gd name="connsiteX2" fmla="*/ 228776 w 1117236"/>
                <a:gd name="connsiteY2" fmla="*/ 468067 h 764291"/>
                <a:gd name="connsiteX3" fmla="*/ 183611 w 1117236"/>
                <a:gd name="connsiteY3" fmla="*/ 650399 h 764291"/>
                <a:gd name="connsiteX4" fmla="*/ 340256 w 1117236"/>
                <a:gd name="connsiteY4" fmla="*/ 479563 h 764291"/>
                <a:gd name="connsiteX5" fmla="*/ 413148 w 1117236"/>
                <a:gd name="connsiteY5" fmla="*/ 384048 h 764291"/>
                <a:gd name="connsiteX6" fmla="*/ 605172 w 1117236"/>
                <a:gd name="connsiteY6" fmla="*/ 301752 h 764291"/>
                <a:gd name="connsiteX7" fmla="*/ 687468 w 1117236"/>
                <a:gd name="connsiteY7" fmla="*/ 192024 h 764291"/>
                <a:gd name="connsiteX8" fmla="*/ 833772 w 1117236"/>
                <a:gd name="connsiteY8" fmla="*/ 155448 h 764291"/>
                <a:gd name="connsiteX9" fmla="*/ 879492 w 1117236"/>
                <a:gd name="connsiteY9" fmla="*/ 155448 h 764291"/>
                <a:gd name="connsiteX10" fmla="*/ 916068 w 1117236"/>
                <a:gd name="connsiteY10" fmla="*/ 137160 h 764291"/>
                <a:gd name="connsiteX11" fmla="*/ 870348 w 1117236"/>
                <a:gd name="connsiteY11" fmla="*/ 137160 h 764291"/>
                <a:gd name="connsiteX12" fmla="*/ 778908 w 1117236"/>
                <a:gd name="connsiteY12" fmla="*/ 137160 h 764291"/>
                <a:gd name="connsiteX13" fmla="*/ 724044 w 1117236"/>
                <a:gd name="connsiteY13" fmla="*/ 146304 h 764291"/>
                <a:gd name="connsiteX14" fmla="*/ 714900 w 1117236"/>
                <a:gd name="connsiteY14" fmla="*/ 155448 h 764291"/>
                <a:gd name="connsiteX15" fmla="*/ 696612 w 1117236"/>
                <a:gd name="connsiteY15" fmla="*/ 146304 h 764291"/>
                <a:gd name="connsiteX16" fmla="*/ 824628 w 1117236"/>
                <a:gd name="connsiteY16" fmla="*/ 91440 h 764291"/>
                <a:gd name="connsiteX17" fmla="*/ 879492 w 1117236"/>
                <a:gd name="connsiteY17" fmla="*/ 91440 h 764291"/>
                <a:gd name="connsiteX18" fmla="*/ 970932 w 1117236"/>
                <a:gd name="connsiteY18" fmla="*/ 82296 h 764291"/>
                <a:gd name="connsiteX19" fmla="*/ 1098948 w 1117236"/>
                <a:gd name="connsiteY19" fmla="*/ 27432 h 764291"/>
                <a:gd name="connsiteX20" fmla="*/ 1080660 w 1117236"/>
                <a:gd name="connsiteY20" fmla="*/ 0 h 764291"/>
                <a:gd name="connsiteX21" fmla="*/ 1044084 w 1117236"/>
                <a:gd name="connsiteY21" fmla="*/ 27432 h 764291"/>
                <a:gd name="connsiteX22" fmla="*/ 1007508 w 1117236"/>
                <a:gd name="connsiteY22" fmla="*/ 36576 h 764291"/>
                <a:gd name="connsiteX23" fmla="*/ 934356 w 1117236"/>
                <a:gd name="connsiteY23" fmla="*/ 64008 h 764291"/>
                <a:gd name="connsiteX24" fmla="*/ 879492 w 1117236"/>
                <a:gd name="connsiteY24" fmla="*/ 64008 h 764291"/>
                <a:gd name="connsiteX25" fmla="*/ 769764 w 1117236"/>
                <a:gd name="connsiteY25" fmla="*/ 64008 h 764291"/>
                <a:gd name="connsiteX26" fmla="*/ 714900 w 1117236"/>
                <a:gd name="connsiteY26" fmla="*/ 100584 h 764291"/>
                <a:gd name="connsiteX27" fmla="*/ 678324 w 1117236"/>
                <a:gd name="connsiteY27" fmla="*/ 146304 h 764291"/>
                <a:gd name="connsiteX28" fmla="*/ 632604 w 1117236"/>
                <a:gd name="connsiteY28" fmla="*/ 182880 h 764291"/>
                <a:gd name="connsiteX29" fmla="*/ 586884 w 1117236"/>
                <a:gd name="connsiteY29" fmla="*/ 256032 h 764291"/>
                <a:gd name="connsiteX30" fmla="*/ 513732 w 1117236"/>
                <a:gd name="connsiteY30" fmla="*/ 301752 h 764291"/>
                <a:gd name="connsiteX31" fmla="*/ 413148 w 1117236"/>
                <a:gd name="connsiteY31" fmla="*/ 347472 h 764291"/>
                <a:gd name="connsiteX32" fmla="*/ 376572 w 1117236"/>
                <a:gd name="connsiteY32" fmla="*/ 374904 h 764291"/>
                <a:gd name="connsiteX33" fmla="*/ 330852 w 1117236"/>
                <a:gd name="connsiteY33" fmla="*/ 402336 h 764291"/>
                <a:gd name="connsiteX34" fmla="*/ 312564 w 1117236"/>
                <a:gd name="connsiteY34" fmla="*/ 402336 h 764291"/>
                <a:gd name="connsiteX35" fmla="*/ 330852 w 1117236"/>
                <a:gd name="connsiteY35" fmla="*/ 365760 h 764291"/>
                <a:gd name="connsiteX36" fmla="*/ 385716 w 1117236"/>
                <a:gd name="connsiteY36" fmla="*/ 301752 h 764291"/>
                <a:gd name="connsiteX37" fmla="*/ 477156 w 1117236"/>
                <a:gd name="connsiteY37" fmla="*/ 219456 h 764291"/>
                <a:gd name="connsiteX38" fmla="*/ 522876 w 1117236"/>
                <a:gd name="connsiteY38" fmla="*/ 146304 h 764291"/>
                <a:gd name="connsiteX39" fmla="*/ 522876 w 1117236"/>
                <a:gd name="connsiteY39" fmla="*/ 64008 h 764291"/>
                <a:gd name="connsiteX40" fmla="*/ 513732 w 1117236"/>
                <a:gd name="connsiteY40" fmla="*/ 54864 h 764291"/>
                <a:gd name="connsiteX41" fmla="*/ 504588 w 1117236"/>
                <a:gd name="connsiteY41" fmla="*/ 128016 h 764291"/>
                <a:gd name="connsiteX42" fmla="*/ 477156 w 1117236"/>
                <a:gd name="connsiteY42" fmla="*/ 173736 h 764291"/>
                <a:gd name="connsiteX43" fmla="*/ 404004 w 1117236"/>
                <a:gd name="connsiteY43" fmla="*/ 237744 h 764291"/>
                <a:gd name="connsiteX44" fmla="*/ 376572 w 1117236"/>
                <a:gd name="connsiteY44" fmla="*/ 256032 h 764291"/>
                <a:gd name="connsiteX45" fmla="*/ 303420 w 1117236"/>
                <a:gd name="connsiteY45" fmla="*/ 347472 h 764291"/>
                <a:gd name="connsiteX46" fmla="*/ 294276 w 1117236"/>
                <a:gd name="connsiteY46" fmla="*/ 374904 h 764291"/>
                <a:gd name="connsiteX47" fmla="*/ 64841 w 1117236"/>
                <a:gd name="connsiteY47" fmla="*/ 382398 h 764291"/>
                <a:gd name="connsiteX48" fmla="*/ 104431 w 1117236"/>
                <a:gd name="connsiteY48" fmla="*/ 471732 h 764291"/>
                <a:gd name="connsiteX49" fmla="*/ 52216 w 1117236"/>
                <a:gd name="connsiteY49" fmla="*/ 528677 h 764291"/>
                <a:gd name="connsiteX50" fmla="*/ 144021 w 1117236"/>
                <a:gd name="connsiteY50" fmla="*/ 561066 h 764291"/>
                <a:gd name="connsiteX51" fmla="*/ 0 w 1117236"/>
                <a:gd name="connsiteY51" fmla="*/ 585623 h 764291"/>
                <a:gd name="connsiteX52" fmla="*/ 39590 w 1117236"/>
                <a:gd name="connsiteY52" fmla="*/ 674957 h 764291"/>
                <a:gd name="connsiteX53" fmla="*/ 39591 w 1117236"/>
                <a:gd name="connsiteY53" fmla="*/ 674957 h 764291"/>
                <a:gd name="connsiteX54" fmla="*/ 79182 w 1117236"/>
                <a:gd name="connsiteY54" fmla="*/ 764291 h 764291"/>
                <a:gd name="connsiteX55" fmla="*/ 183612 w 1117236"/>
                <a:gd name="connsiteY55" fmla="*/ 650399 h 764291"/>
                <a:gd name="connsiteX0" fmla="*/ 183612 w 1117236"/>
                <a:gd name="connsiteY0" fmla="*/ 650399 h 764291"/>
                <a:gd name="connsiteX1" fmla="*/ 228776 w 1117236"/>
                <a:gd name="connsiteY1" fmla="*/ 468067 h 764291"/>
                <a:gd name="connsiteX2" fmla="*/ 228776 w 1117236"/>
                <a:gd name="connsiteY2" fmla="*/ 468067 h 764291"/>
                <a:gd name="connsiteX3" fmla="*/ 183611 w 1117236"/>
                <a:gd name="connsiteY3" fmla="*/ 650399 h 764291"/>
                <a:gd name="connsiteX4" fmla="*/ 340256 w 1117236"/>
                <a:gd name="connsiteY4" fmla="*/ 479563 h 764291"/>
                <a:gd name="connsiteX5" fmla="*/ 413148 w 1117236"/>
                <a:gd name="connsiteY5" fmla="*/ 384048 h 764291"/>
                <a:gd name="connsiteX6" fmla="*/ 605172 w 1117236"/>
                <a:gd name="connsiteY6" fmla="*/ 301752 h 764291"/>
                <a:gd name="connsiteX7" fmla="*/ 687468 w 1117236"/>
                <a:gd name="connsiteY7" fmla="*/ 192024 h 764291"/>
                <a:gd name="connsiteX8" fmla="*/ 833772 w 1117236"/>
                <a:gd name="connsiteY8" fmla="*/ 155448 h 764291"/>
                <a:gd name="connsiteX9" fmla="*/ 879492 w 1117236"/>
                <a:gd name="connsiteY9" fmla="*/ 155448 h 764291"/>
                <a:gd name="connsiteX10" fmla="*/ 916068 w 1117236"/>
                <a:gd name="connsiteY10" fmla="*/ 137160 h 764291"/>
                <a:gd name="connsiteX11" fmla="*/ 870348 w 1117236"/>
                <a:gd name="connsiteY11" fmla="*/ 137160 h 764291"/>
                <a:gd name="connsiteX12" fmla="*/ 778908 w 1117236"/>
                <a:gd name="connsiteY12" fmla="*/ 137160 h 764291"/>
                <a:gd name="connsiteX13" fmla="*/ 724044 w 1117236"/>
                <a:gd name="connsiteY13" fmla="*/ 146304 h 764291"/>
                <a:gd name="connsiteX14" fmla="*/ 714900 w 1117236"/>
                <a:gd name="connsiteY14" fmla="*/ 155448 h 764291"/>
                <a:gd name="connsiteX15" fmla="*/ 696612 w 1117236"/>
                <a:gd name="connsiteY15" fmla="*/ 146304 h 764291"/>
                <a:gd name="connsiteX16" fmla="*/ 824628 w 1117236"/>
                <a:gd name="connsiteY16" fmla="*/ 91440 h 764291"/>
                <a:gd name="connsiteX17" fmla="*/ 879492 w 1117236"/>
                <a:gd name="connsiteY17" fmla="*/ 91440 h 764291"/>
                <a:gd name="connsiteX18" fmla="*/ 970932 w 1117236"/>
                <a:gd name="connsiteY18" fmla="*/ 82296 h 764291"/>
                <a:gd name="connsiteX19" fmla="*/ 1098948 w 1117236"/>
                <a:gd name="connsiteY19" fmla="*/ 27432 h 764291"/>
                <a:gd name="connsiteX20" fmla="*/ 1080660 w 1117236"/>
                <a:gd name="connsiteY20" fmla="*/ 0 h 764291"/>
                <a:gd name="connsiteX21" fmla="*/ 1044084 w 1117236"/>
                <a:gd name="connsiteY21" fmla="*/ 27432 h 764291"/>
                <a:gd name="connsiteX22" fmla="*/ 1007508 w 1117236"/>
                <a:gd name="connsiteY22" fmla="*/ 36576 h 764291"/>
                <a:gd name="connsiteX23" fmla="*/ 934356 w 1117236"/>
                <a:gd name="connsiteY23" fmla="*/ 64008 h 764291"/>
                <a:gd name="connsiteX24" fmla="*/ 879492 w 1117236"/>
                <a:gd name="connsiteY24" fmla="*/ 64008 h 764291"/>
                <a:gd name="connsiteX25" fmla="*/ 769764 w 1117236"/>
                <a:gd name="connsiteY25" fmla="*/ 64008 h 764291"/>
                <a:gd name="connsiteX26" fmla="*/ 714900 w 1117236"/>
                <a:gd name="connsiteY26" fmla="*/ 100584 h 764291"/>
                <a:gd name="connsiteX27" fmla="*/ 678324 w 1117236"/>
                <a:gd name="connsiteY27" fmla="*/ 146304 h 764291"/>
                <a:gd name="connsiteX28" fmla="*/ 632604 w 1117236"/>
                <a:gd name="connsiteY28" fmla="*/ 182880 h 764291"/>
                <a:gd name="connsiteX29" fmla="*/ 586884 w 1117236"/>
                <a:gd name="connsiteY29" fmla="*/ 256032 h 764291"/>
                <a:gd name="connsiteX30" fmla="*/ 513732 w 1117236"/>
                <a:gd name="connsiteY30" fmla="*/ 301752 h 764291"/>
                <a:gd name="connsiteX31" fmla="*/ 413148 w 1117236"/>
                <a:gd name="connsiteY31" fmla="*/ 347472 h 764291"/>
                <a:gd name="connsiteX32" fmla="*/ 376572 w 1117236"/>
                <a:gd name="connsiteY32" fmla="*/ 374904 h 764291"/>
                <a:gd name="connsiteX33" fmla="*/ 330852 w 1117236"/>
                <a:gd name="connsiteY33" fmla="*/ 402336 h 764291"/>
                <a:gd name="connsiteX34" fmla="*/ 312564 w 1117236"/>
                <a:gd name="connsiteY34" fmla="*/ 402336 h 764291"/>
                <a:gd name="connsiteX35" fmla="*/ 330852 w 1117236"/>
                <a:gd name="connsiteY35" fmla="*/ 365760 h 764291"/>
                <a:gd name="connsiteX36" fmla="*/ 385716 w 1117236"/>
                <a:gd name="connsiteY36" fmla="*/ 301752 h 764291"/>
                <a:gd name="connsiteX37" fmla="*/ 477156 w 1117236"/>
                <a:gd name="connsiteY37" fmla="*/ 219456 h 764291"/>
                <a:gd name="connsiteX38" fmla="*/ 522876 w 1117236"/>
                <a:gd name="connsiteY38" fmla="*/ 146304 h 764291"/>
                <a:gd name="connsiteX39" fmla="*/ 522876 w 1117236"/>
                <a:gd name="connsiteY39" fmla="*/ 64008 h 764291"/>
                <a:gd name="connsiteX40" fmla="*/ 513732 w 1117236"/>
                <a:gd name="connsiteY40" fmla="*/ 54864 h 764291"/>
                <a:gd name="connsiteX41" fmla="*/ 504588 w 1117236"/>
                <a:gd name="connsiteY41" fmla="*/ 128016 h 764291"/>
                <a:gd name="connsiteX42" fmla="*/ 477156 w 1117236"/>
                <a:gd name="connsiteY42" fmla="*/ 173736 h 764291"/>
                <a:gd name="connsiteX43" fmla="*/ 404004 w 1117236"/>
                <a:gd name="connsiteY43" fmla="*/ 237744 h 764291"/>
                <a:gd name="connsiteX44" fmla="*/ 376572 w 1117236"/>
                <a:gd name="connsiteY44" fmla="*/ 256032 h 764291"/>
                <a:gd name="connsiteX45" fmla="*/ 303420 w 1117236"/>
                <a:gd name="connsiteY45" fmla="*/ 347472 h 764291"/>
                <a:gd name="connsiteX46" fmla="*/ 294276 w 1117236"/>
                <a:gd name="connsiteY46" fmla="*/ 374904 h 764291"/>
                <a:gd name="connsiteX47" fmla="*/ 248451 w 1117236"/>
                <a:gd name="connsiteY47" fmla="*/ 447174 h 764291"/>
                <a:gd name="connsiteX48" fmla="*/ 104431 w 1117236"/>
                <a:gd name="connsiteY48" fmla="*/ 471732 h 764291"/>
                <a:gd name="connsiteX49" fmla="*/ 52216 w 1117236"/>
                <a:gd name="connsiteY49" fmla="*/ 528677 h 764291"/>
                <a:gd name="connsiteX50" fmla="*/ 144021 w 1117236"/>
                <a:gd name="connsiteY50" fmla="*/ 561066 h 764291"/>
                <a:gd name="connsiteX51" fmla="*/ 0 w 1117236"/>
                <a:gd name="connsiteY51" fmla="*/ 585623 h 764291"/>
                <a:gd name="connsiteX52" fmla="*/ 39590 w 1117236"/>
                <a:gd name="connsiteY52" fmla="*/ 674957 h 764291"/>
                <a:gd name="connsiteX53" fmla="*/ 39591 w 1117236"/>
                <a:gd name="connsiteY53" fmla="*/ 674957 h 764291"/>
                <a:gd name="connsiteX54" fmla="*/ 79182 w 1117236"/>
                <a:gd name="connsiteY54" fmla="*/ 764291 h 764291"/>
                <a:gd name="connsiteX55" fmla="*/ 183612 w 1117236"/>
                <a:gd name="connsiteY55" fmla="*/ 650399 h 764291"/>
                <a:gd name="connsiteX0" fmla="*/ 183612 w 1117236"/>
                <a:gd name="connsiteY0" fmla="*/ 650399 h 796679"/>
                <a:gd name="connsiteX1" fmla="*/ 228776 w 1117236"/>
                <a:gd name="connsiteY1" fmla="*/ 468067 h 796679"/>
                <a:gd name="connsiteX2" fmla="*/ 170986 w 1117236"/>
                <a:gd name="connsiteY2" fmla="*/ 796679 h 796679"/>
                <a:gd name="connsiteX3" fmla="*/ 183611 w 1117236"/>
                <a:gd name="connsiteY3" fmla="*/ 650399 h 796679"/>
                <a:gd name="connsiteX4" fmla="*/ 340256 w 1117236"/>
                <a:gd name="connsiteY4" fmla="*/ 479563 h 796679"/>
                <a:gd name="connsiteX5" fmla="*/ 413148 w 1117236"/>
                <a:gd name="connsiteY5" fmla="*/ 384048 h 796679"/>
                <a:gd name="connsiteX6" fmla="*/ 605172 w 1117236"/>
                <a:gd name="connsiteY6" fmla="*/ 301752 h 796679"/>
                <a:gd name="connsiteX7" fmla="*/ 687468 w 1117236"/>
                <a:gd name="connsiteY7" fmla="*/ 192024 h 796679"/>
                <a:gd name="connsiteX8" fmla="*/ 833772 w 1117236"/>
                <a:gd name="connsiteY8" fmla="*/ 155448 h 796679"/>
                <a:gd name="connsiteX9" fmla="*/ 879492 w 1117236"/>
                <a:gd name="connsiteY9" fmla="*/ 155448 h 796679"/>
                <a:gd name="connsiteX10" fmla="*/ 916068 w 1117236"/>
                <a:gd name="connsiteY10" fmla="*/ 137160 h 796679"/>
                <a:gd name="connsiteX11" fmla="*/ 870348 w 1117236"/>
                <a:gd name="connsiteY11" fmla="*/ 137160 h 796679"/>
                <a:gd name="connsiteX12" fmla="*/ 778908 w 1117236"/>
                <a:gd name="connsiteY12" fmla="*/ 137160 h 796679"/>
                <a:gd name="connsiteX13" fmla="*/ 724044 w 1117236"/>
                <a:gd name="connsiteY13" fmla="*/ 146304 h 796679"/>
                <a:gd name="connsiteX14" fmla="*/ 714900 w 1117236"/>
                <a:gd name="connsiteY14" fmla="*/ 155448 h 796679"/>
                <a:gd name="connsiteX15" fmla="*/ 696612 w 1117236"/>
                <a:gd name="connsiteY15" fmla="*/ 146304 h 796679"/>
                <a:gd name="connsiteX16" fmla="*/ 824628 w 1117236"/>
                <a:gd name="connsiteY16" fmla="*/ 91440 h 796679"/>
                <a:gd name="connsiteX17" fmla="*/ 879492 w 1117236"/>
                <a:gd name="connsiteY17" fmla="*/ 91440 h 796679"/>
                <a:gd name="connsiteX18" fmla="*/ 970932 w 1117236"/>
                <a:gd name="connsiteY18" fmla="*/ 82296 h 796679"/>
                <a:gd name="connsiteX19" fmla="*/ 1098948 w 1117236"/>
                <a:gd name="connsiteY19" fmla="*/ 27432 h 796679"/>
                <a:gd name="connsiteX20" fmla="*/ 1080660 w 1117236"/>
                <a:gd name="connsiteY20" fmla="*/ 0 h 796679"/>
                <a:gd name="connsiteX21" fmla="*/ 1044084 w 1117236"/>
                <a:gd name="connsiteY21" fmla="*/ 27432 h 796679"/>
                <a:gd name="connsiteX22" fmla="*/ 1007508 w 1117236"/>
                <a:gd name="connsiteY22" fmla="*/ 36576 h 796679"/>
                <a:gd name="connsiteX23" fmla="*/ 934356 w 1117236"/>
                <a:gd name="connsiteY23" fmla="*/ 64008 h 796679"/>
                <a:gd name="connsiteX24" fmla="*/ 879492 w 1117236"/>
                <a:gd name="connsiteY24" fmla="*/ 64008 h 796679"/>
                <a:gd name="connsiteX25" fmla="*/ 769764 w 1117236"/>
                <a:gd name="connsiteY25" fmla="*/ 64008 h 796679"/>
                <a:gd name="connsiteX26" fmla="*/ 714900 w 1117236"/>
                <a:gd name="connsiteY26" fmla="*/ 100584 h 796679"/>
                <a:gd name="connsiteX27" fmla="*/ 678324 w 1117236"/>
                <a:gd name="connsiteY27" fmla="*/ 146304 h 796679"/>
                <a:gd name="connsiteX28" fmla="*/ 632604 w 1117236"/>
                <a:gd name="connsiteY28" fmla="*/ 182880 h 796679"/>
                <a:gd name="connsiteX29" fmla="*/ 586884 w 1117236"/>
                <a:gd name="connsiteY29" fmla="*/ 256032 h 796679"/>
                <a:gd name="connsiteX30" fmla="*/ 513732 w 1117236"/>
                <a:gd name="connsiteY30" fmla="*/ 301752 h 796679"/>
                <a:gd name="connsiteX31" fmla="*/ 413148 w 1117236"/>
                <a:gd name="connsiteY31" fmla="*/ 347472 h 796679"/>
                <a:gd name="connsiteX32" fmla="*/ 376572 w 1117236"/>
                <a:gd name="connsiteY32" fmla="*/ 374904 h 796679"/>
                <a:gd name="connsiteX33" fmla="*/ 330852 w 1117236"/>
                <a:gd name="connsiteY33" fmla="*/ 402336 h 796679"/>
                <a:gd name="connsiteX34" fmla="*/ 312564 w 1117236"/>
                <a:gd name="connsiteY34" fmla="*/ 402336 h 796679"/>
                <a:gd name="connsiteX35" fmla="*/ 330852 w 1117236"/>
                <a:gd name="connsiteY35" fmla="*/ 365760 h 796679"/>
                <a:gd name="connsiteX36" fmla="*/ 385716 w 1117236"/>
                <a:gd name="connsiteY36" fmla="*/ 301752 h 796679"/>
                <a:gd name="connsiteX37" fmla="*/ 477156 w 1117236"/>
                <a:gd name="connsiteY37" fmla="*/ 219456 h 796679"/>
                <a:gd name="connsiteX38" fmla="*/ 522876 w 1117236"/>
                <a:gd name="connsiteY38" fmla="*/ 146304 h 796679"/>
                <a:gd name="connsiteX39" fmla="*/ 522876 w 1117236"/>
                <a:gd name="connsiteY39" fmla="*/ 64008 h 796679"/>
                <a:gd name="connsiteX40" fmla="*/ 513732 w 1117236"/>
                <a:gd name="connsiteY40" fmla="*/ 54864 h 796679"/>
                <a:gd name="connsiteX41" fmla="*/ 504588 w 1117236"/>
                <a:gd name="connsiteY41" fmla="*/ 128016 h 796679"/>
                <a:gd name="connsiteX42" fmla="*/ 477156 w 1117236"/>
                <a:gd name="connsiteY42" fmla="*/ 173736 h 796679"/>
                <a:gd name="connsiteX43" fmla="*/ 404004 w 1117236"/>
                <a:gd name="connsiteY43" fmla="*/ 237744 h 796679"/>
                <a:gd name="connsiteX44" fmla="*/ 376572 w 1117236"/>
                <a:gd name="connsiteY44" fmla="*/ 256032 h 796679"/>
                <a:gd name="connsiteX45" fmla="*/ 303420 w 1117236"/>
                <a:gd name="connsiteY45" fmla="*/ 347472 h 796679"/>
                <a:gd name="connsiteX46" fmla="*/ 294276 w 1117236"/>
                <a:gd name="connsiteY46" fmla="*/ 374904 h 796679"/>
                <a:gd name="connsiteX47" fmla="*/ 248451 w 1117236"/>
                <a:gd name="connsiteY47" fmla="*/ 447174 h 796679"/>
                <a:gd name="connsiteX48" fmla="*/ 104431 w 1117236"/>
                <a:gd name="connsiteY48" fmla="*/ 471732 h 796679"/>
                <a:gd name="connsiteX49" fmla="*/ 52216 w 1117236"/>
                <a:gd name="connsiteY49" fmla="*/ 528677 h 796679"/>
                <a:gd name="connsiteX50" fmla="*/ 144021 w 1117236"/>
                <a:gd name="connsiteY50" fmla="*/ 561066 h 796679"/>
                <a:gd name="connsiteX51" fmla="*/ 0 w 1117236"/>
                <a:gd name="connsiteY51" fmla="*/ 585623 h 796679"/>
                <a:gd name="connsiteX52" fmla="*/ 39590 w 1117236"/>
                <a:gd name="connsiteY52" fmla="*/ 674957 h 796679"/>
                <a:gd name="connsiteX53" fmla="*/ 39591 w 1117236"/>
                <a:gd name="connsiteY53" fmla="*/ 674957 h 796679"/>
                <a:gd name="connsiteX54" fmla="*/ 79182 w 1117236"/>
                <a:gd name="connsiteY54" fmla="*/ 764291 h 796679"/>
                <a:gd name="connsiteX55" fmla="*/ 183612 w 1117236"/>
                <a:gd name="connsiteY55" fmla="*/ 650399 h 796679"/>
                <a:gd name="connsiteX0" fmla="*/ 183612 w 1117236"/>
                <a:gd name="connsiteY0" fmla="*/ 650399 h 796679"/>
                <a:gd name="connsiteX1" fmla="*/ 223201 w 1117236"/>
                <a:gd name="connsiteY1" fmla="*/ 739734 h 796679"/>
                <a:gd name="connsiteX2" fmla="*/ 170986 w 1117236"/>
                <a:gd name="connsiteY2" fmla="*/ 796679 h 796679"/>
                <a:gd name="connsiteX3" fmla="*/ 183611 w 1117236"/>
                <a:gd name="connsiteY3" fmla="*/ 650399 h 796679"/>
                <a:gd name="connsiteX4" fmla="*/ 340256 w 1117236"/>
                <a:gd name="connsiteY4" fmla="*/ 479563 h 796679"/>
                <a:gd name="connsiteX5" fmla="*/ 413148 w 1117236"/>
                <a:gd name="connsiteY5" fmla="*/ 384048 h 796679"/>
                <a:gd name="connsiteX6" fmla="*/ 605172 w 1117236"/>
                <a:gd name="connsiteY6" fmla="*/ 301752 h 796679"/>
                <a:gd name="connsiteX7" fmla="*/ 687468 w 1117236"/>
                <a:gd name="connsiteY7" fmla="*/ 192024 h 796679"/>
                <a:gd name="connsiteX8" fmla="*/ 833772 w 1117236"/>
                <a:gd name="connsiteY8" fmla="*/ 155448 h 796679"/>
                <a:gd name="connsiteX9" fmla="*/ 879492 w 1117236"/>
                <a:gd name="connsiteY9" fmla="*/ 155448 h 796679"/>
                <a:gd name="connsiteX10" fmla="*/ 916068 w 1117236"/>
                <a:gd name="connsiteY10" fmla="*/ 137160 h 796679"/>
                <a:gd name="connsiteX11" fmla="*/ 870348 w 1117236"/>
                <a:gd name="connsiteY11" fmla="*/ 137160 h 796679"/>
                <a:gd name="connsiteX12" fmla="*/ 778908 w 1117236"/>
                <a:gd name="connsiteY12" fmla="*/ 137160 h 796679"/>
                <a:gd name="connsiteX13" fmla="*/ 724044 w 1117236"/>
                <a:gd name="connsiteY13" fmla="*/ 146304 h 796679"/>
                <a:gd name="connsiteX14" fmla="*/ 714900 w 1117236"/>
                <a:gd name="connsiteY14" fmla="*/ 155448 h 796679"/>
                <a:gd name="connsiteX15" fmla="*/ 696612 w 1117236"/>
                <a:gd name="connsiteY15" fmla="*/ 146304 h 796679"/>
                <a:gd name="connsiteX16" fmla="*/ 824628 w 1117236"/>
                <a:gd name="connsiteY16" fmla="*/ 91440 h 796679"/>
                <a:gd name="connsiteX17" fmla="*/ 879492 w 1117236"/>
                <a:gd name="connsiteY17" fmla="*/ 91440 h 796679"/>
                <a:gd name="connsiteX18" fmla="*/ 970932 w 1117236"/>
                <a:gd name="connsiteY18" fmla="*/ 82296 h 796679"/>
                <a:gd name="connsiteX19" fmla="*/ 1098948 w 1117236"/>
                <a:gd name="connsiteY19" fmla="*/ 27432 h 796679"/>
                <a:gd name="connsiteX20" fmla="*/ 1080660 w 1117236"/>
                <a:gd name="connsiteY20" fmla="*/ 0 h 796679"/>
                <a:gd name="connsiteX21" fmla="*/ 1044084 w 1117236"/>
                <a:gd name="connsiteY21" fmla="*/ 27432 h 796679"/>
                <a:gd name="connsiteX22" fmla="*/ 1007508 w 1117236"/>
                <a:gd name="connsiteY22" fmla="*/ 36576 h 796679"/>
                <a:gd name="connsiteX23" fmla="*/ 934356 w 1117236"/>
                <a:gd name="connsiteY23" fmla="*/ 64008 h 796679"/>
                <a:gd name="connsiteX24" fmla="*/ 879492 w 1117236"/>
                <a:gd name="connsiteY24" fmla="*/ 64008 h 796679"/>
                <a:gd name="connsiteX25" fmla="*/ 769764 w 1117236"/>
                <a:gd name="connsiteY25" fmla="*/ 64008 h 796679"/>
                <a:gd name="connsiteX26" fmla="*/ 714900 w 1117236"/>
                <a:gd name="connsiteY26" fmla="*/ 100584 h 796679"/>
                <a:gd name="connsiteX27" fmla="*/ 678324 w 1117236"/>
                <a:gd name="connsiteY27" fmla="*/ 146304 h 796679"/>
                <a:gd name="connsiteX28" fmla="*/ 632604 w 1117236"/>
                <a:gd name="connsiteY28" fmla="*/ 182880 h 796679"/>
                <a:gd name="connsiteX29" fmla="*/ 586884 w 1117236"/>
                <a:gd name="connsiteY29" fmla="*/ 256032 h 796679"/>
                <a:gd name="connsiteX30" fmla="*/ 513732 w 1117236"/>
                <a:gd name="connsiteY30" fmla="*/ 301752 h 796679"/>
                <a:gd name="connsiteX31" fmla="*/ 413148 w 1117236"/>
                <a:gd name="connsiteY31" fmla="*/ 347472 h 796679"/>
                <a:gd name="connsiteX32" fmla="*/ 376572 w 1117236"/>
                <a:gd name="connsiteY32" fmla="*/ 374904 h 796679"/>
                <a:gd name="connsiteX33" fmla="*/ 330852 w 1117236"/>
                <a:gd name="connsiteY33" fmla="*/ 402336 h 796679"/>
                <a:gd name="connsiteX34" fmla="*/ 312564 w 1117236"/>
                <a:gd name="connsiteY34" fmla="*/ 402336 h 796679"/>
                <a:gd name="connsiteX35" fmla="*/ 330852 w 1117236"/>
                <a:gd name="connsiteY35" fmla="*/ 365760 h 796679"/>
                <a:gd name="connsiteX36" fmla="*/ 385716 w 1117236"/>
                <a:gd name="connsiteY36" fmla="*/ 301752 h 796679"/>
                <a:gd name="connsiteX37" fmla="*/ 477156 w 1117236"/>
                <a:gd name="connsiteY37" fmla="*/ 219456 h 796679"/>
                <a:gd name="connsiteX38" fmla="*/ 522876 w 1117236"/>
                <a:gd name="connsiteY38" fmla="*/ 146304 h 796679"/>
                <a:gd name="connsiteX39" fmla="*/ 522876 w 1117236"/>
                <a:gd name="connsiteY39" fmla="*/ 64008 h 796679"/>
                <a:gd name="connsiteX40" fmla="*/ 513732 w 1117236"/>
                <a:gd name="connsiteY40" fmla="*/ 54864 h 796679"/>
                <a:gd name="connsiteX41" fmla="*/ 504588 w 1117236"/>
                <a:gd name="connsiteY41" fmla="*/ 128016 h 796679"/>
                <a:gd name="connsiteX42" fmla="*/ 477156 w 1117236"/>
                <a:gd name="connsiteY42" fmla="*/ 173736 h 796679"/>
                <a:gd name="connsiteX43" fmla="*/ 404004 w 1117236"/>
                <a:gd name="connsiteY43" fmla="*/ 237744 h 796679"/>
                <a:gd name="connsiteX44" fmla="*/ 376572 w 1117236"/>
                <a:gd name="connsiteY44" fmla="*/ 256032 h 796679"/>
                <a:gd name="connsiteX45" fmla="*/ 303420 w 1117236"/>
                <a:gd name="connsiteY45" fmla="*/ 347472 h 796679"/>
                <a:gd name="connsiteX46" fmla="*/ 294276 w 1117236"/>
                <a:gd name="connsiteY46" fmla="*/ 374904 h 796679"/>
                <a:gd name="connsiteX47" fmla="*/ 248451 w 1117236"/>
                <a:gd name="connsiteY47" fmla="*/ 447174 h 796679"/>
                <a:gd name="connsiteX48" fmla="*/ 104431 w 1117236"/>
                <a:gd name="connsiteY48" fmla="*/ 471732 h 796679"/>
                <a:gd name="connsiteX49" fmla="*/ 52216 w 1117236"/>
                <a:gd name="connsiteY49" fmla="*/ 528677 h 796679"/>
                <a:gd name="connsiteX50" fmla="*/ 144021 w 1117236"/>
                <a:gd name="connsiteY50" fmla="*/ 561066 h 796679"/>
                <a:gd name="connsiteX51" fmla="*/ 0 w 1117236"/>
                <a:gd name="connsiteY51" fmla="*/ 585623 h 796679"/>
                <a:gd name="connsiteX52" fmla="*/ 39590 w 1117236"/>
                <a:gd name="connsiteY52" fmla="*/ 674957 h 796679"/>
                <a:gd name="connsiteX53" fmla="*/ 39591 w 1117236"/>
                <a:gd name="connsiteY53" fmla="*/ 674957 h 796679"/>
                <a:gd name="connsiteX54" fmla="*/ 79182 w 1117236"/>
                <a:gd name="connsiteY54" fmla="*/ 764291 h 796679"/>
                <a:gd name="connsiteX55" fmla="*/ 183612 w 1117236"/>
                <a:gd name="connsiteY55" fmla="*/ 650399 h 796679"/>
                <a:gd name="connsiteX0" fmla="*/ 183612 w 1117236"/>
                <a:gd name="connsiteY0" fmla="*/ 650399 h 796679"/>
                <a:gd name="connsiteX1" fmla="*/ 223201 w 1117236"/>
                <a:gd name="connsiteY1" fmla="*/ 739734 h 796679"/>
                <a:gd name="connsiteX2" fmla="*/ 170986 w 1117236"/>
                <a:gd name="connsiteY2" fmla="*/ 796679 h 796679"/>
                <a:gd name="connsiteX3" fmla="*/ 183611 w 1117236"/>
                <a:gd name="connsiteY3" fmla="*/ 650399 h 796679"/>
                <a:gd name="connsiteX4" fmla="*/ 340256 w 1117236"/>
                <a:gd name="connsiteY4" fmla="*/ 479563 h 796679"/>
                <a:gd name="connsiteX5" fmla="*/ 413148 w 1117236"/>
                <a:gd name="connsiteY5" fmla="*/ 384048 h 796679"/>
                <a:gd name="connsiteX6" fmla="*/ 605172 w 1117236"/>
                <a:gd name="connsiteY6" fmla="*/ 301752 h 796679"/>
                <a:gd name="connsiteX7" fmla="*/ 687468 w 1117236"/>
                <a:gd name="connsiteY7" fmla="*/ 192024 h 796679"/>
                <a:gd name="connsiteX8" fmla="*/ 833772 w 1117236"/>
                <a:gd name="connsiteY8" fmla="*/ 155448 h 796679"/>
                <a:gd name="connsiteX9" fmla="*/ 879492 w 1117236"/>
                <a:gd name="connsiteY9" fmla="*/ 155448 h 796679"/>
                <a:gd name="connsiteX10" fmla="*/ 916068 w 1117236"/>
                <a:gd name="connsiteY10" fmla="*/ 137160 h 796679"/>
                <a:gd name="connsiteX11" fmla="*/ 870348 w 1117236"/>
                <a:gd name="connsiteY11" fmla="*/ 137160 h 796679"/>
                <a:gd name="connsiteX12" fmla="*/ 778908 w 1117236"/>
                <a:gd name="connsiteY12" fmla="*/ 137160 h 796679"/>
                <a:gd name="connsiteX13" fmla="*/ 724044 w 1117236"/>
                <a:gd name="connsiteY13" fmla="*/ 146304 h 796679"/>
                <a:gd name="connsiteX14" fmla="*/ 714900 w 1117236"/>
                <a:gd name="connsiteY14" fmla="*/ 155448 h 796679"/>
                <a:gd name="connsiteX15" fmla="*/ 696612 w 1117236"/>
                <a:gd name="connsiteY15" fmla="*/ 146304 h 796679"/>
                <a:gd name="connsiteX16" fmla="*/ 824628 w 1117236"/>
                <a:gd name="connsiteY16" fmla="*/ 91440 h 796679"/>
                <a:gd name="connsiteX17" fmla="*/ 879492 w 1117236"/>
                <a:gd name="connsiteY17" fmla="*/ 91440 h 796679"/>
                <a:gd name="connsiteX18" fmla="*/ 970932 w 1117236"/>
                <a:gd name="connsiteY18" fmla="*/ 82296 h 796679"/>
                <a:gd name="connsiteX19" fmla="*/ 1098948 w 1117236"/>
                <a:gd name="connsiteY19" fmla="*/ 27432 h 796679"/>
                <a:gd name="connsiteX20" fmla="*/ 1080660 w 1117236"/>
                <a:gd name="connsiteY20" fmla="*/ 0 h 796679"/>
                <a:gd name="connsiteX21" fmla="*/ 1044084 w 1117236"/>
                <a:gd name="connsiteY21" fmla="*/ 27432 h 796679"/>
                <a:gd name="connsiteX22" fmla="*/ 1007508 w 1117236"/>
                <a:gd name="connsiteY22" fmla="*/ 36576 h 796679"/>
                <a:gd name="connsiteX23" fmla="*/ 934356 w 1117236"/>
                <a:gd name="connsiteY23" fmla="*/ 64008 h 796679"/>
                <a:gd name="connsiteX24" fmla="*/ 879492 w 1117236"/>
                <a:gd name="connsiteY24" fmla="*/ 64008 h 796679"/>
                <a:gd name="connsiteX25" fmla="*/ 769764 w 1117236"/>
                <a:gd name="connsiteY25" fmla="*/ 64008 h 796679"/>
                <a:gd name="connsiteX26" fmla="*/ 714900 w 1117236"/>
                <a:gd name="connsiteY26" fmla="*/ 100584 h 796679"/>
                <a:gd name="connsiteX27" fmla="*/ 678324 w 1117236"/>
                <a:gd name="connsiteY27" fmla="*/ 146304 h 796679"/>
                <a:gd name="connsiteX28" fmla="*/ 632604 w 1117236"/>
                <a:gd name="connsiteY28" fmla="*/ 182880 h 796679"/>
                <a:gd name="connsiteX29" fmla="*/ 586884 w 1117236"/>
                <a:gd name="connsiteY29" fmla="*/ 256032 h 796679"/>
                <a:gd name="connsiteX30" fmla="*/ 513732 w 1117236"/>
                <a:gd name="connsiteY30" fmla="*/ 301752 h 796679"/>
                <a:gd name="connsiteX31" fmla="*/ 413148 w 1117236"/>
                <a:gd name="connsiteY31" fmla="*/ 347472 h 796679"/>
                <a:gd name="connsiteX32" fmla="*/ 376572 w 1117236"/>
                <a:gd name="connsiteY32" fmla="*/ 374904 h 796679"/>
                <a:gd name="connsiteX33" fmla="*/ 330852 w 1117236"/>
                <a:gd name="connsiteY33" fmla="*/ 402336 h 796679"/>
                <a:gd name="connsiteX34" fmla="*/ 312564 w 1117236"/>
                <a:gd name="connsiteY34" fmla="*/ 402336 h 796679"/>
                <a:gd name="connsiteX35" fmla="*/ 330852 w 1117236"/>
                <a:gd name="connsiteY35" fmla="*/ 365760 h 796679"/>
                <a:gd name="connsiteX36" fmla="*/ 385716 w 1117236"/>
                <a:gd name="connsiteY36" fmla="*/ 301752 h 796679"/>
                <a:gd name="connsiteX37" fmla="*/ 477156 w 1117236"/>
                <a:gd name="connsiteY37" fmla="*/ 219456 h 796679"/>
                <a:gd name="connsiteX38" fmla="*/ 522876 w 1117236"/>
                <a:gd name="connsiteY38" fmla="*/ 146304 h 796679"/>
                <a:gd name="connsiteX39" fmla="*/ 522876 w 1117236"/>
                <a:gd name="connsiteY39" fmla="*/ 64008 h 796679"/>
                <a:gd name="connsiteX40" fmla="*/ 513732 w 1117236"/>
                <a:gd name="connsiteY40" fmla="*/ 54864 h 796679"/>
                <a:gd name="connsiteX41" fmla="*/ 504588 w 1117236"/>
                <a:gd name="connsiteY41" fmla="*/ 128016 h 796679"/>
                <a:gd name="connsiteX42" fmla="*/ 477156 w 1117236"/>
                <a:gd name="connsiteY42" fmla="*/ 173736 h 796679"/>
                <a:gd name="connsiteX43" fmla="*/ 404004 w 1117236"/>
                <a:gd name="connsiteY43" fmla="*/ 237744 h 796679"/>
                <a:gd name="connsiteX44" fmla="*/ 376572 w 1117236"/>
                <a:gd name="connsiteY44" fmla="*/ 256032 h 796679"/>
                <a:gd name="connsiteX45" fmla="*/ 303420 w 1117236"/>
                <a:gd name="connsiteY45" fmla="*/ 347472 h 796679"/>
                <a:gd name="connsiteX46" fmla="*/ 294276 w 1117236"/>
                <a:gd name="connsiteY46" fmla="*/ 374904 h 796679"/>
                <a:gd name="connsiteX47" fmla="*/ 248451 w 1117236"/>
                <a:gd name="connsiteY47" fmla="*/ 447174 h 796679"/>
                <a:gd name="connsiteX48" fmla="*/ 196236 w 1117236"/>
                <a:gd name="connsiteY48" fmla="*/ 504120 h 796679"/>
                <a:gd name="connsiteX49" fmla="*/ 52216 w 1117236"/>
                <a:gd name="connsiteY49" fmla="*/ 528677 h 796679"/>
                <a:gd name="connsiteX50" fmla="*/ 144021 w 1117236"/>
                <a:gd name="connsiteY50" fmla="*/ 561066 h 796679"/>
                <a:gd name="connsiteX51" fmla="*/ 0 w 1117236"/>
                <a:gd name="connsiteY51" fmla="*/ 585623 h 796679"/>
                <a:gd name="connsiteX52" fmla="*/ 39590 w 1117236"/>
                <a:gd name="connsiteY52" fmla="*/ 674957 h 796679"/>
                <a:gd name="connsiteX53" fmla="*/ 39591 w 1117236"/>
                <a:gd name="connsiteY53" fmla="*/ 674957 h 796679"/>
                <a:gd name="connsiteX54" fmla="*/ 79182 w 1117236"/>
                <a:gd name="connsiteY54" fmla="*/ 764291 h 796679"/>
                <a:gd name="connsiteX55" fmla="*/ 183612 w 1117236"/>
                <a:gd name="connsiteY55" fmla="*/ 650399 h 796679"/>
                <a:gd name="connsiteX0" fmla="*/ 183612 w 1117236"/>
                <a:gd name="connsiteY0" fmla="*/ 650399 h 796679"/>
                <a:gd name="connsiteX1" fmla="*/ 223201 w 1117236"/>
                <a:gd name="connsiteY1" fmla="*/ 739734 h 796679"/>
                <a:gd name="connsiteX2" fmla="*/ 170986 w 1117236"/>
                <a:gd name="connsiteY2" fmla="*/ 796679 h 796679"/>
                <a:gd name="connsiteX3" fmla="*/ 183611 w 1117236"/>
                <a:gd name="connsiteY3" fmla="*/ 650399 h 796679"/>
                <a:gd name="connsiteX4" fmla="*/ 340256 w 1117236"/>
                <a:gd name="connsiteY4" fmla="*/ 479563 h 796679"/>
                <a:gd name="connsiteX5" fmla="*/ 413148 w 1117236"/>
                <a:gd name="connsiteY5" fmla="*/ 384048 h 796679"/>
                <a:gd name="connsiteX6" fmla="*/ 605172 w 1117236"/>
                <a:gd name="connsiteY6" fmla="*/ 301752 h 796679"/>
                <a:gd name="connsiteX7" fmla="*/ 687468 w 1117236"/>
                <a:gd name="connsiteY7" fmla="*/ 192024 h 796679"/>
                <a:gd name="connsiteX8" fmla="*/ 833772 w 1117236"/>
                <a:gd name="connsiteY8" fmla="*/ 155448 h 796679"/>
                <a:gd name="connsiteX9" fmla="*/ 879492 w 1117236"/>
                <a:gd name="connsiteY9" fmla="*/ 155448 h 796679"/>
                <a:gd name="connsiteX10" fmla="*/ 916068 w 1117236"/>
                <a:gd name="connsiteY10" fmla="*/ 137160 h 796679"/>
                <a:gd name="connsiteX11" fmla="*/ 870348 w 1117236"/>
                <a:gd name="connsiteY11" fmla="*/ 137160 h 796679"/>
                <a:gd name="connsiteX12" fmla="*/ 778908 w 1117236"/>
                <a:gd name="connsiteY12" fmla="*/ 137160 h 796679"/>
                <a:gd name="connsiteX13" fmla="*/ 724044 w 1117236"/>
                <a:gd name="connsiteY13" fmla="*/ 146304 h 796679"/>
                <a:gd name="connsiteX14" fmla="*/ 714900 w 1117236"/>
                <a:gd name="connsiteY14" fmla="*/ 155448 h 796679"/>
                <a:gd name="connsiteX15" fmla="*/ 696612 w 1117236"/>
                <a:gd name="connsiteY15" fmla="*/ 146304 h 796679"/>
                <a:gd name="connsiteX16" fmla="*/ 824628 w 1117236"/>
                <a:gd name="connsiteY16" fmla="*/ 91440 h 796679"/>
                <a:gd name="connsiteX17" fmla="*/ 879492 w 1117236"/>
                <a:gd name="connsiteY17" fmla="*/ 91440 h 796679"/>
                <a:gd name="connsiteX18" fmla="*/ 970932 w 1117236"/>
                <a:gd name="connsiteY18" fmla="*/ 82296 h 796679"/>
                <a:gd name="connsiteX19" fmla="*/ 1098948 w 1117236"/>
                <a:gd name="connsiteY19" fmla="*/ 27432 h 796679"/>
                <a:gd name="connsiteX20" fmla="*/ 1080660 w 1117236"/>
                <a:gd name="connsiteY20" fmla="*/ 0 h 796679"/>
                <a:gd name="connsiteX21" fmla="*/ 1044084 w 1117236"/>
                <a:gd name="connsiteY21" fmla="*/ 27432 h 796679"/>
                <a:gd name="connsiteX22" fmla="*/ 1007508 w 1117236"/>
                <a:gd name="connsiteY22" fmla="*/ 36576 h 796679"/>
                <a:gd name="connsiteX23" fmla="*/ 934356 w 1117236"/>
                <a:gd name="connsiteY23" fmla="*/ 64008 h 796679"/>
                <a:gd name="connsiteX24" fmla="*/ 879492 w 1117236"/>
                <a:gd name="connsiteY24" fmla="*/ 64008 h 796679"/>
                <a:gd name="connsiteX25" fmla="*/ 769764 w 1117236"/>
                <a:gd name="connsiteY25" fmla="*/ 64008 h 796679"/>
                <a:gd name="connsiteX26" fmla="*/ 714900 w 1117236"/>
                <a:gd name="connsiteY26" fmla="*/ 100584 h 796679"/>
                <a:gd name="connsiteX27" fmla="*/ 678324 w 1117236"/>
                <a:gd name="connsiteY27" fmla="*/ 146304 h 796679"/>
                <a:gd name="connsiteX28" fmla="*/ 632604 w 1117236"/>
                <a:gd name="connsiteY28" fmla="*/ 182880 h 796679"/>
                <a:gd name="connsiteX29" fmla="*/ 586884 w 1117236"/>
                <a:gd name="connsiteY29" fmla="*/ 256032 h 796679"/>
                <a:gd name="connsiteX30" fmla="*/ 513732 w 1117236"/>
                <a:gd name="connsiteY30" fmla="*/ 301752 h 796679"/>
                <a:gd name="connsiteX31" fmla="*/ 413148 w 1117236"/>
                <a:gd name="connsiteY31" fmla="*/ 347472 h 796679"/>
                <a:gd name="connsiteX32" fmla="*/ 376572 w 1117236"/>
                <a:gd name="connsiteY32" fmla="*/ 374904 h 796679"/>
                <a:gd name="connsiteX33" fmla="*/ 330852 w 1117236"/>
                <a:gd name="connsiteY33" fmla="*/ 402336 h 796679"/>
                <a:gd name="connsiteX34" fmla="*/ 312564 w 1117236"/>
                <a:gd name="connsiteY34" fmla="*/ 402336 h 796679"/>
                <a:gd name="connsiteX35" fmla="*/ 330852 w 1117236"/>
                <a:gd name="connsiteY35" fmla="*/ 365760 h 796679"/>
                <a:gd name="connsiteX36" fmla="*/ 385716 w 1117236"/>
                <a:gd name="connsiteY36" fmla="*/ 301752 h 796679"/>
                <a:gd name="connsiteX37" fmla="*/ 477156 w 1117236"/>
                <a:gd name="connsiteY37" fmla="*/ 219456 h 796679"/>
                <a:gd name="connsiteX38" fmla="*/ 522876 w 1117236"/>
                <a:gd name="connsiteY38" fmla="*/ 146304 h 796679"/>
                <a:gd name="connsiteX39" fmla="*/ 522876 w 1117236"/>
                <a:gd name="connsiteY39" fmla="*/ 64008 h 796679"/>
                <a:gd name="connsiteX40" fmla="*/ 513732 w 1117236"/>
                <a:gd name="connsiteY40" fmla="*/ 54864 h 796679"/>
                <a:gd name="connsiteX41" fmla="*/ 504588 w 1117236"/>
                <a:gd name="connsiteY41" fmla="*/ 128016 h 796679"/>
                <a:gd name="connsiteX42" fmla="*/ 477156 w 1117236"/>
                <a:gd name="connsiteY42" fmla="*/ 173736 h 796679"/>
                <a:gd name="connsiteX43" fmla="*/ 404004 w 1117236"/>
                <a:gd name="connsiteY43" fmla="*/ 237744 h 796679"/>
                <a:gd name="connsiteX44" fmla="*/ 376572 w 1117236"/>
                <a:gd name="connsiteY44" fmla="*/ 256032 h 796679"/>
                <a:gd name="connsiteX45" fmla="*/ 303420 w 1117236"/>
                <a:gd name="connsiteY45" fmla="*/ 347472 h 796679"/>
                <a:gd name="connsiteX46" fmla="*/ 294276 w 1117236"/>
                <a:gd name="connsiteY46" fmla="*/ 374904 h 796679"/>
                <a:gd name="connsiteX47" fmla="*/ 248451 w 1117236"/>
                <a:gd name="connsiteY47" fmla="*/ 447174 h 796679"/>
                <a:gd name="connsiteX48" fmla="*/ 196236 w 1117236"/>
                <a:gd name="connsiteY48" fmla="*/ 504120 h 796679"/>
                <a:gd name="connsiteX49" fmla="*/ 52216 w 1117236"/>
                <a:gd name="connsiteY49" fmla="*/ 528677 h 796679"/>
                <a:gd name="connsiteX50" fmla="*/ 12626 w 1117236"/>
                <a:gd name="connsiteY50" fmla="*/ 439344 h 796679"/>
                <a:gd name="connsiteX51" fmla="*/ 0 w 1117236"/>
                <a:gd name="connsiteY51" fmla="*/ 585623 h 796679"/>
                <a:gd name="connsiteX52" fmla="*/ 39590 w 1117236"/>
                <a:gd name="connsiteY52" fmla="*/ 674957 h 796679"/>
                <a:gd name="connsiteX53" fmla="*/ 39591 w 1117236"/>
                <a:gd name="connsiteY53" fmla="*/ 674957 h 796679"/>
                <a:gd name="connsiteX54" fmla="*/ 79182 w 1117236"/>
                <a:gd name="connsiteY54" fmla="*/ 764291 h 796679"/>
                <a:gd name="connsiteX55" fmla="*/ 183612 w 1117236"/>
                <a:gd name="connsiteY55" fmla="*/ 650399 h 796679"/>
                <a:gd name="connsiteX0" fmla="*/ 0 w 1182074"/>
                <a:gd name="connsiteY0" fmla="*/ 788849 h 796679"/>
                <a:gd name="connsiteX1" fmla="*/ 288039 w 1182074"/>
                <a:gd name="connsiteY1" fmla="*/ 739734 h 796679"/>
                <a:gd name="connsiteX2" fmla="*/ 235824 w 1182074"/>
                <a:gd name="connsiteY2" fmla="*/ 796679 h 796679"/>
                <a:gd name="connsiteX3" fmla="*/ 248449 w 1182074"/>
                <a:gd name="connsiteY3" fmla="*/ 650399 h 796679"/>
                <a:gd name="connsiteX4" fmla="*/ 405094 w 1182074"/>
                <a:gd name="connsiteY4" fmla="*/ 479563 h 796679"/>
                <a:gd name="connsiteX5" fmla="*/ 477986 w 1182074"/>
                <a:gd name="connsiteY5" fmla="*/ 384048 h 796679"/>
                <a:gd name="connsiteX6" fmla="*/ 670010 w 1182074"/>
                <a:gd name="connsiteY6" fmla="*/ 301752 h 796679"/>
                <a:gd name="connsiteX7" fmla="*/ 752306 w 1182074"/>
                <a:gd name="connsiteY7" fmla="*/ 192024 h 796679"/>
                <a:gd name="connsiteX8" fmla="*/ 898610 w 1182074"/>
                <a:gd name="connsiteY8" fmla="*/ 155448 h 796679"/>
                <a:gd name="connsiteX9" fmla="*/ 944330 w 1182074"/>
                <a:gd name="connsiteY9" fmla="*/ 155448 h 796679"/>
                <a:gd name="connsiteX10" fmla="*/ 980906 w 1182074"/>
                <a:gd name="connsiteY10" fmla="*/ 137160 h 796679"/>
                <a:gd name="connsiteX11" fmla="*/ 935186 w 1182074"/>
                <a:gd name="connsiteY11" fmla="*/ 137160 h 796679"/>
                <a:gd name="connsiteX12" fmla="*/ 843746 w 1182074"/>
                <a:gd name="connsiteY12" fmla="*/ 137160 h 796679"/>
                <a:gd name="connsiteX13" fmla="*/ 788882 w 1182074"/>
                <a:gd name="connsiteY13" fmla="*/ 146304 h 796679"/>
                <a:gd name="connsiteX14" fmla="*/ 779738 w 1182074"/>
                <a:gd name="connsiteY14" fmla="*/ 155448 h 796679"/>
                <a:gd name="connsiteX15" fmla="*/ 761450 w 1182074"/>
                <a:gd name="connsiteY15" fmla="*/ 146304 h 796679"/>
                <a:gd name="connsiteX16" fmla="*/ 889466 w 1182074"/>
                <a:gd name="connsiteY16" fmla="*/ 91440 h 796679"/>
                <a:gd name="connsiteX17" fmla="*/ 944330 w 1182074"/>
                <a:gd name="connsiteY17" fmla="*/ 91440 h 796679"/>
                <a:gd name="connsiteX18" fmla="*/ 1035770 w 1182074"/>
                <a:gd name="connsiteY18" fmla="*/ 82296 h 796679"/>
                <a:gd name="connsiteX19" fmla="*/ 1163786 w 1182074"/>
                <a:gd name="connsiteY19" fmla="*/ 27432 h 796679"/>
                <a:gd name="connsiteX20" fmla="*/ 1145498 w 1182074"/>
                <a:gd name="connsiteY20" fmla="*/ 0 h 796679"/>
                <a:gd name="connsiteX21" fmla="*/ 1108922 w 1182074"/>
                <a:gd name="connsiteY21" fmla="*/ 27432 h 796679"/>
                <a:gd name="connsiteX22" fmla="*/ 1072346 w 1182074"/>
                <a:gd name="connsiteY22" fmla="*/ 36576 h 796679"/>
                <a:gd name="connsiteX23" fmla="*/ 999194 w 1182074"/>
                <a:gd name="connsiteY23" fmla="*/ 64008 h 796679"/>
                <a:gd name="connsiteX24" fmla="*/ 944330 w 1182074"/>
                <a:gd name="connsiteY24" fmla="*/ 64008 h 796679"/>
                <a:gd name="connsiteX25" fmla="*/ 834602 w 1182074"/>
                <a:gd name="connsiteY25" fmla="*/ 64008 h 796679"/>
                <a:gd name="connsiteX26" fmla="*/ 779738 w 1182074"/>
                <a:gd name="connsiteY26" fmla="*/ 100584 h 796679"/>
                <a:gd name="connsiteX27" fmla="*/ 743162 w 1182074"/>
                <a:gd name="connsiteY27" fmla="*/ 146304 h 796679"/>
                <a:gd name="connsiteX28" fmla="*/ 697442 w 1182074"/>
                <a:gd name="connsiteY28" fmla="*/ 182880 h 796679"/>
                <a:gd name="connsiteX29" fmla="*/ 651722 w 1182074"/>
                <a:gd name="connsiteY29" fmla="*/ 256032 h 796679"/>
                <a:gd name="connsiteX30" fmla="*/ 578570 w 1182074"/>
                <a:gd name="connsiteY30" fmla="*/ 301752 h 796679"/>
                <a:gd name="connsiteX31" fmla="*/ 477986 w 1182074"/>
                <a:gd name="connsiteY31" fmla="*/ 347472 h 796679"/>
                <a:gd name="connsiteX32" fmla="*/ 441410 w 1182074"/>
                <a:gd name="connsiteY32" fmla="*/ 374904 h 796679"/>
                <a:gd name="connsiteX33" fmla="*/ 395690 w 1182074"/>
                <a:gd name="connsiteY33" fmla="*/ 402336 h 796679"/>
                <a:gd name="connsiteX34" fmla="*/ 377402 w 1182074"/>
                <a:gd name="connsiteY34" fmla="*/ 402336 h 796679"/>
                <a:gd name="connsiteX35" fmla="*/ 395690 w 1182074"/>
                <a:gd name="connsiteY35" fmla="*/ 365760 h 796679"/>
                <a:gd name="connsiteX36" fmla="*/ 450554 w 1182074"/>
                <a:gd name="connsiteY36" fmla="*/ 301752 h 796679"/>
                <a:gd name="connsiteX37" fmla="*/ 541994 w 1182074"/>
                <a:gd name="connsiteY37" fmla="*/ 219456 h 796679"/>
                <a:gd name="connsiteX38" fmla="*/ 587714 w 1182074"/>
                <a:gd name="connsiteY38" fmla="*/ 146304 h 796679"/>
                <a:gd name="connsiteX39" fmla="*/ 587714 w 1182074"/>
                <a:gd name="connsiteY39" fmla="*/ 64008 h 796679"/>
                <a:gd name="connsiteX40" fmla="*/ 578570 w 1182074"/>
                <a:gd name="connsiteY40" fmla="*/ 54864 h 796679"/>
                <a:gd name="connsiteX41" fmla="*/ 569426 w 1182074"/>
                <a:gd name="connsiteY41" fmla="*/ 128016 h 796679"/>
                <a:gd name="connsiteX42" fmla="*/ 541994 w 1182074"/>
                <a:gd name="connsiteY42" fmla="*/ 173736 h 796679"/>
                <a:gd name="connsiteX43" fmla="*/ 468842 w 1182074"/>
                <a:gd name="connsiteY43" fmla="*/ 237744 h 796679"/>
                <a:gd name="connsiteX44" fmla="*/ 441410 w 1182074"/>
                <a:gd name="connsiteY44" fmla="*/ 256032 h 796679"/>
                <a:gd name="connsiteX45" fmla="*/ 368258 w 1182074"/>
                <a:gd name="connsiteY45" fmla="*/ 347472 h 796679"/>
                <a:gd name="connsiteX46" fmla="*/ 359114 w 1182074"/>
                <a:gd name="connsiteY46" fmla="*/ 374904 h 796679"/>
                <a:gd name="connsiteX47" fmla="*/ 313289 w 1182074"/>
                <a:gd name="connsiteY47" fmla="*/ 447174 h 796679"/>
                <a:gd name="connsiteX48" fmla="*/ 261074 w 1182074"/>
                <a:gd name="connsiteY48" fmla="*/ 504120 h 796679"/>
                <a:gd name="connsiteX49" fmla="*/ 117054 w 1182074"/>
                <a:gd name="connsiteY49" fmla="*/ 528677 h 796679"/>
                <a:gd name="connsiteX50" fmla="*/ 77464 w 1182074"/>
                <a:gd name="connsiteY50" fmla="*/ 439344 h 796679"/>
                <a:gd name="connsiteX51" fmla="*/ 64838 w 1182074"/>
                <a:gd name="connsiteY51" fmla="*/ 585623 h 796679"/>
                <a:gd name="connsiteX52" fmla="*/ 104428 w 1182074"/>
                <a:gd name="connsiteY52" fmla="*/ 674957 h 796679"/>
                <a:gd name="connsiteX53" fmla="*/ 104429 w 1182074"/>
                <a:gd name="connsiteY53" fmla="*/ 674957 h 796679"/>
                <a:gd name="connsiteX54" fmla="*/ 144020 w 1182074"/>
                <a:gd name="connsiteY54" fmla="*/ 764291 h 796679"/>
                <a:gd name="connsiteX55" fmla="*/ 0 w 1182074"/>
                <a:gd name="connsiteY55" fmla="*/ 788849 h 796679"/>
                <a:gd name="connsiteX0" fmla="*/ 0 w 1182074"/>
                <a:gd name="connsiteY0" fmla="*/ 788849 h 796679"/>
                <a:gd name="connsiteX1" fmla="*/ 288039 w 1182074"/>
                <a:gd name="connsiteY1" fmla="*/ 739734 h 796679"/>
                <a:gd name="connsiteX2" fmla="*/ 235824 w 1182074"/>
                <a:gd name="connsiteY2" fmla="*/ 796679 h 796679"/>
                <a:gd name="connsiteX3" fmla="*/ 340255 w 1182074"/>
                <a:gd name="connsiteY3" fmla="*/ 682788 h 796679"/>
                <a:gd name="connsiteX4" fmla="*/ 405094 w 1182074"/>
                <a:gd name="connsiteY4" fmla="*/ 479563 h 796679"/>
                <a:gd name="connsiteX5" fmla="*/ 477986 w 1182074"/>
                <a:gd name="connsiteY5" fmla="*/ 384048 h 796679"/>
                <a:gd name="connsiteX6" fmla="*/ 670010 w 1182074"/>
                <a:gd name="connsiteY6" fmla="*/ 301752 h 796679"/>
                <a:gd name="connsiteX7" fmla="*/ 752306 w 1182074"/>
                <a:gd name="connsiteY7" fmla="*/ 192024 h 796679"/>
                <a:gd name="connsiteX8" fmla="*/ 898610 w 1182074"/>
                <a:gd name="connsiteY8" fmla="*/ 155448 h 796679"/>
                <a:gd name="connsiteX9" fmla="*/ 944330 w 1182074"/>
                <a:gd name="connsiteY9" fmla="*/ 155448 h 796679"/>
                <a:gd name="connsiteX10" fmla="*/ 980906 w 1182074"/>
                <a:gd name="connsiteY10" fmla="*/ 137160 h 796679"/>
                <a:gd name="connsiteX11" fmla="*/ 935186 w 1182074"/>
                <a:gd name="connsiteY11" fmla="*/ 137160 h 796679"/>
                <a:gd name="connsiteX12" fmla="*/ 843746 w 1182074"/>
                <a:gd name="connsiteY12" fmla="*/ 137160 h 796679"/>
                <a:gd name="connsiteX13" fmla="*/ 788882 w 1182074"/>
                <a:gd name="connsiteY13" fmla="*/ 146304 h 796679"/>
                <a:gd name="connsiteX14" fmla="*/ 779738 w 1182074"/>
                <a:gd name="connsiteY14" fmla="*/ 155448 h 796679"/>
                <a:gd name="connsiteX15" fmla="*/ 761450 w 1182074"/>
                <a:gd name="connsiteY15" fmla="*/ 146304 h 796679"/>
                <a:gd name="connsiteX16" fmla="*/ 889466 w 1182074"/>
                <a:gd name="connsiteY16" fmla="*/ 91440 h 796679"/>
                <a:gd name="connsiteX17" fmla="*/ 944330 w 1182074"/>
                <a:gd name="connsiteY17" fmla="*/ 91440 h 796679"/>
                <a:gd name="connsiteX18" fmla="*/ 1035770 w 1182074"/>
                <a:gd name="connsiteY18" fmla="*/ 82296 h 796679"/>
                <a:gd name="connsiteX19" fmla="*/ 1163786 w 1182074"/>
                <a:gd name="connsiteY19" fmla="*/ 27432 h 796679"/>
                <a:gd name="connsiteX20" fmla="*/ 1145498 w 1182074"/>
                <a:gd name="connsiteY20" fmla="*/ 0 h 796679"/>
                <a:gd name="connsiteX21" fmla="*/ 1108922 w 1182074"/>
                <a:gd name="connsiteY21" fmla="*/ 27432 h 796679"/>
                <a:gd name="connsiteX22" fmla="*/ 1072346 w 1182074"/>
                <a:gd name="connsiteY22" fmla="*/ 36576 h 796679"/>
                <a:gd name="connsiteX23" fmla="*/ 999194 w 1182074"/>
                <a:gd name="connsiteY23" fmla="*/ 64008 h 796679"/>
                <a:gd name="connsiteX24" fmla="*/ 944330 w 1182074"/>
                <a:gd name="connsiteY24" fmla="*/ 64008 h 796679"/>
                <a:gd name="connsiteX25" fmla="*/ 834602 w 1182074"/>
                <a:gd name="connsiteY25" fmla="*/ 64008 h 796679"/>
                <a:gd name="connsiteX26" fmla="*/ 779738 w 1182074"/>
                <a:gd name="connsiteY26" fmla="*/ 100584 h 796679"/>
                <a:gd name="connsiteX27" fmla="*/ 743162 w 1182074"/>
                <a:gd name="connsiteY27" fmla="*/ 146304 h 796679"/>
                <a:gd name="connsiteX28" fmla="*/ 697442 w 1182074"/>
                <a:gd name="connsiteY28" fmla="*/ 182880 h 796679"/>
                <a:gd name="connsiteX29" fmla="*/ 651722 w 1182074"/>
                <a:gd name="connsiteY29" fmla="*/ 256032 h 796679"/>
                <a:gd name="connsiteX30" fmla="*/ 578570 w 1182074"/>
                <a:gd name="connsiteY30" fmla="*/ 301752 h 796679"/>
                <a:gd name="connsiteX31" fmla="*/ 477986 w 1182074"/>
                <a:gd name="connsiteY31" fmla="*/ 347472 h 796679"/>
                <a:gd name="connsiteX32" fmla="*/ 441410 w 1182074"/>
                <a:gd name="connsiteY32" fmla="*/ 374904 h 796679"/>
                <a:gd name="connsiteX33" fmla="*/ 395690 w 1182074"/>
                <a:gd name="connsiteY33" fmla="*/ 402336 h 796679"/>
                <a:gd name="connsiteX34" fmla="*/ 377402 w 1182074"/>
                <a:gd name="connsiteY34" fmla="*/ 402336 h 796679"/>
                <a:gd name="connsiteX35" fmla="*/ 395690 w 1182074"/>
                <a:gd name="connsiteY35" fmla="*/ 365760 h 796679"/>
                <a:gd name="connsiteX36" fmla="*/ 450554 w 1182074"/>
                <a:gd name="connsiteY36" fmla="*/ 301752 h 796679"/>
                <a:gd name="connsiteX37" fmla="*/ 541994 w 1182074"/>
                <a:gd name="connsiteY37" fmla="*/ 219456 h 796679"/>
                <a:gd name="connsiteX38" fmla="*/ 587714 w 1182074"/>
                <a:gd name="connsiteY38" fmla="*/ 146304 h 796679"/>
                <a:gd name="connsiteX39" fmla="*/ 587714 w 1182074"/>
                <a:gd name="connsiteY39" fmla="*/ 64008 h 796679"/>
                <a:gd name="connsiteX40" fmla="*/ 578570 w 1182074"/>
                <a:gd name="connsiteY40" fmla="*/ 54864 h 796679"/>
                <a:gd name="connsiteX41" fmla="*/ 569426 w 1182074"/>
                <a:gd name="connsiteY41" fmla="*/ 128016 h 796679"/>
                <a:gd name="connsiteX42" fmla="*/ 541994 w 1182074"/>
                <a:gd name="connsiteY42" fmla="*/ 173736 h 796679"/>
                <a:gd name="connsiteX43" fmla="*/ 468842 w 1182074"/>
                <a:gd name="connsiteY43" fmla="*/ 237744 h 796679"/>
                <a:gd name="connsiteX44" fmla="*/ 441410 w 1182074"/>
                <a:gd name="connsiteY44" fmla="*/ 256032 h 796679"/>
                <a:gd name="connsiteX45" fmla="*/ 368258 w 1182074"/>
                <a:gd name="connsiteY45" fmla="*/ 347472 h 796679"/>
                <a:gd name="connsiteX46" fmla="*/ 359114 w 1182074"/>
                <a:gd name="connsiteY46" fmla="*/ 374904 h 796679"/>
                <a:gd name="connsiteX47" fmla="*/ 313289 w 1182074"/>
                <a:gd name="connsiteY47" fmla="*/ 447174 h 796679"/>
                <a:gd name="connsiteX48" fmla="*/ 261074 w 1182074"/>
                <a:gd name="connsiteY48" fmla="*/ 504120 h 796679"/>
                <a:gd name="connsiteX49" fmla="*/ 117054 w 1182074"/>
                <a:gd name="connsiteY49" fmla="*/ 528677 h 796679"/>
                <a:gd name="connsiteX50" fmla="*/ 77464 w 1182074"/>
                <a:gd name="connsiteY50" fmla="*/ 439344 h 796679"/>
                <a:gd name="connsiteX51" fmla="*/ 64838 w 1182074"/>
                <a:gd name="connsiteY51" fmla="*/ 585623 h 796679"/>
                <a:gd name="connsiteX52" fmla="*/ 104428 w 1182074"/>
                <a:gd name="connsiteY52" fmla="*/ 674957 h 796679"/>
                <a:gd name="connsiteX53" fmla="*/ 104429 w 1182074"/>
                <a:gd name="connsiteY53" fmla="*/ 674957 h 796679"/>
                <a:gd name="connsiteX54" fmla="*/ 144020 w 1182074"/>
                <a:gd name="connsiteY54" fmla="*/ 764291 h 796679"/>
                <a:gd name="connsiteX55" fmla="*/ 0 w 1182074"/>
                <a:gd name="connsiteY55" fmla="*/ 788849 h 796679"/>
                <a:gd name="connsiteX0" fmla="*/ 0 w 1182074"/>
                <a:gd name="connsiteY0" fmla="*/ 788849 h 796679"/>
                <a:gd name="connsiteX1" fmla="*/ 288039 w 1182074"/>
                <a:gd name="connsiteY1" fmla="*/ 739734 h 796679"/>
                <a:gd name="connsiteX2" fmla="*/ 235824 w 1182074"/>
                <a:gd name="connsiteY2" fmla="*/ 796679 h 796679"/>
                <a:gd name="connsiteX3" fmla="*/ 340255 w 1182074"/>
                <a:gd name="connsiteY3" fmla="*/ 682788 h 796679"/>
                <a:gd name="connsiteX4" fmla="*/ 405094 w 1182074"/>
                <a:gd name="connsiteY4" fmla="*/ 479563 h 796679"/>
                <a:gd name="connsiteX5" fmla="*/ 477986 w 1182074"/>
                <a:gd name="connsiteY5" fmla="*/ 384048 h 796679"/>
                <a:gd name="connsiteX6" fmla="*/ 670010 w 1182074"/>
                <a:gd name="connsiteY6" fmla="*/ 301752 h 796679"/>
                <a:gd name="connsiteX7" fmla="*/ 752306 w 1182074"/>
                <a:gd name="connsiteY7" fmla="*/ 192024 h 796679"/>
                <a:gd name="connsiteX8" fmla="*/ 898610 w 1182074"/>
                <a:gd name="connsiteY8" fmla="*/ 155448 h 796679"/>
                <a:gd name="connsiteX9" fmla="*/ 944330 w 1182074"/>
                <a:gd name="connsiteY9" fmla="*/ 155448 h 796679"/>
                <a:gd name="connsiteX10" fmla="*/ 980906 w 1182074"/>
                <a:gd name="connsiteY10" fmla="*/ 137160 h 796679"/>
                <a:gd name="connsiteX11" fmla="*/ 935186 w 1182074"/>
                <a:gd name="connsiteY11" fmla="*/ 137160 h 796679"/>
                <a:gd name="connsiteX12" fmla="*/ 843746 w 1182074"/>
                <a:gd name="connsiteY12" fmla="*/ 137160 h 796679"/>
                <a:gd name="connsiteX13" fmla="*/ 788882 w 1182074"/>
                <a:gd name="connsiteY13" fmla="*/ 146304 h 796679"/>
                <a:gd name="connsiteX14" fmla="*/ 779738 w 1182074"/>
                <a:gd name="connsiteY14" fmla="*/ 155448 h 796679"/>
                <a:gd name="connsiteX15" fmla="*/ 761450 w 1182074"/>
                <a:gd name="connsiteY15" fmla="*/ 146304 h 796679"/>
                <a:gd name="connsiteX16" fmla="*/ 889466 w 1182074"/>
                <a:gd name="connsiteY16" fmla="*/ 91440 h 796679"/>
                <a:gd name="connsiteX17" fmla="*/ 944330 w 1182074"/>
                <a:gd name="connsiteY17" fmla="*/ 91440 h 796679"/>
                <a:gd name="connsiteX18" fmla="*/ 1035770 w 1182074"/>
                <a:gd name="connsiteY18" fmla="*/ 82296 h 796679"/>
                <a:gd name="connsiteX19" fmla="*/ 1163786 w 1182074"/>
                <a:gd name="connsiteY19" fmla="*/ 27432 h 796679"/>
                <a:gd name="connsiteX20" fmla="*/ 1145498 w 1182074"/>
                <a:gd name="connsiteY20" fmla="*/ 0 h 796679"/>
                <a:gd name="connsiteX21" fmla="*/ 1108922 w 1182074"/>
                <a:gd name="connsiteY21" fmla="*/ 27432 h 796679"/>
                <a:gd name="connsiteX22" fmla="*/ 1072346 w 1182074"/>
                <a:gd name="connsiteY22" fmla="*/ 36576 h 796679"/>
                <a:gd name="connsiteX23" fmla="*/ 999194 w 1182074"/>
                <a:gd name="connsiteY23" fmla="*/ 64008 h 796679"/>
                <a:gd name="connsiteX24" fmla="*/ 944330 w 1182074"/>
                <a:gd name="connsiteY24" fmla="*/ 64008 h 796679"/>
                <a:gd name="connsiteX25" fmla="*/ 834602 w 1182074"/>
                <a:gd name="connsiteY25" fmla="*/ 64008 h 796679"/>
                <a:gd name="connsiteX26" fmla="*/ 779738 w 1182074"/>
                <a:gd name="connsiteY26" fmla="*/ 100584 h 796679"/>
                <a:gd name="connsiteX27" fmla="*/ 743162 w 1182074"/>
                <a:gd name="connsiteY27" fmla="*/ 146304 h 796679"/>
                <a:gd name="connsiteX28" fmla="*/ 697442 w 1182074"/>
                <a:gd name="connsiteY28" fmla="*/ 182880 h 796679"/>
                <a:gd name="connsiteX29" fmla="*/ 651722 w 1182074"/>
                <a:gd name="connsiteY29" fmla="*/ 256032 h 796679"/>
                <a:gd name="connsiteX30" fmla="*/ 578570 w 1182074"/>
                <a:gd name="connsiteY30" fmla="*/ 301752 h 796679"/>
                <a:gd name="connsiteX31" fmla="*/ 477986 w 1182074"/>
                <a:gd name="connsiteY31" fmla="*/ 347472 h 796679"/>
                <a:gd name="connsiteX32" fmla="*/ 441410 w 1182074"/>
                <a:gd name="connsiteY32" fmla="*/ 374904 h 796679"/>
                <a:gd name="connsiteX33" fmla="*/ 395690 w 1182074"/>
                <a:gd name="connsiteY33" fmla="*/ 402336 h 796679"/>
                <a:gd name="connsiteX34" fmla="*/ 377402 w 1182074"/>
                <a:gd name="connsiteY34" fmla="*/ 402336 h 796679"/>
                <a:gd name="connsiteX35" fmla="*/ 395690 w 1182074"/>
                <a:gd name="connsiteY35" fmla="*/ 365760 h 796679"/>
                <a:gd name="connsiteX36" fmla="*/ 450554 w 1182074"/>
                <a:gd name="connsiteY36" fmla="*/ 301752 h 796679"/>
                <a:gd name="connsiteX37" fmla="*/ 541994 w 1182074"/>
                <a:gd name="connsiteY37" fmla="*/ 219456 h 796679"/>
                <a:gd name="connsiteX38" fmla="*/ 587714 w 1182074"/>
                <a:gd name="connsiteY38" fmla="*/ 146304 h 796679"/>
                <a:gd name="connsiteX39" fmla="*/ 587714 w 1182074"/>
                <a:gd name="connsiteY39" fmla="*/ 64008 h 796679"/>
                <a:gd name="connsiteX40" fmla="*/ 578570 w 1182074"/>
                <a:gd name="connsiteY40" fmla="*/ 54864 h 796679"/>
                <a:gd name="connsiteX41" fmla="*/ 569426 w 1182074"/>
                <a:gd name="connsiteY41" fmla="*/ 128016 h 796679"/>
                <a:gd name="connsiteX42" fmla="*/ 541994 w 1182074"/>
                <a:gd name="connsiteY42" fmla="*/ 173736 h 796679"/>
                <a:gd name="connsiteX43" fmla="*/ 468842 w 1182074"/>
                <a:gd name="connsiteY43" fmla="*/ 237744 h 796679"/>
                <a:gd name="connsiteX44" fmla="*/ 441410 w 1182074"/>
                <a:gd name="connsiteY44" fmla="*/ 256032 h 796679"/>
                <a:gd name="connsiteX45" fmla="*/ 368258 w 1182074"/>
                <a:gd name="connsiteY45" fmla="*/ 347472 h 796679"/>
                <a:gd name="connsiteX46" fmla="*/ 359114 w 1182074"/>
                <a:gd name="connsiteY46" fmla="*/ 374904 h 796679"/>
                <a:gd name="connsiteX47" fmla="*/ 313289 w 1182074"/>
                <a:gd name="connsiteY47" fmla="*/ 447174 h 796679"/>
                <a:gd name="connsiteX48" fmla="*/ 261074 w 1182074"/>
                <a:gd name="connsiteY48" fmla="*/ 504120 h 796679"/>
                <a:gd name="connsiteX49" fmla="*/ 300665 w 1182074"/>
                <a:gd name="connsiteY49" fmla="*/ 593454 h 796679"/>
                <a:gd name="connsiteX50" fmla="*/ 77464 w 1182074"/>
                <a:gd name="connsiteY50" fmla="*/ 439344 h 796679"/>
                <a:gd name="connsiteX51" fmla="*/ 64838 w 1182074"/>
                <a:gd name="connsiteY51" fmla="*/ 585623 h 796679"/>
                <a:gd name="connsiteX52" fmla="*/ 104428 w 1182074"/>
                <a:gd name="connsiteY52" fmla="*/ 674957 h 796679"/>
                <a:gd name="connsiteX53" fmla="*/ 104429 w 1182074"/>
                <a:gd name="connsiteY53" fmla="*/ 674957 h 796679"/>
                <a:gd name="connsiteX54" fmla="*/ 144020 w 1182074"/>
                <a:gd name="connsiteY54" fmla="*/ 764291 h 796679"/>
                <a:gd name="connsiteX55" fmla="*/ 0 w 1182074"/>
                <a:gd name="connsiteY55" fmla="*/ 788849 h 796679"/>
                <a:gd name="connsiteX0" fmla="*/ 0 w 1182074"/>
                <a:gd name="connsiteY0" fmla="*/ 788849 h 796679"/>
                <a:gd name="connsiteX1" fmla="*/ 288039 w 1182074"/>
                <a:gd name="connsiteY1" fmla="*/ 739734 h 796679"/>
                <a:gd name="connsiteX2" fmla="*/ 235824 w 1182074"/>
                <a:gd name="connsiteY2" fmla="*/ 796679 h 796679"/>
                <a:gd name="connsiteX3" fmla="*/ 340255 w 1182074"/>
                <a:gd name="connsiteY3" fmla="*/ 682788 h 796679"/>
                <a:gd name="connsiteX4" fmla="*/ 405094 w 1182074"/>
                <a:gd name="connsiteY4" fmla="*/ 479563 h 796679"/>
                <a:gd name="connsiteX5" fmla="*/ 477986 w 1182074"/>
                <a:gd name="connsiteY5" fmla="*/ 384048 h 796679"/>
                <a:gd name="connsiteX6" fmla="*/ 670010 w 1182074"/>
                <a:gd name="connsiteY6" fmla="*/ 301752 h 796679"/>
                <a:gd name="connsiteX7" fmla="*/ 752306 w 1182074"/>
                <a:gd name="connsiteY7" fmla="*/ 192024 h 796679"/>
                <a:gd name="connsiteX8" fmla="*/ 898610 w 1182074"/>
                <a:gd name="connsiteY8" fmla="*/ 155448 h 796679"/>
                <a:gd name="connsiteX9" fmla="*/ 944330 w 1182074"/>
                <a:gd name="connsiteY9" fmla="*/ 155448 h 796679"/>
                <a:gd name="connsiteX10" fmla="*/ 980906 w 1182074"/>
                <a:gd name="connsiteY10" fmla="*/ 137160 h 796679"/>
                <a:gd name="connsiteX11" fmla="*/ 935186 w 1182074"/>
                <a:gd name="connsiteY11" fmla="*/ 137160 h 796679"/>
                <a:gd name="connsiteX12" fmla="*/ 843746 w 1182074"/>
                <a:gd name="connsiteY12" fmla="*/ 137160 h 796679"/>
                <a:gd name="connsiteX13" fmla="*/ 788882 w 1182074"/>
                <a:gd name="connsiteY13" fmla="*/ 146304 h 796679"/>
                <a:gd name="connsiteX14" fmla="*/ 779738 w 1182074"/>
                <a:gd name="connsiteY14" fmla="*/ 155448 h 796679"/>
                <a:gd name="connsiteX15" fmla="*/ 761450 w 1182074"/>
                <a:gd name="connsiteY15" fmla="*/ 146304 h 796679"/>
                <a:gd name="connsiteX16" fmla="*/ 889466 w 1182074"/>
                <a:gd name="connsiteY16" fmla="*/ 91440 h 796679"/>
                <a:gd name="connsiteX17" fmla="*/ 944330 w 1182074"/>
                <a:gd name="connsiteY17" fmla="*/ 91440 h 796679"/>
                <a:gd name="connsiteX18" fmla="*/ 1035770 w 1182074"/>
                <a:gd name="connsiteY18" fmla="*/ 82296 h 796679"/>
                <a:gd name="connsiteX19" fmla="*/ 1163786 w 1182074"/>
                <a:gd name="connsiteY19" fmla="*/ 27432 h 796679"/>
                <a:gd name="connsiteX20" fmla="*/ 1145498 w 1182074"/>
                <a:gd name="connsiteY20" fmla="*/ 0 h 796679"/>
                <a:gd name="connsiteX21" fmla="*/ 1108922 w 1182074"/>
                <a:gd name="connsiteY21" fmla="*/ 27432 h 796679"/>
                <a:gd name="connsiteX22" fmla="*/ 1072346 w 1182074"/>
                <a:gd name="connsiteY22" fmla="*/ 36576 h 796679"/>
                <a:gd name="connsiteX23" fmla="*/ 999194 w 1182074"/>
                <a:gd name="connsiteY23" fmla="*/ 64008 h 796679"/>
                <a:gd name="connsiteX24" fmla="*/ 944330 w 1182074"/>
                <a:gd name="connsiteY24" fmla="*/ 64008 h 796679"/>
                <a:gd name="connsiteX25" fmla="*/ 834602 w 1182074"/>
                <a:gd name="connsiteY25" fmla="*/ 64008 h 796679"/>
                <a:gd name="connsiteX26" fmla="*/ 779738 w 1182074"/>
                <a:gd name="connsiteY26" fmla="*/ 100584 h 796679"/>
                <a:gd name="connsiteX27" fmla="*/ 743162 w 1182074"/>
                <a:gd name="connsiteY27" fmla="*/ 146304 h 796679"/>
                <a:gd name="connsiteX28" fmla="*/ 697442 w 1182074"/>
                <a:gd name="connsiteY28" fmla="*/ 182880 h 796679"/>
                <a:gd name="connsiteX29" fmla="*/ 651722 w 1182074"/>
                <a:gd name="connsiteY29" fmla="*/ 256032 h 796679"/>
                <a:gd name="connsiteX30" fmla="*/ 578570 w 1182074"/>
                <a:gd name="connsiteY30" fmla="*/ 301752 h 796679"/>
                <a:gd name="connsiteX31" fmla="*/ 477986 w 1182074"/>
                <a:gd name="connsiteY31" fmla="*/ 347472 h 796679"/>
                <a:gd name="connsiteX32" fmla="*/ 441410 w 1182074"/>
                <a:gd name="connsiteY32" fmla="*/ 374904 h 796679"/>
                <a:gd name="connsiteX33" fmla="*/ 395690 w 1182074"/>
                <a:gd name="connsiteY33" fmla="*/ 402336 h 796679"/>
                <a:gd name="connsiteX34" fmla="*/ 377402 w 1182074"/>
                <a:gd name="connsiteY34" fmla="*/ 402336 h 796679"/>
                <a:gd name="connsiteX35" fmla="*/ 395690 w 1182074"/>
                <a:gd name="connsiteY35" fmla="*/ 365760 h 796679"/>
                <a:gd name="connsiteX36" fmla="*/ 450554 w 1182074"/>
                <a:gd name="connsiteY36" fmla="*/ 301752 h 796679"/>
                <a:gd name="connsiteX37" fmla="*/ 541994 w 1182074"/>
                <a:gd name="connsiteY37" fmla="*/ 219456 h 796679"/>
                <a:gd name="connsiteX38" fmla="*/ 587714 w 1182074"/>
                <a:gd name="connsiteY38" fmla="*/ 146304 h 796679"/>
                <a:gd name="connsiteX39" fmla="*/ 587714 w 1182074"/>
                <a:gd name="connsiteY39" fmla="*/ 64008 h 796679"/>
                <a:gd name="connsiteX40" fmla="*/ 578570 w 1182074"/>
                <a:gd name="connsiteY40" fmla="*/ 54864 h 796679"/>
                <a:gd name="connsiteX41" fmla="*/ 569426 w 1182074"/>
                <a:gd name="connsiteY41" fmla="*/ 128016 h 796679"/>
                <a:gd name="connsiteX42" fmla="*/ 541994 w 1182074"/>
                <a:gd name="connsiteY42" fmla="*/ 173736 h 796679"/>
                <a:gd name="connsiteX43" fmla="*/ 468842 w 1182074"/>
                <a:gd name="connsiteY43" fmla="*/ 237744 h 796679"/>
                <a:gd name="connsiteX44" fmla="*/ 441410 w 1182074"/>
                <a:gd name="connsiteY44" fmla="*/ 256032 h 796679"/>
                <a:gd name="connsiteX45" fmla="*/ 368258 w 1182074"/>
                <a:gd name="connsiteY45" fmla="*/ 347472 h 796679"/>
                <a:gd name="connsiteX46" fmla="*/ 359114 w 1182074"/>
                <a:gd name="connsiteY46" fmla="*/ 374904 h 796679"/>
                <a:gd name="connsiteX47" fmla="*/ 313289 w 1182074"/>
                <a:gd name="connsiteY47" fmla="*/ 447174 h 796679"/>
                <a:gd name="connsiteX48" fmla="*/ 352880 w 1182074"/>
                <a:gd name="connsiteY48" fmla="*/ 536508 h 796679"/>
                <a:gd name="connsiteX49" fmla="*/ 300665 w 1182074"/>
                <a:gd name="connsiteY49" fmla="*/ 593454 h 796679"/>
                <a:gd name="connsiteX50" fmla="*/ 77464 w 1182074"/>
                <a:gd name="connsiteY50" fmla="*/ 439344 h 796679"/>
                <a:gd name="connsiteX51" fmla="*/ 64838 w 1182074"/>
                <a:gd name="connsiteY51" fmla="*/ 585623 h 796679"/>
                <a:gd name="connsiteX52" fmla="*/ 104428 w 1182074"/>
                <a:gd name="connsiteY52" fmla="*/ 674957 h 796679"/>
                <a:gd name="connsiteX53" fmla="*/ 104429 w 1182074"/>
                <a:gd name="connsiteY53" fmla="*/ 674957 h 796679"/>
                <a:gd name="connsiteX54" fmla="*/ 144020 w 1182074"/>
                <a:gd name="connsiteY54" fmla="*/ 764291 h 796679"/>
                <a:gd name="connsiteX55" fmla="*/ 0 w 1182074"/>
                <a:gd name="connsiteY55" fmla="*/ 788849 h 796679"/>
                <a:gd name="connsiteX0" fmla="*/ 0 w 1182074"/>
                <a:gd name="connsiteY0" fmla="*/ 788849 h 796679"/>
                <a:gd name="connsiteX1" fmla="*/ 288039 w 1182074"/>
                <a:gd name="connsiteY1" fmla="*/ 739734 h 796679"/>
                <a:gd name="connsiteX2" fmla="*/ 235824 w 1182074"/>
                <a:gd name="connsiteY2" fmla="*/ 796679 h 796679"/>
                <a:gd name="connsiteX3" fmla="*/ 340255 w 1182074"/>
                <a:gd name="connsiteY3" fmla="*/ 682788 h 796679"/>
                <a:gd name="connsiteX4" fmla="*/ 405094 w 1182074"/>
                <a:gd name="connsiteY4" fmla="*/ 479563 h 796679"/>
                <a:gd name="connsiteX5" fmla="*/ 477986 w 1182074"/>
                <a:gd name="connsiteY5" fmla="*/ 384048 h 796679"/>
                <a:gd name="connsiteX6" fmla="*/ 670010 w 1182074"/>
                <a:gd name="connsiteY6" fmla="*/ 301752 h 796679"/>
                <a:gd name="connsiteX7" fmla="*/ 752306 w 1182074"/>
                <a:gd name="connsiteY7" fmla="*/ 192024 h 796679"/>
                <a:gd name="connsiteX8" fmla="*/ 898610 w 1182074"/>
                <a:gd name="connsiteY8" fmla="*/ 155448 h 796679"/>
                <a:gd name="connsiteX9" fmla="*/ 944330 w 1182074"/>
                <a:gd name="connsiteY9" fmla="*/ 155448 h 796679"/>
                <a:gd name="connsiteX10" fmla="*/ 980906 w 1182074"/>
                <a:gd name="connsiteY10" fmla="*/ 137160 h 796679"/>
                <a:gd name="connsiteX11" fmla="*/ 935186 w 1182074"/>
                <a:gd name="connsiteY11" fmla="*/ 137160 h 796679"/>
                <a:gd name="connsiteX12" fmla="*/ 843746 w 1182074"/>
                <a:gd name="connsiteY12" fmla="*/ 137160 h 796679"/>
                <a:gd name="connsiteX13" fmla="*/ 788882 w 1182074"/>
                <a:gd name="connsiteY13" fmla="*/ 146304 h 796679"/>
                <a:gd name="connsiteX14" fmla="*/ 779738 w 1182074"/>
                <a:gd name="connsiteY14" fmla="*/ 155448 h 796679"/>
                <a:gd name="connsiteX15" fmla="*/ 761450 w 1182074"/>
                <a:gd name="connsiteY15" fmla="*/ 146304 h 796679"/>
                <a:gd name="connsiteX16" fmla="*/ 889466 w 1182074"/>
                <a:gd name="connsiteY16" fmla="*/ 91440 h 796679"/>
                <a:gd name="connsiteX17" fmla="*/ 944330 w 1182074"/>
                <a:gd name="connsiteY17" fmla="*/ 91440 h 796679"/>
                <a:gd name="connsiteX18" fmla="*/ 1035770 w 1182074"/>
                <a:gd name="connsiteY18" fmla="*/ 82296 h 796679"/>
                <a:gd name="connsiteX19" fmla="*/ 1163786 w 1182074"/>
                <a:gd name="connsiteY19" fmla="*/ 27432 h 796679"/>
                <a:gd name="connsiteX20" fmla="*/ 1145498 w 1182074"/>
                <a:gd name="connsiteY20" fmla="*/ 0 h 796679"/>
                <a:gd name="connsiteX21" fmla="*/ 1108922 w 1182074"/>
                <a:gd name="connsiteY21" fmla="*/ 27432 h 796679"/>
                <a:gd name="connsiteX22" fmla="*/ 1072346 w 1182074"/>
                <a:gd name="connsiteY22" fmla="*/ 36576 h 796679"/>
                <a:gd name="connsiteX23" fmla="*/ 999194 w 1182074"/>
                <a:gd name="connsiteY23" fmla="*/ 64008 h 796679"/>
                <a:gd name="connsiteX24" fmla="*/ 944330 w 1182074"/>
                <a:gd name="connsiteY24" fmla="*/ 64008 h 796679"/>
                <a:gd name="connsiteX25" fmla="*/ 834602 w 1182074"/>
                <a:gd name="connsiteY25" fmla="*/ 64008 h 796679"/>
                <a:gd name="connsiteX26" fmla="*/ 779738 w 1182074"/>
                <a:gd name="connsiteY26" fmla="*/ 100584 h 796679"/>
                <a:gd name="connsiteX27" fmla="*/ 743162 w 1182074"/>
                <a:gd name="connsiteY27" fmla="*/ 146304 h 796679"/>
                <a:gd name="connsiteX28" fmla="*/ 697442 w 1182074"/>
                <a:gd name="connsiteY28" fmla="*/ 182880 h 796679"/>
                <a:gd name="connsiteX29" fmla="*/ 651722 w 1182074"/>
                <a:gd name="connsiteY29" fmla="*/ 256032 h 796679"/>
                <a:gd name="connsiteX30" fmla="*/ 578570 w 1182074"/>
                <a:gd name="connsiteY30" fmla="*/ 301752 h 796679"/>
                <a:gd name="connsiteX31" fmla="*/ 477986 w 1182074"/>
                <a:gd name="connsiteY31" fmla="*/ 347472 h 796679"/>
                <a:gd name="connsiteX32" fmla="*/ 441410 w 1182074"/>
                <a:gd name="connsiteY32" fmla="*/ 374904 h 796679"/>
                <a:gd name="connsiteX33" fmla="*/ 395690 w 1182074"/>
                <a:gd name="connsiteY33" fmla="*/ 402336 h 796679"/>
                <a:gd name="connsiteX34" fmla="*/ 377402 w 1182074"/>
                <a:gd name="connsiteY34" fmla="*/ 402336 h 796679"/>
                <a:gd name="connsiteX35" fmla="*/ 395690 w 1182074"/>
                <a:gd name="connsiteY35" fmla="*/ 365760 h 796679"/>
                <a:gd name="connsiteX36" fmla="*/ 450554 w 1182074"/>
                <a:gd name="connsiteY36" fmla="*/ 301752 h 796679"/>
                <a:gd name="connsiteX37" fmla="*/ 541994 w 1182074"/>
                <a:gd name="connsiteY37" fmla="*/ 219456 h 796679"/>
                <a:gd name="connsiteX38" fmla="*/ 587714 w 1182074"/>
                <a:gd name="connsiteY38" fmla="*/ 146304 h 796679"/>
                <a:gd name="connsiteX39" fmla="*/ 587714 w 1182074"/>
                <a:gd name="connsiteY39" fmla="*/ 64008 h 796679"/>
                <a:gd name="connsiteX40" fmla="*/ 578570 w 1182074"/>
                <a:gd name="connsiteY40" fmla="*/ 54864 h 796679"/>
                <a:gd name="connsiteX41" fmla="*/ 569426 w 1182074"/>
                <a:gd name="connsiteY41" fmla="*/ 128016 h 796679"/>
                <a:gd name="connsiteX42" fmla="*/ 541994 w 1182074"/>
                <a:gd name="connsiteY42" fmla="*/ 173736 h 796679"/>
                <a:gd name="connsiteX43" fmla="*/ 468842 w 1182074"/>
                <a:gd name="connsiteY43" fmla="*/ 237744 h 796679"/>
                <a:gd name="connsiteX44" fmla="*/ 441410 w 1182074"/>
                <a:gd name="connsiteY44" fmla="*/ 256032 h 796679"/>
                <a:gd name="connsiteX45" fmla="*/ 368258 w 1182074"/>
                <a:gd name="connsiteY45" fmla="*/ 347472 h 796679"/>
                <a:gd name="connsiteX46" fmla="*/ 359114 w 1182074"/>
                <a:gd name="connsiteY46" fmla="*/ 374904 h 796679"/>
                <a:gd name="connsiteX47" fmla="*/ 313289 w 1182074"/>
                <a:gd name="connsiteY47" fmla="*/ 447174 h 796679"/>
                <a:gd name="connsiteX48" fmla="*/ 352880 w 1182074"/>
                <a:gd name="connsiteY48" fmla="*/ 536508 h 796679"/>
                <a:gd name="connsiteX49" fmla="*/ 300665 w 1182074"/>
                <a:gd name="connsiteY49" fmla="*/ 593454 h 796679"/>
                <a:gd name="connsiteX50" fmla="*/ 196235 w 1182074"/>
                <a:gd name="connsiteY50" fmla="*/ 707345 h 796679"/>
                <a:gd name="connsiteX51" fmla="*/ 64838 w 1182074"/>
                <a:gd name="connsiteY51" fmla="*/ 585623 h 796679"/>
                <a:gd name="connsiteX52" fmla="*/ 104428 w 1182074"/>
                <a:gd name="connsiteY52" fmla="*/ 674957 h 796679"/>
                <a:gd name="connsiteX53" fmla="*/ 104429 w 1182074"/>
                <a:gd name="connsiteY53" fmla="*/ 674957 h 796679"/>
                <a:gd name="connsiteX54" fmla="*/ 144020 w 1182074"/>
                <a:gd name="connsiteY54" fmla="*/ 764291 h 796679"/>
                <a:gd name="connsiteX55" fmla="*/ 0 w 1182074"/>
                <a:gd name="connsiteY55" fmla="*/ 788849 h 796679"/>
                <a:gd name="connsiteX0" fmla="*/ 0 w 1182074"/>
                <a:gd name="connsiteY0" fmla="*/ 788849 h 796679"/>
                <a:gd name="connsiteX1" fmla="*/ 288039 w 1182074"/>
                <a:gd name="connsiteY1" fmla="*/ 739734 h 796679"/>
                <a:gd name="connsiteX2" fmla="*/ 235824 w 1182074"/>
                <a:gd name="connsiteY2" fmla="*/ 796679 h 796679"/>
                <a:gd name="connsiteX3" fmla="*/ 340255 w 1182074"/>
                <a:gd name="connsiteY3" fmla="*/ 682788 h 796679"/>
                <a:gd name="connsiteX4" fmla="*/ 405094 w 1182074"/>
                <a:gd name="connsiteY4" fmla="*/ 479563 h 796679"/>
                <a:gd name="connsiteX5" fmla="*/ 477986 w 1182074"/>
                <a:gd name="connsiteY5" fmla="*/ 384048 h 796679"/>
                <a:gd name="connsiteX6" fmla="*/ 670010 w 1182074"/>
                <a:gd name="connsiteY6" fmla="*/ 301752 h 796679"/>
                <a:gd name="connsiteX7" fmla="*/ 752306 w 1182074"/>
                <a:gd name="connsiteY7" fmla="*/ 192024 h 796679"/>
                <a:gd name="connsiteX8" fmla="*/ 898610 w 1182074"/>
                <a:gd name="connsiteY8" fmla="*/ 155448 h 796679"/>
                <a:gd name="connsiteX9" fmla="*/ 944330 w 1182074"/>
                <a:gd name="connsiteY9" fmla="*/ 155448 h 796679"/>
                <a:gd name="connsiteX10" fmla="*/ 980906 w 1182074"/>
                <a:gd name="connsiteY10" fmla="*/ 137160 h 796679"/>
                <a:gd name="connsiteX11" fmla="*/ 935186 w 1182074"/>
                <a:gd name="connsiteY11" fmla="*/ 137160 h 796679"/>
                <a:gd name="connsiteX12" fmla="*/ 843746 w 1182074"/>
                <a:gd name="connsiteY12" fmla="*/ 137160 h 796679"/>
                <a:gd name="connsiteX13" fmla="*/ 788882 w 1182074"/>
                <a:gd name="connsiteY13" fmla="*/ 146304 h 796679"/>
                <a:gd name="connsiteX14" fmla="*/ 779738 w 1182074"/>
                <a:gd name="connsiteY14" fmla="*/ 155448 h 796679"/>
                <a:gd name="connsiteX15" fmla="*/ 761450 w 1182074"/>
                <a:gd name="connsiteY15" fmla="*/ 146304 h 796679"/>
                <a:gd name="connsiteX16" fmla="*/ 889466 w 1182074"/>
                <a:gd name="connsiteY16" fmla="*/ 91440 h 796679"/>
                <a:gd name="connsiteX17" fmla="*/ 944330 w 1182074"/>
                <a:gd name="connsiteY17" fmla="*/ 91440 h 796679"/>
                <a:gd name="connsiteX18" fmla="*/ 1035770 w 1182074"/>
                <a:gd name="connsiteY18" fmla="*/ 82296 h 796679"/>
                <a:gd name="connsiteX19" fmla="*/ 1163786 w 1182074"/>
                <a:gd name="connsiteY19" fmla="*/ 27432 h 796679"/>
                <a:gd name="connsiteX20" fmla="*/ 1145498 w 1182074"/>
                <a:gd name="connsiteY20" fmla="*/ 0 h 796679"/>
                <a:gd name="connsiteX21" fmla="*/ 1108922 w 1182074"/>
                <a:gd name="connsiteY21" fmla="*/ 27432 h 796679"/>
                <a:gd name="connsiteX22" fmla="*/ 1072346 w 1182074"/>
                <a:gd name="connsiteY22" fmla="*/ 36576 h 796679"/>
                <a:gd name="connsiteX23" fmla="*/ 999194 w 1182074"/>
                <a:gd name="connsiteY23" fmla="*/ 64008 h 796679"/>
                <a:gd name="connsiteX24" fmla="*/ 944330 w 1182074"/>
                <a:gd name="connsiteY24" fmla="*/ 64008 h 796679"/>
                <a:gd name="connsiteX25" fmla="*/ 834602 w 1182074"/>
                <a:gd name="connsiteY25" fmla="*/ 64008 h 796679"/>
                <a:gd name="connsiteX26" fmla="*/ 779738 w 1182074"/>
                <a:gd name="connsiteY26" fmla="*/ 100584 h 796679"/>
                <a:gd name="connsiteX27" fmla="*/ 743162 w 1182074"/>
                <a:gd name="connsiteY27" fmla="*/ 146304 h 796679"/>
                <a:gd name="connsiteX28" fmla="*/ 697442 w 1182074"/>
                <a:gd name="connsiteY28" fmla="*/ 182880 h 796679"/>
                <a:gd name="connsiteX29" fmla="*/ 651722 w 1182074"/>
                <a:gd name="connsiteY29" fmla="*/ 256032 h 796679"/>
                <a:gd name="connsiteX30" fmla="*/ 578570 w 1182074"/>
                <a:gd name="connsiteY30" fmla="*/ 301752 h 796679"/>
                <a:gd name="connsiteX31" fmla="*/ 477986 w 1182074"/>
                <a:gd name="connsiteY31" fmla="*/ 347472 h 796679"/>
                <a:gd name="connsiteX32" fmla="*/ 441410 w 1182074"/>
                <a:gd name="connsiteY32" fmla="*/ 374904 h 796679"/>
                <a:gd name="connsiteX33" fmla="*/ 395690 w 1182074"/>
                <a:gd name="connsiteY33" fmla="*/ 402336 h 796679"/>
                <a:gd name="connsiteX34" fmla="*/ 377402 w 1182074"/>
                <a:gd name="connsiteY34" fmla="*/ 402336 h 796679"/>
                <a:gd name="connsiteX35" fmla="*/ 395690 w 1182074"/>
                <a:gd name="connsiteY35" fmla="*/ 365760 h 796679"/>
                <a:gd name="connsiteX36" fmla="*/ 450554 w 1182074"/>
                <a:gd name="connsiteY36" fmla="*/ 301752 h 796679"/>
                <a:gd name="connsiteX37" fmla="*/ 541994 w 1182074"/>
                <a:gd name="connsiteY37" fmla="*/ 219456 h 796679"/>
                <a:gd name="connsiteX38" fmla="*/ 587714 w 1182074"/>
                <a:gd name="connsiteY38" fmla="*/ 146304 h 796679"/>
                <a:gd name="connsiteX39" fmla="*/ 587714 w 1182074"/>
                <a:gd name="connsiteY39" fmla="*/ 64008 h 796679"/>
                <a:gd name="connsiteX40" fmla="*/ 578570 w 1182074"/>
                <a:gd name="connsiteY40" fmla="*/ 54864 h 796679"/>
                <a:gd name="connsiteX41" fmla="*/ 569426 w 1182074"/>
                <a:gd name="connsiteY41" fmla="*/ 128016 h 796679"/>
                <a:gd name="connsiteX42" fmla="*/ 541994 w 1182074"/>
                <a:gd name="connsiteY42" fmla="*/ 173736 h 796679"/>
                <a:gd name="connsiteX43" fmla="*/ 468842 w 1182074"/>
                <a:gd name="connsiteY43" fmla="*/ 237744 h 796679"/>
                <a:gd name="connsiteX44" fmla="*/ 441410 w 1182074"/>
                <a:gd name="connsiteY44" fmla="*/ 256032 h 796679"/>
                <a:gd name="connsiteX45" fmla="*/ 368258 w 1182074"/>
                <a:gd name="connsiteY45" fmla="*/ 347472 h 796679"/>
                <a:gd name="connsiteX46" fmla="*/ 359114 w 1182074"/>
                <a:gd name="connsiteY46" fmla="*/ 374904 h 796679"/>
                <a:gd name="connsiteX47" fmla="*/ 313289 w 1182074"/>
                <a:gd name="connsiteY47" fmla="*/ 447174 h 796679"/>
                <a:gd name="connsiteX48" fmla="*/ 352880 w 1182074"/>
                <a:gd name="connsiteY48" fmla="*/ 536508 h 796679"/>
                <a:gd name="connsiteX49" fmla="*/ 300665 w 1182074"/>
                <a:gd name="connsiteY49" fmla="*/ 593454 h 796679"/>
                <a:gd name="connsiteX50" fmla="*/ 196235 w 1182074"/>
                <a:gd name="connsiteY50" fmla="*/ 707345 h 796679"/>
                <a:gd name="connsiteX51" fmla="*/ 144020 w 1182074"/>
                <a:gd name="connsiteY51" fmla="*/ 764291 h 796679"/>
                <a:gd name="connsiteX52" fmla="*/ 104428 w 1182074"/>
                <a:gd name="connsiteY52" fmla="*/ 674957 h 796679"/>
                <a:gd name="connsiteX53" fmla="*/ 104429 w 1182074"/>
                <a:gd name="connsiteY53" fmla="*/ 674957 h 796679"/>
                <a:gd name="connsiteX54" fmla="*/ 144020 w 1182074"/>
                <a:gd name="connsiteY54" fmla="*/ 764291 h 796679"/>
                <a:gd name="connsiteX55" fmla="*/ 0 w 1182074"/>
                <a:gd name="connsiteY55" fmla="*/ 788849 h 796679"/>
                <a:gd name="connsiteX0" fmla="*/ 0 w 1182074"/>
                <a:gd name="connsiteY0" fmla="*/ 788849 h 796679"/>
                <a:gd name="connsiteX1" fmla="*/ 288039 w 1182074"/>
                <a:gd name="connsiteY1" fmla="*/ 739734 h 796679"/>
                <a:gd name="connsiteX2" fmla="*/ 235824 w 1182074"/>
                <a:gd name="connsiteY2" fmla="*/ 796679 h 796679"/>
                <a:gd name="connsiteX3" fmla="*/ 340255 w 1182074"/>
                <a:gd name="connsiteY3" fmla="*/ 682788 h 796679"/>
                <a:gd name="connsiteX4" fmla="*/ 405094 w 1182074"/>
                <a:gd name="connsiteY4" fmla="*/ 479563 h 796679"/>
                <a:gd name="connsiteX5" fmla="*/ 477986 w 1182074"/>
                <a:gd name="connsiteY5" fmla="*/ 384048 h 796679"/>
                <a:gd name="connsiteX6" fmla="*/ 670010 w 1182074"/>
                <a:gd name="connsiteY6" fmla="*/ 301752 h 796679"/>
                <a:gd name="connsiteX7" fmla="*/ 752306 w 1182074"/>
                <a:gd name="connsiteY7" fmla="*/ 192024 h 796679"/>
                <a:gd name="connsiteX8" fmla="*/ 898610 w 1182074"/>
                <a:gd name="connsiteY8" fmla="*/ 155448 h 796679"/>
                <a:gd name="connsiteX9" fmla="*/ 944330 w 1182074"/>
                <a:gd name="connsiteY9" fmla="*/ 155448 h 796679"/>
                <a:gd name="connsiteX10" fmla="*/ 980906 w 1182074"/>
                <a:gd name="connsiteY10" fmla="*/ 137160 h 796679"/>
                <a:gd name="connsiteX11" fmla="*/ 935186 w 1182074"/>
                <a:gd name="connsiteY11" fmla="*/ 137160 h 796679"/>
                <a:gd name="connsiteX12" fmla="*/ 843746 w 1182074"/>
                <a:gd name="connsiteY12" fmla="*/ 137160 h 796679"/>
                <a:gd name="connsiteX13" fmla="*/ 788882 w 1182074"/>
                <a:gd name="connsiteY13" fmla="*/ 146304 h 796679"/>
                <a:gd name="connsiteX14" fmla="*/ 779738 w 1182074"/>
                <a:gd name="connsiteY14" fmla="*/ 155448 h 796679"/>
                <a:gd name="connsiteX15" fmla="*/ 761450 w 1182074"/>
                <a:gd name="connsiteY15" fmla="*/ 146304 h 796679"/>
                <a:gd name="connsiteX16" fmla="*/ 889466 w 1182074"/>
                <a:gd name="connsiteY16" fmla="*/ 91440 h 796679"/>
                <a:gd name="connsiteX17" fmla="*/ 944330 w 1182074"/>
                <a:gd name="connsiteY17" fmla="*/ 91440 h 796679"/>
                <a:gd name="connsiteX18" fmla="*/ 1035770 w 1182074"/>
                <a:gd name="connsiteY18" fmla="*/ 82296 h 796679"/>
                <a:gd name="connsiteX19" fmla="*/ 1163786 w 1182074"/>
                <a:gd name="connsiteY19" fmla="*/ 27432 h 796679"/>
                <a:gd name="connsiteX20" fmla="*/ 1145498 w 1182074"/>
                <a:gd name="connsiteY20" fmla="*/ 0 h 796679"/>
                <a:gd name="connsiteX21" fmla="*/ 1108922 w 1182074"/>
                <a:gd name="connsiteY21" fmla="*/ 27432 h 796679"/>
                <a:gd name="connsiteX22" fmla="*/ 1072346 w 1182074"/>
                <a:gd name="connsiteY22" fmla="*/ 36576 h 796679"/>
                <a:gd name="connsiteX23" fmla="*/ 999194 w 1182074"/>
                <a:gd name="connsiteY23" fmla="*/ 64008 h 796679"/>
                <a:gd name="connsiteX24" fmla="*/ 944330 w 1182074"/>
                <a:gd name="connsiteY24" fmla="*/ 64008 h 796679"/>
                <a:gd name="connsiteX25" fmla="*/ 834602 w 1182074"/>
                <a:gd name="connsiteY25" fmla="*/ 64008 h 796679"/>
                <a:gd name="connsiteX26" fmla="*/ 779738 w 1182074"/>
                <a:gd name="connsiteY26" fmla="*/ 100584 h 796679"/>
                <a:gd name="connsiteX27" fmla="*/ 743162 w 1182074"/>
                <a:gd name="connsiteY27" fmla="*/ 146304 h 796679"/>
                <a:gd name="connsiteX28" fmla="*/ 697442 w 1182074"/>
                <a:gd name="connsiteY28" fmla="*/ 182880 h 796679"/>
                <a:gd name="connsiteX29" fmla="*/ 651722 w 1182074"/>
                <a:gd name="connsiteY29" fmla="*/ 256032 h 796679"/>
                <a:gd name="connsiteX30" fmla="*/ 578570 w 1182074"/>
                <a:gd name="connsiteY30" fmla="*/ 301752 h 796679"/>
                <a:gd name="connsiteX31" fmla="*/ 477986 w 1182074"/>
                <a:gd name="connsiteY31" fmla="*/ 347472 h 796679"/>
                <a:gd name="connsiteX32" fmla="*/ 441410 w 1182074"/>
                <a:gd name="connsiteY32" fmla="*/ 374904 h 796679"/>
                <a:gd name="connsiteX33" fmla="*/ 395690 w 1182074"/>
                <a:gd name="connsiteY33" fmla="*/ 402336 h 796679"/>
                <a:gd name="connsiteX34" fmla="*/ 377402 w 1182074"/>
                <a:gd name="connsiteY34" fmla="*/ 402336 h 796679"/>
                <a:gd name="connsiteX35" fmla="*/ 395690 w 1182074"/>
                <a:gd name="connsiteY35" fmla="*/ 365760 h 796679"/>
                <a:gd name="connsiteX36" fmla="*/ 450554 w 1182074"/>
                <a:gd name="connsiteY36" fmla="*/ 301752 h 796679"/>
                <a:gd name="connsiteX37" fmla="*/ 541994 w 1182074"/>
                <a:gd name="connsiteY37" fmla="*/ 219456 h 796679"/>
                <a:gd name="connsiteX38" fmla="*/ 587714 w 1182074"/>
                <a:gd name="connsiteY38" fmla="*/ 146304 h 796679"/>
                <a:gd name="connsiteX39" fmla="*/ 587714 w 1182074"/>
                <a:gd name="connsiteY39" fmla="*/ 64008 h 796679"/>
                <a:gd name="connsiteX40" fmla="*/ 578570 w 1182074"/>
                <a:gd name="connsiteY40" fmla="*/ 54864 h 796679"/>
                <a:gd name="connsiteX41" fmla="*/ 569426 w 1182074"/>
                <a:gd name="connsiteY41" fmla="*/ 128016 h 796679"/>
                <a:gd name="connsiteX42" fmla="*/ 541994 w 1182074"/>
                <a:gd name="connsiteY42" fmla="*/ 173736 h 796679"/>
                <a:gd name="connsiteX43" fmla="*/ 468842 w 1182074"/>
                <a:gd name="connsiteY43" fmla="*/ 237744 h 796679"/>
                <a:gd name="connsiteX44" fmla="*/ 441410 w 1182074"/>
                <a:gd name="connsiteY44" fmla="*/ 256032 h 796679"/>
                <a:gd name="connsiteX45" fmla="*/ 368258 w 1182074"/>
                <a:gd name="connsiteY45" fmla="*/ 347472 h 796679"/>
                <a:gd name="connsiteX46" fmla="*/ 359114 w 1182074"/>
                <a:gd name="connsiteY46" fmla="*/ 374904 h 796679"/>
                <a:gd name="connsiteX47" fmla="*/ 313289 w 1182074"/>
                <a:gd name="connsiteY47" fmla="*/ 447174 h 796679"/>
                <a:gd name="connsiteX48" fmla="*/ 352880 w 1182074"/>
                <a:gd name="connsiteY48" fmla="*/ 536508 h 796679"/>
                <a:gd name="connsiteX49" fmla="*/ 300665 w 1182074"/>
                <a:gd name="connsiteY49" fmla="*/ 593454 h 796679"/>
                <a:gd name="connsiteX50" fmla="*/ 248451 w 1182074"/>
                <a:gd name="connsiteY50" fmla="*/ 650399 h 796679"/>
                <a:gd name="connsiteX51" fmla="*/ 144020 w 1182074"/>
                <a:gd name="connsiteY51" fmla="*/ 764291 h 796679"/>
                <a:gd name="connsiteX52" fmla="*/ 104428 w 1182074"/>
                <a:gd name="connsiteY52" fmla="*/ 674957 h 796679"/>
                <a:gd name="connsiteX53" fmla="*/ 104429 w 1182074"/>
                <a:gd name="connsiteY53" fmla="*/ 674957 h 796679"/>
                <a:gd name="connsiteX54" fmla="*/ 144020 w 1182074"/>
                <a:gd name="connsiteY54" fmla="*/ 764291 h 796679"/>
                <a:gd name="connsiteX55" fmla="*/ 0 w 1182074"/>
                <a:gd name="connsiteY55" fmla="*/ 788849 h 796679"/>
                <a:gd name="connsiteX0" fmla="*/ 0 w 1182074"/>
                <a:gd name="connsiteY0" fmla="*/ 788849 h 796679"/>
                <a:gd name="connsiteX1" fmla="*/ 288039 w 1182074"/>
                <a:gd name="connsiteY1" fmla="*/ 739734 h 796679"/>
                <a:gd name="connsiteX2" fmla="*/ 235824 w 1182074"/>
                <a:gd name="connsiteY2" fmla="*/ 796679 h 796679"/>
                <a:gd name="connsiteX3" fmla="*/ 340255 w 1182074"/>
                <a:gd name="connsiteY3" fmla="*/ 682788 h 796679"/>
                <a:gd name="connsiteX4" fmla="*/ 405094 w 1182074"/>
                <a:gd name="connsiteY4" fmla="*/ 479563 h 796679"/>
                <a:gd name="connsiteX5" fmla="*/ 477986 w 1182074"/>
                <a:gd name="connsiteY5" fmla="*/ 384048 h 796679"/>
                <a:gd name="connsiteX6" fmla="*/ 670010 w 1182074"/>
                <a:gd name="connsiteY6" fmla="*/ 301752 h 796679"/>
                <a:gd name="connsiteX7" fmla="*/ 752306 w 1182074"/>
                <a:gd name="connsiteY7" fmla="*/ 192024 h 796679"/>
                <a:gd name="connsiteX8" fmla="*/ 898610 w 1182074"/>
                <a:gd name="connsiteY8" fmla="*/ 155448 h 796679"/>
                <a:gd name="connsiteX9" fmla="*/ 944330 w 1182074"/>
                <a:gd name="connsiteY9" fmla="*/ 155448 h 796679"/>
                <a:gd name="connsiteX10" fmla="*/ 980906 w 1182074"/>
                <a:gd name="connsiteY10" fmla="*/ 137160 h 796679"/>
                <a:gd name="connsiteX11" fmla="*/ 935186 w 1182074"/>
                <a:gd name="connsiteY11" fmla="*/ 137160 h 796679"/>
                <a:gd name="connsiteX12" fmla="*/ 843746 w 1182074"/>
                <a:gd name="connsiteY12" fmla="*/ 137160 h 796679"/>
                <a:gd name="connsiteX13" fmla="*/ 788882 w 1182074"/>
                <a:gd name="connsiteY13" fmla="*/ 146304 h 796679"/>
                <a:gd name="connsiteX14" fmla="*/ 779738 w 1182074"/>
                <a:gd name="connsiteY14" fmla="*/ 155448 h 796679"/>
                <a:gd name="connsiteX15" fmla="*/ 761450 w 1182074"/>
                <a:gd name="connsiteY15" fmla="*/ 146304 h 796679"/>
                <a:gd name="connsiteX16" fmla="*/ 889466 w 1182074"/>
                <a:gd name="connsiteY16" fmla="*/ 91440 h 796679"/>
                <a:gd name="connsiteX17" fmla="*/ 944330 w 1182074"/>
                <a:gd name="connsiteY17" fmla="*/ 91440 h 796679"/>
                <a:gd name="connsiteX18" fmla="*/ 1035770 w 1182074"/>
                <a:gd name="connsiteY18" fmla="*/ 82296 h 796679"/>
                <a:gd name="connsiteX19" fmla="*/ 1163786 w 1182074"/>
                <a:gd name="connsiteY19" fmla="*/ 27432 h 796679"/>
                <a:gd name="connsiteX20" fmla="*/ 1145498 w 1182074"/>
                <a:gd name="connsiteY20" fmla="*/ 0 h 796679"/>
                <a:gd name="connsiteX21" fmla="*/ 1108922 w 1182074"/>
                <a:gd name="connsiteY21" fmla="*/ 27432 h 796679"/>
                <a:gd name="connsiteX22" fmla="*/ 1072346 w 1182074"/>
                <a:gd name="connsiteY22" fmla="*/ 36576 h 796679"/>
                <a:gd name="connsiteX23" fmla="*/ 999194 w 1182074"/>
                <a:gd name="connsiteY23" fmla="*/ 64008 h 796679"/>
                <a:gd name="connsiteX24" fmla="*/ 944330 w 1182074"/>
                <a:gd name="connsiteY24" fmla="*/ 64008 h 796679"/>
                <a:gd name="connsiteX25" fmla="*/ 834602 w 1182074"/>
                <a:gd name="connsiteY25" fmla="*/ 64008 h 796679"/>
                <a:gd name="connsiteX26" fmla="*/ 779738 w 1182074"/>
                <a:gd name="connsiteY26" fmla="*/ 100584 h 796679"/>
                <a:gd name="connsiteX27" fmla="*/ 743162 w 1182074"/>
                <a:gd name="connsiteY27" fmla="*/ 146304 h 796679"/>
                <a:gd name="connsiteX28" fmla="*/ 697442 w 1182074"/>
                <a:gd name="connsiteY28" fmla="*/ 182880 h 796679"/>
                <a:gd name="connsiteX29" fmla="*/ 651722 w 1182074"/>
                <a:gd name="connsiteY29" fmla="*/ 256032 h 796679"/>
                <a:gd name="connsiteX30" fmla="*/ 578570 w 1182074"/>
                <a:gd name="connsiteY30" fmla="*/ 301752 h 796679"/>
                <a:gd name="connsiteX31" fmla="*/ 477986 w 1182074"/>
                <a:gd name="connsiteY31" fmla="*/ 347472 h 796679"/>
                <a:gd name="connsiteX32" fmla="*/ 441410 w 1182074"/>
                <a:gd name="connsiteY32" fmla="*/ 374904 h 796679"/>
                <a:gd name="connsiteX33" fmla="*/ 395690 w 1182074"/>
                <a:gd name="connsiteY33" fmla="*/ 402336 h 796679"/>
                <a:gd name="connsiteX34" fmla="*/ 377402 w 1182074"/>
                <a:gd name="connsiteY34" fmla="*/ 402336 h 796679"/>
                <a:gd name="connsiteX35" fmla="*/ 395690 w 1182074"/>
                <a:gd name="connsiteY35" fmla="*/ 365760 h 796679"/>
                <a:gd name="connsiteX36" fmla="*/ 450554 w 1182074"/>
                <a:gd name="connsiteY36" fmla="*/ 301752 h 796679"/>
                <a:gd name="connsiteX37" fmla="*/ 541994 w 1182074"/>
                <a:gd name="connsiteY37" fmla="*/ 219456 h 796679"/>
                <a:gd name="connsiteX38" fmla="*/ 587714 w 1182074"/>
                <a:gd name="connsiteY38" fmla="*/ 146304 h 796679"/>
                <a:gd name="connsiteX39" fmla="*/ 587714 w 1182074"/>
                <a:gd name="connsiteY39" fmla="*/ 64008 h 796679"/>
                <a:gd name="connsiteX40" fmla="*/ 578570 w 1182074"/>
                <a:gd name="connsiteY40" fmla="*/ 54864 h 796679"/>
                <a:gd name="connsiteX41" fmla="*/ 569426 w 1182074"/>
                <a:gd name="connsiteY41" fmla="*/ 128016 h 796679"/>
                <a:gd name="connsiteX42" fmla="*/ 541994 w 1182074"/>
                <a:gd name="connsiteY42" fmla="*/ 173736 h 796679"/>
                <a:gd name="connsiteX43" fmla="*/ 468842 w 1182074"/>
                <a:gd name="connsiteY43" fmla="*/ 237744 h 796679"/>
                <a:gd name="connsiteX44" fmla="*/ 441410 w 1182074"/>
                <a:gd name="connsiteY44" fmla="*/ 256032 h 796679"/>
                <a:gd name="connsiteX45" fmla="*/ 368258 w 1182074"/>
                <a:gd name="connsiteY45" fmla="*/ 347472 h 796679"/>
                <a:gd name="connsiteX46" fmla="*/ 359114 w 1182074"/>
                <a:gd name="connsiteY46" fmla="*/ 374904 h 796679"/>
                <a:gd name="connsiteX47" fmla="*/ 313289 w 1182074"/>
                <a:gd name="connsiteY47" fmla="*/ 447174 h 796679"/>
                <a:gd name="connsiteX48" fmla="*/ 352880 w 1182074"/>
                <a:gd name="connsiteY48" fmla="*/ 536508 h 796679"/>
                <a:gd name="connsiteX49" fmla="*/ 300665 w 1182074"/>
                <a:gd name="connsiteY49" fmla="*/ 593454 h 796679"/>
                <a:gd name="connsiteX50" fmla="*/ 248451 w 1182074"/>
                <a:gd name="connsiteY50" fmla="*/ 650399 h 796679"/>
                <a:gd name="connsiteX51" fmla="*/ 144020 w 1182074"/>
                <a:gd name="connsiteY51" fmla="*/ 764291 h 796679"/>
                <a:gd name="connsiteX52" fmla="*/ 104428 w 1182074"/>
                <a:gd name="connsiteY52" fmla="*/ 674957 h 796679"/>
                <a:gd name="connsiteX53" fmla="*/ 104429 w 1182074"/>
                <a:gd name="connsiteY53" fmla="*/ 674957 h 796679"/>
                <a:gd name="connsiteX54" fmla="*/ 144020 w 1182074"/>
                <a:gd name="connsiteY54" fmla="*/ 764291 h 796679"/>
                <a:gd name="connsiteX55" fmla="*/ 0 w 1182074"/>
                <a:gd name="connsiteY55" fmla="*/ 788849 h 796679"/>
                <a:gd name="connsiteX0" fmla="*/ 39590 w 1221664"/>
                <a:gd name="connsiteY0" fmla="*/ 788849 h 796679"/>
                <a:gd name="connsiteX1" fmla="*/ 327629 w 1221664"/>
                <a:gd name="connsiteY1" fmla="*/ 739734 h 796679"/>
                <a:gd name="connsiteX2" fmla="*/ 275414 w 1221664"/>
                <a:gd name="connsiteY2" fmla="*/ 796679 h 796679"/>
                <a:gd name="connsiteX3" fmla="*/ 379845 w 1221664"/>
                <a:gd name="connsiteY3" fmla="*/ 682788 h 796679"/>
                <a:gd name="connsiteX4" fmla="*/ 444684 w 1221664"/>
                <a:gd name="connsiteY4" fmla="*/ 479563 h 796679"/>
                <a:gd name="connsiteX5" fmla="*/ 517576 w 1221664"/>
                <a:gd name="connsiteY5" fmla="*/ 384048 h 796679"/>
                <a:gd name="connsiteX6" fmla="*/ 709600 w 1221664"/>
                <a:gd name="connsiteY6" fmla="*/ 301752 h 796679"/>
                <a:gd name="connsiteX7" fmla="*/ 791896 w 1221664"/>
                <a:gd name="connsiteY7" fmla="*/ 192024 h 796679"/>
                <a:gd name="connsiteX8" fmla="*/ 938200 w 1221664"/>
                <a:gd name="connsiteY8" fmla="*/ 155448 h 796679"/>
                <a:gd name="connsiteX9" fmla="*/ 983920 w 1221664"/>
                <a:gd name="connsiteY9" fmla="*/ 155448 h 796679"/>
                <a:gd name="connsiteX10" fmla="*/ 1020496 w 1221664"/>
                <a:gd name="connsiteY10" fmla="*/ 137160 h 796679"/>
                <a:gd name="connsiteX11" fmla="*/ 974776 w 1221664"/>
                <a:gd name="connsiteY11" fmla="*/ 137160 h 796679"/>
                <a:gd name="connsiteX12" fmla="*/ 883336 w 1221664"/>
                <a:gd name="connsiteY12" fmla="*/ 137160 h 796679"/>
                <a:gd name="connsiteX13" fmla="*/ 828472 w 1221664"/>
                <a:gd name="connsiteY13" fmla="*/ 146304 h 796679"/>
                <a:gd name="connsiteX14" fmla="*/ 819328 w 1221664"/>
                <a:gd name="connsiteY14" fmla="*/ 155448 h 796679"/>
                <a:gd name="connsiteX15" fmla="*/ 801040 w 1221664"/>
                <a:gd name="connsiteY15" fmla="*/ 146304 h 796679"/>
                <a:gd name="connsiteX16" fmla="*/ 929056 w 1221664"/>
                <a:gd name="connsiteY16" fmla="*/ 91440 h 796679"/>
                <a:gd name="connsiteX17" fmla="*/ 983920 w 1221664"/>
                <a:gd name="connsiteY17" fmla="*/ 91440 h 796679"/>
                <a:gd name="connsiteX18" fmla="*/ 1075360 w 1221664"/>
                <a:gd name="connsiteY18" fmla="*/ 82296 h 796679"/>
                <a:gd name="connsiteX19" fmla="*/ 1203376 w 1221664"/>
                <a:gd name="connsiteY19" fmla="*/ 27432 h 796679"/>
                <a:gd name="connsiteX20" fmla="*/ 1185088 w 1221664"/>
                <a:gd name="connsiteY20" fmla="*/ 0 h 796679"/>
                <a:gd name="connsiteX21" fmla="*/ 1148512 w 1221664"/>
                <a:gd name="connsiteY21" fmla="*/ 27432 h 796679"/>
                <a:gd name="connsiteX22" fmla="*/ 1111936 w 1221664"/>
                <a:gd name="connsiteY22" fmla="*/ 36576 h 796679"/>
                <a:gd name="connsiteX23" fmla="*/ 1038784 w 1221664"/>
                <a:gd name="connsiteY23" fmla="*/ 64008 h 796679"/>
                <a:gd name="connsiteX24" fmla="*/ 983920 w 1221664"/>
                <a:gd name="connsiteY24" fmla="*/ 64008 h 796679"/>
                <a:gd name="connsiteX25" fmla="*/ 874192 w 1221664"/>
                <a:gd name="connsiteY25" fmla="*/ 64008 h 796679"/>
                <a:gd name="connsiteX26" fmla="*/ 819328 w 1221664"/>
                <a:gd name="connsiteY26" fmla="*/ 100584 h 796679"/>
                <a:gd name="connsiteX27" fmla="*/ 782752 w 1221664"/>
                <a:gd name="connsiteY27" fmla="*/ 146304 h 796679"/>
                <a:gd name="connsiteX28" fmla="*/ 737032 w 1221664"/>
                <a:gd name="connsiteY28" fmla="*/ 182880 h 796679"/>
                <a:gd name="connsiteX29" fmla="*/ 691312 w 1221664"/>
                <a:gd name="connsiteY29" fmla="*/ 256032 h 796679"/>
                <a:gd name="connsiteX30" fmla="*/ 618160 w 1221664"/>
                <a:gd name="connsiteY30" fmla="*/ 301752 h 796679"/>
                <a:gd name="connsiteX31" fmla="*/ 517576 w 1221664"/>
                <a:gd name="connsiteY31" fmla="*/ 347472 h 796679"/>
                <a:gd name="connsiteX32" fmla="*/ 481000 w 1221664"/>
                <a:gd name="connsiteY32" fmla="*/ 374904 h 796679"/>
                <a:gd name="connsiteX33" fmla="*/ 435280 w 1221664"/>
                <a:gd name="connsiteY33" fmla="*/ 402336 h 796679"/>
                <a:gd name="connsiteX34" fmla="*/ 416992 w 1221664"/>
                <a:gd name="connsiteY34" fmla="*/ 402336 h 796679"/>
                <a:gd name="connsiteX35" fmla="*/ 435280 w 1221664"/>
                <a:gd name="connsiteY35" fmla="*/ 365760 h 796679"/>
                <a:gd name="connsiteX36" fmla="*/ 490144 w 1221664"/>
                <a:gd name="connsiteY36" fmla="*/ 301752 h 796679"/>
                <a:gd name="connsiteX37" fmla="*/ 581584 w 1221664"/>
                <a:gd name="connsiteY37" fmla="*/ 219456 h 796679"/>
                <a:gd name="connsiteX38" fmla="*/ 627304 w 1221664"/>
                <a:gd name="connsiteY38" fmla="*/ 146304 h 796679"/>
                <a:gd name="connsiteX39" fmla="*/ 627304 w 1221664"/>
                <a:gd name="connsiteY39" fmla="*/ 64008 h 796679"/>
                <a:gd name="connsiteX40" fmla="*/ 618160 w 1221664"/>
                <a:gd name="connsiteY40" fmla="*/ 54864 h 796679"/>
                <a:gd name="connsiteX41" fmla="*/ 609016 w 1221664"/>
                <a:gd name="connsiteY41" fmla="*/ 128016 h 796679"/>
                <a:gd name="connsiteX42" fmla="*/ 581584 w 1221664"/>
                <a:gd name="connsiteY42" fmla="*/ 173736 h 796679"/>
                <a:gd name="connsiteX43" fmla="*/ 508432 w 1221664"/>
                <a:gd name="connsiteY43" fmla="*/ 237744 h 796679"/>
                <a:gd name="connsiteX44" fmla="*/ 481000 w 1221664"/>
                <a:gd name="connsiteY44" fmla="*/ 256032 h 796679"/>
                <a:gd name="connsiteX45" fmla="*/ 407848 w 1221664"/>
                <a:gd name="connsiteY45" fmla="*/ 347472 h 796679"/>
                <a:gd name="connsiteX46" fmla="*/ 398704 w 1221664"/>
                <a:gd name="connsiteY46" fmla="*/ 374904 h 796679"/>
                <a:gd name="connsiteX47" fmla="*/ 352879 w 1221664"/>
                <a:gd name="connsiteY47" fmla="*/ 447174 h 796679"/>
                <a:gd name="connsiteX48" fmla="*/ 392470 w 1221664"/>
                <a:gd name="connsiteY48" fmla="*/ 536508 h 796679"/>
                <a:gd name="connsiteX49" fmla="*/ 340255 w 1221664"/>
                <a:gd name="connsiteY49" fmla="*/ 593454 h 796679"/>
                <a:gd name="connsiteX50" fmla="*/ 288041 w 1221664"/>
                <a:gd name="connsiteY50" fmla="*/ 650399 h 796679"/>
                <a:gd name="connsiteX51" fmla="*/ 183610 w 1221664"/>
                <a:gd name="connsiteY51" fmla="*/ 764291 h 796679"/>
                <a:gd name="connsiteX52" fmla="*/ 144018 w 1221664"/>
                <a:gd name="connsiteY52" fmla="*/ 674957 h 796679"/>
                <a:gd name="connsiteX53" fmla="*/ 144019 w 1221664"/>
                <a:gd name="connsiteY53" fmla="*/ 674957 h 796679"/>
                <a:gd name="connsiteX54" fmla="*/ 0 w 1221664"/>
                <a:gd name="connsiteY54" fmla="*/ 699514 h 796679"/>
                <a:gd name="connsiteX55" fmla="*/ 39590 w 1221664"/>
                <a:gd name="connsiteY55" fmla="*/ 788849 h 796679"/>
                <a:gd name="connsiteX0" fmla="*/ 39590 w 1221664"/>
                <a:gd name="connsiteY0" fmla="*/ 788849 h 796679"/>
                <a:gd name="connsiteX1" fmla="*/ 327629 w 1221664"/>
                <a:gd name="connsiteY1" fmla="*/ 739734 h 796679"/>
                <a:gd name="connsiteX2" fmla="*/ 275414 w 1221664"/>
                <a:gd name="connsiteY2" fmla="*/ 796679 h 796679"/>
                <a:gd name="connsiteX3" fmla="*/ 379845 w 1221664"/>
                <a:gd name="connsiteY3" fmla="*/ 682788 h 796679"/>
                <a:gd name="connsiteX4" fmla="*/ 444684 w 1221664"/>
                <a:gd name="connsiteY4" fmla="*/ 479563 h 796679"/>
                <a:gd name="connsiteX5" fmla="*/ 517576 w 1221664"/>
                <a:gd name="connsiteY5" fmla="*/ 384048 h 796679"/>
                <a:gd name="connsiteX6" fmla="*/ 709600 w 1221664"/>
                <a:gd name="connsiteY6" fmla="*/ 301752 h 796679"/>
                <a:gd name="connsiteX7" fmla="*/ 791896 w 1221664"/>
                <a:gd name="connsiteY7" fmla="*/ 192024 h 796679"/>
                <a:gd name="connsiteX8" fmla="*/ 938200 w 1221664"/>
                <a:gd name="connsiteY8" fmla="*/ 155448 h 796679"/>
                <a:gd name="connsiteX9" fmla="*/ 983920 w 1221664"/>
                <a:gd name="connsiteY9" fmla="*/ 155448 h 796679"/>
                <a:gd name="connsiteX10" fmla="*/ 1020496 w 1221664"/>
                <a:gd name="connsiteY10" fmla="*/ 137160 h 796679"/>
                <a:gd name="connsiteX11" fmla="*/ 974776 w 1221664"/>
                <a:gd name="connsiteY11" fmla="*/ 137160 h 796679"/>
                <a:gd name="connsiteX12" fmla="*/ 883336 w 1221664"/>
                <a:gd name="connsiteY12" fmla="*/ 137160 h 796679"/>
                <a:gd name="connsiteX13" fmla="*/ 828472 w 1221664"/>
                <a:gd name="connsiteY13" fmla="*/ 146304 h 796679"/>
                <a:gd name="connsiteX14" fmla="*/ 819328 w 1221664"/>
                <a:gd name="connsiteY14" fmla="*/ 155448 h 796679"/>
                <a:gd name="connsiteX15" fmla="*/ 801040 w 1221664"/>
                <a:gd name="connsiteY15" fmla="*/ 146304 h 796679"/>
                <a:gd name="connsiteX16" fmla="*/ 929056 w 1221664"/>
                <a:gd name="connsiteY16" fmla="*/ 91440 h 796679"/>
                <a:gd name="connsiteX17" fmla="*/ 983920 w 1221664"/>
                <a:gd name="connsiteY17" fmla="*/ 91440 h 796679"/>
                <a:gd name="connsiteX18" fmla="*/ 1075360 w 1221664"/>
                <a:gd name="connsiteY18" fmla="*/ 82296 h 796679"/>
                <a:gd name="connsiteX19" fmla="*/ 1203376 w 1221664"/>
                <a:gd name="connsiteY19" fmla="*/ 27432 h 796679"/>
                <a:gd name="connsiteX20" fmla="*/ 1185088 w 1221664"/>
                <a:gd name="connsiteY20" fmla="*/ 0 h 796679"/>
                <a:gd name="connsiteX21" fmla="*/ 1148512 w 1221664"/>
                <a:gd name="connsiteY21" fmla="*/ 27432 h 796679"/>
                <a:gd name="connsiteX22" fmla="*/ 1111936 w 1221664"/>
                <a:gd name="connsiteY22" fmla="*/ 36576 h 796679"/>
                <a:gd name="connsiteX23" fmla="*/ 1038784 w 1221664"/>
                <a:gd name="connsiteY23" fmla="*/ 64008 h 796679"/>
                <a:gd name="connsiteX24" fmla="*/ 983920 w 1221664"/>
                <a:gd name="connsiteY24" fmla="*/ 64008 h 796679"/>
                <a:gd name="connsiteX25" fmla="*/ 874192 w 1221664"/>
                <a:gd name="connsiteY25" fmla="*/ 64008 h 796679"/>
                <a:gd name="connsiteX26" fmla="*/ 819328 w 1221664"/>
                <a:gd name="connsiteY26" fmla="*/ 100584 h 796679"/>
                <a:gd name="connsiteX27" fmla="*/ 782752 w 1221664"/>
                <a:gd name="connsiteY27" fmla="*/ 146304 h 796679"/>
                <a:gd name="connsiteX28" fmla="*/ 737032 w 1221664"/>
                <a:gd name="connsiteY28" fmla="*/ 182880 h 796679"/>
                <a:gd name="connsiteX29" fmla="*/ 691312 w 1221664"/>
                <a:gd name="connsiteY29" fmla="*/ 256032 h 796679"/>
                <a:gd name="connsiteX30" fmla="*/ 618160 w 1221664"/>
                <a:gd name="connsiteY30" fmla="*/ 301752 h 796679"/>
                <a:gd name="connsiteX31" fmla="*/ 517576 w 1221664"/>
                <a:gd name="connsiteY31" fmla="*/ 347472 h 796679"/>
                <a:gd name="connsiteX32" fmla="*/ 481000 w 1221664"/>
                <a:gd name="connsiteY32" fmla="*/ 374904 h 796679"/>
                <a:gd name="connsiteX33" fmla="*/ 435280 w 1221664"/>
                <a:gd name="connsiteY33" fmla="*/ 402336 h 796679"/>
                <a:gd name="connsiteX34" fmla="*/ 416992 w 1221664"/>
                <a:gd name="connsiteY34" fmla="*/ 402336 h 796679"/>
                <a:gd name="connsiteX35" fmla="*/ 435280 w 1221664"/>
                <a:gd name="connsiteY35" fmla="*/ 365760 h 796679"/>
                <a:gd name="connsiteX36" fmla="*/ 490144 w 1221664"/>
                <a:gd name="connsiteY36" fmla="*/ 301752 h 796679"/>
                <a:gd name="connsiteX37" fmla="*/ 581584 w 1221664"/>
                <a:gd name="connsiteY37" fmla="*/ 219456 h 796679"/>
                <a:gd name="connsiteX38" fmla="*/ 627304 w 1221664"/>
                <a:gd name="connsiteY38" fmla="*/ 146304 h 796679"/>
                <a:gd name="connsiteX39" fmla="*/ 627304 w 1221664"/>
                <a:gd name="connsiteY39" fmla="*/ 64008 h 796679"/>
                <a:gd name="connsiteX40" fmla="*/ 618160 w 1221664"/>
                <a:gd name="connsiteY40" fmla="*/ 54864 h 796679"/>
                <a:gd name="connsiteX41" fmla="*/ 609016 w 1221664"/>
                <a:gd name="connsiteY41" fmla="*/ 128016 h 796679"/>
                <a:gd name="connsiteX42" fmla="*/ 581584 w 1221664"/>
                <a:gd name="connsiteY42" fmla="*/ 173736 h 796679"/>
                <a:gd name="connsiteX43" fmla="*/ 508432 w 1221664"/>
                <a:gd name="connsiteY43" fmla="*/ 237744 h 796679"/>
                <a:gd name="connsiteX44" fmla="*/ 481000 w 1221664"/>
                <a:gd name="connsiteY44" fmla="*/ 256032 h 796679"/>
                <a:gd name="connsiteX45" fmla="*/ 407848 w 1221664"/>
                <a:gd name="connsiteY45" fmla="*/ 347472 h 796679"/>
                <a:gd name="connsiteX46" fmla="*/ 398704 w 1221664"/>
                <a:gd name="connsiteY46" fmla="*/ 374904 h 796679"/>
                <a:gd name="connsiteX47" fmla="*/ 352879 w 1221664"/>
                <a:gd name="connsiteY47" fmla="*/ 447174 h 796679"/>
                <a:gd name="connsiteX48" fmla="*/ 392470 w 1221664"/>
                <a:gd name="connsiteY48" fmla="*/ 536508 h 796679"/>
                <a:gd name="connsiteX49" fmla="*/ 340255 w 1221664"/>
                <a:gd name="connsiteY49" fmla="*/ 593454 h 796679"/>
                <a:gd name="connsiteX50" fmla="*/ 288041 w 1221664"/>
                <a:gd name="connsiteY50" fmla="*/ 650399 h 796679"/>
                <a:gd name="connsiteX51" fmla="*/ 235826 w 1221664"/>
                <a:gd name="connsiteY51" fmla="*/ 707345 h 796679"/>
                <a:gd name="connsiteX52" fmla="*/ 144018 w 1221664"/>
                <a:gd name="connsiteY52" fmla="*/ 674957 h 796679"/>
                <a:gd name="connsiteX53" fmla="*/ 144019 w 1221664"/>
                <a:gd name="connsiteY53" fmla="*/ 674957 h 796679"/>
                <a:gd name="connsiteX54" fmla="*/ 0 w 1221664"/>
                <a:gd name="connsiteY54" fmla="*/ 699514 h 796679"/>
                <a:gd name="connsiteX55" fmla="*/ 39590 w 1221664"/>
                <a:gd name="connsiteY55" fmla="*/ 788849 h 796679"/>
                <a:gd name="connsiteX0" fmla="*/ 39590 w 1221664"/>
                <a:gd name="connsiteY0" fmla="*/ 788849 h 796679"/>
                <a:gd name="connsiteX1" fmla="*/ 327629 w 1221664"/>
                <a:gd name="connsiteY1" fmla="*/ 739734 h 796679"/>
                <a:gd name="connsiteX2" fmla="*/ 275414 w 1221664"/>
                <a:gd name="connsiteY2" fmla="*/ 796679 h 796679"/>
                <a:gd name="connsiteX3" fmla="*/ 379845 w 1221664"/>
                <a:gd name="connsiteY3" fmla="*/ 682788 h 796679"/>
                <a:gd name="connsiteX4" fmla="*/ 444684 w 1221664"/>
                <a:gd name="connsiteY4" fmla="*/ 479563 h 796679"/>
                <a:gd name="connsiteX5" fmla="*/ 517576 w 1221664"/>
                <a:gd name="connsiteY5" fmla="*/ 384048 h 796679"/>
                <a:gd name="connsiteX6" fmla="*/ 709600 w 1221664"/>
                <a:gd name="connsiteY6" fmla="*/ 301752 h 796679"/>
                <a:gd name="connsiteX7" fmla="*/ 791896 w 1221664"/>
                <a:gd name="connsiteY7" fmla="*/ 192024 h 796679"/>
                <a:gd name="connsiteX8" fmla="*/ 938200 w 1221664"/>
                <a:gd name="connsiteY8" fmla="*/ 155448 h 796679"/>
                <a:gd name="connsiteX9" fmla="*/ 983920 w 1221664"/>
                <a:gd name="connsiteY9" fmla="*/ 155448 h 796679"/>
                <a:gd name="connsiteX10" fmla="*/ 1020496 w 1221664"/>
                <a:gd name="connsiteY10" fmla="*/ 137160 h 796679"/>
                <a:gd name="connsiteX11" fmla="*/ 974776 w 1221664"/>
                <a:gd name="connsiteY11" fmla="*/ 137160 h 796679"/>
                <a:gd name="connsiteX12" fmla="*/ 883336 w 1221664"/>
                <a:gd name="connsiteY12" fmla="*/ 137160 h 796679"/>
                <a:gd name="connsiteX13" fmla="*/ 828472 w 1221664"/>
                <a:gd name="connsiteY13" fmla="*/ 146304 h 796679"/>
                <a:gd name="connsiteX14" fmla="*/ 819328 w 1221664"/>
                <a:gd name="connsiteY14" fmla="*/ 155448 h 796679"/>
                <a:gd name="connsiteX15" fmla="*/ 801040 w 1221664"/>
                <a:gd name="connsiteY15" fmla="*/ 146304 h 796679"/>
                <a:gd name="connsiteX16" fmla="*/ 929056 w 1221664"/>
                <a:gd name="connsiteY16" fmla="*/ 91440 h 796679"/>
                <a:gd name="connsiteX17" fmla="*/ 983920 w 1221664"/>
                <a:gd name="connsiteY17" fmla="*/ 91440 h 796679"/>
                <a:gd name="connsiteX18" fmla="*/ 1075360 w 1221664"/>
                <a:gd name="connsiteY18" fmla="*/ 82296 h 796679"/>
                <a:gd name="connsiteX19" fmla="*/ 1203376 w 1221664"/>
                <a:gd name="connsiteY19" fmla="*/ 27432 h 796679"/>
                <a:gd name="connsiteX20" fmla="*/ 1185088 w 1221664"/>
                <a:gd name="connsiteY20" fmla="*/ 0 h 796679"/>
                <a:gd name="connsiteX21" fmla="*/ 1148512 w 1221664"/>
                <a:gd name="connsiteY21" fmla="*/ 27432 h 796679"/>
                <a:gd name="connsiteX22" fmla="*/ 1111936 w 1221664"/>
                <a:gd name="connsiteY22" fmla="*/ 36576 h 796679"/>
                <a:gd name="connsiteX23" fmla="*/ 1038784 w 1221664"/>
                <a:gd name="connsiteY23" fmla="*/ 64008 h 796679"/>
                <a:gd name="connsiteX24" fmla="*/ 983920 w 1221664"/>
                <a:gd name="connsiteY24" fmla="*/ 64008 h 796679"/>
                <a:gd name="connsiteX25" fmla="*/ 874192 w 1221664"/>
                <a:gd name="connsiteY25" fmla="*/ 64008 h 796679"/>
                <a:gd name="connsiteX26" fmla="*/ 819328 w 1221664"/>
                <a:gd name="connsiteY26" fmla="*/ 100584 h 796679"/>
                <a:gd name="connsiteX27" fmla="*/ 782752 w 1221664"/>
                <a:gd name="connsiteY27" fmla="*/ 146304 h 796679"/>
                <a:gd name="connsiteX28" fmla="*/ 737032 w 1221664"/>
                <a:gd name="connsiteY28" fmla="*/ 182880 h 796679"/>
                <a:gd name="connsiteX29" fmla="*/ 691312 w 1221664"/>
                <a:gd name="connsiteY29" fmla="*/ 256032 h 796679"/>
                <a:gd name="connsiteX30" fmla="*/ 618160 w 1221664"/>
                <a:gd name="connsiteY30" fmla="*/ 301752 h 796679"/>
                <a:gd name="connsiteX31" fmla="*/ 517576 w 1221664"/>
                <a:gd name="connsiteY31" fmla="*/ 347472 h 796679"/>
                <a:gd name="connsiteX32" fmla="*/ 481000 w 1221664"/>
                <a:gd name="connsiteY32" fmla="*/ 374904 h 796679"/>
                <a:gd name="connsiteX33" fmla="*/ 435280 w 1221664"/>
                <a:gd name="connsiteY33" fmla="*/ 402336 h 796679"/>
                <a:gd name="connsiteX34" fmla="*/ 416992 w 1221664"/>
                <a:gd name="connsiteY34" fmla="*/ 402336 h 796679"/>
                <a:gd name="connsiteX35" fmla="*/ 435280 w 1221664"/>
                <a:gd name="connsiteY35" fmla="*/ 365760 h 796679"/>
                <a:gd name="connsiteX36" fmla="*/ 490144 w 1221664"/>
                <a:gd name="connsiteY36" fmla="*/ 301752 h 796679"/>
                <a:gd name="connsiteX37" fmla="*/ 581584 w 1221664"/>
                <a:gd name="connsiteY37" fmla="*/ 219456 h 796679"/>
                <a:gd name="connsiteX38" fmla="*/ 627304 w 1221664"/>
                <a:gd name="connsiteY38" fmla="*/ 146304 h 796679"/>
                <a:gd name="connsiteX39" fmla="*/ 627304 w 1221664"/>
                <a:gd name="connsiteY39" fmla="*/ 64008 h 796679"/>
                <a:gd name="connsiteX40" fmla="*/ 618160 w 1221664"/>
                <a:gd name="connsiteY40" fmla="*/ 54864 h 796679"/>
                <a:gd name="connsiteX41" fmla="*/ 609016 w 1221664"/>
                <a:gd name="connsiteY41" fmla="*/ 128016 h 796679"/>
                <a:gd name="connsiteX42" fmla="*/ 581584 w 1221664"/>
                <a:gd name="connsiteY42" fmla="*/ 173736 h 796679"/>
                <a:gd name="connsiteX43" fmla="*/ 508432 w 1221664"/>
                <a:gd name="connsiteY43" fmla="*/ 237744 h 796679"/>
                <a:gd name="connsiteX44" fmla="*/ 481000 w 1221664"/>
                <a:gd name="connsiteY44" fmla="*/ 256032 h 796679"/>
                <a:gd name="connsiteX45" fmla="*/ 407848 w 1221664"/>
                <a:gd name="connsiteY45" fmla="*/ 347472 h 796679"/>
                <a:gd name="connsiteX46" fmla="*/ 398704 w 1221664"/>
                <a:gd name="connsiteY46" fmla="*/ 374904 h 796679"/>
                <a:gd name="connsiteX47" fmla="*/ 352879 w 1221664"/>
                <a:gd name="connsiteY47" fmla="*/ 447174 h 796679"/>
                <a:gd name="connsiteX48" fmla="*/ 392470 w 1221664"/>
                <a:gd name="connsiteY48" fmla="*/ 536508 h 796679"/>
                <a:gd name="connsiteX49" fmla="*/ 340255 w 1221664"/>
                <a:gd name="connsiteY49" fmla="*/ 593454 h 796679"/>
                <a:gd name="connsiteX50" fmla="*/ 288041 w 1221664"/>
                <a:gd name="connsiteY50" fmla="*/ 650399 h 796679"/>
                <a:gd name="connsiteX51" fmla="*/ 235826 w 1221664"/>
                <a:gd name="connsiteY51" fmla="*/ 707345 h 796679"/>
                <a:gd name="connsiteX52" fmla="*/ 144018 w 1221664"/>
                <a:gd name="connsiteY52" fmla="*/ 674957 h 796679"/>
                <a:gd name="connsiteX53" fmla="*/ 183611 w 1221664"/>
                <a:gd name="connsiteY53" fmla="*/ 764291 h 796679"/>
                <a:gd name="connsiteX54" fmla="*/ 0 w 1221664"/>
                <a:gd name="connsiteY54" fmla="*/ 699514 h 796679"/>
                <a:gd name="connsiteX55" fmla="*/ 39590 w 1221664"/>
                <a:gd name="connsiteY55" fmla="*/ 788849 h 796679"/>
                <a:gd name="connsiteX0" fmla="*/ 223202 w 1221664"/>
                <a:gd name="connsiteY0" fmla="*/ 853625 h 853625"/>
                <a:gd name="connsiteX1" fmla="*/ 327629 w 1221664"/>
                <a:gd name="connsiteY1" fmla="*/ 739734 h 853625"/>
                <a:gd name="connsiteX2" fmla="*/ 275414 w 1221664"/>
                <a:gd name="connsiteY2" fmla="*/ 796679 h 853625"/>
                <a:gd name="connsiteX3" fmla="*/ 379845 w 1221664"/>
                <a:gd name="connsiteY3" fmla="*/ 682788 h 853625"/>
                <a:gd name="connsiteX4" fmla="*/ 444684 w 1221664"/>
                <a:gd name="connsiteY4" fmla="*/ 479563 h 853625"/>
                <a:gd name="connsiteX5" fmla="*/ 517576 w 1221664"/>
                <a:gd name="connsiteY5" fmla="*/ 384048 h 853625"/>
                <a:gd name="connsiteX6" fmla="*/ 709600 w 1221664"/>
                <a:gd name="connsiteY6" fmla="*/ 301752 h 853625"/>
                <a:gd name="connsiteX7" fmla="*/ 791896 w 1221664"/>
                <a:gd name="connsiteY7" fmla="*/ 192024 h 853625"/>
                <a:gd name="connsiteX8" fmla="*/ 938200 w 1221664"/>
                <a:gd name="connsiteY8" fmla="*/ 155448 h 853625"/>
                <a:gd name="connsiteX9" fmla="*/ 983920 w 1221664"/>
                <a:gd name="connsiteY9" fmla="*/ 155448 h 853625"/>
                <a:gd name="connsiteX10" fmla="*/ 1020496 w 1221664"/>
                <a:gd name="connsiteY10" fmla="*/ 137160 h 853625"/>
                <a:gd name="connsiteX11" fmla="*/ 974776 w 1221664"/>
                <a:gd name="connsiteY11" fmla="*/ 137160 h 853625"/>
                <a:gd name="connsiteX12" fmla="*/ 883336 w 1221664"/>
                <a:gd name="connsiteY12" fmla="*/ 137160 h 853625"/>
                <a:gd name="connsiteX13" fmla="*/ 828472 w 1221664"/>
                <a:gd name="connsiteY13" fmla="*/ 146304 h 853625"/>
                <a:gd name="connsiteX14" fmla="*/ 819328 w 1221664"/>
                <a:gd name="connsiteY14" fmla="*/ 155448 h 853625"/>
                <a:gd name="connsiteX15" fmla="*/ 801040 w 1221664"/>
                <a:gd name="connsiteY15" fmla="*/ 146304 h 853625"/>
                <a:gd name="connsiteX16" fmla="*/ 929056 w 1221664"/>
                <a:gd name="connsiteY16" fmla="*/ 91440 h 853625"/>
                <a:gd name="connsiteX17" fmla="*/ 983920 w 1221664"/>
                <a:gd name="connsiteY17" fmla="*/ 91440 h 853625"/>
                <a:gd name="connsiteX18" fmla="*/ 1075360 w 1221664"/>
                <a:gd name="connsiteY18" fmla="*/ 82296 h 853625"/>
                <a:gd name="connsiteX19" fmla="*/ 1203376 w 1221664"/>
                <a:gd name="connsiteY19" fmla="*/ 27432 h 853625"/>
                <a:gd name="connsiteX20" fmla="*/ 1185088 w 1221664"/>
                <a:gd name="connsiteY20" fmla="*/ 0 h 853625"/>
                <a:gd name="connsiteX21" fmla="*/ 1148512 w 1221664"/>
                <a:gd name="connsiteY21" fmla="*/ 27432 h 853625"/>
                <a:gd name="connsiteX22" fmla="*/ 1111936 w 1221664"/>
                <a:gd name="connsiteY22" fmla="*/ 36576 h 853625"/>
                <a:gd name="connsiteX23" fmla="*/ 1038784 w 1221664"/>
                <a:gd name="connsiteY23" fmla="*/ 64008 h 853625"/>
                <a:gd name="connsiteX24" fmla="*/ 983920 w 1221664"/>
                <a:gd name="connsiteY24" fmla="*/ 64008 h 853625"/>
                <a:gd name="connsiteX25" fmla="*/ 874192 w 1221664"/>
                <a:gd name="connsiteY25" fmla="*/ 64008 h 853625"/>
                <a:gd name="connsiteX26" fmla="*/ 819328 w 1221664"/>
                <a:gd name="connsiteY26" fmla="*/ 100584 h 853625"/>
                <a:gd name="connsiteX27" fmla="*/ 782752 w 1221664"/>
                <a:gd name="connsiteY27" fmla="*/ 146304 h 853625"/>
                <a:gd name="connsiteX28" fmla="*/ 737032 w 1221664"/>
                <a:gd name="connsiteY28" fmla="*/ 182880 h 853625"/>
                <a:gd name="connsiteX29" fmla="*/ 691312 w 1221664"/>
                <a:gd name="connsiteY29" fmla="*/ 256032 h 853625"/>
                <a:gd name="connsiteX30" fmla="*/ 618160 w 1221664"/>
                <a:gd name="connsiteY30" fmla="*/ 301752 h 853625"/>
                <a:gd name="connsiteX31" fmla="*/ 517576 w 1221664"/>
                <a:gd name="connsiteY31" fmla="*/ 347472 h 853625"/>
                <a:gd name="connsiteX32" fmla="*/ 481000 w 1221664"/>
                <a:gd name="connsiteY32" fmla="*/ 374904 h 853625"/>
                <a:gd name="connsiteX33" fmla="*/ 435280 w 1221664"/>
                <a:gd name="connsiteY33" fmla="*/ 402336 h 853625"/>
                <a:gd name="connsiteX34" fmla="*/ 416992 w 1221664"/>
                <a:gd name="connsiteY34" fmla="*/ 402336 h 853625"/>
                <a:gd name="connsiteX35" fmla="*/ 435280 w 1221664"/>
                <a:gd name="connsiteY35" fmla="*/ 365760 h 853625"/>
                <a:gd name="connsiteX36" fmla="*/ 490144 w 1221664"/>
                <a:gd name="connsiteY36" fmla="*/ 301752 h 853625"/>
                <a:gd name="connsiteX37" fmla="*/ 581584 w 1221664"/>
                <a:gd name="connsiteY37" fmla="*/ 219456 h 853625"/>
                <a:gd name="connsiteX38" fmla="*/ 627304 w 1221664"/>
                <a:gd name="connsiteY38" fmla="*/ 146304 h 853625"/>
                <a:gd name="connsiteX39" fmla="*/ 627304 w 1221664"/>
                <a:gd name="connsiteY39" fmla="*/ 64008 h 853625"/>
                <a:gd name="connsiteX40" fmla="*/ 618160 w 1221664"/>
                <a:gd name="connsiteY40" fmla="*/ 54864 h 853625"/>
                <a:gd name="connsiteX41" fmla="*/ 609016 w 1221664"/>
                <a:gd name="connsiteY41" fmla="*/ 128016 h 853625"/>
                <a:gd name="connsiteX42" fmla="*/ 581584 w 1221664"/>
                <a:gd name="connsiteY42" fmla="*/ 173736 h 853625"/>
                <a:gd name="connsiteX43" fmla="*/ 508432 w 1221664"/>
                <a:gd name="connsiteY43" fmla="*/ 237744 h 853625"/>
                <a:gd name="connsiteX44" fmla="*/ 481000 w 1221664"/>
                <a:gd name="connsiteY44" fmla="*/ 256032 h 853625"/>
                <a:gd name="connsiteX45" fmla="*/ 407848 w 1221664"/>
                <a:gd name="connsiteY45" fmla="*/ 347472 h 853625"/>
                <a:gd name="connsiteX46" fmla="*/ 398704 w 1221664"/>
                <a:gd name="connsiteY46" fmla="*/ 374904 h 853625"/>
                <a:gd name="connsiteX47" fmla="*/ 352879 w 1221664"/>
                <a:gd name="connsiteY47" fmla="*/ 447174 h 853625"/>
                <a:gd name="connsiteX48" fmla="*/ 392470 w 1221664"/>
                <a:gd name="connsiteY48" fmla="*/ 536508 h 853625"/>
                <a:gd name="connsiteX49" fmla="*/ 340255 w 1221664"/>
                <a:gd name="connsiteY49" fmla="*/ 593454 h 853625"/>
                <a:gd name="connsiteX50" fmla="*/ 288041 w 1221664"/>
                <a:gd name="connsiteY50" fmla="*/ 650399 h 853625"/>
                <a:gd name="connsiteX51" fmla="*/ 235826 w 1221664"/>
                <a:gd name="connsiteY51" fmla="*/ 707345 h 853625"/>
                <a:gd name="connsiteX52" fmla="*/ 144018 w 1221664"/>
                <a:gd name="connsiteY52" fmla="*/ 674957 h 853625"/>
                <a:gd name="connsiteX53" fmla="*/ 183611 w 1221664"/>
                <a:gd name="connsiteY53" fmla="*/ 764291 h 853625"/>
                <a:gd name="connsiteX54" fmla="*/ 0 w 1221664"/>
                <a:gd name="connsiteY54" fmla="*/ 699514 h 853625"/>
                <a:gd name="connsiteX55" fmla="*/ 223202 w 1221664"/>
                <a:gd name="connsiteY55" fmla="*/ 853625 h 853625"/>
                <a:gd name="connsiteX0" fmla="*/ 91805 w 1090267"/>
                <a:gd name="connsiteY0" fmla="*/ 853625 h 853625"/>
                <a:gd name="connsiteX1" fmla="*/ 196232 w 1090267"/>
                <a:gd name="connsiteY1" fmla="*/ 739734 h 853625"/>
                <a:gd name="connsiteX2" fmla="*/ 144017 w 1090267"/>
                <a:gd name="connsiteY2" fmla="*/ 796679 h 853625"/>
                <a:gd name="connsiteX3" fmla="*/ 248448 w 1090267"/>
                <a:gd name="connsiteY3" fmla="*/ 682788 h 853625"/>
                <a:gd name="connsiteX4" fmla="*/ 313287 w 1090267"/>
                <a:gd name="connsiteY4" fmla="*/ 479563 h 853625"/>
                <a:gd name="connsiteX5" fmla="*/ 386179 w 1090267"/>
                <a:gd name="connsiteY5" fmla="*/ 384048 h 853625"/>
                <a:gd name="connsiteX6" fmla="*/ 578203 w 1090267"/>
                <a:gd name="connsiteY6" fmla="*/ 301752 h 853625"/>
                <a:gd name="connsiteX7" fmla="*/ 660499 w 1090267"/>
                <a:gd name="connsiteY7" fmla="*/ 192024 h 853625"/>
                <a:gd name="connsiteX8" fmla="*/ 806803 w 1090267"/>
                <a:gd name="connsiteY8" fmla="*/ 155448 h 853625"/>
                <a:gd name="connsiteX9" fmla="*/ 852523 w 1090267"/>
                <a:gd name="connsiteY9" fmla="*/ 155448 h 853625"/>
                <a:gd name="connsiteX10" fmla="*/ 889099 w 1090267"/>
                <a:gd name="connsiteY10" fmla="*/ 137160 h 853625"/>
                <a:gd name="connsiteX11" fmla="*/ 843379 w 1090267"/>
                <a:gd name="connsiteY11" fmla="*/ 137160 h 853625"/>
                <a:gd name="connsiteX12" fmla="*/ 751939 w 1090267"/>
                <a:gd name="connsiteY12" fmla="*/ 137160 h 853625"/>
                <a:gd name="connsiteX13" fmla="*/ 697075 w 1090267"/>
                <a:gd name="connsiteY13" fmla="*/ 146304 h 853625"/>
                <a:gd name="connsiteX14" fmla="*/ 687931 w 1090267"/>
                <a:gd name="connsiteY14" fmla="*/ 155448 h 853625"/>
                <a:gd name="connsiteX15" fmla="*/ 669643 w 1090267"/>
                <a:gd name="connsiteY15" fmla="*/ 146304 h 853625"/>
                <a:gd name="connsiteX16" fmla="*/ 797659 w 1090267"/>
                <a:gd name="connsiteY16" fmla="*/ 91440 h 853625"/>
                <a:gd name="connsiteX17" fmla="*/ 852523 w 1090267"/>
                <a:gd name="connsiteY17" fmla="*/ 91440 h 853625"/>
                <a:gd name="connsiteX18" fmla="*/ 943963 w 1090267"/>
                <a:gd name="connsiteY18" fmla="*/ 82296 h 853625"/>
                <a:gd name="connsiteX19" fmla="*/ 1071979 w 1090267"/>
                <a:gd name="connsiteY19" fmla="*/ 27432 h 853625"/>
                <a:gd name="connsiteX20" fmla="*/ 1053691 w 1090267"/>
                <a:gd name="connsiteY20" fmla="*/ 0 h 853625"/>
                <a:gd name="connsiteX21" fmla="*/ 1017115 w 1090267"/>
                <a:gd name="connsiteY21" fmla="*/ 27432 h 853625"/>
                <a:gd name="connsiteX22" fmla="*/ 980539 w 1090267"/>
                <a:gd name="connsiteY22" fmla="*/ 36576 h 853625"/>
                <a:gd name="connsiteX23" fmla="*/ 907387 w 1090267"/>
                <a:gd name="connsiteY23" fmla="*/ 64008 h 853625"/>
                <a:gd name="connsiteX24" fmla="*/ 852523 w 1090267"/>
                <a:gd name="connsiteY24" fmla="*/ 64008 h 853625"/>
                <a:gd name="connsiteX25" fmla="*/ 742795 w 1090267"/>
                <a:gd name="connsiteY25" fmla="*/ 64008 h 853625"/>
                <a:gd name="connsiteX26" fmla="*/ 687931 w 1090267"/>
                <a:gd name="connsiteY26" fmla="*/ 100584 h 853625"/>
                <a:gd name="connsiteX27" fmla="*/ 651355 w 1090267"/>
                <a:gd name="connsiteY27" fmla="*/ 146304 h 853625"/>
                <a:gd name="connsiteX28" fmla="*/ 605635 w 1090267"/>
                <a:gd name="connsiteY28" fmla="*/ 182880 h 853625"/>
                <a:gd name="connsiteX29" fmla="*/ 559915 w 1090267"/>
                <a:gd name="connsiteY29" fmla="*/ 256032 h 853625"/>
                <a:gd name="connsiteX30" fmla="*/ 486763 w 1090267"/>
                <a:gd name="connsiteY30" fmla="*/ 301752 h 853625"/>
                <a:gd name="connsiteX31" fmla="*/ 386179 w 1090267"/>
                <a:gd name="connsiteY31" fmla="*/ 347472 h 853625"/>
                <a:gd name="connsiteX32" fmla="*/ 349603 w 1090267"/>
                <a:gd name="connsiteY32" fmla="*/ 374904 h 853625"/>
                <a:gd name="connsiteX33" fmla="*/ 303883 w 1090267"/>
                <a:gd name="connsiteY33" fmla="*/ 402336 h 853625"/>
                <a:gd name="connsiteX34" fmla="*/ 285595 w 1090267"/>
                <a:gd name="connsiteY34" fmla="*/ 402336 h 853625"/>
                <a:gd name="connsiteX35" fmla="*/ 303883 w 1090267"/>
                <a:gd name="connsiteY35" fmla="*/ 365760 h 853625"/>
                <a:gd name="connsiteX36" fmla="*/ 358747 w 1090267"/>
                <a:gd name="connsiteY36" fmla="*/ 301752 h 853625"/>
                <a:gd name="connsiteX37" fmla="*/ 450187 w 1090267"/>
                <a:gd name="connsiteY37" fmla="*/ 219456 h 853625"/>
                <a:gd name="connsiteX38" fmla="*/ 495907 w 1090267"/>
                <a:gd name="connsiteY38" fmla="*/ 146304 h 853625"/>
                <a:gd name="connsiteX39" fmla="*/ 495907 w 1090267"/>
                <a:gd name="connsiteY39" fmla="*/ 64008 h 853625"/>
                <a:gd name="connsiteX40" fmla="*/ 486763 w 1090267"/>
                <a:gd name="connsiteY40" fmla="*/ 54864 h 853625"/>
                <a:gd name="connsiteX41" fmla="*/ 477619 w 1090267"/>
                <a:gd name="connsiteY41" fmla="*/ 128016 h 853625"/>
                <a:gd name="connsiteX42" fmla="*/ 450187 w 1090267"/>
                <a:gd name="connsiteY42" fmla="*/ 173736 h 853625"/>
                <a:gd name="connsiteX43" fmla="*/ 377035 w 1090267"/>
                <a:gd name="connsiteY43" fmla="*/ 237744 h 853625"/>
                <a:gd name="connsiteX44" fmla="*/ 349603 w 1090267"/>
                <a:gd name="connsiteY44" fmla="*/ 256032 h 853625"/>
                <a:gd name="connsiteX45" fmla="*/ 276451 w 1090267"/>
                <a:gd name="connsiteY45" fmla="*/ 347472 h 853625"/>
                <a:gd name="connsiteX46" fmla="*/ 267307 w 1090267"/>
                <a:gd name="connsiteY46" fmla="*/ 374904 h 853625"/>
                <a:gd name="connsiteX47" fmla="*/ 221482 w 1090267"/>
                <a:gd name="connsiteY47" fmla="*/ 447174 h 853625"/>
                <a:gd name="connsiteX48" fmla="*/ 261073 w 1090267"/>
                <a:gd name="connsiteY48" fmla="*/ 536508 h 853625"/>
                <a:gd name="connsiteX49" fmla="*/ 208858 w 1090267"/>
                <a:gd name="connsiteY49" fmla="*/ 593454 h 853625"/>
                <a:gd name="connsiteX50" fmla="*/ 156644 w 1090267"/>
                <a:gd name="connsiteY50" fmla="*/ 650399 h 853625"/>
                <a:gd name="connsiteX51" fmla="*/ 104429 w 1090267"/>
                <a:gd name="connsiteY51" fmla="*/ 707345 h 853625"/>
                <a:gd name="connsiteX52" fmla="*/ 12621 w 1090267"/>
                <a:gd name="connsiteY52" fmla="*/ 674957 h 853625"/>
                <a:gd name="connsiteX53" fmla="*/ 52214 w 1090267"/>
                <a:gd name="connsiteY53" fmla="*/ 764291 h 853625"/>
                <a:gd name="connsiteX54" fmla="*/ 0 w 1090267"/>
                <a:gd name="connsiteY54" fmla="*/ 821237 h 853625"/>
                <a:gd name="connsiteX55" fmla="*/ 91805 w 1090267"/>
                <a:gd name="connsiteY55" fmla="*/ 853625 h 853625"/>
                <a:gd name="connsiteX0" fmla="*/ 91805 w 1090267"/>
                <a:gd name="connsiteY0" fmla="*/ 853625 h 853625"/>
                <a:gd name="connsiteX1" fmla="*/ 196232 w 1090267"/>
                <a:gd name="connsiteY1" fmla="*/ 739734 h 853625"/>
                <a:gd name="connsiteX2" fmla="*/ 144017 w 1090267"/>
                <a:gd name="connsiteY2" fmla="*/ 796679 h 853625"/>
                <a:gd name="connsiteX3" fmla="*/ 248448 w 1090267"/>
                <a:gd name="connsiteY3" fmla="*/ 682788 h 853625"/>
                <a:gd name="connsiteX4" fmla="*/ 313287 w 1090267"/>
                <a:gd name="connsiteY4" fmla="*/ 479563 h 853625"/>
                <a:gd name="connsiteX5" fmla="*/ 386179 w 1090267"/>
                <a:gd name="connsiteY5" fmla="*/ 384048 h 853625"/>
                <a:gd name="connsiteX6" fmla="*/ 578203 w 1090267"/>
                <a:gd name="connsiteY6" fmla="*/ 301752 h 853625"/>
                <a:gd name="connsiteX7" fmla="*/ 660499 w 1090267"/>
                <a:gd name="connsiteY7" fmla="*/ 192024 h 853625"/>
                <a:gd name="connsiteX8" fmla="*/ 806803 w 1090267"/>
                <a:gd name="connsiteY8" fmla="*/ 155448 h 853625"/>
                <a:gd name="connsiteX9" fmla="*/ 852523 w 1090267"/>
                <a:gd name="connsiteY9" fmla="*/ 155448 h 853625"/>
                <a:gd name="connsiteX10" fmla="*/ 889099 w 1090267"/>
                <a:gd name="connsiteY10" fmla="*/ 137160 h 853625"/>
                <a:gd name="connsiteX11" fmla="*/ 843379 w 1090267"/>
                <a:gd name="connsiteY11" fmla="*/ 137160 h 853625"/>
                <a:gd name="connsiteX12" fmla="*/ 751939 w 1090267"/>
                <a:gd name="connsiteY12" fmla="*/ 137160 h 853625"/>
                <a:gd name="connsiteX13" fmla="*/ 697075 w 1090267"/>
                <a:gd name="connsiteY13" fmla="*/ 146304 h 853625"/>
                <a:gd name="connsiteX14" fmla="*/ 687931 w 1090267"/>
                <a:gd name="connsiteY14" fmla="*/ 155448 h 853625"/>
                <a:gd name="connsiteX15" fmla="*/ 669643 w 1090267"/>
                <a:gd name="connsiteY15" fmla="*/ 146304 h 853625"/>
                <a:gd name="connsiteX16" fmla="*/ 797659 w 1090267"/>
                <a:gd name="connsiteY16" fmla="*/ 91440 h 853625"/>
                <a:gd name="connsiteX17" fmla="*/ 852523 w 1090267"/>
                <a:gd name="connsiteY17" fmla="*/ 91440 h 853625"/>
                <a:gd name="connsiteX18" fmla="*/ 943963 w 1090267"/>
                <a:gd name="connsiteY18" fmla="*/ 82296 h 853625"/>
                <a:gd name="connsiteX19" fmla="*/ 1071979 w 1090267"/>
                <a:gd name="connsiteY19" fmla="*/ 27432 h 853625"/>
                <a:gd name="connsiteX20" fmla="*/ 1053691 w 1090267"/>
                <a:gd name="connsiteY20" fmla="*/ 0 h 853625"/>
                <a:gd name="connsiteX21" fmla="*/ 1017115 w 1090267"/>
                <a:gd name="connsiteY21" fmla="*/ 27432 h 853625"/>
                <a:gd name="connsiteX22" fmla="*/ 980539 w 1090267"/>
                <a:gd name="connsiteY22" fmla="*/ 36576 h 853625"/>
                <a:gd name="connsiteX23" fmla="*/ 907387 w 1090267"/>
                <a:gd name="connsiteY23" fmla="*/ 64008 h 853625"/>
                <a:gd name="connsiteX24" fmla="*/ 852523 w 1090267"/>
                <a:gd name="connsiteY24" fmla="*/ 64008 h 853625"/>
                <a:gd name="connsiteX25" fmla="*/ 742795 w 1090267"/>
                <a:gd name="connsiteY25" fmla="*/ 64008 h 853625"/>
                <a:gd name="connsiteX26" fmla="*/ 687931 w 1090267"/>
                <a:gd name="connsiteY26" fmla="*/ 100584 h 853625"/>
                <a:gd name="connsiteX27" fmla="*/ 651355 w 1090267"/>
                <a:gd name="connsiteY27" fmla="*/ 146304 h 853625"/>
                <a:gd name="connsiteX28" fmla="*/ 605635 w 1090267"/>
                <a:gd name="connsiteY28" fmla="*/ 182880 h 853625"/>
                <a:gd name="connsiteX29" fmla="*/ 559915 w 1090267"/>
                <a:gd name="connsiteY29" fmla="*/ 256032 h 853625"/>
                <a:gd name="connsiteX30" fmla="*/ 486763 w 1090267"/>
                <a:gd name="connsiteY30" fmla="*/ 301752 h 853625"/>
                <a:gd name="connsiteX31" fmla="*/ 386179 w 1090267"/>
                <a:gd name="connsiteY31" fmla="*/ 347472 h 853625"/>
                <a:gd name="connsiteX32" fmla="*/ 349603 w 1090267"/>
                <a:gd name="connsiteY32" fmla="*/ 374904 h 853625"/>
                <a:gd name="connsiteX33" fmla="*/ 303883 w 1090267"/>
                <a:gd name="connsiteY33" fmla="*/ 402336 h 853625"/>
                <a:gd name="connsiteX34" fmla="*/ 285595 w 1090267"/>
                <a:gd name="connsiteY34" fmla="*/ 402336 h 853625"/>
                <a:gd name="connsiteX35" fmla="*/ 303883 w 1090267"/>
                <a:gd name="connsiteY35" fmla="*/ 365760 h 853625"/>
                <a:gd name="connsiteX36" fmla="*/ 358747 w 1090267"/>
                <a:gd name="connsiteY36" fmla="*/ 301752 h 853625"/>
                <a:gd name="connsiteX37" fmla="*/ 450187 w 1090267"/>
                <a:gd name="connsiteY37" fmla="*/ 219456 h 853625"/>
                <a:gd name="connsiteX38" fmla="*/ 495907 w 1090267"/>
                <a:gd name="connsiteY38" fmla="*/ 146304 h 853625"/>
                <a:gd name="connsiteX39" fmla="*/ 495907 w 1090267"/>
                <a:gd name="connsiteY39" fmla="*/ 64008 h 853625"/>
                <a:gd name="connsiteX40" fmla="*/ 486763 w 1090267"/>
                <a:gd name="connsiteY40" fmla="*/ 54864 h 853625"/>
                <a:gd name="connsiteX41" fmla="*/ 477619 w 1090267"/>
                <a:gd name="connsiteY41" fmla="*/ 128016 h 853625"/>
                <a:gd name="connsiteX42" fmla="*/ 450187 w 1090267"/>
                <a:gd name="connsiteY42" fmla="*/ 173736 h 853625"/>
                <a:gd name="connsiteX43" fmla="*/ 377035 w 1090267"/>
                <a:gd name="connsiteY43" fmla="*/ 237744 h 853625"/>
                <a:gd name="connsiteX44" fmla="*/ 349603 w 1090267"/>
                <a:gd name="connsiteY44" fmla="*/ 256032 h 853625"/>
                <a:gd name="connsiteX45" fmla="*/ 276451 w 1090267"/>
                <a:gd name="connsiteY45" fmla="*/ 347472 h 853625"/>
                <a:gd name="connsiteX46" fmla="*/ 267307 w 1090267"/>
                <a:gd name="connsiteY46" fmla="*/ 374904 h 853625"/>
                <a:gd name="connsiteX47" fmla="*/ 221482 w 1090267"/>
                <a:gd name="connsiteY47" fmla="*/ 447174 h 853625"/>
                <a:gd name="connsiteX48" fmla="*/ 261073 w 1090267"/>
                <a:gd name="connsiteY48" fmla="*/ 536508 h 853625"/>
                <a:gd name="connsiteX49" fmla="*/ 208858 w 1090267"/>
                <a:gd name="connsiteY49" fmla="*/ 593454 h 853625"/>
                <a:gd name="connsiteX50" fmla="*/ 156644 w 1090267"/>
                <a:gd name="connsiteY50" fmla="*/ 650399 h 853625"/>
                <a:gd name="connsiteX51" fmla="*/ 104429 w 1090267"/>
                <a:gd name="connsiteY51" fmla="*/ 707345 h 853625"/>
                <a:gd name="connsiteX52" fmla="*/ 196235 w 1090267"/>
                <a:gd name="connsiteY52" fmla="*/ 739734 h 853625"/>
                <a:gd name="connsiteX53" fmla="*/ 52214 w 1090267"/>
                <a:gd name="connsiteY53" fmla="*/ 764291 h 853625"/>
                <a:gd name="connsiteX54" fmla="*/ 0 w 1090267"/>
                <a:gd name="connsiteY54" fmla="*/ 821237 h 853625"/>
                <a:gd name="connsiteX55" fmla="*/ 91805 w 1090267"/>
                <a:gd name="connsiteY55" fmla="*/ 853625 h 853625"/>
                <a:gd name="connsiteX0" fmla="*/ 91805 w 1090267"/>
                <a:gd name="connsiteY0" fmla="*/ 853625 h 853625"/>
                <a:gd name="connsiteX1" fmla="*/ 196232 w 1090267"/>
                <a:gd name="connsiteY1" fmla="*/ 739734 h 853625"/>
                <a:gd name="connsiteX2" fmla="*/ 144017 w 1090267"/>
                <a:gd name="connsiteY2" fmla="*/ 796679 h 853625"/>
                <a:gd name="connsiteX3" fmla="*/ 248448 w 1090267"/>
                <a:gd name="connsiteY3" fmla="*/ 682788 h 853625"/>
                <a:gd name="connsiteX4" fmla="*/ 313287 w 1090267"/>
                <a:gd name="connsiteY4" fmla="*/ 479563 h 853625"/>
                <a:gd name="connsiteX5" fmla="*/ 386179 w 1090267"/>
                <a:gd name="connsiteY5" fmla="*/ 384048 h 853625"/>
                <a:gd name="connsiteX6" fmla="*/ 578203 w 1090267"/>
                <a:gd name="connsiteY6" fmla="*/ 301752 h 853625"/>
                <a:gd name="connsiteX7" fmla="*/ 660499 w 1090267"/>
                <a:gd name="connsiteY7" fmla="*/ 192024 h 853625"/>
                <a:gd name="connsiteX8" fmla="*/ 806803 w 1090267"/>
                <a:gd name="connsiteY8" fmla="*/ 155448 h 853625"/>
                <a:gd name="connsiteX9" fmla="*/ 852523 w 1090267"/>
                <a:gd name="connsiteY9" fmla="*/ 155448 h 853625"/>
                <a:gd name="connsiteX10" fmla="*/ 889099 w 1090267"/>
                <a:gd name="connsiteY10" fmla="*/ 137160 h 853625"/>
                <a:gd name="connsiteX11" fmla="*/ 843379 w 1090267"/>
                <a:gd name="connsiteY11" fmla="*/ 137160 h 853625"/>
                <a:gd name="connsiteX12" fmla="*/ 751939 w 1090267"/>
                <a:gd name="connsiteY12" fmla="*/ 137160 h 853625"/>
                <a:gd name="connsiteX13" fmla="*/ 697075 w 1090267"/>
                <a:gd name="connsiteY13" fmla="*/ 146304 h 853625"/>
                <a:gd name="connsiteX14" fmla="*/ 687931 w 1090267"/>
                <a:gd name="connsiteY14" fmla="*/ 155448 h 853625"/>
                <a:gd name="connsiteX15" fmla="*/ 669643 w 1090267"/>
                <a:gd name="connsiteY15" fmla="*/ 146304 h 853625"/>
                <a:gd name="connsiteX16" fmla="*/ 797659 w 1090267"/>
                <a:gd name="connsiteY16" fmla="*/ 91440 h 853625"/>
                <a:gd name="connsiteX17" fmla="*/ 852523 w 1090267"/>
                <a:gd name="connsiteY17" fmla="*/ 91440 h 853625"/>
                <a:gd name="connsiteX18" fmla="*/ 943963 w 1090267"/>
                <a:gd name="connsiteY18" fmla="*/ 82296 h 853625"/>
                <a:gd name="connsiteX19" fmla="*/ 1071979 w 1090267"/>
                <a:gd name="connsiteY19" fmla="*/ 27432 h 853625"/>
                <a:gd name="connsiteX20" fmla="*/ 1053691 w 1090267"/>
                <a:gd name="connsiteY20" fmla="*/ 0 h 853625"/>
                <a:gd name="connsiteX21" fmla="*/ 1017115 w 1090267"/>
                <a:gd name="connsiteY21" fmla="*/ 27432 h 853625"/>
                <a:gd name="connsiteX22" fmla="*/ 980539 w 1090267"/>
                <a:gd name="connsiteY22" fmla="*/ 36576 h 853625"/>
                <a:gd name="connsiteX23" fmla="*/ 907387 w 1090267"/>
                <a:gd name="connsiteY23" fmla="*/ 64008 h 853625"/>
                <a:gd name="connsiteX24" fmla="*/ 852523 w 1090267"/>
                <a:gd name="connsiteY24" fmla="*/ 64008 h 853625"/>
                <a:gd name="connsiteX25" fmla="*/ 742795 w 1090267"/>
                <a:gd name="connsiteY25" fmla="*/ 64008 h 853625"/>
                <a:gd name="connsiteX26" fmla="*/ 687931 w 1090267"/>
                <a:gd name="connsiteY26" fmla="*/ 100584 h 853625"/>
                <a:gd name="connsiteX27" fmla="*/ 651355 w 1090267"/>
                <a:gd name="connsiteY27" fmla="*/ 146304 h 853625"/>
                <a:gd name="connsiteX28" fmla="*/ 605635 w 1090267"/>
                <a:gd name="connsiteY28" fmla="*/ 182880 h 853625"/>
                <a:gd name="connsiteX29" fmla="*/ 559915 w 1090267"/>
                <a:gd name="connsiteY29" fmla="*/ 256032 h 853625"/>
                <a:gd name="connsiteX30" fmla="*/ 486763 w 1090267"/>
                <a:gd name="connsiteY30" fmla="*/ 301752 h 853625"/>
                <a:gd name="connsiteX31" fmla="*/ 386179 w 1090267"/>
                <a:gd name="connsiteY31" fmla="*/ 347472 h 853625"/>
                <a:gd name="connsiteX32" fmla="*/ 349603 w 1090267"/>
                <a:gd name="connsiteY32" fmla="*/ 374904 h 853625"/>
                <a:gd name="connsiteX33" fmla="*/ 303883 w 1090267"/>
                <a:gd name="connsiteY33" fmla="*/ 402336 h 853625"/>
                <a:gd name="connsiteX34" fmla="*/ 285595 w 1090267"/>
                <a:gd name="connsiteY34" fmla="*/ 402336 h 853625"/>
                <a:gd name="connsiteX35" fmla="*/ 303883 w 1090267"/>
                <a:gd name="connsiteY35" fmla="*/ 365760 h 853625"/>
                <a:gd name="connsiteX36" fmla="*/ 358747 w 1090267"/>
                <a:gd name="connsiteY36" fmla="*/ 301752 h 853625"/>
                <a:gd name="connsiteX37" fmla="*/ 450187 w 1090267"/>
                <a:gd name="connsiteY37" fmla="*/ 219456 h 853625"/>
                <a:gd name="connsiteX38" fmla="*/ 495907 w 1090267"/>
                <a:gd name="connsiteY38" fmla="*/ 146304 h 853625"/>
                <a:gd name="connsiteX39" fmla="*/ 495907 w 1090267"/>
                <a:gd name="connsiteY39" fmla="*/ 64008 h 853625"/>
                <a:gd name="connsiteX40" fmla="*/ 486763 w 1090267"/>
                <a:gd name="connsiteY40" fmla="*/ 54864 h 853625"/>
                <a:gd name="connsiteX41" fmla="*/ 477619 w 1090267"/>
                <a:gd name="connsiteY41" fmla="*/ 128016 h 853625"/>
                <a:gd name="connsiteX42" fmla="*/ 450187 w 1090267"/>
                <a:gd name="connsiteY42" fmla="*/ 173736 h 853625"/>
                <a:gd name="connsiteX43" fmla="*/ 377035 w 1090267"/>
                <a:gd name="connsiteY43" fmla="*/ 237744 h 853625"/>
                <a:gd name="connsiteX44" fmla="*/ 349603 w 1090267"/>
                <a:gd name="connsiteY44" fmla="*/ 256032 h 853625"/>
                <a:gd name="connsiteX45" fmla="*/ 276451 w 1090267"/>
                <a:gd name="connsiteY45" fmla="*/ 347472 h 853625"/>
                <a:gd name="connsiteX46" fmla="*/ 267307 w 1090267"/>
                <a:gd name="connsiteY46" fmla="*/ 374904 h 853625"/>
                <a:gd name="connsiteX47" fmla="*/ 221482 w 1090267"/>
                <a:gd name="connsiteY47" fmla="*/ 447174 h 853625"/>
                <a:gd name="connsiteX48" fmla="*/ 261073 w 1090267"/>
                <a:gd name="connsiteY48" fmla="*/ 536508 h 853625"/>
                <a:gd name="connsiteX49" fmla="*/ 208858 w 1090267"/>
                <a:gd name="connsiteY49" fmla="*/ 593454 h 853625"/>
                <a:gd name="connsiteX50" fmla="*/ 156645 w 1090267"/>
                <a:gd name="connsiteY50" fmla="*/ 650400 h 853625"/>
                <a:gd name="connsiteX51" fmla="*/ 104429 w 1090267"/>
                <a:gd name="connsiteY51" fmla="*/ 707345 h 853625"/>
                <a:gd name="connsiteX52" fmla="*/ 196235 w 1090267"/>
                <a:gd name="connsiteY52" fmla="*/ 739734 h 853625"/>
                <a:gd name="connsiteX53" fmla="*/ 52214 w 1090267"/>
                <a:gd name="connsiteY53" fmla="*/ 764291 h 853625"/>
                <a:gd name="connsiteX54" fmla="*/ 0 w 1090267"/>
                <a:gd name="connsiteY54" fmla="*/ 821237 h 853625"/>
                <a:gd name="connsiteX55" fmla="*/ 91805 w 1090267"/>
                <a:gd name="connsiteY55" fmla="*/ 853625 h 853625"/>
                <a:gd name="connsiteX0" fmla="*/ 91805 w 1090267"/>
                <a:gd name="connsiteY0" fmla="*/ 853625 h 853625"/>
                <a:gd name="connsiteX1" fmla="*/ 196232 w 1090267"/>
                <a:gd name="connsiteY1" fmla="*/ 739734 h 853625"/>
                <a:gd name="connsiteX2" fmla="*/ 144017 w 1090267"/>
                <a:gd name="connsiteY2" fmla="*/ 796679 h 853625"/>
                <a:gd name="connsiteX3" fmla="*/ 248448 w 1090267"/>
                <a:gd name="connsiteY3" fmla="*/ 682788 h 853625"/>
                <a:gd name="connsiteX4" fmla="*/ 313287 w 1090267"/>
                <a:gd name="connsiteY4" fmla="*/ 479563 h 853625"/>
                <a:gd name="connsiteX5" fmla="*/ 386179 w 1090267"/>
                <a:gd name="connsiteY5" fmla="*/ 384048 h 853625"/>
                <a:gd name="connsiteX6" fmla="*/ 578203 w 1090267"/>
                <a:gd name="connsiteY6" fmla="*/ 301752 h 853625"/>
                <a:gd name="connsiteX7" fmla="*/ 660499 w 1090267"/>
                <a:gd name="connsiteY7" fmla="*/ 192024 h 853625"/>
                <a:gd name="connsiteX8" fmla="*/ 806803 w 1090267"/>
                <a:gd name="connsiteY8" fmla="*/ 155448 h 853625"/>
                <a:gd name="connsiteX9" fmla="*/ 852523 w 1090267"/>
                <a:gd name="connsiteY9" fmla="*/ 155448 h 853625"/>
                <a:gd name="connsiteX10" fmla="*/ 889099 w 1090267"/>
                <a:gd name="connsiteY10" fmla="*/ 137160 h 853625"/>
                <a:gd name="connsiteX11" fmla="*/ 843379 w 1090267"/>
                <a:gd name="connsiteY11" fmla="*/ 137160 h 853625"/>
                <a:gd name="connsiteX12" fmla="*/ 751939 w 1090267"/>
                <a:gd name="connsiteY12" fmla="*/ 137160 h 853625"/>
                <a:gd name="connsiteX13" fmla="*/ 697075 w 1090267"/>
                <a:gd name="connsiteY13" fmla="*/ 146304 h 853625"/>
                <a:gd name="connsiteX14" fmla="*/ 687931 w 1090267"/>
                <a:gd name="connsiteY14" fmla="*/ 155448 h 853625"/>
                <a:gd name="connsiteX15" fmla="*/ 669643 w 1090267"/>
                <a:gd name="connsiteY15" fmla="*/ 146304 h 853625"/>
                <a:gd name="connsiteX16" fmla="*/ 797659 w 1090267"/>
                <a:gd name="connsiteY16" fmla="*/ 91440 h 853625"/>
                <a:gd name="connsiteX17" fmla="*/ 852523 w 1090267"/>
                <a:gd name="connsiteY17" fmla="*/ 91440 h 853625"/>
                <a:gd name="connsiteX18" fmla="*/ 943963 w 1090267"/>
                <a:gd name="connsiteY18" fmla="*/ 82296 h 853625"/>
                <a:gd name="connsiteX19" fmla="*/ 1071979 w 1090267"/>
                <a:gd name="connsiteY19" fmla="*/ 27432 h 853625"/>
                <a:gd name="connsiteX20" fmla="*/ 1053691 w 1090267"/>
                <a:gd name="connsiteY20" fmla="*/ 0 h 853625"/>
                <a:gd name="connsiteX21" fmla="*/ 1017115 w 1090267"/>
                <a:gd name="connsiteY21" fmla="*/ 27432 h 853625"/>
                <a:gd name="connsiteX22" fmla="*/ 980539 w 1090267"/>
                <a:gd name="connsiteY22" fmla="*/ 36576 h 853625"/>
                <a:gd name="connsiteX23" fmla="*/ 907387 w 1090267"/>
                <a:gd name="connsiteY23" fmla="*/ 64008 h 853625"/>
                <a:gd name="connsiteX24" fmla="*/ 852523 w 1090267"/>
                <a:gd name="connsiteY24" fmla="*/ 64008 h 853625"/>
                <a:gd name="connsiteX25" fmla="*/ 742795 w 1090267"/>
                <a:gd name="connsiteY25" fmla="*/ 64008 h 853625"/>
                <a:gd name="connsiteX26" fmla="*/ 687931 w 1090267"/>
                <a:gd name="connsiteY26" fmla="*/ 100584 h 853625"/>
                <a:gd name="connsiteX27" fmla="*/ 651355 w 1090267"/>
                <a:gd name="connsiteY27" fmla="*/ 146304 h 853625"/>
                <a:gd name="connsiteX28" fmla="*/ 605635 w 1090267"/>
                <a:gd name="connsiteY28" fmla="*/ 182880 h 853625"/>
                <a:gd name="connsiteX29" fmla="*/ 559915 w 1090267"/>
                <a:gd name="connsiteY29" fmla="*/ 256032 h 853625"/>
                <a:gd name="connsiteX30" fmla="*/ 486763 w 1090267"/>
                <a:gd name="connsiteY30" fmla="*/ 301752 h 853625"/>
                <a:gd name="connsiteX31" fmla="*/ 386179 w 1090267"/>
                <a:gd name="connsiteY31" fmla="*/ 347472 h 853625"/>
                <a:gd name="connsiteX32" fmla="*/ 349603 w 1090267"/>
                <a:gd name="connsiteY32" fmla="*/ 374904 h 853625"/>
                <a:gd name="connsiteX33" fmla="*/ 303883 w 1090267"/>
                <a:gd name="connsiteY33" fmla="*/ 402336 h 853625"/>
                <a:gd name="connsiteX34" fmla="*/ 285595 w 1090267"/>
                <a:gd name="connsiteY34" fmla="*/ 402336 h 853625"/>
                <a:gd name="connsiteX35" fmla="*/ 303883 w 1090267"/>
                <a:gd name="connsiteY35" fmla="*/ 365760 h 853625"/>
                <a:gd name="connsiteX36" fmla="*/ 358747 w 1090267"/>
                <a:gd name="connsiteY36" fmla="*/ 301752 h 853625"/>
                <a:gd name="connsiteX37" fmla="*/ 450187 w 1090267"/>
                <a:gd name="connsiteY37" fmla="*/ 219456 h 853625"/>
                <a:gd name="connsiteX38" fmla="*/ 495907 w 1090267"/>
                <a:gd name="connsiteY38" fmla="*/ 146304 h 853625"/>
                <a:gd name="connsiteX39" fmla="*/ 495907 w 1090267"/>
                <a:gd name="connsiteY39" fmla="*/ 64008 h 853625"/>
                <a:gd name="connsiteX40" fmla="*/ 486763 w 1090267"/>
                <a:gd name="connsiteY40" fmla="*/ 54864 h 853625"/>
                <a:gd name="connsiteX41" fmla="*/ 477619 w 1090267"/>
                <a:gd name="connsiteY41" fmla="*/ 128016 h 853625"/>
                <a:gd name="connsiteX42" fmla="*/ 450187 w 1090267"/>
                <a:gd name="connsiteY42" fmla="*/ 173736 h 853625"/>
                <a:gd name="connsiteX43" fmla="*/ 377035 w 1090267"/>
                <a:gd name="connsiteY43" fmla="*/ 237744 h 853625"/>
                <a:gd name="connsiteX44" fmla="*/ 349603 w 1090267"/>
                <a:gd name="connsiteY44" fmla="*/ 256032 h 853625"/>
                <a:gd name="connsiteX45" fmla="*/ 276451 w 1090267"/>
                <a:gd name="connsiteY45" fmla="*/ 347472 h 853625"/>
                <a:gd name="connsiteX46" fmla="*/ 267307 w 1090267"/>
                <a:gd name="connsiteY46" fmla="*/ 374904 h 853625"/>
                <a:gd name="connsiteX47" fmla="*/ 221482 w 1090267"/>
                <a:gd name="connsiteY47" fmla="*/ 447174 h 853625"/>
                <a:gd name="connsiteX48" fmla="*/ 261073 w 1090267"/>
                <a:gd name="connsiteY48" fmla="*/ 536508 h 853625"/>
                <a:gd name="connsiteX49" fmla="*/ 208858 w 1090267"/>
                <a:gd name="connsiteY49" fmla="*/ 593454 h 853625"/>
                <a:gd name="connsiteX50" fmla="*/ 156645 w 1090267"/>
                <a:gd name="connsiteY50" fmla="*/ 650400 h 853625"/>
                <a:gd name="connsiteX51" fmla="*/ 104429 w 1090267"/>
                <a:gd name="connsiteY51" fmla="*/ 707345 h 853625"/>
                <a:gd name="connsiteX52" fmla="*/ 52214 w 1090267"/>
                <a:gd name="connsiteY52" fmla="*/ 764291 h 853625"/>
                <a:gd name="connsiteX53" fmla="*/ 52214 w 1090267"/>
                <a:gd name="connsiteY53" fmla="*/ 764291 h 853625"/>
                <a:gd name="connsiteX54" fmla="*/ 0 w 1090267"/>
                <a:gd name="connsiteY54" fmla="*/ 821237 h 853625"/>
                <a:gd name="connsiteX55" fmla="*/ 91805 w 1090267"/>
                <a:gd name="connsiteY55" fmla="*/ 853625 h 853625"/>
                <a:gd name="connsiteX0" fmla="*/ 43770 w 1042232"/>
                <a:gd name="connsiteY0" fmla="*/ 853625 h 853625"/>
                <a:gd name="connsiteX1" fmla="*/ 148197 w 1042232"/>
                <a:gd name="connsiteY1" fmla="*/ 739734 h 853625"/>
                <a:gd name="connsiteX2" fmla="*/ 95982 w 1042232"/>
                <a:gd name="connsiteY2" fmla="*/ 796679 h 853625"/>
                <a:gd name="connsiteX3" fmla="*/ 200413 w 1042232"/>
                <a:gd name="connsiteY3" fmla="*/ 682788 h 853625"/>
                <a:gd name="connsiteX4" fmla="*/ 265252 w 1042232"/>
                <a:gd name="connsiteY4" fmla="*/ 479563 h 853625"/>
                <a:gd name="connsiteX5" fmla="*/ 338144 w 1042232"/>
                <a:gd name="connsiteY5" fmla="*/ 384048 h 853625"/>
                <a:gd name="connsiteX6" fmla="*/ 530168 w 1042232"/>
                <a:gd name="connsiteY6" fmla="*/ 301752 h 853625"/>
                <a:gd name="connsiteX7" fmla="*/ 612464 w 1042232"/>
                <a:gd name="connsiteY7" fmla="*/ 192024 h 853625"/>
                <a:gd name="connsiteX8" fmla="*/ 758768 w 1042232"/>
                <a:gd name="connsiteY8" fmla="*/ 155448 h 853625"/>
                <a:gd name="connsiteX9" fmla="*/ 804488 w 1042232"/>
                <a:gd name="connsiteY9" fmla="*/ 155448 h 853625"/>
                <a:gd name="connsiteX10" fmla="*/ 841064 w 1042232"/>
                <a:gd name="connsiteY10" fmla="*/ 137160 h 853625"/>
                <a:gd name="connsiteX11" fmla="*/ 795344 w 1042232"/>
                <a:gd name="connsiteY11" fmla="*/ 137160 h 853625"/>
                <a:gd name="connsiteX12" fmla="*/ 703904 w 1042232"/>
                <a:gd name="connsiteY12" fmla="*/ 137160 h 853625"/>
                <a:gd name="connsiteX13" fmla="*/ 649040 w 1042232"/>
                <a:gd name="connsiteY13" fmla="*/ 146304 h 853625"/>
                <a:gd name="connsiteX14" fmla="*/ 639896 w 1042232"/>
                <a:gd name="connsiteY14" fmla="*/ 155448 h 853625"/>
                <a:gd name="connsiteX15" fmla="*/ 621608 w 1042232"/>
                <a:gd name="connsiteY15" fmla="*/ 146304 h 853625"/>
                <a:gd name="connsiteX16" fmla="*/ 749624 w 1042232"/>
                <a:gd name="connsiteY16" fmla="*/ 91440 h 853625"/>
                <a:gd name="connsiteX17" fmla="*/ 804488 w 1042232"/>
                <a:gd name="connsiteY17" fmla="*/ 91440 h 853625"/>
                <a:gd name="connsiteX18" fmla="*/ 895928 w 1042232"/>
                <a:gd name="connsiteY18" fmla="*/ 82296 h 853625"/>
                <a:gd name="connsiteX19" fmla="*/ 1023944 w 1042232"/>
                <a:gd name="connsiteY19" fmla="*/ 27432 h 853625"/>
                <a:gd name="connsiteX20" fmla="*/ 1005656 w 1042232"/>
                <a:gd name="connsiteY20" fmla="*/ 0 h 853625"/>
                <a:gd name="connsiteX21" fmla="*/ 969080 w 1042232"/>
                <a:gd name="connsiteY21" fmla="*/ 27432 h 853625"/>
                <a:gd name="connsiteX22" fmla="*/ 932504 w 1042232"/>
                <a:gd name="connsiteY22" fmla="*/ 36576 h 853625"/>
                <a:gd name="connsiteX23" fmla="*/ 859352 w 1042232"/>
                <a:gd name="connsiteY23" fmla="*/ 64008 h 853625"/>
                <a:gd name="connsiteX24" fmla="*/ 804488 w 1042232"/>
                <a:gd name="connsiteY24" fmla="*/ 64008 h 853625"/>
                <a:gd name="connsiteX25" fmla="*/ 694760 w 1042232"/>
                <a:gd name="connsiteY25" fmla="*/ 64008 h 853625"/>
                <a:gd name="connsiteX26" fmla="*/ 639896 w 1042232"/>
                <a:gd name="connsiteY26" fmla="*/ 100584 h 853625"/>
                <a:gd name="connsiteX27" fmla="*/ 603320 w 1042232"/>
                <a:gd name="connsiteY27" fmla="*/ 146304 h 853625"/>
                <a:gd name="connsiteX28" fmla="*/ 557600 w 1042232"/>
                <a:gd name="connsiteY28" fmla="*/ 182880 h 853625"/>
                <a:gd name="connsiteX29" fmla="*/ 511880 w 1042232"/>
                <a:gd name="connsiteY29" fmla="*/ 256032 h 853625"/>
                <a:gd name="connsiteX30" fmla="*/ 438728 w 1042232"/>
                <a:gd name="connsiteY30" fmla="*/ 301752 h 853625"/>
                <a:gd name="connsiteX31" fmla="*/ 338144 w 1042232"/>
                <a:gd name="connsiteY31" fmla="*/ 347472 h 853625"/>
                <a:gd name="connsiteX32" fmla="*/ 301568 w 1042232"/>
                <a:gd name="connsiteY32" fmla="*/ 374904 h 853625"/>
                <a:gd name="connsiteX33" fmla="*/ 255848 w 1042232"/>
                <a:gd name="connsiteY33" fmla="*/ 402336 h 853625"/>
                <a:gd name="connsiteX34" fmla="*/ 237560 w 1042232"/>
                <a:gd name="connsiteY34" fmla="*/ 402336 h 853625"/>
                <a:gd name="connsiteX35" fmla="*/ 255848 w 1042232"/>
                <a:gd name="connsiteY35" fmla="*/ 365760 h 853625"/>
                <a:gd name="connsiteX36" fmla="*/ 310712 w 1042232"/>
                <a:gd name="connsiteY36" fmla="*/ 301752 h 853625"/>
                <a:gd name="connsiteX37" fmla="*/ 402152 w 1042232"/>
                <a:gd name="connsiteY37" fmla="*/ 219456 h 853625"/>
                <a:gd name="connsiteX38" fmla="*/ 447872 w 1042232"/>
                <a:gd name="connsiteY38" fmla="*/ 146304 h 853625"/>
                <a:gd name="connsiteX39" fmla="*/ 447872 w 1042232"/>
                <a:gd name="connsiteY39" fmla="*/ 64008 h 853625"/>
                <a:gd name="connsiteX40" fmla="*/ 438728 w 1042232"/>
                <a:gd name="connsiteY40" fmla="*/ 54864 h 853625"/>
                <a:gd name="connsiteX41" fmla="*/ 429584 w 1042232"/>
                <a:gd name="connsiteY41" fmla="*/ 128016 h 853625"/>
                <a:gd name="connsiteX42" fmla="*/ 402152 w 1042232"/>
                <a:gd name="connsiteY42" fmla="*/ 173736 h 853625"/>
                <a:gd name="connsiteX43" fmla="*/ 329000 w 1042232"/>
                <a:gd name="connsiteY43" fmla="*/ 237744 h 853625"/>
                <a:gd name="connsiteX44" fmla="*/ 301568 w 1042232"/>
                <a:gd name="connsiteY44" fmla="*/ 256032 h 853625"/>
                <a:gd name="connsiteX45" fmla="*/ 228416 w 1042232"/>
                <a:gd name="connsiteY45" fmla="*/ 347472 h 853625"/>
                <a:gd name="connsiteX46" fmla="*/ 219272 w 1042232"/>
                <a:gd name="connsiteY46" fmla="*/ 374904 h 853625"/>
                <a:gd name="connsiteX47" fmla="*/ 173447 w 1042232"/>
                <a:gd name="connsiteY47" fmla="*/ 447174 h 853625"/>
                <a:gd name="connsiteX48" fmla="*/ 213038 w 1042232"/>
                <a:gd name="connsiteY48" fmla="*/ 536508 h 853625"/>
                <a:gd name="connsiteX49" fmla="*/ 160823 w 1042232"/>
                <a:gd name="connsiteY49" fmla="*/ 593454 h 853625"/>
                <a:gd name="connsiteX50" fmla="*/ 108610 w 1042232"/>
                <a:gd name="connsiteY50" fmla="*/ 650400 h 853625"/>
                <a:gd name="connsiteX51" fmla="*/ 56394 w 1042232"/>
                <a:gd name="connsiteY51" fmla="*/ 707345 h 853625"/>
                <a:gd name="connsiteX52" fmla="*/ 4179 w 1042232"/>
                <a:gd name="connsiteY52" fmla="*/ 764291 h 853625"/>
                <a:gd name="connsiteX53" fmla="*/ 4179 w 1042232"/>
                <a:gd name="connsiteY53" fmla="*/ 764291 h 853625"/>
                <a:gd name="connsiteX54" fmla="*/ 43770 w 1042232"/>
                <a:gd name="connsiteY54" fmla="*/ 853625 h 853625"/>
                <a:gd name="connsiteX55" fmla="*/ 43770 w 1042232"/>
                <a:gd name="connsiteY55" fmla="*/ 853625 h 853625"/>
                <a:gd name="connsiteX0" fmla="*/ 43770 w 1042232"/>
                <a:gd name="connsiteY0" fmla="*/ 853625 h 853625"/>
                <a:gd name="connsiteX1" fmla="*/ 148197 w 1042232"/>
                <a:gd name="connsiteY1" fmla="*/ 739734 h 853625"/>
                <a:gd name="connsiteX2" fmla="*/ 95982 w 1042232"/>
                <a:gd name="connsiteY2" fmla="*/ 796679 h 853625"/>
                <a:gd name="connsiteX3" fmla="*/ 200413 w 1042232"/>
                <a:gd name="connsiteY3" fmla="*/ 682788 h 853625"/>
                <a:gd name="connsiteX4" fmla="*/ 265252 w 1042232"/>
                <a:gd name="connsiteY4" fmla="*/ 479563 h 853625"/>
                <a:gd name="connsiteX5" fmla="*/ 338144 w 1042232"/>
                <a:gd name="connsiteY5" fmla="*/ 384048 h 853625"/>
                <a:gd name="connsiteX6" fmla="*/ 530168 w 1042232"/>
                <a:gd name="connsiteY6" fmla="*/ 301752 h 853625"/>
                <a:gd name="connsiteX7" fmla="*/ 612464 w 1042232"/>
                <a:gd name="connsiteY7" fmla="*/ 192024 h 853625"/>
                <a:gd name="connsiteX8" fmla="*/ 758768 w 1042232"/>
                <a:gd name="connsiteY8" fmla="*/ 155448 h 853625"/>
                <a:gd name="connsiteX9" fmla="*/ 804488 w 1042232"/>
                <a:gd name="connsiteY9" fmla="*/ 155448 h 853625"/>
                <a:gd name="connsiteX10" fmla="*/ 841064 w 1042232"/>
                <a:gd name="connsiteY10" fmla="*/ 137160 h 853625"/>
                <a:gd name="connsiteX11" fmla="*/ 795344 w 1042232"/>
                <a:gd name="connsiteY11" fmla="*/ 137160 h 853625"/>
                <a:gd name="connsiteX12" fmla="*/ 703904 w 1042232"/>
                <a:gd name="connsiteY12" fmla="*/ 137160 h 853625"/>
                <a:gd name="connsiteX13" fmla="*/ 649040 w 1042232"/>
                <a:gd name="connsiteY13" fmla="*/ 146304 h 853625"/>
                <a:gd name="connsiteX14" fmla="*/ 639896 w 1042232"/>
                <a:gd name="connsiteY14" fmla="*/ 155448 h 853625"/>
                <a:gd name="connsiteX15" fmla="*/ 621608 w 1042232"/>
                <a:gd name="connsiteY15" fmla="*/ 146304 h 853625"/>
                <a:gd name="connsiteX16" fmla="*/ 749624 w 1042232"/>
                <a:gd name="connsiteY16" fmla="*/ 91440 h 853625"/>
                <a:gd name="connsiteX17" fmla="*/ 804488 w 1042232"/>
                <a:gd name="connsiteY17" fmla="*/ 91440 h 853625"/>
                <a:gd name="connsiteX18" fmla="*/ 895928 w 1042232"/>
                <a:gd name="connsiteY18" fmla="*/ 82296 h 853625"/>
                <a:gd name="connsiteX19" fmla="*/ 1023944 w 1042232"/>
                <a:gd name="connsiteY19" fmla="*/ 27432 h 853625"/>
                <a:gd name="connsiteX20" fmla="*/ 1005656 w 1042232"/>
                <a:gd name="connsiteY20" fmla="*/ 0 h 853625"/>
                <a:gd name="connsiteX21" fmla="*/ 969080 w 1042232"/>
                <a:gd name="connsiteY21" fmla="*/ 27432 h 853625"/>
                <a:gd name="connsiteX22" fmla="*/ 932504 w 1042232"/>
                <a:gd name="connsiteY22" fmla="*/ 36576 h 853625"/>
                <a:gd name="connsiteX23" fmla="*/ 859352 w 1042232"/>
                <a:gd name="connsiteY23" fmla="*/ 64008 h 853625"/>
                <a:gd name="connsiteX24" fmla="*/ 804488 w 1042232"/>
                <a:gd name="connsiteY24" fmla="*/ 64008 h 853625"/>
                <a:gd name="connsiteX25" fmla="*/ 694760 w 1042232"/>
                <a:gd name="connsiteY25" fmla="*/ 64008 h 853625"/>
                <a:gd name="connsiteX26" fmla="*/ 639896 w 1042232"/>
                <a:gd name="connsiteY26" fmla="*/ 100584 h 853625"/>
                <a:gd name="connsiteX27" fmla="*/ 603320 w 1042232"/>
                <a:gd name="connsiteY27" fmla="*/ 146304 h 853625"/>
                <a:gd name="connsiteX28" fmla="*/ 557600 w 1042232"/>
                <a:gd name="connsiteY28" fmla="*/ 182880 h 853625"/>
                <a:gd name="connsiteX29" fmla="*/ 511880 w 1042232"/>
                <a:gd name="connsiteY29" fmla="*/ 256032 h 853625"/>
                <a:gd name="connsiteX30" fmla="*/ 438728 w 1042232"/>
                <a:gd name="connsiteY30" fmla="*/ 301752 h 853625"/>
                <a:gd name="connsiteX31" fmla="*/ 338144 w 1042232"/>
                <a:gd name="connsiteY31" fmla="*/ 347472 h 853625"/>
                <a:gd name="connsiteX32" fmla="*/ 301568 w 1042232"/>
                <a:gd name="connsiteY32" fmla="*/ 374904 h 853625"/>
                <a:gd name="connsiteX33" fmla="*/ 255848 w 1042232"/>
                <a:gd name="connsiteY33" fmla="*/ 402336 h 853625"/>
                <a:gd name="connsiteX34" fmla="*/ 237560 w 1042232"/>
                <a:gd name="connsiteY34" fmla="*/ 402336 h 853625"/>
                <a:gd name="connsiteX35" fmla="*/ 255848 w 1042232"/>
                <a:gd name="connsiteY35" fmla="*/ 365760 h 853625"/>
                <a:gd name="connsiteX36" fmla="*/ 310712 w 1042232"/>
                <a:gd name="connsiteY36" fmla="*/ 301752 h 853625"/>
                <a:gd name="connsiteX37" fmla="*/ 402152 w 1042232"/>
                <a:gd name="connsiteY37" fmla="*/ 219456 h 853625"/>
                <a:gd name="connsiteX38" fmla="*/ 447872 w 1042232"/>
                <a:gd name="connsiteY38" fmla="*/ 146304 h 853625"/>
                <a:gd name="connsiteX39" fmla="*/ 447872 w 1042232"/>
                <a:gd name="connsiteY39" fmla="*/ 64008 h 853625"/>
                <a:gd name="connsiteX40" fmla="*/ 438728 w 1042232"/>
                <a:gd name="connsiteY40" fmla="*/ 54864 h 853625"/>
                <a:gd name="connsiteX41" fmla="*/ 429584 w 1042232"/>
                <a:gd name="connsiteY41" fmla="*/ 128016 h 853625"/>
                <a:gd name="connsiteX42" fmla="*/ 402152 w 1042232"/>
                <a:gd name="connsiteY42" fmla="*/ 173736 h 853625"/>
                <a:gd name="connsiteX43" fmla="*/ 329000 w 1042232"/>
                <a:gd name="connsiteY43" fmla="*/ 237744 h 853625"/>
                <a:gd name="connsiteX44" fmla="*/ 301568 w 1042232"/>
                <a:gd name="connsiteY44" fmla="*/ 256032 h 853625"/>
                <a:gd name="connsiteX45" fmla="*/ 228416 w 1042232"/>
                <a:gd name="connsiteY45" fmla="*/ 347472 h 853625"/>
                <a:gd name="connsiteX46" fmla="*/ 219272 w 1042232"/>
                <a:gd name="connsiteY46" fmla="*/ 374904 h 853625"/>
                <a:gd name="connsiteX47" fmla="*/ 173447 w 1042232"/>
                <a:gd name="connsiteY47" fmla="*/ 447174 h 853625"/>
                <a:gd name="connsiteX48" fmla="*/ 160825 w 1042232"/>
                <a:gd name="connsiteY48" fmla="*/ 593454 h 853625"/>
                <a:gd name="connsiteX49" fmla="*/ 160823 w 1042232"/>
                <a:gd name="connsiteY49" fmla="*/ 593454 h 853625"/>
                <a:gd name="connsiteX50" fmla="*/ 108610 w 1042232"/>
                <a:gd name="connsiteY50" fmla="*/ 650400 h 853625"/>
                <a:gd name="connsiteX51" fmla="*/ 56394 w 1042232"/>
                <a:gd name="connsiteY51" fmla="*/ 707345 h 853625"/>
                <a:gd name="connsiteX52" fmla="*/ 4179 w 1042232"/>
                <a:gd name="connsiteY52" fmla="*/ 764291 h 853625"/>
                <a:gd name="connsiteX53" fmla="*/ 4179 w 1042232"/>
                <a:gd name="connsiteY53" fmla="*/ 764291 h 853625"/>
                <a:gd name="connsiteX54" fmla="*/ 43770 w 1042232"/>
                <a:gd name="connsiteY54" fmla="*/ 853625 h 853625"/>
                <a:gd name="connsiteX55" fmla="*/ 43770 w 1042232"/>
                <a:gd name="connsiteY55" fmla="*/ 853625 h 853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042232" h="853625">
                  <a:moveTo>
                    <a:pt x="43770" y="853625"/>
                  </a:moveTo>
                  <a:lnTo>
                    <a:pt x="148197" y="739734"/>
                  </a:lnTo>
                  <a:lnTo>
                    <a:pt x="95982" y="796679"/>
                  </a:lnTo>
                  <a:lnTo>
                    <a:pt x="200413" y="682788"/>
                  </a:lnTo>
                  <a:cubicBezTo>
                    <a:pt x="203604" y="688781"/>
                    <a:pt x="242297" y="529353"/>
                    <a:pt x="265252" y="479563"/>
                  </a:cubicBezTo>
                  <a:cubicBezTo>
                    <a:pt x="288207" y="429773"/>
                    <a:pt x="293992" y="413683"/>
                    <a:pt x="338144" y="384048"/>
                  </a:cubicBezTo>
                  <a:cubicBezTo>
                    <a:pt x="382296" y="354413"/>
                    <a:pt x="484448" y="333756"/>
                    <a:pt x="530168" y="301752"/>
                  </a:cubicBezTo>
                  <a:cubicBezTo>
                    <a:pt x="575888" y="269748"/>
                    <a:pt x="574364" y="216408"/>
                    <a:pt x="612464" y="192024"/>
                  </a:cubicBezTo>
                  <a:cubicBezTo>
                    <a:pt x="650564" y="167640"/>
                    <a:pt x="726764" y="161544"/>
                    <a:pt x="758768" y="155448"/>
                  </a:cubicBezTo>
                  <a:cubicBezTo>
                    <a:pt x="790772" y="149352"/>
                    <a:pt x="790772" y="158496"/>
                    <a:pt x="804488" y="155448"/>
                  </a:cubicBezTo>
                  <a:cubicBezTo>
                    <a:pt x="818204" y="152400"/>
                    <a:pt x="842588" y="140208"/>
                    <a:pt x="841064" y="137160"/>
                  </a:cubicBezTo>
                  <a:cubicBezTo>
                    <a:pt x="839540" y="134112"/>
                    <a:pt x="795344" y="137160"/>
                    <a:pt x="795344" y="137160"/>
                  </a:cubicBezTo>
                  <a:cubicBezTo>
                    <a:pt x="772484" y="137160"/>
                    <a:pt x="728288" y="135636"/>
                    <a:pt x="703904" y="137160"/>
                  </a:cubicBezTo>
                  <a:cubicBezTo>
                    <a:pt x="679520" y="138684"/>
                    <a:pt x="659708" y="143256"/>
                    <a:pt x="649040" y="146304"/>
                  </a:cubicBezTo>
                  <a:cubicBezTo>
                    <a:pt x="638372" y="149352"/>
                    <a:pt x="644468" y="155448"/>
                    <a:pt x="639896" y="155448"/>
                  </a:cubicBezTo>
                  <a:cubicBezTo>
                    <a:pt x="635324" y="155448"/>
                    <a:pt x="603320" y="156972"/>
                    <a:pt x="621608" y="146304"/>
                  </a:cubicBezTo>
                  <a:cubicBezTo>
                    <a:pt x="639896" y="135636"/>
                    <a:pt x="719144" y="100584"/>
                    <a:pt x="749624" y="91440"/>
                  </a:cubicBezTo>
                  <a:cubicBezTo>
                    <a:pt x="780104" y="82296"/>
                    <a:pt x="780104" y="92964"/>
                    <a:pt x="804488" y="91440"/>
                  </a:cubicBezTo>
                  <a:cubicBezTo>
                    <a:pt x="828872" y="89916"/>
                    <a:pt x="859352" y="92964"/>
                    <a:pt x="895928" y="82296"/>
                  </a:cubicBezTo>
                  <a:cubicBezTo>
                    <a:pt x="932504" y="71628"/>
                    <a:pt x="1005656" y="41148"/>
                    <a:pt x="1023944" y="27432"/>
                  </a:cubicBezTo>
                  <a:cubicBezTo>
                    <a:pt x="1042232" y="13716"/>
                    <a:pt x="1014800" y="0"/>
                    <a:pt x="1005656" y="0"/>
                  </a:cubicBezTo>
                  <a:cubicBezTo>
                    <a:pt x="996512" y="0"/>
                    <a:pt x="981272" y="21336"/>
                    <a:pt x="969080" y="27432"/>
                  </a:cubicBezTo>
                  <a:cubicBezTo>
                    <a:pt x="956888" y="33528"/>
                    <a:pt x="950792" y="30480"/>
                    <a:pt x="932504" y="36576"/>
                  </a:cubicBezTo>
                  <a:cubicBezTo>
                    <a:pt x="914216" y="42672"/>
                    <a:pt x="880688" y="59436"/>
                    <a:pt x="859352" y="64008"/>
                  </a:cubicBezTo>
                  <a:cubicBezTo>
                    <a:pt x="838016" y="68580"/>
                    <a:pt x="804488" y="64008"/>
                    <a:pt x="804488" y="64008"/>
                  </a:cubicBezTo>
                  <a:cubicBezTo>
                    <a:pt x="777056" y="64008"/>
                    <a:pt x="722192" y="57912"/>
                    <a:pt x="694760" y="64008"/>
                  </a:cubicBezTo>
                  <a:cubicBezTo>
                    <a:pt x="667328" y="70104"/>
                    <a:pt x="655136" y="86868"/>
                    <a:pt x="639896" y="100584"/>
                  </a:cubicBezTo>
                  <a:cubicBezTo>
                    <a:pt x="624656" y="114300"/>
                    <a:pt x="617036" y="132588"/>
                    <a:pt x="603320" y="146304"/>
                  </a:cubicBezTo>
                  <a:cubicBezTo>
                    <a:pt x="589604" y="160020"/>
                    <a:pt x="572840" y="164592"/>
                    <a:pt x="557600" y="182880"/>
                  </a:cubicBezTo>
                  <a:cubicBezTo>
                    <a:pt x="542360" y="201168"/>
                    <a:pt x="531692" y="236220"/>
                    <a:pt x="511880" y="256032"/>
                  </a:cubicBezTo>
                  <a:cubicBezTo>
                    <a:pt x="492068" y="275844"/>
                    <a:pt x="467684" y="286512"/>
                    <a:pt x="438728" y="301752"/>
                  </a:cubicBezTo>
                  <a:cubicBezTo>
                    <a:pt x="409772" y="316992"/>
                    <a:pt x="361004" y="335280"/>
                    <a:pt x="338144" y="347472"/>
                  </a:cubicBezTo>
                  <a:cubicBezTo>
                    <a:pt x="315284" y="359664"/>
                    <a:pt x="315284" y="365760"/>
                    <a:pt x="301568" y="374904"/>
                  </a:cubicBezTo>
                  <a:cubicBezTo>
                    <a:pt x="287852" y="384048"/>
                    <a:pt x="266516" y="397764"/>
                    <a:pt x="255848" y="402336"/>
                  </a:cubicBezTo>
                  <a:cubicBezTo>
                    <a:pt x="245180" y="406908"/>
                    <a:pt x="237560" y="408432"/>
                    <a:pt x="237560" y="402336"/>
                  </a:cubicBezTo>
                  <a:cubicBezTo>
                    <a:pt x="237560" y="396240"/>
                    <a:pt x="243656" y="382524"/>
                    <a:pt x="255848" y="365760"/>
                  </a:cubicBezTo>
                  <a:cubicBezTo>
                    <a:pt x="268040" y="348996"/>
                    <a:pt x="286328" y="326136"/>
                    <a:pt x="310712" y="301752"/>
                  </a:cubicBezTo>
                  <a:cubicBezTo>
                    <a:pt x="335096" y="277368"/>
                    <a:pt x="379292" y="245364"/>
                    <a:pt x="402152" y="219456"/>
                  </a:cubicBezTo>
                  <a:cubicBezTo>
                    <a:pt x="425012" y="193548"/>
                    <a:pt x="440252" y="172212"/>
                    <a:pt x="447872" y="146304"/>
                  </a:cubicBezTo>
                  <a:cubicBezTo>
                    <a:pt x="455492" y="120396"/>
                    <a:pt x="449396" y="79248"/>
                    <a:pt x="447872" y="64008"/>
                  </a:cubicBezTo>
                  <a:cubicBezTo>
                    <a:pt x="446348" y="48768"/>
                    <a:pt x="441776" y="44196"/>
                    <a:pt x="438728" y="54864"/>
                  </a:cubicBezTo>
                  <a:cubicBezTo>
                    <a:pt x="435680" y="65532"/>
                    <a:pt x="435680" y="108204"/>
                    <a:pt x="429584" y="128016"/>
                  </a:cubicBezTo>
                  <a:cubicBezTo>
                    <a:pt x="423488" y="147828"/>
                    <a:pt x="418916" y="155448"/>
                    <a:pt x="402152" y="173736"/>
                  </a:cubicBezTo>
                  <a:cubicBezTo>
                    <a:pt x="385388" y="192024"/>
                    <a:pt x="345764" y="224028"/>
                    <a:pt x="329000" y="237744"/>
                  </a:cubicBezTo>
                  <a:cubicBezTo>
                    <a:pt x="312236" y="251460"/>
                    <a:pt x="318332" y="237744"/>
                    <a:pt x="301568" y="256032"/>
                  </a:cubicBezTo>
                  <a:cubicBezTo>
                    <a:pt x="284804" y="274320"/>
                    <a:pt x="242132" y="327660"/>
                    <a:pt x="228416" y="347472"/>
                  </a:cubicBezTo>
                  <a:cubicBezTo>
                    <a:pt x="214700" y="367284"/>
                    <a:pt x="228433" y="358287"/>
                    <a:pt x="219272" y="374904"/>
                  </a:cubicBezTo>
                  <a:cubicBezTo>
                    <a:pt x="210111" y="391521"/>
                    <a:pt x="165784" y="429731"/>
                    <a:pt x="173447" y="447174"/>
                  </a:cubicBezTo>
                  <a:lnTo>
                    <a:pt x="160825" y="593454"/>
                  </a:lnTo>
                  <a:cubicBezTo>
                    <a:pt x="160824" y="593454"/>
                    <a:pt x="169526" y="583963"/>
                    <a:pt x="160823" y="593454"/>
                  </a:cubicBezTo>
                  <a:lnTo>
                    <a:pt x="108610" y="650400"/>
                  </a:lnTo>
                  <a:lnTo>
                    <a:pt x="56394" y="707345"/>
                  </a:lnTo>
                  <a:lnTo>
                    <a:pt x="4179" y="764291"/>
                  </a:lnTo>
                  <a:lnTo>
                    <a:pt x="4179" y="764291"/>
                  </a:lnTo>
                  <a:cubicBezTo>
                    <a:pt x="0" y="764814"/>
                    <a:pt x="54544" y="847345"/>
                    <a:pt x="43770" y="853625"/>
                  </a:cubicBezTo>
                  <a:lnTo>
                    <a:pt x="43770" y="853625"/>
                  </a:lnTo>
                  <a:close/>
                </a:path>
              </a:pathLst>
            </a:custGeom>
            <a:solidFill>
              <a:srgbClr val="8DAA44"/>
            </a:solidFill>
            <a:ln w="6350" cap="flat" cmpd="sng" algn="ctr">
              <a:solidFill>
                <a:srgbClr val="663300"/>
              </a:solidFill>
              <a:prstDash val="solid"/>
            </a:ln>
            <a:effectLst/>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0" cap="none" spc="0" normalizeH="0" baseline="0" noProof="0" dirty="0">
                <a:ln>
                  <a:noFill/>
                </a:ln>
                <a:solidFill>
                  <a:prstClr val="white"/>
                </a:solidFill>
                <a:effectLst/>
                <a:uLnTx/>
                <a:uFillTx/>
                <a:latin typeface="News Gothic MT" panose="020B0503020103020203" pitchFamily="34" charset="0"/>
                <a:ea typeface="MS PGothic" charset="0"/>
                <a:cs typeface="+mn-cs"/>
              </a:endParaRPr>
            </a:p>
          </p:txBody>
        </p:sp>
        <p:sp>
          <p:nvSpPr>
            <p:cNvPr id="18" name="Freeform 213">
              <a:extLst>
                <a:ext uri="{FF2B5EF4-FFF2-40B4-BE49-F238E27FC236}">
                  <a16:creationId xmlns:a16="http://schemas.microsoft.com/office/drawing/2014/main" id="{AF80CF5B-FC17-4DD3-9778-CE10FACFBC43}"/>
                </a:ext>
              </a:extLst>
            </p:cNvPr>
            <p:cNvSpPr/>
            <p:nvPr/>
          </p:nvSpPr>
          <p:spPr>
            <a:xfrm>
              <a:off x="4746172" y="3239007"/>
              <a:ext cx="1351280" cy="1028192"/>
            </a:xfrm>
            <a:custGeom>
              <a:avLst/>
              <a:gdLst>
                <a:gd name="connsiteX0" fmla="*/ 454152 w 1021080"/>
                <a:gd name="connsiteY0" fmla="*/ 51816 h 1074420"/>
                <a:gd name="connsiteX1" fmla="*/ 335280 w 1021080"/>
                <a:gd name="connsiteY1" fmla="*/ 106680 h 1074420"/>
                <a:gd name="connsiteX2" fmla="*/ 207264 w 1021080"/>
                <a:gd name="connsiteY2" fmla="*/ 134112 h 1074420"/>
                <a:gd name="connsiteX3" fmla="*/ 60960 w 1021080"/>
                <a:gd name="connsiteY3" fmla="*/ 225552 h 1074420"/>
                <a:gd name="connsiteX4" fmla="*/ 6096 w 1021080"/>
                <a:gd name="connsiteY4" fmla="*/ 326136 h 1074420"/>
                <a:gd name="connsiteX5" fmla="*/ 24384 w 1021080"/>
                <a:gd name="connsiteY5" fmla="*/ 435864 h 1074420"/>
                <a:gd name="connsiteX6" fmla="*/ 115824 w 1021080"/>
                <a:gd name="connsiteY6" fmla="*/ 481584 h 1074420"/>
                <a:gd name="connsiteX7" fmla="*/ 225552 w 1021080"/>
                <a:gd name="connsiteY7" fmla="*/ 481584 h 1074420"/>
                <a:gd name="connsiteX8" fmla="*/ 408432 w 1021080"/>
                <a:gd name="connsiteY8" fmla="*/ 426720 h 1074420"/>
                <a:gd name="connsiteX9" fmla="*/ 490728 w 1021080"/>
                <a:gd name="connsiteY9" fmla="*/ 316992 h 1074420"/>
                <a:gd name="connsiteX10" fmla="*/ 545592 w 1021080"/>
                <a:gd name="connsiteY10" fmla="*/ 252984 h 1074420"/>
                <a:gd name="connsiteX11" fmla="*/ 637032 w 1021080"/>
                <a:gd name="connsiteY11" fmla="*/ 161544 h 1074420"/>
                <a:gd name="connsiteX12" fmla="*/ 637032 w 1021080"/>
                <a:gd name="connsiteY12" fmla="*/ 106680 h 1074420"/>
                <a:gd name="connsiteX13" fmla="*/ 691896 w 1021080"/>
                <a:gd name="connsiteY13" fmla="*/ 97536 h 1074420"/>
                <a:gd name="connsiteX14" fmla="*/ 746760 w 1021080"/>
                <a:gd name="connsiteY14" fmla="*/ 152400 h 1074420"/>
                <a:gd name="connsiteX15" fmla="*/ 819912 w 1021080"/>
                <a:gd name="connsiteY15" fmla="*/ 207264 h 1074420"/>
                <a:gd name="connsiteX16" fmla="*/ 911352 w 1021080"/>
                <a:gd name="connsiteY16" fmla="*/ 271272 h 1074420"/>
                <a:gd name="connsiteX17" fmla="*/ 957072 w 1021080"/>
                <a:gd name="connsiteY17" fmla="*/ 591312 h 1074420"/>
                <a:gd name="connsiteX18" fmla="*/ 929640 w 1021080"/>
                <a:gd name="connsiteY18" fmla="*/ 902208 h 1074420"/>
                <a:gd name="connsiteX19" fmla="*/ 847344 w 1021080"/>
                <a:gd name="connsiteY19" fmla="*/ 993648 h 1074420"/>
                <a:gd name="connsiteX20" fmla="*/ 847344 w 1021080"/>
                <a:gd name="connsiteY20" fmla="*/ 1066800 h 1074420"/>
                <a:gd name="connsiteX21" fmla="*/ 993648 w 1021080"/>
                <a:gd name="connsiteY21" fmla="*/ 947928 h 1074420"/>
                <a:gd name="connsiteX22" fmla="*/ 1011936 w 1021080"/>
                <a:gd name="connsiteY22" fmla="*/ 509016 h 1074420"/>
                <a:gd name="connsiteX23" fmla="*/ 1002792 w 1021080"/>
                <a:gd name="connsiteY23" fmla="*/ 252984 h 1074420"/>
                <a:gd name="connsiteX24" fmla="*/ 1002792 w 1021080"/>
                <a:gd name="connsiteY24" fmla="*/ 170688 h 1074420"/>
                <a:gd name="connsiteX25" fmla="*/ 938784 w 1021080"/>
                <a:gd name="connsiteY25" fmla="*/ 216408 h 1074420"/>
                <a:gd name="connsiteX26" fmla="*/ 893064 w 1021080"/>
                <a:gd name="connsiteY26" fmla="*/ 188976 h 1074420"/>
                <a:gd name="connsiteX27" fmla="*/ 847344 w 1021080"/>
                <a:gd name="connsiteY27" fmla="*/ 152400 h 1074420"/>
                <a:gd name="connsiteX28" fmla="*/ 792480 w 1021080"/>
                <a:gd name="connsiteY28" fmla="*/ 124968 h 1074420"/>
                <a:gd name="connsiteX29" fmla="*/ 765048 w 1021080"/>
                <a:gd name="connsiteY29" fmla="*/ 97536 h 1074420"/>
                <a:gd name="connsiteX30" fmla="*/ 737616 w 1021080"/>
                <a:gd name="connsiteY30" fmla="*/ 42672 h 1074420"/>
                <a:gd name="connsiteX31" fmla="*/ 691896 w 1021080"/>
                <a:gd name="connsiteY31" fmla="*/ 24384 h 1074420"/>
                <a:gd name="connsiteX32" fmla="*/ 627888 w 1021080"/>
                <a:gd name="connsiteY32" fmla="*/ 15240 h 1074420"/>
                <a:gd name="connsiteX33" fmla="*/ 627888 w 1021080"/>
                <a:gd name="connsiteY33" fmla="*/ 15240 h 1074420"/>
                <a:gd name="connsiteX34" fmla="*/ 536448 w 1021080"/>
                <a:gd name="connsiteY34" fmla="*/ 6096 h 1074420"/>
                <a:gd name="connsiteX35" fmla="*/ 454152 w 1021080"/>
                <a:gd name="connsiteY35" fmla="*/ 51816 h 1074420"/>
                <a:gd name="connsiteX0" fmla="*/ 454152 w 1014984"/>
                <a:gd name="connsiteY0" fmla="*/ 51816 h 1074420"/>
                <a:gd name="connsiteX1" fmla="*/ 335280 w 1014984"/>
                <a:gd name="connsiteY1" fmla="*/ 106680 h 1074420"/>
                <a:gd name="connsiteX2" fmla="*/ 207264 w 1014984"/>
                <a:gd name="connsiteY2" fmla="*/ 134112 h 1074420"/>
                <a:gd name="connsiteX3" fmla="*/ 60960 w 1014984"/>
                <a:gd name="connsiteY3" fmla="*/ 225552 h 1074420"/>
                <a:gd name="connsiteX4" fmla="*/ 6096 w 1014984"/>
                <a:gd name="connsiteY4" fmla="*/ 326136 h 1074420"/>
                <a:gd name="connsiteX5" fmla="*/ 24384 w 1014984"/>
                <a:gd name="connsiteY5" fmla="*/ 435864 h 1074420"/>
                <a:gd name="connsiteX6" fmla="*/ 115824 w 1014984"/>
                <a:gd name="connsiteY6" fmla="*/ 481584 h 1074420"/>
                <a:gd name="connsiteX7" fmla="*/ 225552 w 1014984"/>
                <a:gd name="connsiteY7" fmla="*/ 481584 h 1074420"/>
                <a:gd name="connsiteX8" fmla="*/ 408432 w 1014984"/>
                <a:gd name="connsiteY8" fmla="*/ 426720 h 1074420"/>
                <a:gd name="connsiteX9" fmla="*/ 490728 w 1014984"/>
                <a:gd name="connsiteY9" fmla="*/ 316992 h 1074420"/>
                <a:gd name="connsiteX10" fmla="*/ 545592 w 1014984"/>
                <a:gd name="connsiteY10" fmla="*/ 252984 h 1074420"/>
                <a:gd name="connsiteX11" fmla="*/ 637032 w 1014984"/>
                <a:gd name="connsiteY11" fmla="*/ 161544 h 1074420"/>
                <a:gd name="connsiteX12" fmla="*/ 637032 w 1014984"/>
                <a:gd name="connsiteY12" fmla="*/ 106680 h 1074420"/>
                <a:gd name="connsiteX13" fmla="*/ 691896 w 1014984"/>
                <a:gd name="connsiteY13" fmla="*/ 97536 h 1074420"/>
                <a:gd name="connsiteX14" fmla="*/ 746760 w 1014984"/>
                <a:gd name="connsiteY14" fmla="*/ 152400 h 1074420"/>
                <a:gd name="connsiteX15" fmla="*/ 819912 w 1014984"/>
                <a:gd name="connsiteY15" fmla="*/ 207264 h 1074420"/>
                <a:gd name="connsiteX16" fmla="*/ 911352 w 1014984"/>
                <a:gd name="connsiteY16" fmla="*/ 271272 h 1074420"/>
                <a:gd name="connsiteX17" fmla="*/ 957072 w 1014984"/>
                <a:gd name="connsiteY17" fmla="*/ 591312 h 1074420"/>
                <a:gd name="connsiteX18" fmla="*/ 929640 w 1014984"/>
                <a:gd name="connsiteY18" fmla="*/ 902208 h 1074420"/>
                <a:gd name="connsiteX19" fmla="*/ 847344 w 1014984"/>
                <a:gd name="connsiteY19" fmla="*/ 993648 h 1074420"/>
                <a:gd name="connsiteX20" fmla="*/ 990600 w 1014984"/>
                <a:gd name="connsiteY20" fmla="*/ 1066800 h 1074420"/>
                <a:gd name="connsiteX21" fmla="*/ 993648 w 1014984"/>
                <a:gd name="connsiteY21" fmla="*/ 947928 h 1074420"/>
                <a:gd name="connsiteX22" fmla="*/ 1011936 w 1014984"/>
                <a:gd name="connsiteY22" fmla="*/ 509016 h 1074420"/>
                <a:gd name="connsiteX23" fmla="*/ 1002792 w 1014984"/>
                <a:gd name="connsiteY23" fmla="*/ 252984 h 1074420"/>
                <a:gd name="connsiteX24" fmla="*/ 1002792 w 1014984"/>
                <a:gd name="connsiteY24" fmla="*/ 170688 h 1074420"/>
                <a:gd name="connsiteX25" fmla="*/ 938784 w 1014984"/>
                <a:gd name="connsiteY25" fmla="*/ 216408 h 1074420"/>
                <a:gd name="connsiteX26" fmla="*/ 893064 w 1014984"/>
                <a:gd name="connsiteY26" fmla="*/ 188976 h 1074420"/>
                <a:gd name="connsiteX27" fmla="*/ 847344 w 1014984"/>
                <a:gd name="connsiteY27" fmla="*/ 152400 h 1074420"/>
                <a:gd name="connsiteX28" fmla="*/ 792480 w 1014984"/>
                <a:gd name="connsiteY28" fmla="*/ 124968 h 1074420"/>
                <a:gd name="connsiteX29" fmla="*/ 765048 w 1014984"/>
                <a:gd name="connsiteY29" fmla="*/ 97536 h 1074420"/>
                <a:gd name="connsiteX30" fmla="*/ 737616 w 1014984"/>
                <a:gd name="connsiteY30" fmla="*/ 42672 h 1074420"/>
                <a:gd name="connsiteX31" fmla="*/ 691896 w 1014984"/>
                <a:gd name="connsiteY31" fmla="*/ 24384 h 1074420"/>
                <a:gd name="connsiteX32" fmla="*/ 627888 w 1014984"/>
                <a:gd name="connsiteY32" fmla="*/ 15240 h 1074420"/>
                <a:gd name="connsiteX33" fmla="*/ 627888 w 1014984"/>
                <a:gd name="connsiteY33" fmla="*/ 15240 h 1074420"/>
                <a:gd name="connsiteX34" fmla="*/ 536448 w 1014984"/>
                <a:gd name="connsiteY34" fmla="*/ 6096 h 1074420"/>
                <a:gd name="connsiteX35" fmla="*/ 454152 w 1014984"/>
                <a:gd name="connsiteY35" fmla="*/ 51816 h 1074420"/>
                <a:gd name="connsiteX0" fmla="*/ 454152 w 1013460"/>
                <a:gd name="connsiteY0" fmla="*/ 51816 h 1094232"/>
                <a:gd name="connsiteX1" fmla="*/ 335280 w 1013460"/>
                <a:gd name="connsiteY1" fmla="*/ 106680 h 1094232"/>
                <a:gd name="connsiteX2" fmla="*/ 207264 w 1013460"/>
                <a:gd name="connsiteY2" fmla="*/ 134112 h 1094232"/>
                <a:gd name="connsiteX3" fmla="*/ 60960 w 1013460"/>
                <a:gd name="connsiteY3" fmla="*/ 225552 h 1094232"/>
                <a:gd name="connsiteX4" fmla="*/ 6096 w 1013460"/>
                <a:gd name="connsiteY4" fmla="*/ 326136 h 1094232"/>
                <a:gd name="connsiteX5" fmla="*/ 24384 w 1013460"/>
                <a:gd name="connsiteY5" fmla="*/ 435864 h 1094232"/>
                <a:gd name="connsiteX6" fmla="*/ 115824 w 1013460"/>
                <a:gd name="connsiteY6" fmla="*/ 481584 h 1094232"/>
                <a:gd name="connsiteX7" fmla="*/ 225552 w 1013460"/>
                <a:gd name="connsiteY7" fmla="*/ 481584 h 1094232"/>
                <a:gd name="connsiteX8" fmla="*/ 408432 w 1013460"/>
                <a:gd name="connsiteY8" fmla="*/ 426720 h 1094232"/>
                <a:gd name="connsiteX9" fmla="*/ 490728 w 1013460"/>
                <a:gd name="connsiteY9" fmla="*/ 316992 h 1094232"/>
                <a:gd name="connsiteX10" fmla="*/ 545592 w 1013460"/>
                <a:gd name="connsiteY10" fmla="*/ 252984 h 1094232"/>
                <a:gd name="connsiteX11" fmla="*/ 637032 w 1013460"/>
                <a:gd name="connsiteY11" fmla="*/ 161544 h 1094232"/>
                <a:gd name="connsiteX12" fmla="*/ 637032 w 1013460"/>
                <a:gd name="connsiteY12" fmla="*/ 106680 h 1094232"/>
                <a:gd name="connsiteX13" fmla="*/ 691896 w 1013460"/>
                <a:gd name="connsiteY13" fmla="*/ 97536 h 1094232"/>
                <a:gd name="connsiteX14" fmla="*/ 746760 w 1013460"/>
                <a:gd name="connsiteY14" fmla="*/ 152400 h 1094232"/>
                <a:gd name="connsiteX15" fmla="*/ 819912 w 1013460"/>
                <a:gd name="connsiteY15" fmla="*/ 207264 h 1094232"/>
                <a:gd name="connsiteX16" fmla="*/ 911352 w 1013460"/>
                <a:gd name="connsiteY16" fmla="*/ 271272 h 1094232"/>
                <a:gd name="connsiteX17" fmla="*/ 957072 w 1013460"/>
                <a:gd name="connsiteY17" fmla="*/ 591312 h 1094232"/>
                <a:gd name="connsiteX18" fmla="*/ 929640 w 1013460"/>
                <a:gd name="connsiteY18" fmla="*/ 902208 h 1094232"/>
                <a:gd name="connsiteX19" fmla="*/ 914400 w 1013460"/>
                <a:gd name="connsiteY19" fmla="*/ 1066800 h 1094232"/>
                <a:gd name="connsiteX20" fmla="*/ 990600 w 1013460"/>
                <a:gd name="connsiteY20" fmla="*/ 1066800 h 1094232"/>
                <a:gd name="connsiteX21" fmla="*/ 993648 w 1013460"/>
                <a:gd name="connsiteY21" fmla="*/ 947928 h 1094232"/>
                <a:gd name="connsiteX22" fmla="*/ 1011936 w 1013460"/>
                <a:gd name="connsiteY22" fmla="*/ 509016 h 1094232"/>
                <a:gd name="connsiteX23" fmla="*/ 1002792 w 1013460"/>
                <a:gd name="connsiteY23" fmla="*/ 252984 h 1094232"/>
                <a:gd name="connsiteX24" fmla="*/ 1002792 w 1013460"/>
                <a:gd name="connsiteY24" fmla="*/ 170688 h 1094232"/>
                <a:gd name="connsiteX25" fmla="*/ 938784 w 1013460"/>
                <a:gd name="connsiteY25" fmla="*/ 216408 h 1094232"/>
                <a:gd name="connsiteX26" fmla="*/ 893064 w 1013460"/>
                <a:gd name="connsiteY26" fmla="*/ 188976 h 1094232"/>
                <a:gd name="connsiteX27" fmla="*/ 847344 w 1013460"/>
                <a:gd name="connsiteY27" fmla="*/ 152400 h 1094232"/>
                <a:gd name="connsiteX28" fmla="*/ 792480 w 1013460"/>
                <a:gd name="connsiteY28" fmla="*/ 124968 h 1094232"/>
                <a:gd name="connsiteX29" fmla="*/ 765048 w 1013460"/>
                <a:gd name="connsiteY29" fmla="*/ 97536 h 1094232"/>
                <a:gd name="connsiteX30" fmla="*/ 737616 w 1013460"/>
                <a:gd name="connsiteY30" fmla="*/ 42672 h 1094232"/>
                <a:gd name="connsiteX31" fmla="*/ 691896 w 1013460"/>
                <a:gd name="connsiteY31" fmla="*/ 24384 h 1094232"/>
                <a:gd name="connsiteX32" fmla="*/ 627888 w 1013460"/>
                <a:gd name="connsiteY32" fmla="*/ 15240 h 1094232"/>
                <a:gd name="connsiteX33" fmla="*/ 627888 w 1013460"/>
                <a:gd name="connsiteY33" fmla="*/ 15240 h 1094232"/>
                <a:gd name="connsiteX34" fmla="*/ 536448 w 1013460"/>
                <a:gd name="connsiteY34" fmla="*/ 6096 h 1094232"/>
                <a:gd name="connsiteX35" fmla="*/ 454152 w 1013460"/>
                <a:gd name="connsiteY35" fmla="*/ 51816 h 1094232"/>
                <a:gd name="connsiteX0" fmla="*/ 454152 w 1016508"/>
                <a:gd name="connsiteY0" fmla="*/ 51816 h 1073912"/>
                <a:gd name="connsiteX1" fmla="*/ 335280 w 1016508"/>
                <a:gd name="connsiteY1" fmla="*/ 106680 h 1073912"/>
                <a:gd name="connsiteX2" fmla="*/ 207264 w 1016508"/>
                <a:gd name="connsiteY2" fmla="*/ 134112 h 1073912"/>
                <a:gd name="connsiteX3" fmla="*/ 60960 w 1016508"/>
                <a:gd name="connsiteY3" fmla="*/ 225552 h 1073912"/>
                <a:gd name="connsiteX4" fmla="*/ 6096 w 1016508"/>
                <a:gd name="connsiteY4" fmla="*/ 326136 h 1073912"/>
                <a:gd name="connsiteX5" fmla="*/ 24384 w 1016508"/>
                <a:gd name="connsiteY5" fmla="*/ 435864 h 1073912"/>
                <a:gd name="connsiteX6" fmla="*/ 115824 w 1016508"/>
                <a:gd name="connsiteY6" fmla="*/ 481584 h 1073912"/>
                <a:gd name="connsiteX7" fmla="*/ 225552 w 1016508"/>
                <a:gd name="connsiteY7" fmla="*/ 481584 h 1073912"/>
                <a:gd name="connsiteX8" fmla="*/ 408432 w 1016508"/>
                <a:gd name="connsiteY8" fmla="*/ 426720 h 1073912"/>
                <a:gd name="connsiteX9" fmla="*/ 490728 w 1016508"/>
                <a:gd name="connsiteY9" fmla="*/ 316992 h 1073912"/>
                <a:gd name="connsiteX10" fmla="*/ 545592 w 1016508"/>
                <a:gd name="connsiteY10" fmla="*/ 252984 h 1073912"/>
                <a:gd name="connsiteX11" fmla="*/ 637032 w 1016508"/>
                <a:gd name="connsiteY11" fmla="*/ 161544 h 1073912"/>
                <a:gd name="connsiteX12" fmla="*/ 637032 w 1016508"/>
                <a:gd name="connsiteY12" fmla="*/ 106680 h 1073912"/>
                <a:gd name="connsiteX13" fmla="*/ 691896 w 1016508"/>
                <a:gd name="connsiteY13" fmla="*/ 97536 h 1073912"/>
                <a:gd name="connsiteX14" fmla="*/ 746760 w 1016508"/>
                <a:gd name="connsiteY14" fmla="*/ 152400 h 1073912"/>
                <a:gd name="connsiteX15" fmla="*/ 819912 w 1016508"/>
                <a:gd name="connsiteY15" fmla="*/ 207264 h 1073912"/>
                <a:gd name="connsiteX16" fmla="*/ 911352 w 1016508"/>
                <a:gd name="connsiteY16" fmla="*/ 271272 h 1073912"/>
                <a:gd name="connsiteX17" fmla="*/ 957072 w 1016508"/>
                <a:gd name="connsiteY17" fmla="*/ 591312 h 1073912"/>
                <a:gd name="connsiteX18" fmla="*/ 929640 w 1016508"/>
                <a:gd name="connsiteY18" fmla="*/ 902208 h 1073912"/>
                <a:gd name="connsiteX19" fmla="*/ 838200 w 1016508"/>
                <a:gd name="connsiteY19" fmla="*/ 990600 h 1073912"/>
                <a:gd name="connsiteX20" fmla="*/ 990600 w 1016508"/>
                <a:gd name="connsiteY20" fmla="*/ 1066800 h 1073912"/>
                <a:gd name="connsiteX21" fmla="*/ 993648 w 1016508"/>
                <a:gd name="connsiteY21" fmla="*/ 947928 h 1073912"/>
                <a:gd name="connsiteX22" fmla="*/ 1011936 w 1016508"/>
                <a:gd name="connsiteY22" fmla="*/ 509016 h 1073912"/>
                <a:gd name="connsiteX23" fmla="*/ 1002792 w 1016508"/>
                <a:gd name="connsiteY23" fmla="*/ 252984 h 1073912"/>
                <a:gd name="connsiteX24" fmla="*/ 1002792 w 1016508"/>
                <a:gd name="connsiteY24" fmla="*/ 170688 h 1073912"/>
                <a:gd name="connsiteX25" fmla="*/ 938784 w 1016508"/>
                <a:gd name="connsiteY25" fmla="*/ 216408 h 1073912"/>
                <a:gd name="connsiteX26" fmla="*/ 893064 w 1016508"/>
                <a:gd name="connsiteY26" fmla="*/ 188976 h 1073912"/>
                <a:gd name="connsiteX27" fmla="*/ 847344 w 1016508"/>
                <a:gd name="connsiteY27" fmla="*/ 152400 h 1073912"/>
                <a:gd name="connsiteX28" fmla="*/ 792480 w 1016508"/>
                <a:gd name="connsiteY28" fmla="*/ 124968 h 1073912"/>
                <a:gd name="connsiteX29" fmla="*/ 765048 w 1016508"/>
                <a:gd name="connsiteY29" fmla="*/ 97536 h 1073912"/>
                <a:gd name="connsiteX30" fmla="*/ 737616 w 1016508"/>
                <a:gd name="connsiteY30" fmla="*/ 42672 h 1073912"/>
                <a:gd name="connsiteX31" fmla="*/ 691896 w 1016508"/>
                <a:gd name="connsiteY31" fmla="*/ 24384 h 1073912"/>
                <a:gd name="connsiteX32" fmla="*/ 627888 w 1016508"/>
                <a:gd name="connsiteY32" fmla="*/ 15240 h 1073912"/>
                <a:gd name="connsiteX33" fmla="*/ 627888 w 1016508"/>
                <a:gd name="connsiteY33" fmla="*/ 15240 h 1073912"/>
                <a:gd name="connsiteX34" fmla="*/ 536448 w 1016508"/>
                <a:gd name="connsiteY34" fmla="*/ 6096 h 1073912"/>
                <a:gd name="connsiteX35" fmla="*/ 454152 w 1016508"/>
                <a:gd name="connsiteY35" fmla="*/ 51816 h 1073912"/>
                <a:gd name="connsiteX0" fmla="*/ 454152 w 1013460"/>
                <a:gd name="connsiteY0" fmla="*/ 51816 h 1028192"/>
                <a:gd name="connsiteX1" fmla="*/ 335280 w 1013460"/>
                <a:gd name="connsiteY1" fmla="*/ 106680 h 1028192"/>
                <a:gd name="connsiteX2" fmla="*/ 207264 w 1013460"/>
                <a:gd name="connsiteY2" fmla="*/ 134112 h 1028192"/>
                <a:gd name="connsiteX3" fmla="*/ 60960 w 1013460"/>
                <a:gd name="connsiteY3" fmla="*/ 225552 h 1028192"/>
                <a:gd name="connsiteX4" fmla="*/ 6096 w 1013460"/>
                <a:gd name="connsiteY4" fmla="*/ 326136 h 1028192"/>
                <a:gd name="connsiteX5" fmla="*/ 24384 w 1013460"/>
                <a:gd name="connsiteY5" fmla="*/ 435864 h 1028192"/>
                <a:gd name="connsiteX6" fmla="*/ 115824 w 1013460"/>
                <a:gd name="connsiteY6" fmla="*/ 481584 h 1028192"/>
                <a:gd name="connsiteX7" fmla="*/ 225552 w 1013460"/>
                <a:gd name="connsiteY7" fmla="*/ 481584 h 1028192"/>
                <a:gd name="connsiteX8" fmla="*/ 408432 w 1013460"/>
                <a:gd name="connsiteY8" fmla="*/ 426720 h 1028192"/>
                <a:gd name="connsiteX9" fmla="*/ 490728 w 1013460"/>
                <a:gd name="connsiteY9" fmla="*/ 316992 h 1028192"/>
                <a:gd name="connsiteX10" fmla="*/ 545592 w 1013460"/>
                <a:gd name="connsiteY10" fmla="*/ 252984 h 1028192"/>
                <a:gd name="connsiteX11" fmla="*/ 637032 w 1013460"/>
                <a:gd name="connsiteY11" fmla="*/ 161544 h 1028192"/>
                <a:gd name="connsiteX12" fmla="*/ 637032 w 1013460"/>
                <a:gd name="connsiteY12" fmla="*/ 106680 h 1028192"/>
                <a:gd name="connsiteX13" fmla="*/ 691896 w 1013460"/>
                <a:gd name="connsiteY13" fmla="*/ 97536 h 1028192"/>
                <a:gd name="connsiteX14" fmla="*/ 746760 w 1013460"/>
                <a:gd name="connsiteY14" fmla="*/ 152400 h 1028192"/>
                <a:gd name="connsiteX15" fmla="*/ 819912 w 1013460"/>
                <a:gd name="connsiteY15" fmla="*/ 207264 h 1028192"/>
                <a:gd name="connsiteX16" fmla="*/ 911352 w 1013460"/>
                <a:gd name="connsiteY16" fmla="*/ 271272 h 1028192"/>
                <a:gd name="connsiteX17" fmla="*/ 957072 w 1013460"/>
                <a:gd name="connsiteY17" fmla="*/ 591312 h 1028192"/>
                <a:gd name="connsiteX18" fmla="*/ 929640 w 1013460"/>
                <a:gd name="connsiteY18" fmla="*/ 902208 h 1028192"/>
                <a:gd name="connsiteX19" fmla="*/ 838200 w 1013460"/>
                <a:gd name="connsiteY19" fmla="*/ 990600 h 1028192"/>
                <a:gd name="connsiteX20" fmla="*/ 914400 w 1013460"/>
                <a:gd name="connsiteY20" fmla="*/ 990600 h 1028192"/>
                <a:gd name="connsiteX21" fmla="*/ 993648 w 1013460"/>
                <a:gd name="connsiteY21" fmla="*/ 947928 h 1028192"/>
                <a:gd name="connsiteX22" fmla="*/ 1011936 w 1013460"/>
                <a:gd name="connsiteY22" fmla="*/ 509016 h 1028192"/>
                <a:gd name="connsiteX23" fmla="*/ 1002792 w 1013460"/>
                <a:gd name="connsiteY23" fmla="*/ 252984 h 1028192"/>
                <a:gd name="connsiteX24" fmla="*/ 1002792 w 1013460"/>
                <a:gd name="connsiteY24" fmla="*/ 170688 h 1028192"/>
                <a:gd name="connsiteX25" fmla="*/ 938784 w 1013460"/>
                <a:gd name="connsiteY25" fmla="*/ 216408 h 1028192"/>
                <a:gd name="connsiteX26" fmla="*/ 893064 w 1013460"/>
                <a:gd name="connsiteY26" fmla="*/ 188976 h 1028192"/>
                <a:gd name="connsiteX27" fmla="*/ 847344 w 1013460"/>
                <a:gd name="connsiteY27" fmla="*/ 152400 h 1028192"/>
                <a:gd name="connsiteX28" fmla="*/ 792480 w 1013460"/>
                <a:gd name="connsiteY28" fmla="*/ 124968 h 1028192"/>
                <a:gd name="connsiteX29" fmla="*/ 765048 w 1013460"/>
                <a:gd name="connsiteY29" fmla="*/ 97536 h 1028192"/>
                <a:gd name="connsiteX30" fmla="*/ 737616 w 1013460"/>
                <a:gd name="connsiteY30" fmla="*/ 42672 h 1028192"/>
                <a:gd name="connsiteX31" fmla="*/ 691896 w 1013460"/>
                <a:gd name="connsiteY31" fmla="*/ 24384 h 1028192"/>
                <a:gd name="connsiteX32" fmla="*/ 627888 w 1013460"/>
                <a:gd name="connsiteY32" fmla="*/ 15240 h 1028192"/>
                <a:gd name="connsiteX33" fmla="*/ 627888 w 1013460"/>
                <a:gd name="connsiteY33" fmla="*/ 15240 h 1028192"/>
                <a:gd name="connsiteX34" fmla="*/ 536448 w 1013460"/>
                <a:gd name="connsiteY34" fmla="*/ 6096 h 1028192"/>
                <a:gd name="connsiteX35" fmla="*/ 454152 w 1013460"/>
                <a:gd name="connsiteY35" fmla="*/ 51816 h 1028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013460" h="1028192">
                  <a:moveTo>
                    <a:pt x="454152" y="51816"/>
                  </a:moveTo>
                  <a:cubicBezTo>
                    <a:pt x="420624" y="68580"/>
                    <a:pt x="376428" y="92964"/>
                    <a:pt x="335280" y="106680"/>
                  </a:cubicBezTo>
                  <a:cubicBezTo>
                    <a:pt x="294132" y="120396"/>
                    <a:pt x="252984" y="114300"/>
                    <a:pt x="207264" y="134112"/>
                  </a:cubicBezTo>
                  <a:cubicBezTo>
                    <a:pt x="161544" y="153924"/>
                    <a:pt x="94488" y="193548"/>
                    <a:pt x="60960" y="225552"/>
                  </a:cubicBezTo>
                  <a:cubicBezTo>
                    <a:pt x="27432" y="257556"/>
                    <a:pt x="12192" y="291084"/>
                    <a:pt x="6096" y="326136"/>
                  </a:cubicBezTo>
                  <a:cubicBezTo>
                    <a:pt x="0" y="361188"/>
                    <a:pt x="6096" y="409956"/>
                    <a:pt x="24384" y="435864"/>
                  </a:cubicBezTo>
                  <a:cubicBezTo>
                    <a:pt x="42672" y="461772"/>
                    <a:pt x="82296" y="473964"/>
                    <a:pt x="115824" y="481584"/>
                  </a:cubicBezTo>
                  <a:cubicBezTo>
                    <a:pt x="149352" y="489204"/>
                    <a:pt x="176784" y="490728"/>
                    <a:pt x="225552" y="481584"/>
                  </a:cubicBezTo>
                  <a:cubicBezTo>
                    <a:pt x="274320" y="472440"/>
                    <a:pt x="364236" y="454152"/>
                    <a:pt x="408432" y="426720"/>
                  </a:cubicBezTo>
                  <a:cubicBezTo>
                    <a:pt x="452628" y="399288"/>
                    <a:pt x="467868" y="345948"/>
                    <a:pt x="490728" y="316992"/>
                  </a:cubicBezTo>
                  <a:cubicBezTo>
                    <a:pt x="513588" y="288036"/>
                    <a:pt x="521208" y="278892"/>
                    <a:pt x="545592" y="252984"/>
                  </a:cubicBezTo>
                  <a:cubicBezTo>
                    <a:pt x="569976" y="227076"/>
                    <a:pt x="621792" y="185928"/>
                    <a:pt x="637032" y="161544"/>
                  </a:cubicBezTo>
                  <a:cubicBezTo>
                    <a:pt x="652272" y="137160"/>
                    <a:pt x="627888" y="117348"/>
                    <a:pt x="637032" y="106680"/>
                  </a:cubicBezTo>
                  <a:cubicBezTo>
                    <a:pt x="646176" y="96012"/>
                    <a:pt x="673608" y="89916"/>
                    <a:pt x="691896" y="97536"/>
                  </a:cubicBezTo>
                  <a:cubicBezTo>
                    <a:pt x="710184" y="105156"/>
                    <a:pt x="725424" y="134112"/>
                    <a:pt x="746760" y="152400"/>
                  </a:cubicBezTo>
                  <a:cubicBezTo>
                    <a:pt x="768096" y="170688"/>
                    <a:pt x="792480" y="187452"/>
                    <a:pt x="819912" y="207264"/>
                  </a:cubicBezTo>
                  <a:cubicBezTo>
                    <a:pt x="847344" y="227076"/>
                    <a:pt x="888492" y="207264"/>
                    <a:pt x="911352" y="271272"/>
                  </a:cubicBezTo>
                  <a:cubicBezTo>
                    <a:pt x="934212" y="335280"/>
                    <a:pt x="954024" y="486156"/>
                    <a:pt x="957072" y="591312"/>
                  </a:cubicBezTo>
                  <a:cubicBezTo>
                    <a:pt x="960120" y="696468"/>
                    <a:pt x="949452" y="835660"/>
                    <a:pt x="929640" y="902208"/>
                  </a:cubicBezTo>
                  <a:cubicBezTo>
                    <a:pt x="909828" y="968756"/>
                    <a:pt x="840740" y="975868"/>
                    <a:pt x="838200" y="990600"/>
                  </a:cubicBezTo>
                  <a:cubicBezTo>
                    <a:pt x="835660" y="1005332"/>
                    <a:pt x="888492" y="997712"/>
                    <a:pt x="914400" y="990600"/>
                  </a:cubicBezTo>
                  <a:cubicBezTo>
                    <a:pt x="940308" y="983488"/>
                    <a:pt x="977392" y="1028192"/>
                    <a:pt x="993648" y="947928"/>
                  </a:cubicBezTo>
                  <a:cubicBezTo>
                    <a:pt x="1009904" y="867664"/>
                    <a:pt x="1010412" y="624840"/>
                    <a:pt x="1011936" y="509016"/>
                  </a:cubicBezTo>
                  <a:cubicBezTo>
                    <a:pt x="1013460" y="393192"/>
                    <a:pt x="1004316" y="309372"/>
                    <a:pt x="1002792" y="252984"/>
                  </a:cubicBezTo>
                  <a:cubicBezTo>
                    <a:pt x="1001268" y="196596"/>
                    <a:pt x="1013460" y="176784"/>
                    <a:pt x="1002792" y="170688"/>
                  </a:cubicBezTo>
                  <a:cubicBezTo>
                    <a:pt x="992124" y="164592"/>
                    <a:pt x="957072" y="213360"/>
                    <a:pt x="938784" y="216408"/>
                  </a:cubicBezTo>
                  <a:cubicBezTo>
                    <a:pt x="920496" y="219456"/>
                    <a:pt x="908304" y="199644"/>
                    <a:pt x="893064" y="188976"/>
                  </a:cubicBezTo>
                  <a:cubicBezTo>
                    <a:pt x="877824" y="178308"/>
                    <a:pt x="864108" y="163068"/>
                    <a:pt x="847344" y="152400"/>
                  </a:cubicBezTo>
                  <a:cubicBezTo>
                    <a:pt x="830580" y="141732"/>
                    <a:pt x="806196" y="134112"/>
                    <a:pt x="792480" y="124968"/>
                  </a:cubicBezTo>
                  <a:cubicBezTo>
                    <a:pt x="778764" y="115824"/>
                    <a:pt x="774192" y="111252"/>
                    <a:pt x="765048" y="97536"/>
                  </a:cubicBezTo>
                  <a:cubicBezTo>
                    <a:pt x="755904" y="83820"/>
                    <a:pt x="749808" y="54864"/>
                    <a:pt x="737616" y="42672"/>
                  </a:cubicBezTo>
                  <a:cubicBezTo>
                    <a:pt x="725424" y="30480"/>
                    <a:pt x="710184" y="28956"/>
                    <a:pt x="691896" y="24384"/>
                  </a:cubicBezTo>
                  <a:cubicBezTo>
                    <a:pt x="673608" y="19812"/>
                    <a:pt x="627888" y="15240"/>
                    <a:pt x="627888" y="15240"/>
                  </a:cubicBezTo>
                  <a:lnTo>
                    <a:pt x="627888" y="15240"/>
                  </a:lnTo>
                  <a:cubicBezTo>
                    <a:pt x="612648" y="13716"/>
                    <a:pt x="566928" y="0"/>
                    <a:pt x="536448" y="6096"/>
                  </a:cubicBezTo>
                  <a:cubicBezTo>
                    <a:pt x="505968" y="12192"/>
                    <a:pt x="487680" y="35052"/>
                    <a:pt x="454152" y="51816"/>
                  </a:cubicBezTo>
                  <a:close/>
                </a:path>
              </a:pathLst>
            </a:custGeom>
            <a:gradFill flip="none" rotWithShape="1">
              <a:gsLst>
                <a:gs pos="0">
                  <a:srgbClr val="9BBB59">
                    <a:lumMod val="50000"/>
                  </a:srgbClr>
                </a:gs>
                <a:gs pos="50000">
                  <a:srgbClr val="8DAA44">
                    <a:shade val="67500"/>
                    <a:satMod val="115000"/>
                  </a:srgbClr>
                </a:gs>
                <a:gs pos="100000">
                  <a:srgbClr val="8DAA44">
                    <a:shade val="100000"/>
                    <a:satMod val="115000"/>
                  </a:srgbClr>
                </a:gs>
              </a:gsLst>
              <a:path path="circle">
                <a:fillToRect r="100000" b="100000"/>
              </a:path>
              <a:tileRect l="-100000" t="-100000"/>
            </a:gradFill>
            <a:ln w="6350" cap="flat" cmpd="sng" algn="ctr">
              <a:solidFill>
                <a:srgbClr val="C0504D">
                  <a:lumMod val="75000"/>
                </a:srgbClr>
              </a:solidFill>
              <a:prstDash val="solid"/>
            </a:ln>
            <a:effectLst/>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0" cap="none" spc="0" normalizeH="0" baseline="0" noProof="0" dirty="0">
                <a:ln>
                  <a:noFill/>
                </a:ln>
                <a:solidFill>
                  <a:prstClr val="white"/>
                </a:solidFill>
                <a:effectLst/>
                <a:uLnTx/>
                <a:uFillTx/>
                <a:latin typeface="News Gothic MT" panose="020B0503020103020203" pitchFamily="34" charset="0"/>
                <a:ea typeface="MS PGothic" charset="0"/>
                <a:cs typeface="+mn-cs"/>
              </a:endParaRPr>
            </a:p>
          </p:txBody>
        </p:sp>
        <p:sp>
          <p:nvSpPr>
            <p:cNvPr id="19" name="Freeform 214">
              <a:extLst>
                <a:ext uri="{FF2B5EF4-FFF2-40B4-BE49-F238E27FC236}">
                  <a16:creationId xmlns:a16="http://schemas.microsoft.com/office/drawing/2014/main" id="{AA0B98F3-0575-4BBC-B28B-5CDA91208A71}"/>
                </a:ext>
              </a:extLst>
            </p:cNvPr>
            <p:cNvSpPr/>
            <p:nvPr/>
          </p:nvSpPr>
          <p:spPr>
            <a:xfrm rot="21159143" flipH="1">
              <a:off x="5578737" y="2508323"/>
              <a:ext cx="200665" cy="151540"/>
            </a:xfrm>
            <a:custGeom>
              <a:avLst/>
              <a:gdLst>
                <a:gd name="connsiteX0" fmla="*/ 19812 w 1226820"/>
                <a:gd name="connsiteY0" fmla="*/ 841248 h 864108"/>
                <a:gd name="connsiteX1" fmla="*/ 92964 w 1226820"/>
                <a:gd name="connsiteY1" fmla="*/ 649224 h 864108"/>
                <a:gd name="connsiteX2" fmla="*/ 193548 w 1226820"/>
                <a:gd name="connsiteY2" fmla="*/ 548640 h 864108"/>
                <a:gd name="connsiteX3" fmla="*/ 321564 w 1226820"/>
                <a:gd name="connsiteY3" fmla="*/ 493776 h 864108"/>
                <a:gd name="connsiteX4" fmla="*/ 422148 w 1226820"/>
                <a:gd name="connsiteY4" fmla="*/ 466344 h 864108"/>
                <a:gd name="connsiteX5" fmla="*/ 522732 w 1226820"/>
                <a:gd name="connsiteY5" fmla="*/ 384048 h 864108"/>
                <a:gd name="connsiteX6" fmla="*/ 714756 w 1226820"/>
                <a:gd name="connsiteY6" fmla="*/ 301752 h 864108"/>
                <a:gd name="connsiteX7" fmla="*/ 797052 w 1226820"/>
                <a:gd name="connsiteY7" fmla="*/ 192024 h 864108"/>
                <a:gd name="connsiteX8" fmla="*/ 943356 w 1226820"/>
                <a:gd name="connsiteY8" fmla="*/ 155448 h 864108"/>
                <a:gd name="connsiteX9" fmla="*/ 989076 w 1226820"/>
                <a:gd name="connsiteY9" fmla="*/ 155448 h 864108"/>
                <a:gd name="connsiteX10" fmla="*/ 1025652 w 1226820"/>
                <a:gd name="connsiteY10" fmla="*/ 137160 h 864108"/>
                <a:gd name="connsiteX11" fmla="*/ 979932 w 1226820"/>
                <a:gd name="connsiteY11" fmla="*/ 137160 h 864108"/>
                <a:gd name="connsiteX12" fmla="*/ 888492 w 1226820"/>
                <a:gd name="connsiteY12" fmla="*/ 137160 h 864108"/>
                <a:gd name="connsiteX13" fmla="*/ 833628 w 1226820"/>
                <a:gd name="connsiteY13" fmla="*/ 146304 h 864108"/>
                <a:gd name="connsiteX14" fmla="*/ 824484 w 1226820"/>
                <a:gd name="connsiteY14" fmla="*/ 155448 h 864108"/>
                <a:gd name="connsiteX15" fmla="*/ 806196 w 1226820"/>
                <a:gd name="connsiteY15" fmla="*/ 146304 h 864108"/>
                <a:gd name="connsiteX16" fmla="*/ 934212 w 1226820"/>
                <a:gd name="connsiteY16" fmla="*/ 91440 h 864108"/>
                <a:gd name="connsiteX17" fmla="*/ 989076 w 1226820"/>
                <a:gd name="connsiteY17" fmla="*/ 91440 h 864108"/>
                <a:gd name="connsiteX18" fmla="*/ 1080516 w 1226820"/>
                <a:gd name="connsiteY18" fmla="*/ 82296 h 864108"/>
                <a:gd name="connsiteX19" fmla="*/ 1208532 w 1226820"/>
                <a:gd name="connsiteY19" fmla="*/ 27432 h 864108"/>
                <a:gd name="connsiteX20" fmla="*/ 1190244 w 1226820"/>
                <a:gd name="connsiteY20" fmla="*/ 0 h 864108"/>
                <a:gd name="connsiteX21" fmla="*/ 1153668 w 1226820"/>
                <a:gd name="connsiteY21" fmla="*/ 27432 h 864108"/>
                <a:gd name="connsiteX22" fmla="*/ 1117092 w 1226820"/>
                <a:gd name="connsiteY22" fmla="*/ 36576 h 864108"/>
                <a:gd name="connsiteX23" fmla="*/ 1043940 w 1226820"/>
                <a:gd name="connsiteY23" fmla="*/ 64008 h 864108"/>
                <a:gd name="connsiteX24" fmla="*/ 989076 w 1226820"/>
                <a:gd name="connsiteY24" fmla="*/ 64008 h 864108"/>
                <a:gd name="connsiteX25" fmla="*/ 879348 w 1226820"/>
                <a:gd name="connsiteY25" fmla="*/ 64008 h 864108"/>
                <a:gd name="connsiteX26" fmla="*/ 824484 w 1226820"/>
                <a:gd name="connsiteY26" fmla="*/ 100584 h 864108"/>
                <a:gd name="connsiteX27" fmla="*/ 787908 w 1226820"/>
                <a:gd name="connsiteY27" fmla="*/ 146304 h 864108"/>
                <a:gd name="connsiteX28" fmla="*/ 742188 w 1226820"/>
                <a:gd name="connsiteY28" fmla="*/ 182880 h 864108"/>
                <a:gd name="connsiteX29" fmla="*/ 696468 w 1226820"/>
                <a:gd name="connsiteY29" fmla="*/ 256032 h 864108"/>
                <a:gd name="connsiteX30" fmla="*/ 623316 w 1226820"/>
                <a:gd name="connsiteY30" fmla="*/ 301752 h 864108"/>
                <a:gd name="connsiteX31" fmla="*/ 522732 w 1226820"/>
                <a:gd name="connsiteY31" fmla="*/ 347472 h 864108"/>
                <a:gd name="connsiteX32" fmla="*/ 486156 w 1226820"/>
                <a:gd name="connsiteY32" fmla="*/ 374904 h 864108"/>
                <a:gd name="connsiteX33" fmla="*/ 440436 w 1226820"/>
                <a:gd name="connsiteY33" fmla="*/ 402336 h 864108"/>
                <a:gd name="connsiteX34" fmla="*/ 422148 w 1226820"/>
                <a:gd name="connsiteY34" fmla="*/ 402336 h 864108"/>
                <a:gd name="connsiteX35" fmla="*/ 440436 w 1226820"/>
                <a:gd name="connsiteY35" fmla="*/ 365760 h 864108"/>
                <a:gd name="connsiteX36" fmla="*/ 495300 w 1226820"/>
                <a:gd name="connsiteY36" fmla="*/ 301752 h 864108"/>
                <a:gd name="connsiteX37" fmla="*/ 586740 w 1226820"/>
                <a:gd name="connsiteY37" fmla="*/ 219456 h 864108"/>
                <a:gd name="connsiteX38" fmla="*/ 632460 w 1226820"/>
                <a:gd name="connsiteY38" fmla="*/ 146304 h 864108"/>
                <a:gd name="connsiteX39" fmla="*/ 632460 w 1226820"/>
                <a:gd name="connsiteY39" fmla="*/ 64008 h 864108"/>
                <a:gd name="connsiteX40" fmla="*/ 623316 w 1226820"/>
                <a:gd name="connsiteY40" fmla="*/ 54864 h 864108"/>
                <a:gd name="connsiteX41" fmla="*/ 614172 w 1226820"/>
                <a:gd name="connsiteY41" fmla="*/ 128016 h 864108"/>
                <a:gd name="connsiteX42" fmla="*/ 586740 w 1226820"/>
                <a:gd name="connsiteY42" fmla="*/ 173736 h 864108"/>
                <a:gd name="connsiteX43" fmla="*/ 513588 w 1226820"/>
                <a:gd name="connsiteY43" fmla="*/ 237744 h 864108"/>
                <a:gd name="connsiteX44" fmla="*/ 486156 w 1226820"/>
                <a:gd name="connsiteY44" fmla="*/ 256032 h 864108"/>
                <a:gd name="connsiteX45" fmla="*/ 413004 w 1226820"/>
                <a:gd name="connsiteY45" fmla="*/ 347472 h 864108"/>
                <a:gd name="connsiteX46" fmla="*/ 403860 w 1226820"/>
                <a:gd name="connsiteY46" fmla="*/ 374904 h 864108"/>
                <a:gd name="connsiteX47" fmla="*/ 394716 w 1226820"/>
                <a:gd name="connsiteY47" fmla="*/ 411480 h 864108"/>
                <a:gd name="connsiteX48" fmla="*/ 413004 w 1226820"/>
                <a:gd name="connsiteY48" fmla="*/ 429768 h 864108"/>
                <a:gd name="connsiteX49" fmla="*/ 367284 w 1226820"/>
                <a:gd name="connsiteY49" fmla="*/ 457200 h 864108"/>
                <a:gd name="connsiteX50" fmla="*/ 220980 w 1226820"/>
                <a:gd name="connsiteY50" fmla="*/ 493776 h 864108"/>
                <a:gd name="connsiteX51" fmla="*/ 175260 w 1226820"/>
                <a:gd name="connsiteY51" fmla="*/ 530352 h 864108"/>
                <a:gd name="connsiteX52" fmla="*/ 92964 w 1226820"/>
                <a:gd name="connsiteY52" fmla="*/ 585216 h 864108"/>
                <a:gd name="connsiteX53" fmla="*/ 19812 w 1226820"/>
                <a:gd name="connsiteY53" fmla="*/ 704088 h 864108"/>
                <a:gd name="connsiteX54" fmla="*/ 1524 w 1226820"/>
                <a:gd name="connsiteY54" fmla="*/ 786384 h 864108"/>
                <a:gd name="connsiteX55" fmla="*/ 19812 w 1226820"/>
                <a:gd name="connsiteY55" fmla="*/ 841248 h 864108"/>
                <a:gd name="connsiteX0" fmla="*/ 218332 w 1253874"/>
                <a:gd name="connsiteY0" fmla="*/ 554512 h 811313"/>
                <a:gd name="connsiteX1" fmla="*/ 120018 w 1253874"/>
                <a:gd name="connsiteY1" fmla="*/ 649224 h 811313"/>
                <a:gd name="connsiteX2" fmla="*/ 220602 w 1253874"/>
                <a:gd name="connsiteY2" fmla="*/ 548640 h 811313"/>
                <a:gd name="connsiteX3" fmla="*/ 348618 w 1253874"/>
                <a:gd name="connsiteY3" fmla="*/ 493776 h 811313"/>
                <a:gd name="connsiteX4" fmla="*/ 449202 w 1253874"/>
                <a:gd name="connsiteY4" fmla="*/ 466344 h 811313"/>
                <a:gd name="connsiteX5" fmla="*/ 549786 w 1253874"/>
                <a:gd name="connsiteY5" fmla="*/ 384048 h 811313"/>
                <a:gd name="connsiteX6" fmla="*/ 741810 w 1253874"/>
                <a:gd name="connsiteY6" fmla="*/ 301752 h 811313"/>
                <a:gd name="connsiteX7" fmla="*/ 824106 w 1253874"/>
                <a:gd name="connsiteY7" fmla="*/ 192024 h 811313"/>
                <a:gd name="connsiteX8" fmla="*/ 970410 w 1253874"/>
                <a:gd name="connsiteY8" fmla="*/ 155448 h 811313"/>
                <a:gd name="connsiteX9" fmla="*/ 1016130 w 1253874"/>
                <a:gd name="connsiteY9" fmla="*/ 155448 h 811313"/>
                <a:gd name="connsiteX10" fmla="*/ 1052706 w 1253874"/>
                <a:gd name="connsiteY10" fmla="*/ 137160 h 811313"/>
                <a:gd name="connsiteX11" fmla="*/ 1006986 w 1253874"/>
                <a:gd name="connsiteY11" fmla="*/ 137160 h 811313"/>
                <a:gd name="connsiteX12" fmla="*/ 915546 w 1253874"/>
                <a:gd name="connsiteY12" fmla="*/ 137160 h 811313"/>
                <a:gd name="connsiteX13" fmla="*/ 860682 w 1253874"/>
                <a:gd name="connsiteY13" fmla="*/ 146304 h 811313"/>
                <a:gd name="connsiteX14" fmla="*/ 851538 w 1253874"/>
                <a:gd name="connsiteY14" fmla="*/ 155448 h 811313"/>
                <a:gd name="connsiteX15" fmla="*/ 833250 w 1253874"/>
                <a:gd name="connsiteY15" fmla="*/ 146304 h 811313"/>
                <a:gd name="connsiteX16" fmla="*/ 961266 w 1253874"/>
                <a:gd name="connsiteY16" fmla="*/ 91440 h 811313"/>
                <a:gd name="connsiteX17" fmla="*/ 1016130 w 1253874"/>
                <a:gd name="connsiteY17" fmla="*/ 91440 h 811313"/>
                <a:gd name="connsiteX18" fmla="*/ 1107570 w 1253874"/>
                <a:gd name="connsiteY18" fmla="*/ 82296 h 811313"/>
                <a:gd name="connsiteX19" fmla="*/ 1235586 w 1253874"/>
                <a:gd name="connsiteY19" fmla="*/ 27432 h 811313"/>
                <a:gd name="connsiteX20" fmla="*/ 1217298 w 1253874"/>
                <a:gd name="connsiteY20" fmla="*/ 0 h 811313"/>
                <a:gd name="connsiteX21" fmla="*/ 1180722 w 1253874"/>
                <a:gd name="connsiteY21" fmla="*/ 27432 h 811313"/>
                <a:gd name="connsiteX22" fmla="*/ 1144146 w 1253874"/>
                <a:gd name="connsiteY22" fmla="*/ 36576 h 811313"/>
                <a:gd name="connsiteX23" fmla="*/ 1070994 w 1253874"/>
                <a:gd name="connsiteY23" fmla="*/ 64008 h 811313"/>
                <a:gd name="connsiteX24" fmla="*/ 1016130 w 1253874"/>
                <a:gd name="connsiteY24" fmla="*/ 64008 h 811313"/>
                <a:gd name="connsiteX25" fmla="*/ 906402 w 1253874"/>
                <a:gd name="connsiteY25" fmla="*/ 64008 h 811313"/>
                <a:gd name="connsiteX26" fmla="*/ 851538 w 1253874"/>
                <a:gd name="connsiteY26" fmla="*/ 100584 h 811313"/>
                <a:gd name="connsiteX27" fmla="*/ 814962 w 1253874"/>
                <a:gd name="connsiteY27" fmla="*/ 146304 h 811313"/>
                <a:gd name="connsiteX28" fmla="*/ 769242 w 1253874"/>
                <a:gd name="connsiteY28" fmla="*/ 182880 h 811313"/>
                <a:gd name="connsiteX29" fmla="*/ 723522 w 1253874"/>
                <a:gd name="connsiteY29" fmla="*/ 256032 h 811313"/>
                <a:gd name="connsiteX30" fmla="*/ 650370 w 1253874"/>
                <a:gd name="connsiteY30" fmla="*/ 301752 h 811313"/>
                <a:gd name="connsiteX31" fmla="*/ 549786 w 1253874"/>
                <a:gd name="connsiteY31" fmla="*/ 347472 h 811313"/>
                <a:gd name="connsiteX32" fmla="*/ 513210 w 1253874"/>
                <a:gd name="connsiteY32" fmla="*/ 374904 h 811313"/>
                <a:gd name="connsiteX33" fmla="*/ 467490 w 1253874"/>
                <a:gd name="connsiteY33" fmla="*/ 402336 h 811313"/>
                <a:gd name="connsiteX34" fmla="*/ 449202 w 1253874"/>
                <a:gd name="connsiteY34" fmla="*/ 402336 h 811313"/>
                <a:gd name="connsiteX35" fmla="*/ 467490 w 1253874"/>
                <a:gd name="connsiteY35" fmla="*/ 365760 h 811313"/>
                <a:gd name="connsiteX36" fmla="*/ 522354 w 1253874"/>
                <a:gd name="connsiteY36" fmla="*/ 301752 h 811313"/>
                <a:gd name="connsiteX37" fmla="*/ 613794 w 1253874"/>
                <a:gd name="connsiteY37" fmla="*/ 219456 h 811313"/>
                <a:gd name="connsiteX38" fmla="*/ 659514 w 1253874"/>
                <a:gd name="connsiteY38" fmla="*/ 146304 h 811313"/>
                <a:gd name="connsiteX39" fmla="*/ 659514 w 1253874"/>
                <a:gd name="connsiteY39" fmla="*/ 64008 h 811313"/>
                <a:gd name="connsiteX40" fmla="*/ 650370 w 1253874"/>
                <a:gd name="connsiteY40" fmla="*/ 54864 h 811313"/>
                <a:gd name="connsiteX41" fmla="*/ 641226 w 1253874"/>
                <a:gd name="connsiteY41" fmla="*/ 128016 h 811313"/>
                <a:gd name="connsiteX42" fmla="*/ 613794 w 1253874"/>
                <a:gd name="connsiteY42" fmla="*/ 173736 h 811313"/>
                <a:gd name="connsiteX43" fmla="*/ 540642 w 1253874"/>
                <a:gd name="connsiteY43" fmla="*/ 237744 h 811313"/>
                <a:gd name="connsiteX44" fmla="*/ 513210 w 1253874"/>
                <a:gd name="connsiteY44" fmla="*/ 256032 h 811313"/>
                <a:gd name="connsiteX45" fmla="*/ 440058 w 1253874"/>
                <a:gd name="connsiteY45" fmla="*/ 347472 h 811313"/>
                <a:gd name="connsiteX46" fmla="*/ 430914 w 1253874"/>
                <a:gd name="connsiteY46" fmla="*/ 374904 h 811313"/>
                <a:gd name="connsiteX47" fmla="*/ 421770 w 1253874"/>
                <a:gd name="connsiteY47" fmla="*/ 411480 h 811313"/>
                <a:gd name="connsiteX48" fmla="*/ 440058 w 1253874"/>
                <a:gd name="connsiteY48" fmla="*/ 429768 h 811313"/>
                <a:gd name="connsiteX49" fmla="*/ 394338 w 1253874"/>
                <a:gd name="connsiteY49" fmla="*/ 457200 h 811313"/>
                <a:gd name="connsiteX50" fmla="*/ 248034 w 1253874"/>
                <a:gd name="connsiteY50" fmla="*/ 493776 h 811313"/>
                <a:gd name="connsiteX51" fmla="*/ 202314 w 1253874"/>
                <a:gd name="connsiteY51" fmla="*/ 530352 h 811313"/>
                <a:gd name="connsiteX52" fmla="*/ 120018 w 1253874"/>
                <a:gd name="connsiteY52" fmla="*/ 585216 h 811313"/>
                <a:gd name="connsiteX53" fmla="*/ 46866 w 1253874"/>
                <a:gd name="connsiteY53" fmla="*/ 704088 h 811313"/>
                <a:gd name="connsiteX54" fmla="*/ 28578 w 1253874"/>
                <a:gd name="connsiteY54" fmla="*/ 786384 h 811313"/>
                <a:gd name="connsiteX55" fmla="*/ 218332 w 1253874"/>
                <a:gd name="connsiteY55" fmla="*/ 554512 h 811313"/>
                <a:gd name="connsiteX0" fmla="*/ 187852 w 1223394"/>
                <a:gd name="connsiteY0" fmla="*/ 554512 h 709205"/>
                <a:gd name="connsiteX1" fmla="*/ 89538 w 1223394"/>
                <a:gd name="connsiteY1" fmla="*/ 649224 h 709205"/>
                <a:gd name="connsiteX2" fmla="*/ 190122 w 1223394"/>
                <a:gd name="connsiteY2" fmla="*/ 548640 h 709205"/>
                <a:gd name="connsiteX3" fmla="*/ 318138 w 1223394"/>
                <a:gd name="connsiteY3" fmla="*/ 493776 h 709205"/>
                <a:gd name="connsiteX4" fmla="*/ 418722 w 1223394"/>
                <a:gd name="connsiteY4" fmla="*/ 466344 h 709205"/>
                <a:gd name="connsiteX5" fmla="*/ 519306 w 1223394"/>
                <a:gd name="connsiteY5" fmla="*/ 384048 h 709205"/>
                <a:gd name="connsiteX6" fmla="*/ 711330 w 1223394"/>
                <a:gd name="connsiteY6" fmla="*/ 301752 h 709205"/>
                <a:gd name="connsiteX7" fmla="*/ 793626 w 1223394"/>
                <a:gd name="connsiteY7" fmla="*/ 192024 h 709205"/>
                <a:gd name="connsiteX8" fmla="*/ 939930 w 1223394"/>
                <a:gd name="connsiteY8" fmla="*/ 155448 h 709205"/>
                <a:gd name="connsiteX9" fmla="*/ 985650 w 1223394"/>
                <a:gd name="connsiteY9" fmla="*/ 155448 h 709205"/>
                <a:gd name="connsiteX10" fmla="*/ 1022226 w 1223394"/>
                <a:gd name="connsiteY10" fmla="*/ 137160 h 709205"/>
                <a:gd name="connsiteX11" fmla="*/ 976506 w 1223394"/>
                <a:gd name="connsiteY11" fmla="*/ 137160 h 709205"/>
                <a:gd name="connsiteX12" fmla="*/ 885066 w 1223394"/>
                <a:gd name="connsiteY12" fmla="*/ 137160 h 709205"/>
                <a:gd name="connsiteX13" fmla="*/ 830202 w 1223394"/>
                <a:gd name="connsiteY13" fmla="*/ 146304 h 709205"/>
                <a:gd name="connsiteX14" fmla="*/ 821058 w 1223394"/>
                <a:gd name="connsiteY14" fmla="*/ 155448 h 709205"/>
                <a:gd name="connsiteX15" fmla="*/ 802770 w 1223394"/>
                <a:gd name="connsiteY15" fmla="*/ 146304 h 709205"/>
                <a:gd name="connsiteX16" fmla="*/ 930786 w 1223394"/>
                <a:gd name="connsiteY16" fmla="*/ 91440 h 709205"/>
                <a:gd name="connsiteX17" fmla="*/ 985650 w 1223394"/>
                <a:gd name="connsiteY17" fmla="*/ 91440 h 709205"/>
                <a:gd name="connsiteX18" fmla="*/ 1077090 w 1223394"/>
                <a:gd name="connsiteY18" fmla="*/ 82296 h 709205"/>
                <a:gd name="connsiteX19" fmla="*/ 1205106 w 1223394"/>
                <a:gd name="connsiteY19" fmla="*/ 27432 h 709205"/>
                <a:gd name="connsiteX20" fmla="*/ 1186818 w 1223394"/>
                <a:gd name="connsiteY20" fmla="*/ 0 h 709205"/>
                <a:gd name="connsiteX21" fmla="*/ 1150242 w 1223394"/>
                <a:gd name="connsiteY21" fmla="*/ 27432 h 709205"/>
                <a:gd name="connsiteX22" fmla="*/ 1113666 w 1223394"/>
                <a:gd name="connsiteY22" fmla="*/ 36576 h 709205"/>
                <a:gd name="connsiteX23" fmla="*/ 1040514 w 1223394"/>
                <a:gd name="connsiteY23" fmla="*/ 64008 h 709205"/>
                <a:gd name="connsiteX24" fmla="*/ 985650 w 1223394"/>
                <a:gd name="connsiteY24" fmla="*/ 64008 h 709205"/>
                <a:gd name="connsiteX25" fmla="*/ 875922 w 1223394"/>
                <a:gd name="connsiteY25" fmla="*/ 64008 h 709205"/>
                <a:gd name="connsiteX26" fmla="*/ 821058 w 1223394"/>
                <a:gd name="connsiteY26" fmla="*/ 100584 h 709205"/>
                <a:gd name="connsiteX27" fmla="*/ 784482 w 1223394"/>
                <a:gd name="connsiteY27" fmla="*/ 146304 h 709205"/>
                <a:gd name="connsiteX28" fmla="*/ 738762 w 1223394"/>
                <a:gd name="connsiteY28" fmla="*/ 182880 h 709205"/>
                <a:gd name="connsiteX29" fmla="*/ 693042 w 1223394"/>
                <a:gd name="connsiteY29" fmla="*/ 256032 h 709205"/>
                <a:gd name="connsiteX30" fmla="*/ 619890 w 1223394"/>
                <a:gd name="connsiteY30" fmla="*/ 301752 h 709205"/>
                <a:gd name="connsiteX31" fmla="*/ 519306 w 1223394"/>
                <a:gd name="connsiteY31" fmla="*/ 347472 h 709205"/>
                <a:gd name="connsiteX32" fmla="*/ 482730 w 1223394"/>
                <a:gd name="connsiteY32" fmla="*/ 374904 h 709205"/>
                <a:gd name="connsiteX33" fmla="*/ 437010 w 1223394"/>
                <a:gd name="connsiteY33" fmla="*/ 402336 h 709205"/>
                <a:gd name="connsiteX34" fmla="*/ 418722 w 1223394"/>
                <a:gd name="connsiteY34" fmla="*/ 402336 h 709205"/>
                <a:gd name="connsiteX35" fmla="*/ 437010 w 1223394"/>
                <a:gd name="connsiteY35" fmla="*/ 365760 h 709205"/>
                <a:gd name="connsiteX36" fmla="*/ 491874 w 1223394"/>
                <a:gd name="connsiteY36" fmla="*/ 301752 h 709205"/>
                <a:gd name="connsiteX37" fmla="*/ 583314 w 1223394"/>
                <a:gd name="connsiteY37" fmla="*/ 219456 h 709205"/>
                <a:gd name="connsiteX38" fmla="*/ 629034 w 1223394"/>
                <a:gd name="connsiteY38" fmla="*/ 146304 h 709205"/>
                <a:gd name="connsiteX39" fmla="*/ 629034 w 1223394"/>
                <a:gd name="connsiteY39" fmla="*/ 64008 h 709205"/>
                <a:gd name="connsiteX40" fmla="*/ 619890 w 1223394"/>
                <a:gd name="connsiteY40" fmla="*/ 54864 h 709205"/>
                <a:gd name="connsiteX41" fmla="*/ 610746 w 1223394"/>
                <a:gd name="connsiteY41" fmla="*/ 128016 h 709205"/>
                <a:gd name="connsiteX42" fmla="*/ 583314 w 1223394"/>
                <a:gd name="connsiteY42" fmla="*/ 173736 h 709205"/>
                <a:gd name="connsiteX43" fmla="*/ 510162 w 1223394"/>
                <a:gd name="connsiteY43" fmla="*/ 237744 h 709205"/>
                <a:gd name="connsiteX44" fmla="*/ 482730 w 1223394"/>
                <a:gd name="connsiteY44" fmla="*/ 256032 h 709205"/>
                <a:gd name="connsiteX45" fmla="*/ 409578 w 1223394"/>
                <a:gd name="connsiteY45" fmla="*/ 347472 h 709205"/>
                <a:gd name="connsiteX46" fmla="*/ 400434 w 1223394"/>
                <a:gd name="connsiteY46" fmla="*/ 374904 h 709205"/>
                <a:gd name="connsiteX47" fmla="*/ 391290 w 1223394"/>
                <a:gd name="connsiteY47" fmla="*/ 411480 h 709205"/>
                <a:gd name="connsiteX48" fmla="*/ 409578 w 1223394"/>
                <a:gd name="connsiteY48" fmla="*/ 429768 h 709205"/>
                <a:gd name="connsiteX49" fmla="*/ 363858 w 1223394"/>
                <a:gd name="connsiteY49" fmla="*/ 457200 h 709205"/>
                <a:gd name="connsiteX50" fmla="*/ 217554 w 1223394"/>
                <a:gd name="connsiteY50" fmla="*/ 493776 h 709205"/>
                <a:gd name="connsiteX51" fmla="*/ 171834 w 1223394"/>
                <a:gd name="connsiteY51" fmla="*/ 530352 h 709205"/>
                <a:gd name="connsiteX52" fmla="*/ 89538 w 1223394"/>
                <a:gd name="connsiteY52" fmla="*/ 585216 h 709205"/>
                <a:gd name="connsiteX53" fmla="*/ 16386 w 1223394"/>
                <a:gd name="connsiteY53" fmla="*/ 704088 h 709205"/>
                <a:gd name="connsiteX54" fmla="*/ 187853 w 1223394"/>
                <a:gd name="connsiteY54" fmla="*/ 554512 h 709205"/>
                <a:gd name="connsiteX55" fmla="*/ 187852 w 1223394"/>
                <a:gd name="connsiteY55" fmla="*/ 554512 h 709205"/>
                <a:gd name="connsiteX0" fmla="*/ 110754 w 1146296"/>
                <a:gd name="connsiteY0" fmla="*/ 554512 h 649224"/>
                <a:gd name="connsiteX1" fmla="*/ 12440 w 1146296"/>
                <a:gd name="connsiteY1" fmla="*/ 649224 h 649224"/>
                <a:gd name="connsiteX2" fmla="*/ 113024 w 1146296"/>
                <a:gd name="connsiteY2" fmla="*/ 548640 h 649224"/>
                <a:gd name="connsiteX3" fmla="*/ 241040 w 1146296"/>
                <a:gd name="connsiteY3" fmla="*/ 493776 h 649224"/>
                <a:gd name="connsiteX4" fmla="*/ 341624 w 1146296"/>
                <a:gd name="connsiteY4" fmla="*/ 466344 h 649224"/>
                <a:gd name="connsiteX5" fmla="*/ 442208 w 1146296"/>
                <a:gd name="connsiteY5" fmla="*/ 384048 h 649224"/>
                <a:gd name="connsiteX6" fmla="*/ 634232 w 1146296"/>
                <a:gd name="connsiteY6" fmla="*/ 301752 h 649224"/>
                <a:gd name="connsiteX7" fmla="*/ 716528 w 1146296"/>
                <a:gd name="connsiteY7" fmla="*/ 192024 h 649224"/>
                <a:gd name="connsiteX8" fmla="*/ 862832 w 1146296"/>
                <a:gd name="connsiteY8" fmla="*/ 155448 h 649224"/>
                <a:gd name="connsiteX9" fmla="*/ 908552 w 1146296"/>
                <a:gd name="connsiteY9" fmla="*/ 155448 h 649224"/>
                <a:gd name="connsiteX10" fmla="*/ 945128 w 1146296"/>
                <a:gd name="connsiteY10" fmla="*/ 137160 h 649224"/>
                <a:gd name="connsiteX11" fmla="*/ 899408 w 1146296"/>
                <a:gd name="connsiteY11" fmla="*/ 137160 h 649224"/>
                <a:gd name="connsiteX12" fmla="*/ 807968 w 1146296"/>
                <a:gd name="connsiteY12" fmla="*/ 137160 h 649224"/>
                <a:gd name="connsiteX13" fmla="*/ 753104 w 1146296"/>
                <a:gd name="connsiteY13" fmla="*/ 146304 h 649224"/>
                <a:gd name="connsiteX14" fmla="*/ 743960 w 1146296"/>
                <a:gd name="connsiteY14" fmla="*/ 155448 h 649224"/>
                <a:gd name="connsiteX15" fmla="*/ 725672 w 1146296"/>
                <a:gd name="connsiteY15" fmla="*/ 146304 h 649224"/>
                <a:gd name="connsiteX16" fmla="*/ 853688 w 1146296"/>
                <a:gd name="connsiteY16" fmla="*/ 91440 h 649224"/>
                <a:gd name="connsiteX17" fmla="*/ 908552 w 1146296"/>
                <a:gd name="connsiteY17" fmla="*/ 91440 h 649224"/>
                <a:gd name="connsiteX18" fmla="*/ 999992 w 1146296"/>
                <a:gd name="connsiteY18" fmla="*/ 82296 h 649224"/>
                <a:gd name="connsiteX19" fmla="*/ 1128008 w 1146296"/>
                <a:gd name="connsiteY19" fmla="*/ 27432 h 649224"/>
                <a:gd name="connsiteX20" fmla="*/ 1109720 w 1146296"/>
                <a:gd name="connsiteY20" fmla="*/ 0 h 649224"/>
                <a:gd name="connsiteX21" fmla="*/ 1073144 w 1146296"/>
                <a:gd name="connsiteY21" fmla="*/ 27432 h 649224"/>
                <a:gd name="connsiteX22" fmla="*/ 1036568 w 1146296"/>
                <a:gd name="connsiteY22" fmla="*/ 36576 h 649224"/>
                <a:gd name="connsiteX23" fmla="*/ 963416 w 1146296"/>
                <a:gd name="connsiteY23" fmla="*/ 64008 h 649224"/>
                <a:gd name="connsiteX24" fmla="*/ 908552 w 1146296"/>
                <a:gd name="connsiteY24" fmla="*/ 64008 h 649224"/>
                <a:gd name="connsiteX25" fmla="*/ 798824 w 1146296"/>
                <a:gd name="connsiteY25" fmla="*/ 64008 h 649224"/>
                <a:gd name="connsiteX26" fmla="*/ 743960 w 1146296"/>
                <a:gd name="connsiteY26" fmla="*/ 100584 h 649224"/>
                <a:gd name="connsiteX27" fmla="*/ 707384 w 1146296"/>
                <a:gd name="connsiteY27" fmla="*/ 146304 h 649224"/>
                <a:gd name="connsiteX28" fmla="*/ 661664 w 1146296"/>
                <a:gd name="connsiteY28" fmla="*/ 182880 h 649224"/>
                <a:gd name="connsiteX29" fmla="*/ 615944 w 1146296"/>
                <a:gd name="connsiteY29" fmla="*/ 256032 h 649224"/>
                <a:gd name="connsiteX30" fmla="*/ 542792 w 1146296"/>
                <a:gd name="connsiteY30" fmla="*/ 301752 h 649224"/>
                <a:gd name="connsiteX31" fmla="*/ 442208 w 1146296"/>
                <a:gd name="connsiteY31" fmla="*/ 347472 h 649224"/>
                <a:gd name="connsiteX32" fmla="*/ 405632 w 1146296"/>
                <a:gd name="connsiteY32" fmla="*/ 374904 h 649224"/>
                <a:gd name="connsiteX33" fmla="*/ 359912 w 1146296"/>
                <a:gd name="connsiteY33" fmla="*/ 402336 h 649224"/>
                <a:gd name="connsiteX34" fmla="*/ 341624 w 1146296"/>
                <a:gd name="connsiteY34" fmla="*/ 402336 h 649224"/>
                <a:gd name="connsiteX35" fmla="*/ 359912 w 1146296"/>
                <a:gd name="connsiteY35" fmla="*/ 365760 h 649224"/>
                <a:gd name="connsiteX36" fmla="*/ 414776 w 1146296"/>
                <a:gd name="connsiteY36" fmla="*/ 301752 h 649224"/>
                <a:gd name="connsiteX37" fmla="*/ 506216 w 1146296"/>
                <a:gd name="connsiteY37" fmla="*/ 219456 h 649224"/>
                <a:gd name="connsiteX38" fmla="*/ 551936 w 1146296"/>
                <a:gd name="connsiteY38" fmla="*/ 146304 h 649224"/>
                <a:gd name="connsiteX39" fmla="*/ 551936 w 1146296"/>
                <a:gd name="connsiteY39" fmla="*/ 64008 h 649224"/>
                <a:gd name="connsiteX40" fmla="*/ 542792 w 1146296"/>
                <a:gd name="connsiteY40" fmla="*/ 54864 h 649224"/>
                <a:gd name="connsiteX41" fmla="*/ 533648 w 1146296"/>
                <a:gd name="connsiteY41" fmla="*/ 128016 h 649224"/>
                <a:gd name="connsiteX42" fmla="*/ 506216 w 1146296"/>
                <a:gd name="connsiteY42" fmla="*/ 173736 h 649224"/>
                <a:gd name="connsiteX43" fmla="*/ 433064 w 1146296"/>
                <a:gd name="connsiteY43" fmla="*/ 237744 h 649224"/>
                <a:gd name="connsiteX44" fmla="*/ 405632 w 1146296"/>
                <a:gd name="connsiteY44" fmla="*/ 256032 h 649224"/>
                <a:gd name="connsiteX45" fmla="*/ 332480 w 1146296"/>
                <a:gd name="connsiteY45" fmla="*/ 347472 h 649224"/>
                <a:gd name="connsiteX46" fmla="*/ 323336 w 1146296"/>
                <a:gd name="connsiteY46" fmla="*/ 374904 h 649224"/>
                <a:gd name="connsiteX47" fmla="*/ 314192 w 1146296"/>
                <a:gd name="connsiteY47" fmla="*/ 411480 h 649224"/>
                <a:gd name="connsiteX48" fmla="*/ 332480 w 1146296"/>
                <a:gd name="connsiteY48" fmla="*/ 429768 h 649224"/>
                <a:gd name="connsiteX49" fmla="*/ 286760 w 1146296"/>
                <a:gd name="connsiteY49" fmla="*/ 457200 h 649224"/>
                <a:gd name="connsiteX50" fmla="*/ 140456 w 1146296"/>
                <a:gd name="connsiteY50" fmla="*/ 493776 h 649224"/>
                <a:gd name="connsiteX51" fmla="*/ 94736 w 1146296"/>
                <a:gd name="connsiteY51" fmla="*/ 530352 h 649224"/>
                <a:gd name="connsiteX52" fmla="*/ 12440 w 1146296"/>
                <a:gd name="connsiteY52" fmla="*/ 585216 h 649224"/>
                <a:gd name="connsiteX53" fmla="*/ 20096 w 1146296"/>
                <a:gd name="connsiteY53" fmla="*/ 612769 h 649224"/>
                <a:gd name="connsiteX54" fmla="*/ 110755 w 1146296"/>
                <a:gd name="connsiteY54" fmla="*/ 554512 h 649224"/>
                <a:gd name="connsiteX55" fmla="*/ 110754 w 1146296"/>
                <a:gd name="connsiteY55" fmla="*/ 554512 h 649224"/>
                <a:gd name="connsiteX0" fmla="*/ 101388 w 1136930"/>
                <a:gd name="connsiteY0" fmla="*/ 554512 h 649224"/>
                <a:gd name="connsiteX1" fmla="*/ 3074 w 1136930"/>
                <a:gd name="connsiteY1" fmla="*/ 649224 h 649224"/>
                <a:gd name="connsiteX2" fmla="*/ 103658 w 1136930"/>
                <a:gd name="connsiteY2" fmla="*/ 548640 h 649224"/>
                <a:gd name="connsiteX3" fmla="*/ 231674 w 1136930"/>
                <a:gd name="connsiteY3" fmla="*/ 493776 h 649224"/>
                <a:gd name="connsiteX4" fmla="*/ 332258 w 1136930"/>
                <a:gd name="connsiteY4" fmla="*/ 466344 h 649224"/>
                <a:gd name="connsiteX5" fmla="*/ 432842 w 1136930"/>
                <a:gd name="connsiteY5" fmla="*/ 384048 h 649224"/>
                <a:gd name="connsiteX6" fmla="*/ 624866 w 1136930"/>
                <a:gd name="connsiteY6" fmla="*/ 301752 h 649224"/>
                <a:gd name="connsiteX7" fmla="*/ 707162 w 1136930"/>
                <a:gd name="connsiteY7" fmla="*/ 192024 h 649224"/>
                <a:gd name="connsiteX8" fmla="*/ 853466 w 1136930"/>
                <a:gd name="connsiteY8" fmla="*/ 155448 h 649224"/>
                <a:gd name="connsiteX9" fmla="*/ 899186 w 1136930"/>
                <a:gd name="connsiteY9" fmla="*/ 155448 h 649224"/>
                <a:gd name="connsiteX10" fmla="*/ 935762 w 1136930"/>
                <a:gd name="connsiteY10" fmla="*/ 137160 h 649224"/>
                <a:gd name="connsiteX11" fmla="*/ 890042 w 1136930"/>
                <a:gd name="connsiteY11" fmla="*/ 137160 h 649224"/>
                <a:gd name="connsiteX12" fmla="*/ 798602 w 1136930"/>
                <a:gd name="connsiteY12" fmla="*/ 137160 h 649224"/>
                <a:gd name="connsiteX13" fmla="*/ 743738 w 1136930"/>
                <a:gd name="connsiteY13" fmla="*/ 146304 h 649224"/>
                <a:gd name="connsiteX14" fmla="*/ 734594 w 1136930"/>
                <a:gd name="connsiteY14" fmla="*/ 155448 h 649224"/>
                <a:gd name="connsiteX15" fmla="*/ 716306 w 1136930"/>
                <a:gd name="connsiteY15" fmla="*/ 146304 h 649224"/>
                <a:gd name="connsiteX16" fmla="*/ 844322 w 1136930"/>
                <a:gd name="connsiteY16" fmla="*/ 91440 h 649224"/>
                <a:gd name="connsiteX17" fmla="*/ 899186 w 1136930"/>
                <a:gd name="connsiteY17" fmla="*/ 91440 h 649224"/>
                <a:gd name="connsiteX18" fmla="*/ 990626 w 1136930"/>
                <a:gd name="connsiteY18" fmla="*/ 82296 h 649224"/>
                <a:gd name="connsiteX19" fmla="*/ 1118642 w 1136930"/>
                <a:gd name="connsiteY19" fmla="*/ 27432 h 649224"/>
                <a:gd name="connsiteX20" fmla="*/ 1100354 w 1136930"/>
                <a:gd name="connsiteY20" fmla="*/ 0 h 649224"/>
                <a:gd name="connsiteX21" fmla="*/ 1063778 w 1136930"/>
                <a:gd name="connsiteY21" fmla="*/ 27432 h 649224"/>
                <a:gd name="connsiteX22" fmla="*/ 1027202 w 1136930"/>
                <a:gd name="connsiteY22" fmla="*/ 36576 h 649224"/>
                <a:gd name="connsiteX23" fmla="*/ 954050 w 1136930"/>
                <a:gd name="connsiteY23" fmla="*/ 64008 h 649224"/>
                <a:gd name="connsiteX24" fmla="*/ 899186 w 1136930"/>
                <a:gd name="connsiteY24" fmla="*/ 64008 h 649224"/>
                <a:gd name="connsiteX25" fmla="*/ 789458 w 1136930"/>
                <a:gd name="connsiteY25" fmla="*/ 64008 h 649224"/>
                <a:gd name="connsiteX26" fmla="*/ 734594 w 1136930"/>
                <a:gd name="connsiteY26" fmla="*/ 100584 h 649224"/>
                <a:gd name="connsiteX27" fmla="*/ 698018 w 1136930"/>
                <a:gd name="connsiteY27" fmla="*/ 146304 h 649224"/>
                <a:gd name="connsiteX28" fmla="*/ 652298 w 1136930"/>
                <a:gd name="connsiteY28" fmla="*/ 182880 h 649224"/>
                <a:gd name="connsiteX29" fmla="*/ 606578 w 1136930"/>
                <a:gd name="connsiteY29" fmla="*/ 256032 h 649224"/>
                <a:gd name="connsiteX30" fmla="*/ 533426 w 1136930"/>
                <a:gd name="connsiteY30" fmla="*/ 301752 h 649224"/>
                <a:gd name="connsiteX31" fmla="*/ 432842 w 1136930"/>
                <a:gd name="connsiteY31" fmla="*/ 347472 h 649224"/>
                <a:gd name="connsiteX32" fmla="*/ 396266 w 1136930"/>
                <a:gd name="connsiteY32" fmla="*/ 374904 h 649224"/>
                <a:gd name="connsiteX33" fmla="*/ 350546 w 1136930"/>
                <a:gd name="connsiteY33" fmla="*/ 402336 h 649224"/>
                <a:gd name="connsiteX34" fmla="*/ 332258 w 1136930"/>
                <a:gd name="connsiteY34" fmla="*/ 402336 h 649224"/>
                <a:gd name="connsiteX35" fmla="*/ 350546 w 1136930"/>
                <a:gd name="connsiteY35" fmla="*/ 365760 h 649224"/>
                <a:gd name="connsiteX36" fmla="*/ 405410 w 1136930"/>
                <a:gd name="connsiteY36" fmla="*/ 301752 h 649224"/>
                <a:gd name="connsiteX37" fmla="*/ 496850 w 1136930"/>
                <a:gd name="connsiteY37" fmla="*/ 219456 h 649224"/>
                <a:gd name="connsiteX38" fmla="*/ 542570 w 1136930"/>
                <a:gd name="connsiteY38" fmla="*/ 146304 h 649224"/>
                <a:gd name="connsiteX39" fmla="*/ 542570 w 1136930"/>
                <a:gd name="connsiteY39" fmla="*/ 64008 h 649224"/>
                <a:gd name="connsiteX40" fmla="*/ 533426 w 1136930"/>
                <a:gd name="connsiteY40" fmla="*/ 54864 h 649224"/>
                <a:gd name="connsiteX41" fmla="*/ 524282 w 1136930"/>
                <a:gd name="connsiteY41" fmla="*/ 128016 h 649224"/>
                <a:gd name="connsiteX42" fmla="*/ 496850 w 1136930"/>
                <a:gd name="connsiteY42" fmla="*/ 173736 h 649224"/>
                <a:gd name="connsiteX43" fmla="*/ 423698 w 1136930"/>
                <a:gd name="connsiteY43" fmla="*/ 237744 h 649224"/>
                <a:gd name="connsiteX44" fmla="*/ 396266 w 1136930"/>
                <a:gd name="connsiteY44" fmla="*/ 256032 h 649224"/>
                <a:gd name="connsiteX45" fmla="*/ 323114 w 1136930"/>
                <a:gd name="connsiteY45" fmla="*/ 347472 h 649224"/>
                <a:gd name="connsiteX46" fmla="*/ 313970 w 1136930"/>
                <a:gd name="connsiteY46" fmla="*/ 374904 h 649224"/>
                <a:gd name="connsiteX47" fmla="*/ 304826 w 1136930"/>
                <a:gd name="connsiteY47" fmla="*/ 411480 h 649224"/>
                <a:gd name="connsiteX48" fmla="*/ 323114 w 1136930"/>
                <a:gd name="connsiteY48" fmla="*/ 429768 h 649224"/>
                <a:gd name="connsiteX49" fmla="*/ 277394 w 1136930"/>
                <a:gd name="connsiteY49" fmla="*/ 457200 h 649224"/>
                <a:gd name="connsiteX50" fmla="*/ 131090 w 1136930"/>
                <a:gd name="connsiteY50" fmla="*/ 493776 h 649224"/>
                <a:gd name="connsiteX51" fmla="*/ 85370 w 1136930"/>
                <a:gd name="connsiteY51" fmla="*/ 530352 h 649224"/>
                <a:gd name="connsiteX52" fmla="*/ 3074 w 1136930"/>
                <a:gd name="connsiteY52" fmla="*/ 585216 h 649224"/>
                <a:gd name="connsiteX53" fmla="*/ 103816 w 1136930"/>
                <a:gd name="connsiteY53" fmla="*/ 555040 h 649224"/>
                <a:gd name="connsiteX54" fmla="*/ 101389 w 1136930"/>
                <a:gd name="connsiteY54" fmla="*/ 554512 h 649224"/>
                <a:gd name="connsiteX55" fmla="*/ 101388 w 1136930"/>
                <a:gd name="connsiteY55" fmla="*/ 554512 h 649224"/>
                <a:gd name="connsiteX0" fmla="*/ 101388 w 1136930"/>
                <a:gd name="connsiteY0" fmla="*/ 554512 h 589331"/>
                <a:gd name="connsiteX1" fmla="*/ 103816 w 1136930"/>
                <a:gd name="connsiteY1" fmla="*/ 555041 h 589331"/>
                <a:gd name="connsiteX2" fmla="*/ 103658 w 1136930"/>
                <a:gd name="connsiteY2" fmla="*/ 548640 h 589331"/>
                <a:gd name="connsiteX3" fmla="*/ 231674 w 1136930"/>
                <a:gd name="connsiteY3" fmla="*/ 493776 h 589331"/>
                <a:gd name="connsiteX4" fmla="*/ 332258 w 1136930"/>
                <a:gd name="connsiteY4" fmla="*/ 466344 h 589331"/>
                <a:gd name="connsiteX5" fmla="*/ 432842 w 1136930"/>
                <a:gd name="connsiteY5" fmla="*/ 384048 h 589331"/>
                <a:gd name="connsiteX6" fmla="*/ 624866 w 1136930"/>
                <a:gd name="connsiteY6" fmla="*/ 301752 h 589331"/>
                <a:gd name="connsiteX7" fmla="*/ 707162 w 1136930"/>
                <a:gd name="connsiteY7" fmla="*/ 192024 h 589331"/>
                <a:gd name="connsiteX8" fmla="*/ 853466 w 1136930"/>
                <a:gd name="connsiteY8" fmla="*/ 155448 h 589331"/>
                <a:gd name="connsiteX9" fmla="*/ 899186 w 1136930"/>
                <a:gd name="connsiteY9" fmla="*/ 155448 h 589331"/>
                <a:gd name="connsiteX10" fmla="*/ 935762 w 1136930"/>
                <a:gd name="connsiteY10" fmla="*/ 137160 h 589331"/>
                <a:gd name="connsiteX11" fmla="*/ 890042 w 1136930"/>
                <a:gd name="connsiteY11" fmla="*/ 137160 h 589331"/>
                <a:gd name="connsiteX12" fmla="*/ 798602 w 1136930"/>
                <a:gd name="connsiteY12" fmla="*/ 137160 h 589331"/>
                <a:gd name="connsiteX13" fmla="*/ 743738 w 1136930"/>
                <a:gd name="connsiteY13" fmla="*/ 146304 h 589331"/>
                <a:gd name="connsiteX14" fmla="*/ 734594 w 1136930"/>
                <a:gd name="connsiteY14" fmla="*/ 155448 h 589331"/>
                <a:gd name="connsiteX15" fmla="*/ 716306 w 1136930"/>
                <a:gd name="connsiteY15" fmla="*/ 146304 h 589331"/>
                <a:gd name="connsiteX16" fmla="*/ 844322 w 1136930"/>
                <a:gd name="connsiteY16" fmla="*/ 91440 h 589331"/>
                <a:gd name="connsiteX17" fmla="*/ 899186 w 1136930"/>
                <a:gd name="connsiteY17" fmla="*/ 91440 h 589331"/>
                <a:gd name="connsiteX18" fmla="*/ 990626 w 1136930"/>
                <a:gd name="connsiteY18" fmla="*/ 82296 h 589331"/>
                <a:gd name="connsiteX19" fmla="*/ 1118642 w 1136930"/>
                <a:gd name="connsiteY19" fmla="*/ 27432 h 589331"/>
                <a:gd name="connsiteX20" fmla="*/ 1100354 w 1136930"/>
                <a:gd name="connsiteY20" fmla="*/ 0 h 589331"/>
                <a:gd name="connsiteX21" fmla="*/ 1063778 w 1136930"/>
                <a:gd name="connsiteY21" fmla="*/ 27432 h 589331"/>
                <a:gd name="connsiteX22" fmla="*/ 1027202 w 1136930"/>
                <a:gd name="connsiteY22" fmla="*/ 36576 h 589331"/>
                <a:gd name="connsiteX23" fmla="*/ 954050 w 1136930"/>
                <a:gd name="connsiteY23" fmla="*/ 64008 h 589331"/>
                <a:gd name="connsiteX24" fmla="*/ 899186 w 1136930"/>
                <a:gd name="connsiteY24" fmla="*/ 64008 h 589331"/>
                <a:gd name="connsiteX25" fmla="*/ 789458 w 1136930"/>
                <a:gd name="connsiteY25" fmla="*/ 64008 h 589331"/>
                <a:gd name="connsiteX26" fmla="*/ 734594 w 1136930"/>
                <a:gd name="connsiteY26" fmla="*/ 100584 h 589331"/>
                <a:gd name="connsiteX27" fmla="*/ 698018 w 1136930"/>
                <a:gd name="connsiteY27" fmla="*/ 146304 h 589331"/>
                <a:gd name="connsiteX28" fmla="*/ 652298 w 1136930"/>
                <a:gd name="connsiteY28" fmla="*/ 182880 h 589331"/>
                <a:gd name="connsiteX29" fmla="*/ 606578 w 1136930"/>
                <a:gd name="connsiteY29" fmla="*/ 256032 h 589331"/>
                <a:gd name="connsiteX30" fmla="*/ 533426 w 1136930"/>
                <a:gd name="connsiteY30" fmla="*/ 301752 h 589331"/>
                <a:gd name="connsiteX31" fmla="*/ 432842 w 1136930"/>
                <a:gd name="connsiteY31" fmla="*/ 347472 h 589331"/>
                <a:gd name="connsiteX32" fmla="*/ 396266 w 1136930"/>
                <a:gd name="connsiteY32" fmla="*/ 374904 h 589331"/>
                <a:gd name="connsiteX33" fmla="*/ 350546 w 1136930"/>
                <a:gd name="connsiteY33" fmla="*/ 402336 h 589331"/>
                <a:gd name="connsiteX34" fmla="*/ 332258 w 1136930"/>
                <a:gd name="connsiteY34" fmla="*/ 402336 h 589331"/>
                <a:gd name="connsiteX35" fmla="*/ 350546 w 1136930"/>
                <a:gd name="connsiteY35" fmla="*/ 365760 h 589331"/>
                <a:gd name="connsiteX36" fmla="*/ 405410 w 1136930"/>
                <a:gd name="connsiteY36" fmla="*/ 301752 h 589331"/>
                <a:gd name="connsiteX37" fmla="*/ 496850 w 1136930"/>
                <a:gd name="connsiteY37" fmla="*/ 219456 h 589331"/>
                <a:gd name="connsiteX38" fmla="*/ 542570 w 1136930"/>
                <a:gd name="connsiteY38" fmla="*/ 146304 h 589331"/>
                <a:gd name="connsiteX39" fmla="*/ 542570 w 1136930"/>
                <a:gd name="connsiteY39" fmla="*/ 64008 h 589331"/>
                <a:gd name="connsiteX40" fmla="*/ 533426 w 1136930"/>
                <a:gd name="connsiteY40" fmla="*/ 54864 h 589331"/>
                <a:gd name="connsiteX41" fmla="*/ 524282 w 1136930"/>
                <a:gd name="connsiteY41" fmla="*/ 128016 h 589331"/>
                <a:gd name="connsiteX42" fmla="*/ 496850 w 1136930"/>
                <a:gd name="connsiteY42" fmla="*/ 173736 h 589331"/>
                <a:gd name="connsiteX43" fmla="*/ 423698 w 1136930"/>
                <a:gd name="connsiteY43" fmla="*/ 237744 h 589331"/>
                <a:gd name="connsiteX44" fmla="*/ 396266 w 1136930"/>
                <a:gd name="connsiteY44" fmla="*/ 256032 h 589331"/>
                <a:gd name="connsiteX45" fmla="*/ 323114 w 1136930"/>
                <a:gd name="connsiteY45" fmla="*/ 347472 h 589331"/>
                <a:gd name="connsiteX46" fmla="*/ 313970 w 1136930"/>
                <a:gd name="connsiteY46" fmla="*/ 374904 h 589331"/>
                <a:gd name="connsiteX47" fmla="*/ 304826 w 1136930"/>
                <a:gd name="connsiteY47" fmla="*/ 411480 h 589331"/>
                <a:gd name="connsiteX48" fmla="*/ 323114 w 1136930"/>
                <a:gd name="connsiteY48" fmla="*/ 429768 h 589331"/>
                <a:gd name="connsiteX49" fmla="*/ 277394 w 1136930"/>
                <a:gd name="connsiteY49" fmla="*/ 457200 h 589331"/>
                <a:gd name="connsiteX50" fmla="*/ 131090 w 1136930"/>
                <a:gd name="connsiteY50" fmla="*/ 493776 h 589331"/>
                <a:gd name="connsiteX51" fmla="*/ 85370 w 1136930"/>
                <a:gd name="connsiteY51" fmla="*/ 530352 h 589331"/>
                <a:gd name="connsiteX52" fmla="*/ 3074 w 1136930"/>
                <a:gd name="connsiteY52" fmla="*/ 585216 h 589331"/>
                <a:gd name="connsiteX53" fmla="*/ 103816 w 1136930"/>
                <a:gd name="connsiteY53" fmla="*/ 555040 h 589331"/>
                <a:gd name="connsiteX54" fmla="*/ 101389 w 1136930"/>
                <a:gd name="connsiteY54" fmla="*/ 554512 h 589331"/>
                <a:gd name="connsiteX55" fmla="*/ 101388 w 1136930"/>
                <a:gd name="connsiteY55" fmla="*/ 554512 h 589331"/>
                <a:gd name="connsiteX0" fmla="*/ 19040 w 1054582"/>
                <a:gd name="connsiteY0" fmla="*/ 554512 h 567361"/>
                <a:gd name="connsiteX1" fmla="*/ 21468 w 1054582"/>
                <a:gd name="connsiteY1" fmla="*/ 555041 h 567361"/>
                <a:gd name="connsiteX2" fmla="*/ 21310 w 1054582"/>
                <a:gd name="connsiteY2" fmla="*/ 548640 h 567361"/>
                <a:gd name="connsiteX3" fmla="*/ 149326 w 1054582"/>
                <a:gd name="connsiteY3" fmla="*/ 493776 h 567361"/>
                <a:gd name="connsiteX4" fmla="*/ 249910 w 1054582"/>
                <a:gd name="connsiteY4" fmla="*/ 466344 h 567361"/>
                <a:gd name="connsiteX5" fmla="*/ 350494 w 1054582"/>
                <a:gd name="connsiteY5" fmla="*/ 384048 h 567361"/>
                <a:gd name="connsiteX6" fmla="*/ 542518 w 1054582"/>
                <a:gd name="connsiteY6" fmla="*/ 301752 h 567361"/>
                <a:gd name="connsiteX7" fmla="*/ 624814 w 1054582"/>
                <a:gd name="connsiteY7" fmla="*/ 192024 h 567361"/>
                <a:gd name="connsiteX8" fmla="*/ 771118 w 1054582"/>
                <a:gd name="connsiteY8" fmla="*/ 155448 h 567361"/>
                <a:gd name="connsiteX9" fmla="*/ 816838 w 1054582"/>
                <a:gd name="connsiteY9" fmla="*/ 155448 h 567361"/>
                <a:gd name="connsiteX10" fmla="*/ 853414 w 1054582"/>
                <a:gd name="connsiteY10" fmla="*/ 137160 h 567361"/>
                <a:gd name="connsiteX11" fmla="*/ 807694 w 1054582"/>
                <a:gd name="connsiteY11" fmla="*/ 137160 h 567361"/>
                <a:gd name="connsiteX12" fmla="*/ 716254 w 1054582"/>
                <a:gd name="connsiteY12" fmla="*/ 137160 h 567361"/>
                <a:gd name="connsiteX13" fmla="*/ 661390 w 1054582"/>
                <a:gd name="connsiteY13" fmla="*/ 146304 h 567361"/>
                <a:gd name="connsiteX14" fmla="*/ 652246 w 1054582"/>
                <a:gd name="connsiteY14" fmla="*/ 155448 h 567361"/>
                <a:gd name="connsiteX15" fmla="*/ 633958 w 1054582"/>
                <a:gd name="connsiteY15" fmla="*/ 146304 h 567361"/>
                <a:gd name="connsiteX16" fmla="*/ 761974 w 1054582"/>
                <a:gd name="connsiteY16" fmla="*/ 91440 h 567361"/>
                <a:gd name="connsiteX17" fmla="*/ 816838 w 1054582"/>
                <a:gd name="connsiteY17" fmla="*/ 91440 h 567361"/>
                <a:gd name="connsiteX18" fmla="*/ 908278 w 1054582"/>
                <a:gd name="connsiteY18" fmla="*/ 82296 h 567361"/>
                <a:gd name="connsiteX19" fmla="*/ 1036294 w 1054582"/>
                <a:gd name="connsiteY19" fmla="*/ 27432 h 567361"/>
                <a:gd name="connsiteX20" fmla="*/ 1018006 w 1054582"/>
                <a:gd name="connsiteY20" fmla="*/ 0 h 567361"/>
                <a:gd name="connsiteX21" fmla="*/ 981430 w 1054582"/>
                <a:gd name="connsiteY21" fmla="*/ 27432 h 567361"/>
                <a:gd name="connsiteX22" fmla="*/ 944854 w 1054582"/>
                <a:gd name="connsiteY22" fmla="*/ 36576 h 567361"/>
                <a:gd name="connsiteX23" fmla="*/ 871702 w 1054582"/>
                <a:gd name="connsiteY23" fmla="*/ 64008 h 567361"/>
                <a:gd name="connsiteX24" fmla="*/ 816838 w 1054582"/>
                <a:gd name="connsiteY24" fmla="*/ 64008 h 567361"/>
                <a:gd name="connsiteX25" fmla="*/ 707110 w 1054582"/>
                <a:gd name="connsiteY25" fmla="*/ 64008 h 567361"/>
                <a:gd name="connsiteX26" fmla="*/ 652246 w 1054582"/>
                <a:gd name="connsiteY26" fmla="*/ 100584 h 567361"/>
                <a:gd name="connsiteX27" fmla="*/ 615670 w 1054582"/>
                <a:gd name="connsiteY27" fmla="*/ 146304 h 567361"/>
                <a:gd name="connsiteX28" fmla="*/ 569950 w 1054582"/>
                <a:gd name="connsiteY28" fmla="*/ 182880 h 567361"/>
                <a:gd name="connsiteX29" fmla="*/ 524230 w 1054582"/>
                <a:gd name="connsiteY29" fmla="*/ 256032 h 567361"/>
                <a:gd name="connsiteX30" fmla="*/ 451078 w 1054582"/>
                <a:gd name="connsiteY30" fmla="*/ 301752 h 567361"/>
                <a:gd name="connsiteX31" fmla="*/ 350494 w 1054582"/>
                <a:gd name="connsiteY31" fmla="*/ 347472 h 567361"/>
                <a:gd name="connsiteX32" fmla="*/ 313918 w 1054582"/>
                <a:gd name="connsiteY32" fmla="*/ 374904 h 567361"/>
                <a:gd name="connsiteX33" fmla="*/ 268198 w 1054582"/>
                <a:gd name="connsiteY33" fmla="*/ 402336 h 567361"/>
                <a:gd name="connsiteX34" fmla="*/ 249910 w 1054582"/>
                <a:gd name="connsiteY34" fmla="*/ 402336 h 567361"/>
                <a:gd name="connsiteX35" fmla="*/ 268198 w 1054582"/>
                <a:gd name="connsiteY35" fmla="*/ 365760 h 567361"/>
                <a:gd name="connsiteX36" fmla="*/ 323062 w 1054582"/>
                <a:gd name="connsiteY36" fmla="*/ 301752 h 567361"/>
                <a:gd name="connsiteX37" fmla="*/ 414502 w 1054582"/>
                <a:gd name="connsiteY37" fmla="*/ 219456 h 567361"/>
                <a:gd name="connsiteX38" fmla="*/ 460222 w 1054582"/>
                <a:gd name="connsiteY38" fmla="*/ 146304 h 567361"/>
                <a:gd name="connsiteX39" fmla="*/ 460222 w 1054582"/>
                <a:gd name="connsiteY39" fmla="*/ 64008 h 567361"/>
                <a:gd name="connsiteX40" fmla="*/ 451078 w 1054582"/>
                <a:gd name="connsiteY40" fmla="*/ 54864 h 567361"/>
                <a:gd name="connsiteX41" fmla="*/ 441934 w 1054582"/>
                <a:gd name="connsiteY41" fmla="*/ 128016 h 567361"/>
                <a:gd name="connsiteX42" fmla="*/ 414502 w 1054582"/>
                <a:gd name="connsiteY42" fmla="*/ 173736 h 567361"/>
                <a:gd name="connsiteX43" fmla="*/ 341350 w 1054582"/>
                <a:gd name="connsiteY43" fmla="*/ 237744 h 567361"/>
                <a:gd name="connsiteX44" fmla="*/ 313918 w 1054582"/>
                <a:gd name="connsiteY44" fmla="*/ 256032 h 567361"/>
                <a:gd name="connsiteX45" fmla="*/ 240766 w 1054582"/>
                <a:gd name="connsiteY45" fmla="*/ 347472 h 567361"/>
                <a:gd name="connsiteX46" fmla="*/ 231622 w 1054582"/>
                <a:gd name="connsiteY46" fmla="*/ 374904 h 567361"/>
                <a:gd name="connsiteX47" fmla="*/ 222478 w 1054582"/>
                <a:gd name="connsiteY47" fmla="*/ 411480 h 567361"/>
                <a:gd name="connsiteX48" fmla="*/ 240766 w 1054582"/>
                <a:gd name="connsiteY48" fmla="*/ 429768 h 567361"/>
                <a:gd name="connsiteX49" fmla="*/ 195046 w 1054582"/>
                <a:gd name="connsiteY49" fmla="*/ 457200 h 567361"/>
                <a:gd name="connsiteX50" fmla="*/ 48742 w 1054582"/>
                <a:gd name="connsiteY50" fmla="*/ 493776 h 567361"/>
                <a:gd name="connsiteX51" fmla="*/ 3022 w 1054582"/>
                <a:gd name="connsiteY51" fmla="*/ 530352 h 567361"/>
                <a:gd name="connsiteX52" fmla="*/ 37669 w 1054582"/>
                <a:gd name="connsiteY52" fmla="*/ 480583 h 567361"/>
                <a:gd name="connsiteX53" fmla="*/ 21468 w 1054582"/>
                <a:gd name="connsiteY53" fmla="*/ 555040 h 567361"/>
                <a:gd name="connsiteX54" fmla="*/ 19041 w 1054582"/>
                <a:gd name="connsiteY54" fmla="*/ 554512 h 567361"/>
                <a:gd name="connsiteX55" fmla="*/ 19040 w 1054582"/>
                <a:gd name="connsiteY55" fmla="*/ 554512 h 567361"/>
                <a:gd name="connsiteX0" fmla="*/ 112127 w 1054582"/>
                <a:gd name="connsiteY0" fmla="*/ 496784 h 567361"/>
                <a:gd name="connsiteX1" fmla="*/ 21468 w 1054582"/>
                <a:gd name="connsiteY1" fmla="*/ 555041 h 567361"/>
                <a:gd name="connsiteX2" fmla="*/ 21310 w 1054582"/>
                <a:gd name="connsiteY2" fmla="*/ 548640 h 567361"/>
                <a:gd name="connsiteX3" fmla="*/ 149326 w 1054582"/>
                <a:gd name="connsiteY3" fmla="*/ 493776 h 567361"/>
                <a:gd name="connsiteX4" fmla="*/ 249910 w 1054582"/>
                <a:gd name="connsiteY4" fmla="*/ 466344 h 567361"/>
                <a:gd name="connsiteX5" fmla="*/ 350494 w 1054582"/>
                <a:gd name="connsiteY5" fmla="*/ 384048 h 567361"/>
                <a:gd name="connsiteX6" fmla="*/ 542518 w 1054582"/>
                <a:gd name="connsiteY6" fmla="*/ 301752 h 567361"/>
                <a:gd name="connsiteX7" fmla="*/ 624814 w 1054582"/>
                <a:gd name="connsiteY7" fmla="*/ 192024 h 567361"/>
                <a:gd name="connsiteX8" fmla="*/ 771118 w 1054582"/>
                <a:gd name="connsiteY8" fmla="*/ 155448 h 567361"/>
                <a:gd name="connsiteX9" fmla="*/ 816838 w 1054582"/>
                <a:gd name="connsiteY9" fmla="*/ 155448 h 567361"/>
                <a:gd name="connsiteX10" fmla="*/ 853414 w 1054582"/>
                <a:gd name="connsiteY10" fmla="*/ 137160 h 567361"/>
                <a:gd name="connsiteX11" fmla="*/ 807694 w 1054582"/>
                <a:gd name="connsiteY11" fmla="*/ 137160 h 567361"/>
                <a:gd name="connsiteX12" fmla="*/ 716254 w 1054582"/>
                <a:gd name="connsiteY12" fmla="*/ 137160 h 567361"/>
                <a:gd name="connsiteX13" fmla="*/ 661390 w 1054582"/>
                <a:gd name="connsiteY13" fmla="*/ 146304 h 567361"/>
                <a:gd name="connsiteX14" fmla="*/ 652246 w 1054582"/>
                <a:gd name="connsiteY14" fmla="*/ 155448 h 567361"/>
                <a:gd name="connsiteX15" fmla="*/ 633958 w 1054582"/>
                <a:gd name="connsiteY15" fmla="*/ 146304 h 567361"/>
                <a:gd name="connsiteX16" fmla="*/ 761974 w 1054582"/>
                <a:gd name="connsiteY16" fmla="*/ 91440 h 567361"/>
                <a:gd name="connsiteX17" fmla="*/ 816838 w 1054582"/>
                <a:gd name="connsiteY17" fmla="*/ 91440 h 567361"/>
                <a:gd name="connsiteX18" fmla="*/ 908278 w 1054582"/>
                <a:gd name="connsiteY18" fmla="*/ 82296 h 567361"/>
                <a:gd name="connsiteX19" fmla="*/ 1036294 w 1054582"/>
                <a:gd name="connsiteY19" fmla="*/ 27432 h 567361"/>
                <a:gd name="connsiteX20" fmla="*/ 1018006 w 1054582"/>
                <a:gd name="connsiteY20" fmla="*/ 0 h 567361"/>
                <a:gd name="connsiteX21" fmla="*/ 981430 w 1054582"/>
                <a:gd name="connsiteY21" fmla="*/ 27432 h 567361"/>
                <a:gd name="connsiteX22" fmla="*/ 944854 w 1054582"/>
                <a:gd name="connsiteY22" fmla="*/ 36576 h 567361"/>
                <a:gd name="connsiteX23" fmla="*/ 871702 w 1054582"/>
                <a:gd name="connsiteY23" fmla="*/ 64008 h 567361"/>
                <a:gd name="connsiteX24" fmla="*/ 816838 w 1054582"/>
                <a:gd name="connsiteY24" fmla="*/ 64008 h 567361"/>
                <a:gd name="connsiteX25" fmla="*/ 707110 w 1054582"/>
                <a:gd name="connsiteY25" fmla="*/ 64008 h 567361"/>
                <a:gd name="connsiteX26" fmla="*/ 652246 w 1054582"/>
                <a:gd name="connsiteY26" fmla="*/ 100584 h 567361"/>
                <a:gd name="connsiteX27" fmla="*/ 615670 w 1054582"/>
                <a:gd name="connsiteY27" fmla="*/ 146304 h 567361"/>
                <a:gd name="connsiteX28" fmla="*/ 569950 w 1054582"/>
                <a:gd name="connsiteY28" fmla="*/ 182880 h 567361"/>
                <a:gd name="connsiteX29" fmla="*/ 524230 w 1054582"/>
                <a:gd name="connsiteY29" fmla="*/ 256032 h 567361"/>
                <a:gd name="connsiteX30" fmla="*/ 451078 w 1054582"/>
                <a:gd name="connsiteY30" fmla="*/ 301752 h 567361"/>
                <a:gd name="connsiteX31" fmla="*/ 350494 w 1054582"/>
                <a:gd name="connsiteY31" fmla="*/ 347472 h 567361"/>
                <a:gd name="connsiteX32" fmla="*/ 313918 w 1054582"/>
                <a:gd name="connsiteY32" fmla="*/ 374904 h 567361"/>
                <a:gd name="connsiteX33" fmla="*/ 268198 w 1054582"/>
                <a:gd name="connsiteY33" fmla="*/ 402336 h 567361"/>
                <a:gd name="connsiteX34" fmla="*/ 249910 w 1054582"/>
                <a:gd name="connsiteY34" fmla="*/ 402336 h 567361"/>
                <a:gd name="connsiteX35" fmla="*/ 268198 w 1054582"/>
                <a:gd name="connsiteY35" fmla="*/ 365760 h 567361"/>
                <a:gd name="connsiteX36" fmla="*/ 323062 w 1054582"/>
                <a:gd name="connsiteY36" fmla="*/ 301752 h 567361"/>
                <a:gd name="connsiteX37" fmla="*/ 414502 w 1054582"/>
                <a:gd name="connsiteY37" fmla="*/ 219456 h 567361"/>
                <a:gd name="connsiteX38" fmla="*/ 460222 w 1054582"/>
                <a:gd name="connsiteY38" fmla="*/ 146304 h 567361"/>
                <a:gd name="connsiteX39" fmla="*/ 460222 w 1054582"/>
                <a:gd name="connsiteY39" fmla="*/ 64008 h 567361"/>
                <a:gd name="connsiteX40" fmla="*/ 451078 w 1054582"/>
                <a:gd name="connsiteY40" fmla="*/ 54864 h 567361"/>
                <a:gd name="connsiteX41" fmla="*/ 441934 w 1054582"/>
                <a:gd name="connsiteY41" fmla="*/ 128016 h 567361"/>
                <a:gd name="connsiteX42" fmla="*/ 414502 w 1054582"/>
                <a:gd name="connsiteY42" fmla="*/ 173736 h 567361"/>
                <a:gd name="connsiteX43" fmla="*/ 341350 w 1054582"/>
                <a:gd name="connsiteY43" fmla="*/ 237744 h 567361"/>
                <a:gd name="connsiteX44" fmla="*/ 313918 w 1054582"/>
                <a:gd name="connsiteY44" fmla="*/ 256032 h 567361"/>
                <a:gd name="connsiteX45" fmla="*/ 240766 w 1054582"/>
                <a:gd name="connsiteY45" fmla="*/ 347472 h 567361"/>
                <a:gd name="connsiteX46" fmla="*/ 231622 w 1054582"/>
                <a:gd name="connsiteY46" fmla="*/ 374904 h 567361"/>
                <a:gd name="connsiteX47" fmla="*/ 222478 w 1054582"/>
                <a:gd name="connsiteY47" fmla="*/ 411480 h 567361"/>
                <a:gd name="connsiteX48" fmla="*/ 240766 w 1054582"/>
                <a:gd name="connsiteY48" fmla="*/ 429768 h 567361"/>
                <a:gd name="connsiteX49" fmla="*/ 195046 w 1054582"/>
                <a:gd name="connsiteY49" fmla="*/ 457200 h 567361"/>
                <a:gd name="connsiteX50" fmla="*/ 48742 w 1054582"/>
                <a:gd name="connsiteY50" fmla="*/ 493776 h 567361"/>
                <a:gd name="connsiteX51" fmla="*/ 3022 w 1054582"/>
                <a:gd name="connsiteY51" fmla="*/ 530352 h 567361"/>
                <a:gd name="connsiteX52" fmla="*/ 37669 w 1054582"/>
                <a:gd name="connsiteY52" fmla="*/ 480583 h 567361"/>
                <a:gd name="connsiteX53" fmla="*/ 21468 w 1054582"/>
                <a:gd name="connsiteY53" fmla="*/ 555040 h 567361"/>
                <a:gd name="connsiteX54" fmla="*/ 19041 w 1054582"/>
                <a:gd name="connsiteY54" fmla="*/ 554512 h 567361"/>
                <a:gd name="connsiteX55" fmla="*/ 112127 w 1054582"/>
                <a:gd name="connsiteY55" fmla="*/ 496784 h 567361"/>
                <a:gd name="connsiteX0" fmla="*/ 112127 w 1054582"/>
                <a:gd name="connsiteY0" fmla="*/ 496784 h 558851"/>
                <a:gd name="connsiteX1" fmla="*/ 21468 w 1054582"/>
                <a:gd name="connsiteY1" fmla="*/ 555041 h 558851"/>
                <a:gd name="connsiteX2" fmla="*/ 21310 w 1054582"/>
                <a:gd name="connsiteY2" fmla="*/ 548640 h 558851"/>
                <a:gd name="connsiteX3" fmla="*/ 149326 w 1054582"/>
                <a:gd name="connsiteY3" fmla="*/ 493776 h 558851"/>
                <a:gd name="connsiteX4" fmla="*/ 249910 w 1054582"/>
                <a:gd name="connsiteY4" fmla="*/ 466344 h 558851"/>
                <a:gd name="connsiteX5" fmla="*/ 350494 w 1054582"/>
                <a:gd name="connsiteY5" fmla="*/ 384048 h 558851"/>
                <a:gd name="connsiteX6" fmla="*/ 542518 w 1054582"/>
                <a:gd name="connsiteY6" fmla="*/ 301752 h 558851"/>
                <a:gd name="connsiteX7" fmla="*/ 624814 w 1054582"/>
                <a:gd name="connsiteY7" fmla="*/ 192024 h 558851"/>
                <a:gd name="connsiteX8" fmla="*/ 771118 w 1054582"/>
                <a:gd name="connsiteY8" fmla="*/ 155448 h 558851"/>
                <a:gd name="connsiteX9" fmla="*/ 816838 w 1054582"/>
                <a:gd name="connsiteY9" fmla="*/ 155448 h 558851"/>
                <a:gd name="connsiteX10" fmla="*/ 853414 w 1054582"/>
                <a:gd name="connsiteY10" fmla="*/ 137160 h 558851"/>
                <a:gd name="connsiteX11" fmla="*/ 807694 w 1054582"/>
                <a:gd name="connsiteY11" fmla="*/ 137160 h 558851"/>
                <a:gd name="connsiteX12" fmla="*/ 716254 w 1054582"/>
                <a:gd name="connsiteY12" fmla="*/ 137160 h 558851"/>
                <a:gd name="connsiteX13" fmla="*/ 661390 w 1054582"/>
                <a:gd name="connsiteY13" fmla="*/ 146304 h 558851"/>
                <a:gd name="connsiteX14" fmla="*/ 652246 w 1054582"/>
                <a:gd name="connsiteY14" fmla="*/ 155448 h 558851"/>
                <a:gd name="connsiteX15" fmla="*/ 633958 w 1054582"/>
                <a:gd name="connsiteY15" fmla="*/ 146304 h 558851"/>
                <a:gd name="connsiteX16" fmla="*/ 761974 w 1054582"/>
                <a:gd name="connsiteY16" fmla="*/ 91440 h 558851"/>
                <a:gd name="connsiteX17" fmla="*/ 816838 w 1054582"/>
                <a:gd name="connsiteY17" fmla="*/ 91440 h 558851"/>
                <a:gd name="connsiteX18" fmla="*/ 908278 w 1054582"/>
                <a:gd name="connsiteY18" fmla="*/ 82296 h 558851"/>
                <a:gd name="connsiteX19" fmla="*/ 1036294 w 1054582"/>
                <a:gd name="connsiteY19" fmla="*/ 27432 h 558851"/>
                <a:gd name="connsiteX20" fmla="*/ 1018006 w 1054582"/>
                <a:gd name="connsiteY20" fmla="*/ 0 h 558851"/>
                <a:gd name="connsiteX21" fmla="*/ 981430 w 1054582"/>
                <a:gd name="connsiteY21" fmla="*/ 27432 h 558851"/>
                <a:gd name="connsiteX22" fmla="*/ 944854 w 1054582"/>
                <a:gd name="connsiteY22" fmla="*/ 36576 h 558851"/>
                <a:gd name="connsiteX23" fmla="*/ 871702 w 1054582"/>
                <a:gd name="connsiteY23" fmla="*/ 64008 h 558851"/>
                <a:gd name="connsiteX24" fmla="*/ 816838 w 1054582"/>
                <a:gd name="connsiteY24" fmla="*/ 64008 h 558851"/>
                <a:gd name="connsiteX25" fmla="*/ 707110 w 1054582"/>
                <a:gd name="connsiteY25" fmla="*/ 64008 h 558851"/>
                <a:gd name="connsiteX26" fmla="*/ 652246 w 1054582"/>
                <a:gd name="connsiteY26" fmla="*/ 100584 h 558851"/>
                <a:gd name="connsiteX27" fmla="*/ 615670 w 1054582"/>
                <a:gd name="connsiteY27" fmla="*/ 146304 h 558851"/>
                <a:gd name="connsiteX28" fmla="*/ 569950 w 1054582"/>
                <a:gd name="connsiteY28" fmla="*/ 182880 h 558851"/>
                <a:gd name="connsiteX29" fmla="*/ 524230 w 1054582"/>
                <a:gd name="connsiteY29" fmla="*/ 256032 h 558851"/>
                <a:gd name="connsiteX30" fmla="*/ 451078 w 1054582"/>
                <a:gd name="connsiteY30" fmla="*/ 301752 h 558851"/>
                <a:gd name="connsiteX31" fmla="*/ 350494 w 1054582"/>
                <a:gd name="connsiteY31" fmla="*/ 347472 h 558851"/>
                <a:gd name="connsiteX32" fmla="*/ 313918 w 1054582"/>
                <a:gd name="connsiteY32" fmla="*/ 374904 h 558851"/>
                <a:gd name="connsiteX33" fmla="*/ 268198 w 1054582"/>
                <a:gd name="connsiteY33" fmla="*/ 402336 h 558851"/>
                <a:gd name="connsiteX34" fmla="*/ 249910 w 1054582"/>
                <a:gd name="connsiteY34" fmla="*/ 402336 h 558851"/>
                <a:gd name="connsiteX35" fmla="*/ 268198 w 1054582"/>
                <a:gd name="connsiteY35" fmla="*/ 365760 h 558851"/>
                <a:gd name="connsiteX36" fmla="*/ 323062 w 1054582"/>
                <a:gd name="connsiteY36" fmla="*/ 301752 h 558851"/>
                <a:gd name="connsiteX37" fmla="*/ 414502 w 1054582"/>
                <a:gd name="connsiteY37" fmla="*/ 219456 h 558851"/>
                <a:gd name="connsiteX38" fmla="*/ 460222 w 1054582"/>
                <a:gd name="connsiteY38" fmla="*/ 146304 h 558851"/>
                <a:gd name="connsiteX39" fmla="*/ 460222 w 1054582"/>
                <a:gd name="connsiteY39" fmla="*/ 64008 h 558851"/>
                <a:gd name="connsiteX40" fmla="*/ 451078 w 1054582"/>
                <a:gd name="connsiteY40" fmla="*/ 54864 h 558851"/>
                <a:gd name="connsiteX41" fmla="*/ 441934 w 1054582"/>
                <a:gd name="connsiteY41" fmla="*/ 128016 h 558851"/>
                <a:gd name="connsiteX42" fmla="*/ 414502 w 1054582"/>
                <a:gd name="connsiteY42" fmla="*/ 173736 h 558851"/>
                <a:gd name="connsiteX43" fmla="*/ 341350 w 1054582"/>
                <a:gd name="connsiteY43" fmla="*/ 237744 h 558851"/>
                <a:gd name="connsiteX44" fmla="*/ 313918 w 1054582"/>
                <a:gd name="connsiteY44" fmla="*/ 256032 h 558851"/>
                <a:gd name="connsiteX45" fmla="*/ 240766 w 1054582"/>
                <a:gd name="connsiteY45" fmla="*/ 347472 h 558851"/>
                <a:gd name="connsiteX46" fmla="*/ 231622 w 1054582"/>
                <a:gd name="connsiteY46" fmla="*/ 374904 h 558851"/>
                <a:gd name="connsiteX47" fmla="*/ 222478 w 1054582"/>
                <a:gd name="connsiteY47" fmla="*/ 411480 h 558851"/>
                <a:gd name="connsiteX48" fmla="*/ 240766 w 1054582"/>
                <a:gd name="connsiteY48" fmla="*/ 429768 h 558851"/>
                <a:gd name="connsiteX49" fmla="*/ 195046 w 1054582"/>
                <a:gd name="connsiteY49" fmla="*/ 457200 h 558851"/>
                <a:gd name="connsiteX50" fmla="*/ 48742 w 1054582"/>
                <a:gd name="connsiteY50" fmla="*/ 493776 h 558851"/>
                <a:gd name="connsiteX51" fmla="*/ 3022 w 1054582"/>
                <a:gd name="connsiteY51" fmla="*/ 530352 h 558851"/>
                <a:gd name="connsiteX52" fmla="*/ 37669 w 1054582"/>
                <a:gd name="connsiteY52" fmla="*/ 480583 h 558851"/>
                <a:gd name="connsiteX53" fmla="*/ 21468 w 1054582"/>
                <a:gd name="connsiteY53" fmla="*/ 555040 h 558851"/>
                <a:gd name="connsiteX54" fmla="*/ 37669 w 1054582"/>
                <a:gd name="connsiteY54" fmla="*/ 480583 h 558851"/>
                <a:gd name="connsiteX55" fmla="*/ 112127 w 1054582"/>
                <a:gd name="connsiteY55" fmla="*/ 496784 h 558851"/>
                <a:gd name="connsiteX0" fmla="*/ 112127 w 1054582"/>
                <a:gd name="connsiteY0" fmla="*/ 496784 h 558851"/>
                <a:gd name="connsiteX1" fmla="*/ 21468 w 1054582"/>
                <a:gd name="connsiteY1" fmla="*/ 555041 h 558851"/>
                <a:gd name="connsiteX2" fmla="*/ 21310 w 1054582"/>
                <a:gd name="connsiteY2" fmla="*/ 548640 h 558851"/>
                <a:gd name="connsiteX3" fmla="*/ 149326 w 1054582"/>
                <a:gd name="connsiteY3" fmla="*/ 493776 h 558851"/>
                <a:gd name="connsiteX4" fmla="*/ 249910 w 1054582"/>
                <a:gd name="connsiteY4" fmla="*/ 466344 h 558851"/>
                <a:gd name="connsiteX5" fmla="*/ 350494 w 1054582"/>
                <a:gd name="connsiteY5" fmla="*/ 384048 h 558851"/>
                <a:gd name="connsiteX6" fmla="*/ 542518 w 1054582"/>
                <a:gd name="connsiteY6" fmla="*/ 301752 h 558851"/>
                <a:gd name="connsiteX7" fmla="*/ 624814 w 1054582"/>
                <a:gd name="connsiteY7" fmla="*/ 192024 h 558851"/>
                <a:gd name="connsiteX8" fmla="*/ 771118 w 1054582"/>
                <a:gd name="connsiteY8" fmla="*/ 155448 h 558851"/>
                <a:gd name="connsiteX9" fmla="*/ 816838 w 1054582"/>
                <a:gd name="connsiteY9" fmla="*/ 155448 h 558851"/>
                <a:gd name="connsiteX10" fmla="*/ 853414 w 1054582"/>
                <a:gd name="connsiteY10" fmla="*/ 137160 h 558851"/>
                <a:gd name="connsiteX11" fmla="*/ 807694 w 1054582"/>
                <a:gd name="connsiteY11" fmla="*/ 137160 h 558851"/>
                <a:gd name="connsiteX12" fmla="*/ 716254 w 1054582"/>
                <a:gd name="connsiteY12" fmla="*/ 137160 h 558851"/>
                <a:gd name="connsiteX13" fmla="*/ 661390 w 1054582"/>
                <a:gd name="connsiteY13" fmla="*/ 146304 h 558851"/>
                <a:gd name="connsiteX14" fmla="*/ 652246 w 1054582"/>
                <a:gd name="connsiteY14" fmla="*/ 155448 h 558851"/>
                <a:gd name="connsiteX15" fmla="*/ 633958 w 1054582"/>
                <a:gd name="connsiteY15" fmla="*/ 146304 h 558851"/>
                <a:gd name="connsiteX16" fmla="*/ 761974 w 1054582"/>
                <a:gd name="connsiteY16" fmla="*/ 91440 h 558851"/>
                <a:gd name="connsiteX17" fmla="*/ 816838 w 1054582"/>
                <a:gd name="connsiteY17" fmla="*/ 91440 h 558851"/>
                <a:gd name="connsiteX18" fmla="*/ 908278 w 1054582"/>
                <a:gd name="connsiteY18" fmla="*/ 82296 h 558851"/>
                <a:gd name="connsiteX19" fmla="*/ 1036294 w 1054582"/>
                <a:gd name="connsiteY19" fmla="*/ 27432 h 558851"/>
                <a:gd name="connsiteX20" fmla="*/ 1018006 w 1054582"/>
                <a:gd name="connsiteY20" fmla="*/ 0 h 558851"/>
                <a:gd name="connsiteX21" fmla="*/ 981430 w 1054582"/>
                <a:gd name="connsiteY21" fmla="*/ 27432 h 558851"/>
                <a:gd name="connsiteX22" fmla="*/ 944854 w 1054582"/>
                <a:gd name="connsiteY22" fmla="*/ 36576 h 558851"/>
                <a:gd name="connsiteX23" fmla="*/ 871702 w 1054582"/>
                <a:gd name="connsiteY23" fmla="*/ 64008 h 558851"/>
                <a:gd name="connsiteX24" fmla="*/ 816838 w 1054582"/>
                <a:gd name="connsiteY24" fmla="*/ 64008 h 558851"/>
                <a:gd name="connsiteX25" fmla="*/ 707110 w 1054582"/>
                <a:gd name="connsiteY25" fmla="*/ 64008 h 558851"/>
                <a:gd name="connsiteX26" fmla="*/ 652246 w 1054582"/>
                <a:gd name="connsiteY26" fmla="*/ 100584 h 558851"/>
                <a:gd name="connsiteX27" fmla="*/ 615670 w 1054582"/>
                <a:gd name="connsiteY27" fmla="*/ 146304 h 558851"/>
                <a:gd name="connsiteX28" fmla="*/ 569950 w 1054582"/>
                <a:gd name="connsiteY28" fmla="*/ 182880 h 558851"/>
                <a:gd name="connsiteX29" fmla="*/ 524230 w 1054582"/>
                <a:gd name="connsiteY29" fmla="*/ 256032 h 558851"/>
                <a:gd name="connsiteX30" fmla="*/ 451078 w 1054582"/>
                <a:gd name="connsiteY30" fmla="*/ 301752 h 558851"/>
                <a:gd name="connsiteX31" fmla="*/ 350494 w 1054582"/>
                <a:gd name="connsiteY31" fmla="*/ 347472 h 558851"/>
                <a:gd name="connsiteX32" fmla="*/ 313918 w 1054582"/>
                <a:gd name="connsiteY32" fmla="*/ 374904 h 558851"/>
                <a:gd name="connsiteX33" fmla="*/ 268198 w 1054582"/>
                <a:gd name="connsiteY33" fmla="*/ 402336 h 558851"/>
                <a:gd name="connsiteX34" fmla="*/ 249910 w 1054582"/>
                <a:gd name="connsiteY34" fmla="*/ 402336 h 558851"/>
                <a:gd name="connsiteX35" fmla="*/ 268198 w 1054582"/>
                <a:gd name="connsiteY35" fmla="*/ 365760 h 558851"/>
                <a:gd name="connsiteX36" fmla="*/ 323062 w 1054582"/>
                <a:gd name="connsiteY36" fmla="*/ 301752 h 558851"/>
                <a:gd name="connsiteX37" fmla="*/ 414502 w 1054582"/>
                <a:gd name="connsiteY37" fmla="*/ 219456 h 558851"/>
                <a:gd name="connsiteX38" fmla="*/ 460222 w 1054582"/>
                <a:gd name="connsiteY38" fmla="*/ 146304 h 558851"/>
                <a:gd name="connsiteX39" fmla="*/ 460222 w 1054582"/>
                <a:gd name="connsiteY39" fmla="*/ 64008 h 558851"/>
                <a:gd name="connsiteX40" fmla="*/ 451078 w 1054582"/>
                <a:gd name="connsiteY40" fmla="*/ 54864 h 558851"/>
                <a:gd name="connsiteX41" fmla="*/ 441934 w 1054582"/>
                <a:gd name="connsiteY41" fmla="*/ 128016 h 558851"/>
                <a:gd name="connsiteX42" fmla="*/ 414502 w 1054582"/>
                <a:gd name="connsiteY42" fmla="*/ 173736 h 558851"/>
                <a:gd name="connsiteX43" fmla="*/ 341350 w 1054582"/>
                <a:gd name="connsiteY43" fmla="*/ 237744 h 558851"/>
                <a:gd name="connsiteX44" fmla="*/ 313918 w 1054582"/>
                <a:gd name="connsiteY44" fmla="*/ 256032 h 558851"/>
                <a:gd name="connsiteX45" fmla="*/ 240766 w 1054582"/>
                <a:gd name="connsiteY45" fmla="*/ 347472 h 558851"/>
                <a:gd name="connsiteX46" fmla="*/ 231622 w 1054582"/>
                <a:gd name="connsiteY46" fmla="*/ 374904 h 558851"/>
                <a:gd name="connsiteX47" fmla="*/ 222478 w 1054582"/>
                <a:gd name="connsiteY47" fmla="*/ 411480 h 558851"/>
                <a:gd name="connsiteX48" fmla="*/ 240766 w 1054582"/>
                <a:gd name="connsiteY48" fmla="*/ 429768 h 558851"/>
                <a:gd name="connsiteX49" fmla="*/ 195046 w 1054582"/>
                <a:gd name="connsiteY49" fmla="*/ 457200 h 558851"/>
                <a:gd name="connsiteX50" fmla="*/ 48742 w 1054582"/>
                <a:gd name="connsiteY50" fmla="*/ 493776 h 558851"/>
                <a:gd name="connsiteX51" fmla="*/ 3022 w 1054582"/>
                <a:gd name="connsiteY51" fmla="*/ 530352 h 558851"/>
                <a:gd name="connsiteX52" fmla="*/ 37669 w 1054582"/>
                <a:gd name="connsiteY52" fmla="*/ 480583 h 558851"/>
                <a:gd name="connsiteX53" fmla="*/ 21468 w 1054582"/>
                <a:gd name="connsiteY53" fmla="*/ 555040 h 558851"/>
                <a:gd name="connsiteX54" fmla="*/ 112127 w 1054582"/>
                <a:gd name="connsiteY54" fmla="*/ 496784 h 558851"/>
                <a:gd name="connsiteX55" fmla="*/ 112127 w 1054582"/>
                <a:gd name="connsiteY55" fmla="*/ 496784 h 558851"/>
                <a:gd name="connsiteX0" fmla="*/ 112127 w 1054582"/>
                <a:gd name="connsiteY0" fmla="*/ 496784 h 558851"/>
                <a:gd name="connsiteX1" fmla="*/ 21468 w 1054582"/>
                <a:gd name="connsiteY1" fmla="*/ 555041 h 558851"/>
                <a:gd name="connsiteX2" fmla="*/ 21310 w 1054582"/>
                <a:gd name="connsiteY2" fmla="*/ 548640 h 558851"/>
                <a:gd name="connsiteX3" fmla="*/ 149326 w 1054582"/>
                <a:gd name="connsiteY3" fmla="*/ 493776 h 558851"/>
                <a:gd name="connsiteX4" fmla="*/ 249910 w 1054582"/>
                <a:gd name="connsiteY4" fmla="*/ 466344 h 558851"/>
                <a:gd name="connsiteX5" fmla="*/ 350494 w 1054582"/>
                <a:gd name="connsiteY5" fmla="*/ 384048 h 558851"/>
                <a:gd name="connsiteX6" fmla="*/ 542518 w 1054582"/>
                <a:gd name="connsiteY6" fmla="*/ 301752 h 558851"/>
                <a:gd name="connsiteX7" fmla="*/ 624814 w 1054582"/>
                <a:gd name="connsiteY7" fmla="*/ 192024 h 558851"/>
                <a:gd name="connsiteX8" fmla="*/ 771118 w 1054582"/>
                <a:gd name="connsiteY8" fmla="*/ 155448 h 558851"/>
                <a:gd name="connsiteX9" fmla="*/ 816838 w 1054582"/>
                <a:gd name="connsiteY9" fmla="*/ 155448 h 558851"/>
                <a:gd name="connsiteX10" fmla="*/ 853414 w 1054582"/>
                <a:gd name="connsiteY10" fmla="*/ 137160 h 558851"/>
                <a:gd name="connsiteX11" fmla="*/ 807694 w 1054582"/>
                <a:gd name="connsiteY11" fmla="*/ 137160 h 558851"/>
                <a:gd name="connsiteX12" fmla="*/ 716254 w 1054582"/>
                <a:gd name="connsiteY12" fmla="*/ 137160 h 558851"/>
                <a:gd name="connsiteX13" fmla="*/ 661390 w 1054582"/>
                <a:gd name="connsiteY13" fmla="*/ 146304 h 558851"/>
                <a:gd name="connsiteX14" fmla="*/ 652246 w 1054582"/>
                <a:gd name="connsiteY14" fmla="*/ 155448 h 558851"/>
                <a:gd name="connsiteX15" fmla="*/ 633958 w 1054582"/>
                <a:gd name="connsiteY15" fmla="*/ 146304 h 558851"/>
                <a:gd name="connsiteX16" fmla="*/ 761974 w 1054582"/>
                <a:gd name="connsiteY16" fmla="*/ 91440 h 558851"/>
                <a:gd name="connsiteX17" fmla="*/ 816838 w 1054582"/>
                <a:gd name="connsiteY17" fmla="*/ 91440 h 558851"/>
                <a:gd name="connsiteX18" fmla="*/ 908278 w 1054582"/>
                <a:gd name="connsiteY18" fmla="*/ 82296 h 558851"/>
                <a:gd name="connsiteX19" fmla="*/ 1036294 w 1054582"/>
                <a:gd name="connsiteY19" fmla="*/ 27432 h 558851"/>
                <a:gd name="connsiteX20" fmla="*/ 1018006 w 1054582"/>
                <a:gd name="connsiteY20" fmla="*/ 0 h 558851"/>
                <a:gd name="connsiteX21" fmla="*/ 981430 w 1054582"/>
                <a:gd name="connsiteY21" fmla="*/ 27432 h 558851"/>
                <a:gd name="connsiteX22" fmla="*/ 944854 w 1054582"/>
                <a:gd name="connsiteY22" fmla="*/ 36576 h 558851"/>
                <a:gd name="connsiteX23" fmla="*/ 871702 w 1054582"/>
                <a:gd name="connsiteY23" fmla="*/ 64008 h 558851"/>
                <a:gd name="connsiteX24" fmla="*/ 816838 w 1054582"/>
                <a:gd name="connsiteY24" fmla="*/ 64008 h 558851"/>
                <a:gd name="connsiteX25" fmla="*/ 707110 w 1054582"/>
                <a:gd name="connsiteY25" fmla="*/ 64008 h 558851"/>
                <a:gd name="connsiteX26" fmla="*/ 652246 w 1054582"/>
                <a:gd name="connsiteY26" fmla="*/ 100584 h 558851"/>
                <a:gd name="connsiteX27" fmla="*/ 615670 w 1054582"/>
                <a:gd name="connsiteY27" fmla="*/ 146304 h 558851"/>
                <a:gd name="connsiteX28" fmla="*/ 569950 w 1054582"/>
                <a:gd name="connsiteY28" fmla="*/ 182880 h 558851"/>
                <a:gd name="connsiteX29" fmla="*/ 524230 w 1054582"/>
                <a:gd name="connsiteY29" fmla="*/ 256032 h 558851"/>
                <a:gd name="connsiteX30" fmla="*/ 451078 w 1054582"/>
                <a:gd name="connsiteY30" fmla="*/ 301752 h 558851"/>
                <a:gd name="connsiteX31" fmla="*/ 350494 w 1054582"/>
                <a:gd name="connsiteY31" fmla="*/ 347472 h 558851"/>
                <a:gd name="connsiteX32" fmla="*/ 313918 w 1054582"/>
                <a:gd name="connsiteY32" fmla="*/ 374904 h 558851"/>
                <a:gd name="connsiteX33" fmla="*/ 268198 w 1054582"/>
                <a:gd name="connsiteY33" fmla="*/ 402336 h 558851"/>
                <a:gd name="connsiteX34" fmla="*/ 249910 w 1054582"/>
                <a:gd name="connsiteY34" fmla="*/ 402336 h 558851"/>
                <a:gd name="connsiteX35" fmla="*/ 268198 w 1054582"/>
                <a:gd name="connsiteY35" fmla="*/ 365760 h 558851"/>
                <a:gd name="connsiteX36" fmla="*/ 323062 w 1054582"/>
                <a:gd name="connsiteY36" fmla="*/ 301752 h 558851"/>
                <a:gd name="connsiteX37" fmla="*/ 414502 w 1054582"/>
                <a:gd name="connsiteY37" fmla="*/ 219456 h 558851"/>
                <a:gd name="connsiteX38" fmla="*/ 460222 w 1054582"/>
                <a:gd name="connsiteY38" fmla="*/ 146304 h 558851"/>
                <a:gd name="connsiteX39" fmla="*/ 460222 w 1054582"/>
                <a:gd name="connsiteY39" fmla="*/ 64008 h 558851"/>
                <a:gd name="connsiteX40" fmla="*/ 451078 w 1054582"/>
                <a:gd name="connsiteY40" fmla="*/ 54864 h 558851"/>
                <a:gd name="connsiteX41" fmla="*/ 441934 w 1054582"/>
                <a:gd name="connsiteY41" fmla="*/ 128016 h 558851"/>
                <a:gd name="connsiteX42" fmla="*/ 414502 w 1054582"/>
                <a:gd name="connsiteY42" fmla="*/ 173736 h 558851"/>
                <a:gd name="connsiteX43" fmla="*/ 341350 w 1054582"/>
                <a:gd name="connsiteY43" fmla="*/ 237744 h 558851"/>
                <a:gd name="connsiteX44" fmla="*/ 313918 w 1054582"/>
                <a:gd name="connsiteY44" fmla="*/ 256032 h 558851"/>
                <a:gd name="connsiteX45" fmla="*/ 240766 w 1054582"/>
                <a:gd name="connsiteY45" fmla="*/ 347472 h 558851"/>
                <a:gd name="connsiteX46" fmla="*/ 231622 w 1054582"/>
                <a:gd name="connsiteY46" fmla="*/ 374904 h 558851"/>
                <a:gd name="connsiteX47" fmla="*/ 222478 w 1054582"/>
                <a:gd name="connsiteY47" fmla="*/ 411480 h 558851"/>
                <a:gd name="connsiteX48" fmla="*/ 240766 w 1054582"/>
                <a:gd name="connsiteY48" fmla="*/ 429768 h 558851"/>
                <a:gd name="connsiteX49" fmla="*/ 195046 w 1054582"/>
                <a:gd name="connsiteY49" fmla="*/ 457200 h 558851"/>
                <a:gd name="connsiteX50" fmla="*/ 48742 w 1054582"/>
                <a:gd name="connsiteY50" fmla="*/ 493776 h 558851"/>
                <a:gd name="connsiteX51" fmla="*/ 3022 w 1054582"/>
                <a:gd name="connsiteY51" fmla="*/ 530352 h 558851"/>
                <a:gd name="connsiteX52" fmla="*/ 37669 w 1054582"/>
                <a:gd name="connsiteY52" fmla="*/ 480583 h 558851"/>
                <a:gd name="connsiteX53" fmla="*/ 112127 w 1054582"/>
                <a:gd name="connsiteY53" fmla="*/ 496784 h 558851"/>
                <a:gd name="connsiteX54" fmla="*/ 112127 w 1054582"/>
                <a:gd name="connsiteY54" fmla="*/ 496784 h 558851"/>
                <a:gd name="connsiteX55" fmla="*/ 112127 w 1054582"/>
                <a:gd name="connsiteY55" fmla="*/ 496784 h 558851"/>
                <a:gd name="connsiteX0" fmla="*/ 112127 w 1054582"/>
                <a:gd name="connsiteY0" fmla="*/ 496784 h 558851"/>
                <a:gd name="connsiteX1" fmla="*/ 21468 w 1054582"/>
                <a:gd name="connsiteY1" fmla="*/ 555041 h 558851"/>
                <a:gd name="connsiteX2" fmla="*/ 21310 w 1054582"/>
                <a:gd name="connsiteY2" fmla="*/ 548640 h 558851"/>
                <a:gd name="connsiteX3" fmla="*/ 149326 w 1054582"/>
                <a:gd name="connsiteY3" fmla="*/ 493776 h 558851"/>
                <a:gd name="connsiteX4" fmla="*/ 249910 w 1054582"/>
                <a:gd name="connsiteY4" fmla="*/ 466344 h 558851"/>
                <a:gd name="connsiteX5" fmla="*/ 350494 w 1054582"/>
                <a:gd name="connsiteY5" fmla="*/ 384048 h 558851"/>
                <a:gd name="connsiteX6" fmla="*/ 542518 w 1054582"/>
                <a:gd name="connsiteY6" fmla="*/ 301752 h 558851"/>
                <a:gd name="connsiteX7" fmla="*/ 624814 w 1054582"/>
                <a:gd name="connsiteY7" fmla="*/ 192024 h 558851"/>
                <a:gd name="connsiteX8" fmla="*/ 771118 w 1054582"/>
                <a:gd name="connsiteY8" fmla="*/ 155448 h 558851"/>
                <a:gd name="connsiteX9" fmla="*/ 816838 w 1054582"/>
                <a:gd name="connsiteY9" fmla="*/ 155448 h 558851"/>
                <a:gd name="connsiteX10" fmla="*/ 853414 w 1054582"/>
                <a:gd name="connsiteY10" fmla="*/ 137160 h 558851"/>
                <a:gd name="connsiteX11" fmla="*/ 807694 w 1054582"/>
                <a:gd name="connsiteY11" fmla="*/ 137160 h 558851"/>
                <a:gd name="connsiteX12" fmla="*/ 716254 w 1054582"/>
                <a:gd name="connsiteY12" fmla="*/ 137160 h 558851"/>
                <a:gd name="connsiteX13" fmla="*/ 661390 w 1054582"/>
                <a:gd name="connsiteY13" fmla="*/ 146304 h 558851"/>
                <a:gd name="connsiteX14" fmla="*/ 652246 w 1054582"/>
                <a:gd name="connsiteY14" fmla="*/ 155448 h 558851"/>
                <a:gd name="connsiteX15" fmla="*/ 633958 w 1054582"/>
                <a:gd name="connsiteY15" fmla="*/ 146304 h 558851"/>
                <a:gd name="connsiteX16" fmla="*/ 761974 w 1054582"/>
                <a:gd name="connsiteY16" fmla="*/ 91440 h 558851"/>
                <a:gd name="connsiteX17" fmla="*/ 816838 w 1054582"/>
                <a:gd name="connsiteY17" fmla="*/ 91440 h 558851"/>
                <a:gd name="connsiteX18" fmla="*/ 908278 w 1054582"/>
                <a:gd name="connsiteY18" fmla="*/ 82296 h 558851"/>
                <a:gd name="connsiteX19" fmla="*/ 1036294 w 1054582"/>
                <a:gd name="connsiteY19" fmla="*/ 27432 h 558851"/>
                <a:gd name="connsiteX20" fmla="*/ 1018006 w 1054582"/>
                <a:gd name="connsiteY20" fmla="*/ 0 h 558851"/>
                <a:gd name="connsiteX21" fmla="*/ 981430 w 1054582"/>
                <a:gd name="connsiteY21" fmla="*/ 27432 h 558851"/>
                <a:gd name="connsiteX22" fmla="*/ 944854 w 1054582"/>
                <a:gd name="connsiteY22" fmla="*/ 36576 h 558851"/>
                <a:gd name="connsiteX23" fmla="*/ 871702 w 1054582"/>
                <a:gd name="connsiteY23" fmla="*/ 64008 h 558851"/>
                <a:gd name="connsiteX24" fmla="*/ 816838 w 1054582"/>
                <a:gd name="connsiteY24" fmla="*/ 64008 h 558851"/>
                <a:gd name="connsiteX25" fmla="*/ 707110 w 1054582"/>
                <a:gd name="connsiteY25" fmla="*/ 64008 h 558851"/>
                <a:gd name="connsiteX26" fmla="*/ 652246 w 1054582"/>
                <a:gd name="connsiteY26" fmla="*/ 100584 h 558851"/>
                <a:gd name="connsiteX27" fmla="*/ 615670 w 1054582"/>
                <a:gd name="connsiteY27" fmla="*/ 146304 h 558851"/>
                <a:gd name="connsiteX28" fmla="*/ 569950 w 1054582"/>
                <a:gd name="connsiteY28" fmla="*/ 182880 h 558851"/>
                <a:gd name="connsiteX29" fmla="*/ 524230 w 1054582"/>
                <a:gd name="connsiteY29" fmla="*/ 256032 h 558851"/>
                <a:gd name="connsiteX30" fmla="*/ 451078 w 1054582"/>
                <a:gd name="connsiteY30" fmla="*/ 301752 h 558851"/>
                <a:gd name="connsiteX31" fmla="*/ 350494 w 1054582"/>
                <a:gd name="connsiteY31" fmla="*/ 347472 h 558851"/>
                <a:gd name="connsiteX32" fmla="*/ 313918 w 1054582"/>
                <a:gd name="connsiteY32" fmla="*/ 374904 h 558851"/>
                <a:gd name="connsiteX33" fmla="*/ 268198 w 1054582"/>
                <a:gd name="connsiteY33" fmla="*/ 402336 h 558851"/>
                <a:gd name="connsiteX34" fmla="*/ 249910 w 1054582"/>
                <a:gd name="connsiteY34" fmla="*/ 402336 h 558851"/>
                <a:gd name="connsiteX35" fmla="*/ 268198 w 1054582"/>
                <a:gd name="connsiteY35" fmla="*/ 365760 h 558851"/>
                <a:gd name="connsiteX36" fmla="*/ 323062 w 1054582"/>
                <a:gd name="connsiteY36" fmla="*/ 301752 h 558851"/>
                <a:gd name="connsiteX37" fmla="*/ 414502 w 1054582"/>
                <a:gd name="connsiteY37" fmla="*/ 219456 h 558851"/>
                <a:gd name="connsiteX38" fmla="*/ 460222 w 1054582"/>
                <a:gd name="connsiteY38" fmla="*/ 146304 h 558851"/>
                <a:gd name="connsiteX39" fmla="*/ 460222 w 1054582"/>
                <a:gd name="connsiteY39" fmla="*/ 64008 h 558851"/>
                <a:gd name="connsiteX40" fmla="*/ 451078 w 1054582"/>
                <a:gd name="connsiteY40" fmla="*/ 54864 h 558851"/>
                <a:gd name="connsiteX41" fmla="*/ 441934 w 1054582"/>
                <a:gd name="connsiteY41" fmla="*/ 128016 h 558851"/>
                <a:gd name="connsiteX42" fmla="*/ 414502 w 1054582"/>
                <a:gd name="connsiteY42" fmla="*/ 173736 h 558851"/>
                <a:gd name="connsiteX43" fmla="*/ 341350 w 1054582"/>
                <a:gd name="connsiteY43" fmla="*/ 237744 h 558851"/>
                <a:gd name="connsiteX44" fmla="*/ 313918 w 1054582"/>
                <a:gd name="connsiteY44" fmla="*/ 256032 h 558851"/>
                <a:gd name="connsiteX45" fmla="*/ 240766 w 1054582"/>
                <a:gd name="connsiteY45" fmla="*/ 347472 h 558851"/>
                <a:gd name="connsiteX46" fmla="*/ 231622 w 1054582"/>
                <a:gd name="connsiteY46" fmla="*/ 374904 h 558851"/>
                <a:gd name="connsiteX47" fmla="*/ 222478 w 1054582"/>
                <a:gd name="connsiteY47" fmla="*/ 411480 h 558851"/>
                <a:gd name="connsiteX48" fmla="*/ 240766 w 1054582"/>
                <a:gd name="connsiteY48" fmla="*/ 429768 h 558851"/>
                <a:gd name="connsiteX49" fmla="*/ 195046 w 1054582"/>
                <a:gd name="connsiteY49" fmla="*/ 457200 h 558851"/>
                <a:gd name="connsiteX50" fmla="*/ 48742 w 1054582"/>
                <a:gd name="connsiteY50" fmla="*/ 493776 h 558851"/>
                <a:gd name="connsiteX51" fmla="*/ 37668 w 1054582"/>
                <a:gd name="connsiteY51" fmla="*/ 480583 h 558851"/>
                <a:gd name="connsiteX52" fmla="*/ 37669 w 1054582"/>
                <a:gd name="connsiteY52" fmla="*/ 480583 h 558851"/>
                <a:gd name="connsiteX53" fmla="*/ 112127 w 1054582"/>
                <a:gd name="connsiteY53" fmla="*/ 496784 h 558851"/>
                <a:gd name="connsiteX54" fmla="*/ 112127 w 1054582"/>
                <a:gd name="connsiteY54" fmla="*/ 496784 h 558851"/>
                <a:gd name="connsiteX55" fmla="*/ 112127 w 1054582"/>
                <a:gd name="connsiteY55" fmla="*/ 496784 h 558851"/>
                <a:gd name="connsiteX0" fmla="*/ 90659 w 1033114"/>
                <a:gd name="connsiteY0" fmla="*/ 496784 h 555041"/>
                <a:gd name="connsiteX1" fmla="*/ 0 w 1033114"/>
                <a:gd name="connsiteY1" fmla="*/ 555041 h 555041"/>
                <a:gd name="connsiteX2" fmla="*/ 90659 w 1033114"/>
                <a:gd name="connsiteY2" fmla="*/ 496784 h 555041"/>
                <a:gd name="connsiteX3" fmla="*/ 127858 w 1033114"/>
                <a:gd name="connsiteY3" fmla="*/ 493776 h 555041"/>
                <a:gd name="connsiteX4" fmla="*/ 228442 w 1033114"/>
                <a:gd name="connsiteY4" fmla="*/ 466344 h 555041"/>
                <a:gd name="connsiteX5" fmla="*/ 329026 w 1033114"/>
                <a:gd name="connsiteY5" fmla="*/ 384048 h 555041"/>
                <a:gd name="connsiteX6" fmla="*/ 521050 w 1033114"/>
                <a:gd name="connsiteY6" fmla="*/ 301752 h 555041"/>
                <a:gd name="connsiteX7" fmla="*/ 603346 w 1033114"/>
                <a:gd name="connsiteY7" fmla="*/ 192024 h 555041"/>
                <a:gd name="connsiteX8" fmla="*/ 749650 w 1033114"/>
                <a:gd name="connsiteY8" fmla="*/ 155448 h 555041"/>
                <a:gd name="connsiteX9" fmla="*/ 795370 w 1033114"/>
                <a:gd name="connsiteY9" fmla="*/ 155448 h 555041"/>
                <a:gd name="connsiteX10" fmla="*/ 831946 w 1033114"/>
                <a:gd name="connsiteY10" fmla="*/ 137160 h 555041"/>
                <a:gd name="connsiteX11" fmla="*/ 786226 w 1033114"/>
                <a:gd name="connsiteY11" fmla="*/ 137160 h 555041"/>
                <a:gd name="connsiteX12" fmla="*/ 694786 w 1033114"/>
                <a:gd name="connsiteY12" fmla="*/ 137160 h 555041"/>
                <a:gd name="connsiteX13" fmla="*/ 639922 w 1033114"/>
                <a:gd name="connsiteY13" fmla="*/ 146304 h 555041"/>
                <a:gd name="connsiteX14" fmla="*/ 630778 w 1033114"/>
                <a:gd name="connsiteY14" fmla="*/ 155448 h 555041"/>
                <a:gd name="connsiteX15" fmla="*/ 612490 w 1033114"/>
                <a:gd name="connsiteY15" fmla="*/ 146304 h 555041"/>
                <a:gd name="connsiteX16" fmla="*/ 740506 w 1033114"/>
                <a:gd name="connsiteY16" fmla="*/ 91440 h 555041"/>
                <a:gd name="connsiteX17" fmla="*/ 795370 w 1033114"/>
                <a:gd name="connsiteY17" fmla="*/ 91440 h 555041"/>
                <a:gd name="connsiteX18" fmla="*/ 886810 w 1033114"/>
                <a:gd name="connsiteY18" fmla="*/ 82296 h 555041"/>
                <a:gd name="connsiteX19" fmla="*/ 1014826 w 1033114"/>
                <a:gd name="connsiteY19" fmla="*/ 27432 h 555041"/>
                <a:gd name="connsiteX20" fmla="*/ 996538 w 1033114"/>
                <a:gd name="connsiteY20" fmla="*/ 0 h 555041"/>
                <a:gd name="connsiteX21" fmla="*/ 959962 w 1033114"/>
                <a:gd name="connsiteY21" fmla="*/ 27432 h 555041"/>
                <a:gd name="connsiteX22" fmla="*/ 923386 w 1033114"/>
                <a:gd name="connsiteY22" fmla="*/ 36576 h 555041"/>
                <a:gd name="connsiteX23" fmla="*/ 850234 w 1033114"/>
                <a:gd name="connsiteY23" fmla="*/ 64008 h 555041"/>
                <a:gd name="connsiteX24" fmla="*/ 795370 w 1033114"/>
                <a:gd name="connsiteY24" fmla="*/ 64008 h 555041"/>
                <a:gd name="connsiteX25" fmla="*/ 685642 w 1033114"/>
                <a:gd name="connsiteY25" fmla="*/ 64008 h 555041"/>
                <a:gd name="connsiteX26" fmla="*/ 630778 w 1033114"/>
                <a:gd name="connsiteY26" fmla="*/ 100584 h 555041"/>
                <a:gd name="connsiteX27" fmla="*/ 594202 w 1033114"/>
                <a:gd name="connsiteY27" fmla="*/ 146304 h 555041"/>
                <a:gd name="connsiteX28" fmla="*/ 548482 w 1033114"/>
                <a:gd name="connsiteY28" fmla="*/ 182880 h 555041"/>
                <a:gd name="connsiteX29" fmla="*/ 502762 w 1033114"/>
                <a:gd name="connsiteY29" fmla="*/ 256032 h 555041"/>
                <a:gd name="connsiteX30" fmla="*/ 429610 w 1033114"/>
                <a:gd name="connsiteY30" fmla="*/ 301752 h 555041"/>
                <a:gd name="connsiteX31" fmla="*/ 329026 w 1033114"/>
                <a:gd name="connsiteY31" fmla="*/ 347472 h 555041"/>
                <a:gd name="connsiteX32" fmla="*/ 292450 w 1033114"/>
                <a:gd name="connsiteY32" fmla="*/ 374904 h 555041"/>
                <a:gd name="connsiteX33" fmla="*/ 246730 w 1033114"/>
                <a:gd name="connsiteY33" fmla="*/ 402336 h 555041"/>
                <a:gd name="connsiteX34" fmla="*/ 228442 w 1033114"/>
                <a:gd name="connsiteY34" fmla="*/ 402336 h 555041"/>
                <a:gd name="connsiteX35" fmla="*/ 246730 w 1033114"/>
                <a:gd name="connsiteY35" fmla="*/ 365760 h 555041"/>
                <a:gd name="connsiteX36" fmla="*/ 301594 w 1033114"/>
                <a:gd name="connsiteY36" fmla="*/ 301752 h 555041"/>
                <a:gd name="connsiteX37" fmla="*/ 393034 w 1033114"/>
                <a:gd name="connsiteY37" fmla="*/ 219456 h 555041"/>
                <a:gd name="connsiteX38" fmla="*/ 438754 w 1033114"/>
                <a:gd name="connsiteY38" fmla="*/ 146304 h 555041"/>
                <a:gd name="connsiteX39" fmla="*/ 438754 w 1033114"/>
                <a:gd name="connsiteY39" fmla="*/ 64008 h 555041"/>
                <a:gd name="connsiteX40" fmla="*/ 429610 w 1033114"/>
                <a:gd name="connsiteY40" fmla="*/ 54864 h 555041"/>
                <a:gd name="connsiteX41" fmla="*/ 420466 w 1033114"/>
                <a:gd name="connsiteY41" fmla="*/ 128016 h 555041"/>
                <a:gd name="connsiteX42" fmla="*/ 393034 w 1033114"/>
                <a:gd name="connsiteY42" fmla="*/ 173736 h 555041"/>
                <a:gd name="connsiteX43" fmla="*/ 319882 w 1033114"/>
                <a:gd name="connsiteY43" fmla="*/ 237744 h 555041"/>
                <a:gd name="connsiteX44" fmla="*/ 292450 w 1033114"/>
                <a:gd name="connsiteY44" fmla="*/ 256032 h 555041"/>
                <a:gd name="connsiteX45" fmla="*/ 219298 w 1033114"/>
                <a:gd name="connsiteY45" fmla="*/ 347472 h 555041"/>
                <a:gd name="connsiteX46" fmla="*/ 210154 w 1033114"/>
                <a:gd name="connsiteY46" fmla="*/ 374904 h 555041"/>
                <a:gd name="connsiteX47" fmla="*/ 201010 w 1033114"/>
                <a:gd name="connsiteY47" fmla="*/ 411480 h 555041"/>
                <a:gd name="connsiteX48" fmla="*/ 219298 w 1033114"/>
                <a:gd name="connsiteY48" fmla="*/ 429768 h 555041"/>
                <a:gd name="connsiteX49" fmla="*/ 173578 w 1033114"/>
                <a:gd name="connsiteY49" fmla="*/ 457200 h 555041"/>
                <a:gd name="connsiteX50" fmla="*/ 27274 w 1033114"/>
                <a:gd name="connsiteY50" fmla="*/ 493776 h 555041"/>
                <a:gd name="connsiteX51" fmla="*/ 16200 w 1033114"/>
                <a:gd name="connsiteY51" fmla="*/ 480583 h 555041"/>
                <a:gd name="connsiteX52" fmla="*/ 16201 w 1033114"/>
                <a:gd name="connsiteY52" fmla="*/ 480583 h 555041"/>
                <a:gd name="connsiteX53" fmla="*/ 90659 w 1033114"/>
                <a:gd name="connsiteY53" fmla="*/ 496784 h 555041"/>
                <a:gd name="connsiteX54" fmla="*/ 90659 w 1033114"/>
                <a:gd name="connsiteY54" fmla="*/ 496784 h 555041"/>
                <a:gd name="connsiteX55" fmla="*/ 90659 w 1033114"/>
                <a:gd name="connsiteY55" fmla="*/ 496784 h 555041"/>
                <a:gd name="connsiteX0" fmla="*/ 89615 w 1032070"/>
                <a:gd name="connsiteY0" fmla="*/ 496784 h 498849"/>
                <a:gd name="connsiteX1" fmla="*/ 89615 w 1032070"/>
                <a:gd name="connsiteY1" fmla="*/ 496784 h 498849"/>
                <a:gd name="connsiteX2" fmla="*/ 89615 w 1032070"/>
                <a:gd name="connsiteY2" fmla="*/ 496784 h 498849"/>
                <a:gd name="connsiteX3" fmla="*/ 126814 w 1032070"/>
                <a:gd name="connsiteY3" fmla="*/ 493776 h 498849"/>
                <a:gd name="connsiteX4" fmla="*/ 227398 w 1032070"/>
                <a:gd name="connsiteY4" fmla="*/ 466344 h 498849"/>
                <a:gd name="connsiteX5" fmla="*/ 327982 w 1032070"/>
                <a:gd name="connsiteY5" fmla="*/ 384048 h 498849"/>
                <a:gd name="connsiteX6" fmla="*/ 520006 w 1032070"/>
                <a:gd name="connsiteY6" fmla="*/ 301752 h 498849"/>
                <a:gd name="connsiteX7" fmla="*/ 602302 w 1032070"/>
                <a:gd name="connsiteY7" fmla="*/ 192024 h 498849"/>
                <a:gd name="connsiteX8" fmla="*/ 748606 w 1032070"/>
                <a:gd name="connsiteY8" fmla="*/ 155448 h 498849"/>
                <a:gd name="connsiteX9" fmla="*/ 794326 w 1032070"/>
                <a:gd name="connsiteY9" fmla="*/ 155448 h 498849"/>
                <a:gd name="connsiteX10" fmla="*/ 830902 w 1032070"/>
                <a:gd name="connsiteY10" fmla="*/ 137160 h 498849"/>
                <a:gd name="connsiteX11" fmla="*/ 785182 w 1032070"/>
                <a:gd name="connsiteY11" fmla="*/ 137160 h 498849"/>
                <a:gd name="connsiteX12" fmla="*/ 693742 w 1032070"/>
                <a:gd name="connsiteY12" fmla="*/ 137160 h 498849"/>
                <a:gd name="connsiteX13" fmla="*/ 638878 w 1032070"/>
                <a:gd name="connsiteY13" fmla="*/ 146304 h 498849"/>
                <a:gd name="connsiteX14" fmla="*/ 629734 w 1032070"/>
                <a:gd name="connsiteY14" fmla="*/ 155448 h 498849"/>
                <a:gd name="connsiteX15" fmla="*/ 611446 w 1032070"/>
                <a:gd name="connsiteY15" fmla="*/ 146304 h 498849"/>
                <a:gd name="connsiteX16" fmla="*/ 739462 w 1032070"/>
                <a:gd name="connsiteY16" fmla="*/ 91440 h 498849"/>
                <a:gd name="connsiteX17" fmla="*/ 794326 w 1032070"/>
                <a:gd name="connsiteY17" fmla="*/ 91440 h 498849"/>
                <a:gd name="connsiteX18" fmla="*/ 885766 w 1032070"/>
                <a:gd name="connsiteY18" fmla="*/ 82296 h 498849"/>
                <a:gd name="connsiteX19" fmla="*/ 1013782 w 1032070"/>
                <a:gd name="connsiteY19" fmla="*/ 27432 h 498849"/>
                <a:gd name="connsiteX20" fmla="*/ 995494 w 1032070"/>
                <a:gd name="connsiteY20" fmla="*/ 0 h 498849"/>
                <a:gd name="connsiteX21" fmla="*/ 958918 w 1032070"/>
                <a:gd name="connsiteY21" fmla="*/ 27432 h 498849"/>
                <a:gd name="connsiteX22" fmla="*/ 922342 w 1032070"/>
                <a:gd name="connsiteY22" fmla="*/ 36576 h 498849"/>
                <a:gd name="connsiteX23" fmla="*/ 849190 w 1032070"/>
                <a:gd name="connsiteY23" fmla="*/ 64008 h 498849"/>
                <a:gd name="connsiteX24" fmla="*/ 794326 w 1032070"/>
                <a:gd name="connsiteY24" fmla="*/ 64008 h 498849"/>
                <a:gd name="connsiteX25" fmla="*/ 684598 w 1032070"/>
                <a:gd name="connsiteY25" fmla="*/ 64008 h 498849"/>
                <a:gd name="connsiteX26" fmla="*/ 629734 w 1032070"/>
                <a:gd name="connsiteY26" fmla="*/ 100584 h 498849"/>
                <a:gd name="connsiteX27" fmla="*/ 593158 w 1032070"/>
                <a:gd name="connsiteY27" fmla="*/ 146304 h 498849"/>
                <a:gd name="connsiteX28" fmla="*/ 547438 w 1032070"/>
                <a:gd name="connsiteY28" fmla="*/ 182880 h 498849"/>
                <a:gd name="connsiteX29" fmla="*/ 501718 w 1032070"/>
                <a:gd name="connsiteY29" fmla="*/ 256032 h 498849"/>
                <a:gd name="connsiteX30" fmla="*/ 428566 w 1032070"/>
                <a:gd name="connsiteY30" fmla="*/ 301752 h 498849"/>
                <a:gd name="connsiteX31" fmla="*/ 327982 w 1032070"/>
                <a:gd name="connsiteY31" fmla="*/ 347472 h 498849"/>
                <a:gd name="connsiteX32" fmla="*/ 291406 w 1032070"/>
                <a:gd name="connsiteY32" fmla="*/ 374904 h 498849"/>
                <a:gd name="connsiteX33" fmla="*/ 245686 w 1032070"/>
                <a:gd name="connsiteY33" fmla="*/ 402336 h 498849"/>
                <a:gd name="connsiteX34" fmla="*/ 227398 w 1032070"/>
                <a:gd name="connsiteY34" fmla="*/ 402336 h 498849"/>
                <a:gd name="connsiteX35" fmla="*/ 245686 w 1032070"/>
                <a:gd name="connsiteY35" fmla="*/ 365760 h 498849"/>
                <a:gd name="connsiteX36" fmla="*/ 300550 w 1032070"/>
                <a:gd name="connsiteY36" fmla="*/ 301752 h 498849"/>
                <a:gd name="connsiteX37" fmla="*/ 391990 w 1032070"/>
                <a:gd name="connsiteY37" fmla="*/ 219456 h 498849"/>
                <a:gd name="connsiteX38" fmla="*/ 437710 w 1032070"/>
                <a:gd name="connsiteY38" fmla="*/ 146304 h 498849"/>
                <a:gd name="connsiteX39" fmla="*/ 437710 w 1032070"/>
                <a:gd name="connsiteY39" fmla="*/ 64008 h 498849"/>
                <a:gd name="connsiteX40" fmla="*/ 428566 w 1032070"/>
                <a:gd name="connsiteY40" fmla="*/ 54864 h 498849"/>
                <a:gd name="connsiteX41" fmla="*/ 419422 w 1032070"/>
                <a:gd name="connsiteY41" fmla="*/ 128016 h 498849"/>
                <a:gd name="connsiteX42" fmla="*/ 391990 w 1032070"/>
                <a:gd name="connsiteY42" fmla="*/ 173736 h 498849"/>
                <a:gd name="connsiteX43" fmla="*/ 318838 w 1032070"/>
                <a:gd name="connsiteY43" fmla="*/ 237744 h 498849"/>
                <a:gd name="connsiteX44" fmla="*/ 291406 w 1032070"/>
                <a:gd name="connsiteY44" fmla="*/ 256032 h 498849"/>
                <a:gd name="connsiteX45" fmla="*/ 218254 w 1032070"/>
                <a:gd name="connsiteY45" fmla="*/ 347472 h 498849"/>
                <a:gd name="connsiteX46" fmla="*/ 209110 w 1032070"/>
                <a:gd name="connsiteY46" fmla="*/ 374904 h 498849"/>
                <a:gd name="connsiteX47" fmla="*/ 199966 w 1032070"/>
                <a:gd name="connsiteY47" fmla="*/ 411480 h 498849"/>
                <a:gd name="connsiteX48" fmla="*/ 218254 w 1032070"/>
                <a:gd name="connsiteY48" fmla="*/ 429768 h 498849"/>
                <a:gd name="connsiteX49" fmla="*/ 172534 w 1032070"/>
                <a:gd name="connsiteY49" fmla="*/ 457200 h 498849"/>
                <a:gd name="connsiteX50" fmla="*/ 26230 w 1032070"/>
                <a:gd name="connsiteY50" fmla="*/ 493776 h 498849"/>
                <a:gd name="connsiteX51" fmla="*/ 15156 w 1032070"/>
                <a:gd name="connsiteY51" fmla="*/ 480583 h 498849"/>
                <a:gd name="connsiteX52" fmla="*/ 15157 w 1032070"/>
                <a:gd name="connsiteY52" fmla="*/ 480583 h 498849"/>
                <a:gd name="connsiteX53" fmla="*/ 89615 w 1032070"/>
                <a:gd name="connsiteY53" fmla="*/ 496784 h 498849"/>
                <a:gd name="connsiteX54" fmla="*/ 89615 w 1032070"/>
                <a:gd name="connsiteY54" fmla="*/ 496784 h 498849"/>
                <a:gd name="connsiteX55" fmla="*/ 89615 w 1032070"/>
                <a:gd name="connsiteY55" fmla="*/ 496784 h 498849"/>
                <a:gd name="connsiteX0" fmla="*/ 89615 w 1032070"/>
                <a:gd name="connsiteY0" fmla="*/ 496784 h 498849"/>
                <a:gd name="connsiteX1" fmla="*/ 89615 w 1032070"/>
                <a:gd name="connsiteY1" fmla="*/ 496784 h 498849"/>
                <a:gd name="connsiteX2" fmla="*/ 89615 w 1032070"/>
                <a:gd name="connsiteY2" fmla="*/ 496784 h 498849"/>
                <a:gd name="connsiteX3" fmla="*/ 126814 w 1032070"/>
                <a:gd name="connsiteY3" fmla="*/ 493776 h 498849"/>
                <a:gd name="connsiteX4" fmla="*/ 227398 w 1032070"/>
                <a:gd name="connsiteY4" fmla="*/ 466344 h 498849"/>
                <a:gd name="connsiteX5" fmla="*/ 327982 w 1032070"/>
                <a:gd name="connsiteY5" fmla="*/ 384048 h 498849"/>
                <a:gd name="connsiteX6" fmla="*/ 520006 w 1032070"/>
                <a:gd name="connsiteY6" fmla="*/ 301752 h 498849"/>
                <a:gd name="connsiteX7" fmla="*/ 602302 w 1032070"/>
                <a:gd name="connsiteY7" fmla="*/ 192024 h 498849"/>
                <a:gd name="connsiteX8" fmla="*/ 748606 w 1032070"/>
                <a:gd name="connsiteY8" fmla="*/ 155448 h 498849"/>
                <a:gd name="connsiteX9" fmla="*/ 794326 w 1032070"/>
                <a:gd name="connsiteY9" fmla="*/ 155448 h 498849"/>
                <a:gd name="connsiteX10" fmla="*/ 830902 w 1032070"/>
                <a:gd name="connsiteY10" fmla="*/ 137160 h 498849"/>
                <a:gd name="connsiteX11" fmla="*/ 785182 w 1032070"/>
                <a:gd name="connsiteY11" fmla="*/ 137160 h 498849"/>
                <a:gd name="connsiteX12" fmla="*/ 693742 w 1032070"/>
                <a:gd name="connsiteY12" fmla="*/ 137160 h 498849"/>
                <a:gd name="connsiteX13" fmla="*/ 638878 w 1032070"/>
                <a:gd name="connsiteY13" fmla="*/ 146304 h 498849"/>
                <a:gd name="connsiteX14" fmla="*/ 629734 w 1032070"/>
                <a:gd name="connsiteY14" fmla="*/ 155448 h 498849"/>
                <a:gd name="connsiteX15" fmla="*/ 611446 w 1032070"/>
                <a:gd name="connsiteY15" fmla="*/ 146304 h 498849"/>
                <a:gd name="connsiteX16" fmla="*/ 739462 w 1032070"/>
                <a:gd name="connsiteY16" fmla="*/ 91440 h 498849"/>
                <a:gd name="connsiteX17" fmla="*/ 794326 w 1032070"/>
                <a:gd name="connsiteY17" fmla="*/ 91440 h 498849"/>
                <a:gd name="connsiteX18" fmla="*/ 885766 w 1032070"/>
                <a:gd name="connsiteY18" fmla="*/ 82296 h 498849"/>
                <a:gd name="connsiteX19" fmla="*/ 1013782 w 1032070"/>
                <a:gd name="connsiteY19" fmla="*/ 27432 h 498849"/>
                <a:gd name="connsiteX20" fmla="*/ 995494 w 1032070"/>
                <a:gd name="connsiteY20" fmla="*/ 0 h 498849"/>
                <a:gd name="connsiteX21" fmla="*/ 958918 w 1032070"/>
                <a:gd name="connsiteY21" fmla="*/ 27432 h 498849"/>
                <a:gd name="connsiteX22" fmla="*/ 922342 w 1032070"/>
                <a:gd name="connsiteY22" fmla="*/ 36576 h 498849"/>
                <a:gd name="connsiteX23" fmla="*/ 849190 w 1032070"/>
                <a:gd name="connsiteY23" fmla="*/ 64008 h 498849"/>
                <a:gd name="connsiteX24" fmla="*/ 794326 w 1032070"/>
                <a:gd name="connsiteY24" fmla="*/ 64008 h 498849"/>
                <a:gd name="connsiteX25" fmla="*/ 684598 w 1032070"/>
                <a:gd name="connsiteY25" fmla="*/ 64008 h 498849"/>
                <a:gd name="connsiteX26" fmla="*/ 629734 w 1032070"/>
                <a:gd name="connsiteY26" fmla="*/ 100584 h 498849"/>
                <a:gd name="connsiteX27" fmla="*/ 593158 w 1032070"/>
                <a:gd name="connsiteY27" fmla="*/ 146304 h 498849"/>
                <a:gd name="connsiteX28" fmla="*/ 547438 w 1032070"/>
                <a:gd name="connsiteY28" fmla="*/ 182880 h 498849"/>
                <a:gd name="connsiteX29" fmla="*/ 501718 w 1032070"/>
                <a:gd name="connsiteY29" fmla="*/ 256032 h 498849"/>
                <a:gd name="connsiteX30" fmla="*/ 428566 w 1032070"/>
                <a:gd name="connsiteY30" fmla="*/ 301752 h 498849"/>
                <a:gd name="connsiteX31" fmla="*/ 327982 w 1032070"/>
                <a:gd name="connsiteY31" fmla="*/ 347472 h 498849"/>
                <a:gd name="connsiteX32" fmla="*/ 291406 w 1032070"/>
                <a:gd name="connsiteY32" fmla="*/ 374904 h 498849"/>
                <a:gd name="connsiteX33" fmla="*/ 245686 w 1032070"/>
                <a:gd name="connsiteY33" fmla="*/ 402336 h 498849"/>
                <a:gd name="connsiteX34" fmla="*/ 227398 w 1032070"/>
                <a:gd name="connsiteY34" fmla="*/ 402336 h 498849"/>
                <a:gd name="connsiteX35" fmla="*/ 245686 w 1032070"/>
                <a:gd name="connsiteY35" fmla="*/ 365760 h 498849"/>
                <a:gd name="connsiteX36" fmla="*/ 300550 w 1032070"/>
                <a:gd name="connsiteY36" fmla="*/ 301752 h 498849"/>
                <a:gd name="connsiteX37" fmla="*/ 391990 w 1032070"/>
                <a:gd name="connsiteY37" fmla="*/ 219456 h 498849"/>
                <a:gd name="connsiteX38" fmla="*/ 437710 w 1032070"/>
                <a:gd name="connsiteY38" fmla="*/ 146304 h 498849"/>
                <a:gd name="connsiteX39" fmla="*/ 437710 w 1032070"/>
                <a:gd name="connsiteY39" fmla="*/ 64008 h 498849"/>
                <a:gd name="connsiteX40" fmla="*/ 428566 w 1032070"/>
                <a:gd name="connsiteY40" fmla="*/ 54864 h 498849"/>
                <a:gd name="connsiteX41" fmla="*/ 419422 w 1032070"/>
                <a:gd name="connsiteY41" fmla="*/ 128016 h 498849"/>
                <a:gd name="connsiteX42" fmla="*/ 391990 w 1032070"/>
                <a:gd name="connsiteY42" fmla="*/ 173736 h 498849"/>
                <a:gd name="connsiteX43" fmla="*/ 318838 w 1032070"/>
                <a:gd name="connsiteY43" fmla="*/ 237744 h 498849"/>
                <a:gd name="connsiteX44" fmla="*/ 291406 w 1032070"/>
                <a:gd name="connsiteY44" fmla="*/ 256032 h 498849"/>
                <a:gd name="connsiteX45" fmla="*/ 218254 w 1032070"/>
                <a:gd name="connsiteY45" fmla="*/ 347472 h 498849"/>
                <a:gd name="connsiteX46" fmla="*/ 209110 w 1032070"/>
                <a:gd name="connsiteY46" fmla="*/ 374904 h 498849"/>
                <a:gd name="connsiteX47" fmla="*/ 199966 w 1032070"/>
                <a:gd name="connsiteY47" fmla="*/ 411480 h 498849"/>
                <a:gd name="connsiteX48" fmla="*/ 218254 w 1032070"/>
                <a:gd name="connsiteY48" fmla="*/ 429768 h 498849"/>
                <a:gd name="connsiteX49" fmla="*/ 172534 w 1032070"/>
                <a:gd name="connsiteY49" fmla="*/ 457200 h 498849"/>
                <a:gd name="connsiteX50" fmla="*/ 26230 w 1032070"/>
                <a:gd name="connsiteY50" fmla="*/ 493776 h 498849"/>
                <a:gd name="connsiteX51" fmla="*/ 15156 w 1032070"/>
                <a:gd name="connsiteY51" fmla="*/ 480583 h 498849"/>
                <a:gd name="connsiteX52" fmla="*/ 89615 w 1032070"/>
                <a:gd name="connsiteY52" fmla="*/ 496784 h 498849"/>
                <a:gd name="connsiteX53" fmla="*/ 89615 w 1032070"/>
                <a:gd name="connsiteY53" fmla="*/ 496784 h 498849"/>
                <a:gd name="connsiteX54" fmla="*/ 89615 w 1032070"/>
                <a:gd name="connsiteY54" fmla="*/ 496784 h 498849"/>
                <a:gd name="connsiteX55" fmla="*/ 89615 w 1032070"/>
                <a:gd name="connsiteY55" fmla="*/ 496784 h 498849"/>
                <a:gd name="connsiteX0" fmla="*/ 77205 w 1019660"/>
                <a:gd name="connsiteY0" fmla="*/ 496784 h 500373"/>
                <a:gd name="connsiteX1" fmla="*/ 77205 w 1019660"/>
                <a:gd name="connsiteY1" fmla="*/ 496784 h 500373"/>
                <a:gd name="connsiteX2" fmla="*/ 77205 w 1019660"/>
                <a:gd name="connsiteY2" fmla="*/ 496784 h 500373"/>
                <a:gd name="connsiteX3" fmla="*/ 114404 w 1019660"/>
                <a:gd name="connsiteY3" fmla="*/ 493776 h 500373"/>
                <a:gd name="connsiteX4" fmla="*/ 214988 w 1019660"/>
                <a:gd name="connsiteY4" fmla="*/ 466344 h 500373"/>
                <a:gd name="connsiteX5" fmla="*/ 315572 w 1019660"/>
                <a:gd name="connsiteY5" fmla="*/ 384048 h 500373"/>
                <a:gd name="connsiteX6" fmla="*/ 507596 w 1019660"/>
                <a:gd name="connsiteY6" fmla="*/ 301752 h 500373"/>
                <a:gd name="connsiteX7" fmla="*/ 589892 w 1019660"/>
                <a:gd name="connsiteY7" fmla="*/ 192024 h 500373"/>
                <a:gd name="connsiteX8" fmla="*/ 736196 w 1019660"/>
                <a:gd name="connsiteY8" fmla="*/ 155448 h 500373"/>
                <a:gd name="connsiteX9" fmla="*/ 781916 w 1019660"/>
                <a:gd name="connsiteY9" fmla="*/ 155448 h 500373"/>
                <a:gd name="connsiteX10" fmla="*/ 818492 w 1019660"/>
                <a:gd name="connsiteY10" fmla="*/ 137160 h 500373"/>
                <a:gd name="connsiteX11" fmla="*/ 772772 w 1019660"/>
                <a:gd name="connsiteY11" fmla="*/ 137160 h 500373"/>
                <a:gd name="connsiteX12" fmla="*/ 681332 w 1019660"/>
                <a:gd name="connsiteY12" fmla="*/ 137160 h 500373"/>
                <a:gd name="connsiteX13" fmla="*/ 626468 w 1019660"/>
                <a:gd name="connsiteY13" fmla="*/ 146304 h 500373"/>
                <a:gd name="connsiteX14" fmla="*/ 617324 w 1019660"/>
                <a:gd name="connsiteY14" fmla="*/ 155448 h 500373"/>
                <a:gd name="connsiteX15" fmla="*/ 599036 w 1019660"/>
                <a:gd name="connsiteY15" fmla="*/ 146304 h 500373"/>
                <a:gd name="connsiteX16" fmla="*/ 727052 w 1019660"/>
                <a:gd name="connsiteY16" fmla="*/ 91440 h 500373"/>
                <a:gd name="connsiteX17" fmla="*/ 781916 w 1019660"/>
                <a:gd name="connsiteY17" fmla="*/ 91440 h 500373"/>
                <a:gd name="connsiteX18" fmla="*/ 873356 w 1019660"/>
                <a:gd name="connsiteY18" fmla="*/ 82296 h 500373"/>
                <a:gd name="connsiteX19" fmla="*/ 1001372 w 1019660"/>
                <a:gd name="connsiteY19" fmla="*/ 27432 h 500373"/>
                <a:gd name="connsiteX20" fmla="*/ 983084 w 1019660"/>
                <a:gd name="connsiteY20" fmla="*/ 0 h 500373"/>
                <a:gd name="connsiteX21" fmla="*/ 946508 w 1019660"/>
                <a:gd name="connsiteY21" fmla="*/ 27432 h 500373"/>
                <a:gd name="connsiteX22" fmla="*/ 909932 w 1019660"/>
                <a:gd name="connsiteY22" fmla="*/ 36576 h 500373"/>
                <a:gd name="connsiteX23" fmla="*/ 836780 w 1019660"/>
                <a:gd name="connsiteY23" fmla="*/ 64008 h 500373"/>
                <a:gd name="connsiteX24" fmla="*/ 781916 w 1019660"/>
                <a:gd name="connsiteY24" fmla="*/ 64008 h 500373"/>
                <a:gd name="connsiteX25" fmla="*/ 672188 w 1019660"/>
                <a:gd name="connsiteY25" fmla="*/ 64008 h 500373"/>
                <a:gd name="connsiteX26" fmla="*/ 617324 w 1019660"/>
                <a:gd name="connsiteY26" fmla="*/ 100584 h 500373"/>
                <a:gd name="connsiteX27" fmla="*/ 580748 w 1019660"/>
                <a:gd name="connsiteY27" fmla="*/ 146304 h 500373"/>
                <a:gd name="connsiteX28" fmla="*/ 535028 w 1019660"/>
                <a:gd name="connsiteY28" fmla="*/ 182880 h 500373"/>
                <a:gd name="connsiteX29" fmla="*/ 489308 w 1019660"/>
                <a:gd name="connsiteY29" fmla="*/ 256032 h 500373"/>
                <a:gd name="connsiteX30" fmla="*/ 416156 w 1019660"/>
                <a:gd name="connsiteY30" fmla="*/ 301752 h 500373"/>
                <a:gd name="connsiteX31" fmla="*/ 315572 w 1019660"/>
                <a:gd name="connsiteY31" fmla="*/ 347472 h 500373"/>
                <a:gd name="connsiteX32" fmla="*/ 278996 w 1019660"/>
                <a:gd name="connsiteY32" fmla="*/ 374904 h 500373"/>
                <a:gd name="connsiteX33" fmla="*/ 233276 w 1019660"/>
                <a:gd name="connsiteY33" fmla="*/ 402336 h 500373"/>
                <a:gd name="connsiteX34" fmla="*/ 214988 w 1019660"/>
                <a:gd name="connsiteY34" fmla="*/ 402336 h 500373"/>
                <a:gd name="connsiteX35" fmla="*/ 233276 w 1019660"/>
                <a:gd name="connsiteY35" fmla="*/ 365760 h 500373"/>
                <a:gd name="connsiteX36" fmla="*/ 288140 w 1019660"/>
                <a:gd name="connsiteY36" fmla="*/ 301752 h 500373"/>
                <a:gd name="connsiteX37" fmla="*/ 379580 w 1019660"/>
                <a:gd name="connsiteY37" fmla="*/ 219456 h 500373"/>
                <a:gd name="connsiteX38" fmla="*/ 425300 w 1019660"/>
                <a:gd name="connsiteY38" fmla="*/ 146304 h 500373"/>
                <a:gd name="connsiteX39" fmla="*/ 425300 w 1019660"/>
                <a:gd name="connsiteY39" fmla="*/ 64008 h 500373"/>
                <a:gd name="connsiteX40" fmla="*/ 416156 w 1019660"/>
                <a:gd name="connsiteY40" fmla="*/ 54864 h 500373"/>
                <a:gd name="connsiteX41" fmla="*/ 407012 w 1019660"/>
                <a:gd name="connsiteY41" fmla="*/ 128016 h 500373"/>
                <a:gd name="connsiteX42" fmla="*/ 379580 w 1019660"/>
                <a:gd name="connsiteY42" fmla="*/ 173736 h 500373"/>
                <a:gd name="connsiteX43" fmla="*/ 306428 w 1019660"/>
                <a:gd name="connsiteY43" fmla="*/ 237744 h 500373"/>
                <a:gd name="connsiteX44" fmla="*/ 278996 w 1019660"/>
                <a:gd name="connsiteY44" fmla="*/ 256032 h 500373"/>
                <a:gd name="connsiteX45" fmla="*/ 205844 w 1019660"/>
                <a:gd name="connsiteY45" fmla="*/ 347472 h 500373"/>
                <a:gd name="connsiteX46" fmla="*/ 196700 w 1019660"/>
                <a:gd name="connsiteY46" fmla="*/ 374904 h 500373"/>
                <a:gd name="connsiteX47" fmla="*/ 187556 w 1019660"/>
                <a:gd name="connsiteY47" fmla="*/ 411480 h 500373"/>
                <a:gd name="connsiteX48" fmla="*/ 205844 w 1019660"/>
                <a:gd name="connsiteY48" fmla="*/ 429768 h 500373"/>
                <a:gd name="connsiteX49" fmla="*/ 160124 w 1019660"/>
                <a:gd name="connsiteY49" fmla="*/ 457200 h 500373"/>
                <a:gd name="connsiteX50" fmla="*/ 13820 w 1019660"/>
                <a:gd name="connsiteY50" fmla="*/ 493776 h 500373"/>
                <a:gd name="connsiteX51" fmla="*/ 77205 w 1019660"/>
                <a:gd name="connsiteY51" fmla="*/ 496784 h 500373"/>
                <a:gd name="connsiteX52" fmla="*/ 77205 w 1019660"/>
                <a:gd name="connsiteY52" fmla="*/ 496784 h 500373"/>
                <a:gd name="connsiteX53" fmla="*/ 77205 w 1019660"/>
                <a:gd name="connsiteY53" fmla="*/ 496784 h 500373"/>
                <a:gd name="connsiteX54" fmla="*/ 77205 w 1019660"/>
                <a:gd name="connsiteY54" fmla="*/ 496784 h 500373"/>
                <a:gd name="connsiteX55" fmla="*/ 77205 w 1019660"/>
                <a:gd name="connsiteY55" fmla="*/ 496784 h 500373"/>
                <a:gd name="connsiteX0" fmla="*/ 13820 w 956275"/>
                <a:gd name="connsiteY0" fmla="*/ 496784 h 503380"/>
                <a:gd name="connsiteX1" fmla="*/ 13820 w 956275"/>
                <a:gd name="connsiteY1" fmla="*/ 496784 h 503380"/>
                <a:gd name="connsiteX2" fmla="*/ 13820 w 956275"/>
                <a:gd name="connsiteY2" fmla="*/ 496784 h 503380"/>
                <a:gd name="connsiteX3" fmla="*/ 51019 w 956275"/>
                <a:gd name="connsiteY3" fmla="*/ 493776 h 503380"/>
                <a:gd name="connsiteX4" fmla="*/ 151603 w 956275"/>
                <a:gd name="connsiteY4" fmla="*/ 466344 h 503380"/>
                <a:gd name="connsiteX5" fmla="*/ 252187 w 956275"/>
                <a:gd name="connsiteY5" fmla="*/ 384048 h 503380"/>
                <a:gd name="connsiteX6" fmla="*/ 444211 w 956275"/>
                <a:gd name="connsiteY6" fmla="*/ 301752 h 503380"/>
                <a:gd name="connsiteX7" fmla="*/ 526507 w 956275"/>
                <a:gd name="connsiteY7" fmla="*/ 192024 h 503380"/>
                <a:gd name="connsiteX8" fmla="*/ 672811 w 956275"/>
                <a:gd name="connsiteY8" fmla="*/ 155448 h 503380"/>
                <a:gd name="connsiteX9" fmla="*/ 718531 w 956275"/>
                <a:gd name="connsiteY9" fmla="*/ 155448 h 503380"/>
                <a:gd name="connsiteX10" fmla="*/ 755107 w 956275"/>
                <a:gd name="connsiteY10" fmla="*/ 137160 h 503380"/>
                <a:gd name="connsiteX11" fmla="*/ 709387 w 956275"/>
                <a:gd name="connsiteY11" fmla="*/ 137160 h 503380"/>
                <a:gd name="connsiteX12" fmla="*/ 617947 w 956275"/>
                <a:gd name="connsiteY12" fmla="*/ 137160 h 503380"/>
                <a:gd name="connsiteX13" fmla="*/ 563083 w 956275"/>
                <a:gd name="connsiteY13" fmla="*/ 146304 h 503380"/>
                <a:gd name="connsiteX14" fmla="*/ 553939 w 956275"/>
                <a:gd name="connsiteY14" fmla="*/ 155448 h 503380"/>
                <a:gd name="connsiteX15" fmla="*/ 535651 w 956275"/>
                <a:gd name="connsiteY15" fmla="*/ 146304 h 503380"/>
                <a:gd name="connsiteX16" fmla="*/ 663667 w 956275"/>
                <a:gd name="connsiteY16" fmla="*/ 91440 h 503380"/>
                <a:gd name="connsiteX17" fmla="*/ 718531 w 956275"/>
                <a:gd name="connsiteY17" fmla="*/ 91440 h 503380"/>
                <a:gd name="connsiteX18" fmla="*/ 809971 w 956275"/>
                <a:gd name="connsiteY18" fmla="*/ 82296 h 503380"/>
                <a:gd name="connsiteX19" fmla="*/ 937987 w 956275"/>
                <a:gd name="connsiteY19" fmla="*/ 27432 h 503380"/>
                <a:gd name="connsiteX20" fmla="*/ 919699 w 956275"/>
                <a:gd name="connsiteY20" fmla="*/ 0 h 503380"/>
                <a:gd name="connsiteX21" fmla="*/ 883123 w 956275"/>
                <a:gd name="connsiteY21" fmla="*/ 27432 h 503380"/>
                <a:gd name="connsiteX22" fmla="*/ 846547 w 956275"/>
                <a:gd name="connsiteY22" fmla="*/ 36576 h 503380"/>
                <a:gd name="connsiteX23" fmla="*/ 773395 w 956275"/>
                <a:gd name="connsiteY23" fmla="*/ 64008 h 503380"/>
                <a:gd name="connsiteX24" fmla="*/ 718531 w 956275"/>
                <a:gd name="connsiteY24" fmla="*/ 64008 h 503380"/>
                <a:gd name="connsiteX25" fmla="*/ 608803 w 956275"/>
                <a:gd name="connsiteY25" fmla="*/ 64008 h 503380"/>
                <a:gd name="connsiteX26" fmla="*/ 553939 w 956275"/>
                <a:gd name="connsiteY26" fmla="*/ 100584 h 503380"/>
                <a:gd name="connsiteX27" fmla="*/ 517363 w 956275"/>
                <a:gd name="connsiteY27" fmla="*/ 146304 h 503380"/>
                <a:gd name="connsiteX28" fmla="*/ 471643 w 956275"/>
                <a:gd name="connsiteY28" fmla="*/ 182880 h 503380"/>
                <a:gd name="connsiteX29" fmla="*/ 425923 w 956275"/>
                <a:gd name="connsiteY29" fmla="*/ 256032 h 503380"/>
                <a:gd name="connsiteX30" fmla="*/ 352771 w 956275"/>
                <a:gd name="connsiteY30" fmla="*/ 301752 h 503380"/>
                <a:gd name="connsiteX31" fmla="*/ 252187 w 956275"/>
                <a:gd name="connsiteY31" fmla="*/ 347472 h 503380"/>
                <a:gd name="connsiteX32" fmla="*/ 215611 w 956275"/>
                <a:gd name="connsiteY32" fmla="*/ 374904 h 503380"/>
                <a:gd name="connsiteX33" fmla="*/ 169891 w 956275"/>
                <a:gd name="connsiteY33" fmla="*/ 402336 h 503380"/>
                <a:gd name="connsiteX34" fmla="*/ 151603 w 956275"/>
                <a:gd name="connsiteY34" fmla="*/ 402336 h 503380"/>
                <a:gd name="connsiteX35" fmla="*/ 169891 w 956275"/>
                <a:gd name="connsiteY35" fmla="*/ 365760 h 503380"/>
                <a:gd name="connsiteX36" fmla="*/ 224755 w 956275"/>
                <a:gd name="connsiteY36" fmla="*/ 301752 h 503380"/>
                <a:gd name="connsiteX37" fmla="*/ 316195 w 956275"/>
                <a:gd name="connsiteY37" fmla="*/ 219456 h 503380"/>
                <a:gd name="connsiteX38" fmla="*/ 361915 w 956275"/>
                <a:gd name="connsiteY38" fmla="*/ 146304 h 503380"/>
                <a:gd name="connsiteX39" fmla="*/ 361915 w 956275"/>
                <a:gd name="connsiteY39" fmla="*/ 64008 h 503380"/>
                <a:gd name="connsiteX40" fmla="*/ 352771 w 956275"/>
                <a:gd name="connsiteY40" fmla="*/ 54864 h 503380"/>
                <a:gd name="connsiteX41" fmla="*/ 343627 w 956275"/>
                <a:gd name="connsiteY41" fmla="*/ 128016 h 503380"/>
                <a:gd name="connsiteX42" fmla="*/ 316195 w 956275"/>
                <a:gd name="connsiteY42" fmla="*/ 173736 h 503380"/>
                <a:gd name="connsiteX43" fmla="*/ 243043 w 956275"/>
                <a:gd name="connsiteY43" fmla="*/ 237744 h 503380"/>
                <a:gd name="connsiteX44" fmla="*/ 215611 w 956275"/>
                <a:gd name="connsiteY44" fmla="*/ 256032 h 503380"/>
                <a:gd name="connsiteX45" fmla="*/ 142459 w 956275"/>
                <a:gd name="connsiteY45" fmla="*/ 347472 h 503380"/>
                <a:gd name="connsiteX46" fmla="*/ 133315 w 956275"/>
                <a:gd name="connsiteY46" fmla="*/ 374904 h 503380"/>
                <a:gd name="connsiteX47" fmla="*/ 124171 w 956275"/>
                <a:gd name="connsiteY47" fmla="*/ 411480 h 503380"/>
                <a:gd name="connsiteX48" fmla="*/ 142459 w 956275"/>
                <a:gd name="connsiteY48" fmla="*/ 429768 h 503380"/>
                <a:gd name="connsiteX49" fmla="*/ 96739 w 956275"/>
                <a:gd name="connsiteY49" fmla="*/ 457200 h 503380"/>
                <a:gd name="connsiteX50" fmla="*/ 13820 w 956275"/>
                <a:gd name="connsiteY50" fmla="*/ 496783 h 503380"/>
                <a:gd name="connsiteX51" fmla="*/ 13820 w 956275"/>
                <a:gd name="connsiteY51" fmla="*/ 496784 h 503380"/>
                <a:gd name="connsiteX52" fmla="*/ 13820 w 956275"/>
                <a:gd name="connsiteY52" fmla="*/ 496784 h 503380"/>
                <a:gd name="connsiteX53" fmla="*/ 13820 w 956275"/>
                <a:gd name="connsiteY53" fmla="*/ 496784 h 503380"/>
                <a:gd name="connsiteX54" fmla="*/ 13820 w 956275"/>
                <a:gd name="connsiteY54" fmla="*/ 496784 h 503380"/>
                <a:gd name="connsiteX55" fmla="*/ 13820 w 956275"/>
                <a:gd name="connsiteY55" fmla="*/ 496784 h 503380"/>
                <a:gd name="connsiteX0" fmla="*/ 40672 w 956275"/>
                <a:gd name="connsiteY0" fmla="*/ 486851 h 503380"/>
                <a:gd name="connsiteX1" fmla="*/ 13820 w 956275"/>
                <a:gd name="connsiteY1" fmla="*/ 496784 h 503380"/>
                <a:gd name="connsiteX2" fmla="*/ 13820 w 956275"/>
                <a:gd name="connsiteY2" fmla="*/ 496784 h 503380"/>
                <a:gd name="connsiteX3" fmla="*/ 51019 w 956275"/>
                <a:gd name="connsiteY3" fmla="*/ 493776 h 503380"/>
                <a:gd name="connsiteX4" fmla="*/ 151603 w 956275"/>
                <a:gd name="connsiteY4" fmla="*/ 466344 h 503380"/>
                <a:gd name="connsiteX5" fmla="*/ 252187 w 956275"/>
                <a:gd name="connsiteY5" fmla="*/ 384048 h 503380"/>
                <a:gd name="connsiteX6" fmla="*/ 444211 w 956275"/>
                <a:gd name="connsiteY6" fmla="*/ 301752 h 503380"/>
                <a:gd name="connsiteX7" fmla="*/ 526507 w 956275"/>
                <a:gd name="connsiteY7" fmla="*/ 192024 h 503380"/>
                <a:gd name="connsiteX8" fmla="*/ 672811 w 956275"/>
                <a:gd name="connsiteY8" fmla="*/ 155448 h 503380"/>
                <a:gd name="connsiteX9" fmla="*/ 718531 w 956275"/>
                <a:gd name="connsiteY9" fmla="*/ 155448 h 503380"/>
                <a:gd name="connsiteX10" fmla="*/ 755107 w 956275"/>
                <a:gd name="connsiteY10" fmla="*/ 137160 h 503380"/>
                <a:gd name="connsiteX11" fmla="*/ 709387 w 956275"/>
                <a:gd name="connsiteY11" fmla="*/ 137160 h 503380"/>
                <a:gd name="connsiteX12" fmla="*/ 617947 w 956275"/>
                <a:gd name="connsiteY12" fmla="*/ 137160 h 503380"/>
                <a:gd name="connsiteX13" fmla="*/ 563083 w 956275"/>
                <a:gd name="connsiteY13" fmla="*/ 146304 h 503380"/>
                <a:gd name="connsiteX14" fmla="*/ 553939 w 956275"/>
                <a:gd name="connsiteY14" fmla="*/ 155448 h 503380"/>
                <a:gd name="connsiteX15" fmla="*/ 535651 w 956275"/>
                <a:gd name="connsiteY15" fmla="*/ 146304 h 503380"/>
                <a:gd name="connsiteX16" fmla="*/ 663667 w 956275"/>
                <a:gd name="connsiteY16" fmla="*/ 91440 h 503380"/>
                <a:gd name="connsiteX17" fmla="*/ 718531 w 956275"/>
                <a:gd name="connsiteY17" fmla="*/ 91440 h 503380"/>
                <a:gd name="connsiteX18" fmla="*/ 809971 w 956275"/>
                <a:gd name="connsiteY18" fmla="*/ 82296 h 503380"/>
                <a:gd name="connsiteX19" fmla="*/ 937987 w 956275"/>
                <a:gd name="connsiteY19" fmla="*/ 27432 h 503380"/>
                <a:gd name="connsiteX20" fmla="*/ 919699 w 956275"/>
                <a:gd name="connsiteY20" fmla="*/ 0 h 503380"/>
                <a:gd name="connsiteX21" fmla="*/ 883123 w 956275"/>
                <a:gd name="connsiteY21" fmla="*/ 27432 h 503380"/>
                <a:gd name="connsiteX22" fmla="*/ 846547 w 956275"/>
                <a:gd name="connsiteY22" fmla="*/ 36576 h 503380"/>
                <a:gd name="connsiteX23" fmla="*/ 773395 w 956275"/>
                <a:gd name="connsiteY23" fmla="*/ 64008 h 503380"/>
                <a:gd name="connsiteX24" fmla="*/ 718531 w 956275"/>
                <a:gd name="connsiteY24" fmla="*/ 64008 h 503380"/>
                <a:gd name="connsiteX25" fmla="*/ 608803 w 956275"/>
                <a:gd name="connsiteY25" fmla="*/ 64008 h 503380"/>
                <a:gd name="connsiteX26" fmla="*/ 553939 w 956275"/>
                <a:gd name="connsiteY26" fmla="*/ 100584 h 503380"/>
                <a:gd name="connsiteX27" fmla="*/ 517363 w 956275"/>
                <a:gd name="connsiteY27" fmla="*/ 146304 h 503380"/>
                <a:gd name="connsiteX28" fmla="*/ 471643 w 956275"/>
                <a:gd name="connsiteY28" fmla="*/ 182880 h 503380"/>
                <a:gd name="connsiteX29" fmla="*/ 425923 w 956275"/>
                <a:gd name="connsiteY29" fmla="*/ 256032 h 503380"/>
                <a:gd name="connsiteX30" fmla="*/ 352771 w 956275"/>
                <a:gd name="connsiteY30" fmla="*/ 301752 h 503380"/>
                <a:gd name="connsiteX31" fmla="*/ 252187 w 956275"/>
                <a:gd name="connsiteY31" fmla="*/ 347472 h 503380"/>
                <a:gd name="connsiteX32" fmla="*/ 215611 w 956275"/>
                <a:gd name="connsiteY32" fmla="*/ 374904 h 503380"/>
                <a:gd name="connsiteX33" fmla="*/ 169891 w 956275"/>
                <a:gd name="connsiteY33" fmla="*/ 402336 h 503380"/>
                <a:gd name="connsiteX34" fmla="*/ 151603 w 956275"/>
                <a:gd name="connsiteY34" fmla="*/ 402336 h 503380"/>
                <a:gd name="connsiteX35" fmla="*/ 169891 w 956275"/>
                <a:gd name="connsiteY35" fmla="*/ 365760 h 503380"/>
                <a:gd name="connsiteX36" fmla="*/ 224755 w 956275"/>
                <a:gd name="connsiteY36" fmla="*/ 301752 h 503380"/>
                <a:gd name="connsiteX37" fmla="*/ 316195 w 956275"/>
                <a:gd name="connsiteY37" fmla="*/ 219456 h 503380"/>
                <a:gd name="connsiteX38" fmla="*/ 361915 w 956275"/>
                <a:gd name="connsiteY38" fmla="*/ 146304 h 503380"/>
                <a:gd name="connsiteX39" fmla="*/ 361915 w 956275"/>
                <a:gd name="connsiteY39" fmla="*/ 64008 h 503380"/>
                <a:gd name="connsiteX40" fmla="*/ 352771 w 956275"/>
                <a:gd name="connsiteY40" fmla="*/ 54864 h 503380"/>
                <a:gd name="connsiteX41" fmla="*/ 343627 w 956275"/>
                <a:gd name="connsiteY41" fmla="*/ 128016 h 503380"/>
                <a:gd name="connsiteX42" fmla="*/ 316195 w 956275"/>
                <a:gd name="connsiteY42" fmla="*/ 173736 h 503380"/>
                <a:gd name="connsiteX43" fmla="*/ 243043 w 956275"/>
                <a:gd name="connsiteY43" fmla="*/ 237744 h 503380"/>
                <a:gd name="connsiteX44" fmla="*/ 215611 w 956275"/>
                <a:gd name="connsiteY44" fmla="*/ 256032 h 503380"/>
                <a:gd name="connsiteX45" fmla="*/ 142459 w 956275"/>
                <a:gd name="connsiteY45" fmla="*/ 347472 h 503380"/>
                <a:gd name="connsiteX46" fmla="*/ 133315 w 956275"/>
                <a:gd name="connsiteY46" fmla="*/ 374904 h 503380"/>
                <a:gd name="connsiteX47" fmla="*/ 124171 w 956275"/>
                <a:gd name="connsiteY47" fmla="*/ 411480 h 503380"/>
                <a:gd name="connsiteX48" fmla="*/ 142459 w 956275"/>
                <a:gd name="connsiteY48" fmla="*/ 429768 h 503380"/>
                <a:gd name="connsiteX49" fmla="*/ 96739 w 956275"/>
                <a:gd name="connsiteY49" fmla="*/ 457200 h 503380"/>
                <a:gd name="connsiteX50" fmla="*/ 13820 w 956275"/>
                <a:gd name="connsiteY50" fmla="*/ 496783 h 503380"/>
                <a:gd name="connsiteX51" fmla="*/ 13820 w 956275"/>
                <a:gd name="connsiteY51" fmla="*/ 496784 h 503380"/>
                <a:gd name="connsiteX52" fmla="*/ 13820 w 956275"/>
                <a:gd name="connsiteY52" fmla="*/ 496784 h 503380"/>
                <a:gd name="connsiteX53" fmla="*/ 13820 w 956275"/>
                <a:gd name="connsiteY53" fmla="*/ 496784 h 503380"/>
                <a:gd name="connsiteX54" fmla="*/ 13820 w 956275"/>
                <a:gd name="connsiteY54" fmla="*/ 496784 h 503380"/>
                <a:gd name="connsiteX55" fmla="*/ 40672 w 956275"/>
                <a:gd name="connsiteY55" fmla="*/ 486851 h 503380"/>
                <a:gd name="connsiteX0" fmla="*/ 40672 w 956275"/>
                <a:gd name="connsiteY0" fmla="*/ 486851 h 503380"/>
                <a:gd name="connsiteX1" fmla="*/ 13820 w 956275"/>
                <a:gd name="connsiteY1" fmla="*/ 496784 h 503380"/>
                <a:gd name="connsiteX2" fmla="*/ 13820 w 956275"/>
                <a:gd name="connsiteY2" fmla="*/ 496784 h 503380"/>
                <a:gd name="connsiteX3" fmla="*/ 51019 w 956275"/>
                <a:gd name="connsiteY3" fmla="*/ 493776 h 503380"/>
                <a:gd name="connsiteX4" fmla="*/ 151603 w 956275"/>
                <a:gd name="connsiteY4" fmla="*/ 466344 h 503380"/>
                <a:gd name="connsiteX5" fmla="*/ 252187 w 956275"/>
                <a:gd name="connsiteY5" fmla="*/ 384048 h 503380"/>
                <a:gd name="connsiteX6" fmla="*/ 444211 w 956275"/>
                <a:gd name="connsiteY6" fmla="*/ 301752 h 503380"/>
                <a:gd name="connsiteX7" fmla="*/ 526507 w 956275"/>
                <a:gd name="connsiteY7" fmla="*/ 192024 h 503380"/>
                <a:gd name="connsiteX8" fmla="*/ 672811 w 956275"/>
                <a:gd name="connsiteY8" fmla="*/ 155448 h 503380"/>
                <a:gd name="connsiteX9" fmla="*/ 718531 w 956275"/>
                <a:gd name="connsiteY9" fmla="*/ 155448 h 503380"/>
                <a:gd name="connsiteX10" fmla="*/ 755107 w 956275"/>
                <a:gd name="connsiteY10" fmla="*/ 137160 h 503380"/>
                <a:gd name="connsiteX11" fmla="*/ 709387 w 956275"/>
                <a:gd name="connsiteY11" fmla="*/ 137160 h 503380"/>
                <a:gd name="connsiteX12" fmla="*/ 617947 w 956275"/>
                <a:gd name="connsiteY12" fmla="*/ 137160 h 503380"/>
                <a:gd name="connsiteX13" fmla="*/ 563083 w 956275"/>
                <a:gd name="connsiteY13" fmla="*/ 146304 h 503380"/>
                <a:gd name="connsiteX14" fmla="*/ 553939 w 956275"/>
                <a:gd name="connsiteY14" fmla="*/ 155448 h 503380"/>
                <a:gd name="connsiteX15" fmla="*/ 535651 w 956275"/>
                <a:gd name="connsiteY15" fmla="*/ 146304 h 503380"/>
                <a:gd name="connsiteX16" fmla="*/ 663667 w 956275"/>
                <a:gd name="connsiteY16" fmla="*/ 91440 h 503380"/>
                <a:gd name="connsiteX17" fmla="*/ 718531 w 956275"/>
                <a:gd name="connsiteY17" fmla="*/ 91440 h 503380"/>
                <a:gd name="connsiteX18" fmla="*/ 809971 w 956275"/>
                <a:gd name="connsiteY18" fmla="*/ 82296 h 503380"/>
                <a:gd name="connsiteX19" fmla="*/ 937987 w 956275"/>
                <a:gd name="connsiteY19" fmla="*/ 27432 h 503380"/>
                <a:gd name="connsiteX20" fmla="*/ 919699 w 956275"/>
                <a:gd name="connsiteY20" fmla="*/ 0 h 503380"/>
                <a:gd name="connsiteX21" fmla="*/ 883123 w 956275"/>
                <a:gd name="connsiteY21" fmla="*/ 27432 h 503380"/>
                <a:gd name="connsiteX22" fmla="*/ 846547 w 956275"/>
                <a:gd name="connsiteY22" fmla="*/ 36576 h 503380"/>
                <a:gd name="connsiteX23" fmla="*/ 773395 w 956275"/>
                <a:gd name="connsiteY23" fmla="*/ 64008 h 503380"/>
                <a:gd name="connsiteX24" fmla="*/ 718531 w 956275"/>
                <a:gd name="connsiteY24" fmla="*/ 64008 h 503380"/>
                <a:gd name="connsiteX25" fmla="*/ 608803 w 956275"/>
                <a:gd name="connsiteY25" fmla="*/ 64008 h 503380"/>
                <a:gd name="connsiteX26" fmla="*/ 553939 w 956275"/>
                <a:gd name="connsiteY26" fmla="*/ 100584 h 503380"/>
                <a:gd name="connsiteX27" fmla="*/ 517363 w 956275"/>
                <a:gd name="connsiteY27" fmla="*/ 146304 h 503380"/>
                <a:gd name="connsiteX28" fmla="*/ 471643 w 956275"/>
                <a:gd name="connsiteY28" fmla="*/ 182880 h 503380"/>
                <a:gd name="connsiteX29" fmla="*/ 425923 w 956275"/>
                <a:gd name="connsiteY29" fmla="*/ 256032 h 503380"/>
                <a:gd name="connsiteX30" fmla="*/ 352771 w 956275"/>
                <a:gd name="connsiteY30" fmla="*/ 301752 h 503380"/>
                <a:gd name="connsiteX31" fmla="*/ 252187 w 956275"/>
                <a:gd name="connsiteY31" fmla="*/ 347472 h 503380"/>
                <a:gd name="connsiteX32" fmla="*/ 215611 w 956275"/>
                <a:gd name="connsiteY32" fmla="*/ 374904 h 503380"/>
                <a:gd name="connsiteX33" fmla="*/ 169891 w 956275"/>
                <a:gd name="connsiteY33" fmla="*/ 402336 h 503380"/>
                <a:gd name="connsiteX34" fmla="*/ 151603 w 956275"/>
                <a:gd name="connsiteY34" fmla="*/ 402336 h 503380"/>
                <a:gd name="connsiteX35" fmla="*/ 169891 w 956275"/>
                <a:gd name="connsiteY35" fmla="*/ 365760 h 503380"/>
                <a:gd name="connsiteX36" fmla="*/ 224755 w 956275"/>
                <a:gd name="connsiteY36" fmla="*/ 301752 h 503380"/>
                <a:gd name="connsiteX37" fmla="*/ 316195 w 956275"/>
                <a:gd name="connsiteY37" fmla="*/ 219456 h 503380"/>
                <a:gd name="connsiteX38" fmla="*/ 361915 w 956275"/>
                <a:gd name="connsiteY38" fmla="*/ 146304 h 503380"/>
                <a:gd name="connsiteX39" fmla="*/ 361915 w 956275"/>
                <a:gd name="connsiteY39" fmla="*/ 64008 h 503380"/>
                <a:gd name="connsiteX40" fmla="*/ 352771 w 956275"/>
                <a:gd name="connsiteY40" fmla="*/ 54864 h 503380"/>
                <a:gd name="connsiteX41" fmla="*/ 343627 w 956275"/>
                <a:gd name="connsiteY41" fmla="*/ 128016 h 503380"/>
                <a:gd name="connsiteX42" fmla="*/ 316195 w 956275"/>
                <a:gd name="connsiteY42" fmla="*/ 173736 h 503380"/>
                <a:gd name="connsiteX43" fmla="*/ 243043 w 956275"/>
                <a:gd name="connsiteY43" fmla="*/ 237744 h 503380"/>
                <a:gd name="connsiteX44" fmla="*/ 215611 w 956275"/>
                <a:gd name="connsiteY44" fmla="*/ 256032 h 503380"/>
                <a:gd name="connsiteX45" fmla="*/ 142459 w 956275"/>
                <a:gd name="connsiteY45" fmla="*/ 347472 h 503380"/>
                <a:gd name="connsiteX46" fmla="*/ 133315 w 956275"/>
                <a:gd name="connsiteY46" fmla="*/ 374904 h 503380"/>
                <a:gd name="connsiteX47" fmla="*/ 124171 w 956275"/>
                <a:gd name="connsiteY47" fmla="*/ 411480 h 503380"/>
                <a:gd name="connsiteX48" fmla="*/ 142459 w 956275"/>
                <a:gd name="connsiteY48" fmla="*/ 429768 h 503380"/>
                <a:gd name="connsiteX49" fmla="*/ 96739 w 956275"/>
                <a:gd name="connsiteY49" fmla="*/ 457200 h 503380"/>
                <a:gd name="connsiteX50" fmla="*/ 13820 w 956275"/>
                <a:gd name="connsiteY50" fmla="*/ 496783 h 503380"/>
                <a:gd name="connsiteX51" fmla="*/ 13820 w 956275"/>
                <a:gd name="connsiteY51" fmla="*/ 496784 h 503380"/>
                <a:gd name="connsiteX52" fmla="*/ 13820 w 956275"/>
                <a:gd name="connsiteY52" fmla="*/ 496784 h 503380"/>
                <a:gd name="connsiteX53" fmla="*/ 13820 w 956275"/>
                <a:gd name="connsiteY53" fmla="*/ 496784 h 503380"/>
                <a:gd name="connsiteX54" fmla="*/ 13820 w 956275"/>
                <a:gd name="connsiteY54" fmla="*/ 496784 h 503380"/>
                <a:gd name="connsiteX55" fmla="*/ 40672 w 956275"/>
                <a:gd name="connsiteY55" fmla="*/ 486851 h 503380"/>
                <a:gd name="connsiteX0" fmla="*/ 114797 w 956275"/>
                <a:gd name="connsiteY0" fmla="*/ 504512 h 504512"/>
                <a:gd name="connsiteX1" fmla="*/ 13820 w 956275"/>
                <a:gd name="connsiteY1" fmla="*/ 496784 h 504512"/>
                <a:gd name="connsiteX2" fmla="*/ 13820 w 956275"/>
                <a:gd name="connsiteY2" fmla="*/ 496784 h 504512"/>
                <a:gd name="connsiteX3" fmla="*/ 51019 w 956275"/>
                <a:gd name="connsiteY3" fmla="*/ 493776 h 504512"/>
                <a:gd name="connsiteX4" fmla="*/ 151603 w 956275"/>
                <a:gd name="connsiteY4" fmla="*/ 466344 h 504512"/>
                <a:gd name="connsiteX5" fmla="*/ 252187 w 956275"/>
                <a:gd name="connsiteY5" fmla="*/ 384048 h 504512"/>
                <a:gd name="connsiteX6" fmla="*/ 444211 w 956275"/>
                <a:gd name="connsiteY6" fmla="*/ 301752 h 504512"/>
                <a:gd name="connsiteX7" fmla="*/ 526507 w 956275"/>
                <a:gd name="connsiteY7" fmla="*/ 192024 h 504512"/>
                <a:gd name="connsiteX8" fmla="*/ 672811 w 956275"/>
                <a:gd name="connsiteY8" fmla="*/ 155448 h 504512"/>
                <a:gd name="connsiteX9" fmla="*/ 718531 w 956275"/>
                <a:gd name="connsiteY9" fmla="*/ 155448 h 504512"/>
                <a:gd name="connsiteX10" fmla="*/ 755107 w 956275"/>
                <a:gd name="connsiteY10" fmla="*/ 137160 h 504512"/>
                <a:gd name="connsiteX11" fmla="*/ 709387 w 956275"/>
                <a:gd name="connsiteY11" fmla="*/ 137160 h 504512"/>
                <a:gd name="connsiteX12" fmla="*/ 617947 w 956275"/>
                <a:gd name="connsiteY12" fmla="*/ 137160 h 504512"/>
                <a:gd name="connsiteX13" fmla="*/ 563083 w 956275"/>
                <a:gd name="connsiteY13" fmla="*/ 146304 h 504512"/>
                <a:gd name="connsiteX14" fmla="*/ 553939 w 956275"/>
                <a:gd name="connsiteY14" fmla="*/ 155448 h 504512"/>
                <a:gd name="connsiteX15" fmla="*/ 535651 w 956275"/>
                <a:gd name="connsiteY15" fmla="*/ 146304 h 504512"/>
                <a:gd name="connsiteX16" fmla="*/ 663667 w 956275"/>
                <a:gd name="connsiteY16" fmla="*/ 91440 h 504512"/>
                <a:gd name="connsiteX17" fmla="*/ 718531 w 956275"/>
                <a:gd name="connsiteY17" fmla="*/ 91440 h 504512"/>
                <a:gd name="connsiteX18" fmla="*/ 809971 w 956275"/>
                <a:gd name="connsiteY18" fmla="*/ 82296 h 504512"/>
                <a:gd name="connsiteX19" fmla="*/ 937987 w 956275"/>
                <a:gd name="connsiteY19" fmla="*/ 27432 h 504512"/>
                <a:gd name="connsiteX20" fmla="*/ 919699 w 956275"/>
                <a:gd name="connsiteY20" fmla="*/ 0 h 504512"/>
                <a:gd name="connsiteX21" fmla="*/ 883123 w 956275"/>
                <a:gd name="connsiteY21" fmla="*/ 27432 h 504512"/>
                <a:gd name="connsiteX22" fmla="*/ 846547 w 956275"/>
                <a:gd name="connsiteY22" fmla="*/ 36576 h 504512"/>
                <a:gd name="connsiteX23" fmla="*/ 773395 w 956275"/>
                <a:gd name="connsiteY23" fmla="*/ 64008 h 504512"/>
                <a:gd name="connsiteX24" fmla="*/ 718531 w 956275"/>
                <a:gd name="connsiteY24" fmla="*/ 64008 h 504512"/>
                <a:gd name="connsiteX25" fmla="*/ 608803 w 956275"/>
                <a:gd name="connsiteY25" fmla="*/ 64008 h 504512"/>
                <a:gd name="connsiteX26" fmla="*/ 553939 w 956275"/>
                <a:gd name="connsiteY26" fmla="*/ 100584 h 504512"/>
                <a:gd name="connsiteX27" fmla="*/ 517363 w 956275"/>
                <a:gd name="connsiteY27" fmla="*/ 146304 h 504512"/>
                <a:gd name="connsiteX28" fmla="*/ 471643 w 956275"/>
                <a:gd name="connsiteY28" fmla="*/ 182880 h 504512"/>
                <a:gd name="connsiteX29" fmla="*/ 425923 w 956275"/>
                <a:gd name="connsiteY29" fmla="*/ 256032 h 504512"/>
                <a:gd name="connsiteX30" fmla="*/ 352771 w 956275"/>
                <a:gd name="connsiteY30" fmla="*/ 301752 h 504512"/>
                <a:gd name="connsiteX31" fmla="*/ 252187 w 956275"/>
                <a:gd name="connsiteY31" fmla="*/ 347472 h 504512"/>
                <a:gd name="connsiteX32" fmla="*/ 215611 w 956275"/>
                <a:gd name="connsiteY32" fmla="*/ 374904 h 504512"/>
                <a:gd name="connsiteX33" fmla="*/ 169891 w 956275"/>
                <a:gd name="connsiteY33" fmla="*/ 402336 h 504512"/>
                <a:gd name="connsiteX34" fmla="*/ 151603 w 956275"/>
                <a:gd name="connsiteY34" fmla="*/ 402336 h 504512"/>
                <a:gd name="connsiteX35" fmla="*/ 169891 w 956275"/>
                <a:gd name="connsiteY35" fmla="*/ 365760 h 504512"/>
                <a:gd name="connsiteX36" fmla="*/ 224755 w 956275"/>
                <a:gd name="connsiteY36" fmla="*/ 301752 h 504512"/>
                <a:gd name="connsiteX37" fmla="*/ 316195 w 956275"/>
                <a:gd name="connsiteY37" fmla="*/ 219456 h 504512"/>
                <a:gd name="connsiteX38" fmla="*/ 361915 w 956275"/>
                <a:gd name="connsiteY38" fmla="*/ 146304 h 504512"/>
                <a:gd name="connsiteX39" fmla="*/ 361915 w 956275"/>
                <a:gd name="connsiteY39" fmla="*/ 64008 h 504512"/>
                <a:gd name="connsiteX40" fmla="*/ 352771 w 956275"/>
                <a:gd name="connsiteY40" fmla="*/ 54864 h 504512"/>
                <a:gd name="connsiteX41" fmla="*/ 343627 w 956275"/>
                <a:gd name="connsiteY41" fmla="*/ 128016 h 504512"/>
                <a:gd name="connsiteX42" fmla="*/ 316195 w 956275"/>
                <a:gd name="connsiteY42" fmla="*/ 173736 h 504512"/>
                <a:gd name="connsiteX43" fmla="*/ 243043 w 956275"/>
                <a:gd name="connsiteY43" fmla="*/ 237744 h 504512"/>
                <a:gd name="connsiteX44" fmla="*/ 215611 w 956275"/>
                <a:gd name="connsiteY44" fmla="*/ 256032 h 504512"/>
                <a:gd name="connsiteX45" fmla="*/ 142459 w 956275"/>
                <a:gd name="connsiteY45" fmla="*/ 347472 h 504512"/>
                <a:gd name="connsiteX46" fmla="*/ 133315 w 956275"/>
                <a:gd name="connsiteY46" fmla="*/ 374904 h 504512"/>
                <a:gd name="connsiteX47" fmla="*/ 124171 w 956275"/>
                <a:gd name="connsiteY47" fmla="*/ 411480 h 504512"/>
                <a:gd name="connsiteX48" fmla="*/ 142459 w 956275"/>
                <a:gd name="connsiteY48" fmla="*/ 429768 h 504512"/>
                <a:gd name="connsiteX49" fmla="*/ 96739 w 956275"/>
                <a:gd name="connsiteY49" fmla="*/ 457200 h 504512"/>
                <a:gd name="connsiteX50" fmla="*/ 13820 w 956275"/>
                <a:gd name="connsiteY50" fmla="*/ 496783 h 504512"/>
                <a:gd name="connsiteX51" fmla="*/ 13820 w 956275"/>
                <a:gd name="connsiteY51" fmla="*/ 496784 h 504512"/>
                <a:gd name="connsiteX52" fmla="*/ 13820 w 956275"/>
                <a:gd name="connsiteY52" fmla="*/ 496784 h 504512"/>
                <a:gd name="connsiteX53" fmla="*/ 13820 w 956275"/>
                <a:gd name="connsiteY53" fmla="*/ 496784 h 504512"/>
                <a:gd name="connsiteX54" fmla="*/ 13820 w 956275"/>
                <a:gd name="connsiteY54" fmla="*/ 496784 h 504512"/>
                <a:gd name="connsiteX55" fmla="*/ 114797 w 956275"/>
                <a:gd name="connsiteY55" fmla="*/ 504512 h 504512"/>
                <a:gd name="connsiteX0" fmla="*/ 114797 w 956275"/>
                <a:gd name="connsiteY0" fmla="*/ 504512 h 505800"/>
                <a:gd name="connsiteX1" fmla="*/ 13820 w 956275"/>
                <a:gd name="connsiteY1" fmla="*/ 496784 h 505800"/>
                <a:gd name="connsiteX2" fmla="*/ 13820 w 956275"/>
                <a:gd name="connsiteY2" fmla="*/ 496784 h 505800"/>
                <a:gd name="connsiteX3" fmla="*/ 51019 w 956275"/>
                <a:gd name="connsiteY3" fmla="*/ 493776 h 505800"/>
                <a:gd name="connsiteX4" fmla="*/ 151603 w 956275"/>
                <a:gd name="connsiteY4" fmla="*/ 466344 h 505800"/>
                <a:gd name="connsiteX5" fmla="*/ 252187 w 956275"/>
                <a:gd name="connsiteY5" fmla="*/ 384048 h 505800"/>
                <a:gd name="connsiteX6" fmla="*/ 444211 w 956275"/>
                <a:gd name="connsiteY6" fmla="*/ 301752 h 505800"/>
                <a:gd name="connsiteX7" fmla="*/ 526507 w 956275"/>
                <a:gd name="connsiteY7" fmla="*/ 192024 h 505800"/>
                <a:gd name="connsiteX8" fmla="*/ 672811 w 956275"/>
                <a:gd name="connsiteY8" fmla="*/ 155448 h 505800"/>
                <a:gd name="connsiteX9" fmla="*/ 718531 w 956275"/>
                <a:gd name="connsiteY9" fmla="*/ 155448 h 505800"/>
                <a:gd name="connsiteX10" fmla="*/ 755107 w 956275"/>
                <a:gd name="connsiteY10" fmla="*/ 137160 h 505800"/>
                <a:gd name="connsiteX11" fmla="*/ 709387 w 956275"/>
                <a:gd name="connsiteY11" fmla="*/ 137160 h 505800"/>
                <a:gd name="connsiteX12" fmla="*/ 617947 w 956275"/>
                <a:gd name="connsiteY12" fmla="*/ 137160 h 505800"/>
                <a:gd name="connsiteX13" fmla="*/ 563083 w 956275"/>
                <a:gd name="connsiteY13" fmla="*/ 146304 h 505800"/>
                <a:gd name="connsiteX14" fmla="*/ 553939 w 956275"/>
                <a:gd name="connsiteY14" fmla="*/ 155448 h 505800"/>
                <a:gd name="connsiteX15" fmla="*/ 535651 w 956275"/>
                <a:gd name="connsiteY15" fmla="*/ 146304 h 505800"/>
                <a:gd name="connsiteX16" fmla="*/ 663667 w 956275"/>
                <a:gd name="connsiteY16" fmla="*/ 91440 h 505800"/>
                <a:gd name="connsiteX17" fmla="*/ 718531 w 956275"/>
                <a:gd name="connsiteY17" fmla="*/ 91440 h 505800"/>
                <a:gd name="connsiteX18" fmla="*/ 809971 w 956275"/>
                <a:gd name="connsiteY18" fmla="*/ 82296 h 505800"/>
                <a:gd name="connsiteX19" fmla="*/ 937987 w 956275"/>
                <a:gd name="connsiteY19" fmla="*/ 27432 h 505800"/>
                <a:gd name="connsiteX20" fmla="*/ 919699 w 956275"/>
                <a:gd name="connsiteY20" fmla="*/ 0 h 505800"/>
                <a:gd name="connsiteX21" fmla="*/ 883123 w 956275"/>
                <a:gd name="connsiteY21" fmla="*/ 27432 h 505800"/>
                <a:gd name="connsiteX22" fmla="*/ 846547 w 956275"/>
                <a:gd name="connsiteY22" fmla="*/ 36576 h 505800"/>
                <a:gd name="connsiteX23" fmla="*/ 773395 w 956275"/>
                <a:gd name="connsiteY23" fmla="*/ 64008 h 505800"/>
                <a:gd name="connsiteX24" fmla="*/ 718531 w 956275"/>
                <a:gd name="connsiteY24" fmla="*/ 64008 h 505800"/>
                <a:gd name="connsiteX25" fmla="*/ 608803 w 956275"/>
                <a:gd name="connsiteY25" fmla="*/ 64008 h 505800"/>
                <a:gd name="connsiteX26" fmla="*/ 553939 w 956275"/>
                <a:gd name="connsiteY26" fmla="*/ 100584 h 505800"/>
                <a:gd name="connsiteX27" fmla="*/ 517363 w 956275"/>
                <a:gd name="connsiteY27" fmla="*/ 146304 h 505800"/>
                <a:gd name="connsiteX28" fmla="*/ 471643 w 956275"/>
                <a:gd name="connsiteY28" fmla="*/ 182880 h 505800"/>
                <a:gd name="connsiteX29" fmla="*/ 425923 w 956275"/>
                <a:gd name="connsiteY29" fmla="*/ 256032 h 505800"/>
                <a:gd name="connsiteX30" fmla="*/ 352771 w 956275"/>
                <a:gd name="connsiteY30" fmla="*/ 301752 h 505800"/>
                <a:gd name="connsiteX31" fmla="*/ 252187 w 956275"/>
                <a:gd name="connsiteY31" fmla="*/ 347472 h 505800"/>
                <a:gd name="connsiteX32" fmla="*/ 215611 w 956275"/>
                <a:gd name="connsiteY32" fmla="*/ 374904 h 505800"/>
                <a:gd name="connsiteX33" fmla="*/ 169891 w 956275"/>
                <a:gd name="connsiteY33" fmla="*/ 402336 h 505800"/>
                <a:gd name="connsiteX34" fmla="*/ 151603 w 956275"/>
                <a:gd name="connsiteY34" fmla="*/ 402336 h 505800"/>
                <a:gd name="connsiteX35" fmla="*/ 169891 w 956275"/>
                <a:gd name="connsiteY35" fmla="*/ 365760 h 505800"/>
                <a:gd name="connsiteX36" fmla="*/ 224755 w 956275"/>
                <a:gd name="connsiteY36" fmla="*/ 301752 h 505800"/>
                <a:gd name="connsiteX37" fmla="*/ 316195 w 956275"/>
                <a:gd name="connsiteY37" fmla="*/ 219456 h 505800"/>
                <a:gd name="connsiteX38" fmla="*/ 361915 w 956275"/>
                <a:gd name="connsiteY38" fmla="*/ 146304 h 505800"/>
                <a:gd name="connsiteX39" fmla="*/ 361915 w 956275"/>
                <a:gd name="connsiteY39" fmla="*/ 64008 h 505800"/>
                <a:gd name="connsiteX40" fmla="*/ 352771 w 956275"/>
                <a:gd name="connsiteY40" fmla="*/ 54864 h 505800"/>
                <a:gd name="connsiteX41" fmla="*/ 343627 w 956275"/>
                <a:gd name="connsiteY41" fmla="*/ 128016 h 505800"/>
                <a:gd name="connsiteX42" fmla="*/ 316195 w 956275"/>
                <a:gd name="connsiteY42" fmla="*/ 173736 h 505800"/>
                <a:gd name="connsiteX43" fmla="*/ 243043 w 956275"/>
                <a:gd name="connsiteY43" fmla="*/ 237744 h 505800"/>
                <a:gd name="connsiteX44" fmla="*/ 215611 w 956275"/>
                <a:gd name="connsiteY44" fmla="*/ 256032 h 505800"/>
                <a:gd name="connsiteX45" fmla="*/ 142459 w 956275"/>
                <a:gd name="connsiteY45" fmla="*/ 347472 h 505800"/>
                <a:gd name="connsiteX46" fmla="*/ 133315 w 956275"/>
                <a:gd name="connsiteY46" fmla="*/ 374904 h 505800"/>
                <a:gd name="connsiteX47" fmla="*/ 124171 w 956275"/>
                <a:gd name="connsiteY47" fmla="*/ 411480 h 505800"/>
                <a:gd name="connsiteX48" fmla="*/ 142459 w 956275"/>
                <a:gd name="connsiteY48" fmla="*/ 429768 h 505800"/>
                <a:gd name="connsiteX49" fmla="*/ 96739 w 956275"/>
                <a:gd name="connsiteY49" fmla="*/ 457200 h 505800"/>
                <a:gd name="connsiteX50" fmla="*/ 13820 w 956275"/>
                <a:gd name="connsiteY50" fmla="*/ 496783 h 505800"/>
                <a:gd name="connsiteX51" fmla="*/ 13820 w 956275"/>
                <a:gd name="connsiteY51" fmla="*/ 496784 h 505800"/>
                <a:gd name="connsiteX52" fmla="*/ 13820 w 956275"/>
                <a:gd name="connsiteY52" fmla="*/ 496784 h 505800"/>
                <a:gd name="connsiteX53" fmla="*/ 13820 w 956275"/>
                <a:gd name="connsiteY53" fmla="*/ 496784 h 505800"/>
                <a:gd name="connsiteX54" fmla="*/ 114796 w 956275"/>
                <a:gd name="connsiteY54" fmla="*/ 504511 h 505800"/>
                <a:gd name="connsiteX55" fmla="*/ 114797 w 956275"/>
                <a:gd name="connsiteY55" fmla="*/ 504512 h 505800"/>
                <a:gd name="connsiteX0" fmla="*/ 114797 w 956275"/>
                <a:gd name="connsiteY0" fmla="*/ 504512 h 505800"/>
                <a:gd name="connsiteX1" fmla="*/ 13820 w 956275"/>
                <a:gd name="connsiteY1" fmla="*/ 496784 h 505800"/>
                <a:gd name="connsiteX2" fmla="*/ 13820 w 956275"/>
                <a:gd name="connsiteY2" fmla="*/ 496784 h 505800"/>
                <a:gd name="connsiteX3" fmla="*/ 51019 w 956275"/>
                <a:gd name="connsiteY3" fmla="*/ 493776 h 505800"/>
                <a:gd name="connsiteX4" fmla="*/ 151603 w 956275"/>
                <a:gd name="connsiteY4" fmla="*/ 466344 h 505800"/>
                <a:gd name="connsiteX5" fmla="*/ 252187 w 956275"/>
                <a:gd name="connsiteY5" fmla="*/ 384048 h 505800"/>
                <a:gd name="connsiteX6" fmla="*/ 444211 w 956275"/>
                <a:gd name="connsiteY6" fmla="*/ 301752 h 505800"/>
                <a:gd name="connsiteX7" fmla="*/ 526507 w 956275"/>
                <a:gd name="connsiteY7" fmla="*/ 192024 h 505800"/>
                <a:gd name="connsiteX8" fmla="*/ 672811 w 956275"/>
                <a:gd name="connsiteY8" fmla="*/ 155448 h 505800"/>
                <a:gd name="connsiteX9" fmla="*/ 718531 w 956275"/>
                <a:gd name="connsiteY9" fmla="*/ 155448 h 505800"/>
                <a:gd name="connsiteX10" fmla="*/ 755107 w 956275"/>
                <a:gd name="connsiteY10" fmla="*/ 137160 h 505800"/>
                <a:gd name="connsiteX11" fmla="*/ 709387 w 956275"/>
                <a:gd name="connsiteY11" fmla="*/ 137160 h 505800"/>
                <a:gd name="connsiteX12" fmla="*/ 617947 w 956275"/>
                <a:gd name="connsiteY12" fmla="*/ 137160 h 505800"/>
                <a:gd name="connsiteX13" fmla="*/ 563083 w 956275"/>
                <a:gd name="connsiteY13" fmla="*/ 146304 h 505800"/>
                <a:gd name="connsiteX14" fmla="*/ 553939 w 956275"/>
                <a:gd name="connsiteY14" fmla="*/ 155448 h 505800"/>
                <a:gd name="connsiteX15" fmla="*/ 535651 w 956275"/>
                <a:gd name="connsiteY15" fmla="*/ 146304 h 505800"/>
                <a:gd name="connsiteX16" fmla="*/ 663667 w 956275"/>
                <a:gd name="connsiteY16" fmla="*/ 91440 h 505800"/>
                <a:gd name="connsiteX17" fmla="*/ 718531 w 956275"/>
                <a:gd name="connsiteY17" fmla="*/ 91440 h 505800"/>
                <a:gd name="connsiteX18" fmla="*/ 809971 w 956275"/>
                <a:gd name="connsiteY18" fmla="*/ 82296 h 505800"/>
                <a:gd name="connsiteX19" fmla="*/ 937987 w 956275"/>
                <a:gd name="connsiteY19" fmla="*/ 27432 h 505800"/>
                <a:gd name="connsiteX20" fmla="*/ 919699 w 956275"/>
                <a:gd name="connsiteY20" fmla="*/ 0 h 505800"/>
                <a:gd name="connsiteX21" fmla="*/ 883123 w 956275"/>
                <a:gd name="connsiteY21" fmla="*/ 27432 h 505800"/>
                <a:gd name="connsiteX22" fmla="*/ 846547 w 956275"/>
                <a:gd name="connsiteY22" fmla="*/ 36576 h 505800"/>
                <a:gd name="connsiteX23" fmla="*/ 773395 w 956275"/>
                <a:gd name="connsiteY23" fmla="*/ 64008 h 505800"/>
                <a:gd name="connsiteX24" fmla="*/ 718531 w 956275"/>
                <a:gd name="connsiteY24" fmla="*/ 64008 h 505800"/>
                <a:gd name="connsiteX25" fmla="*/ 608803 w 956275"/>
                <a:gd name="connsiteY25" fmla="*/ 64008 h 505800"/>
                <a:gd name="connsiteX26" fmla="*/ 553939 w 956275"/>
                <a:gd name="connsiteY26" fmla="*/ 100584 h 505800"/>
                <a:gd name="connsiteX27" fmla="*/ 517363 w 956275"/>
                <a:gd name="connsiteY27" fmla="*/ 146304 h 505800"/>
                <a:gd name="connsiteX28" fmla="*/ 471643 w 956275"/>
                <a:gd name="connsiteY28" fmla="*/ 182880 h 505800"/>
                <a:gd name="connsiteX29" fmla="*/ 425923 w 956275"/>
                <a:gd name="connsiteY29" fmla="*/ 256032 h 505800"/>
                <a:gd name="connsiteX30" fmla="*/ 352771 w 956275"/>
                <a:gd name="connsiteY30" fmla="*/ 301752 h 505800"/>
                <a:gd name="connsiteX31" fmla="*/ 252187 w 956275"/>
                <a:gd name="connsiteY31" fmla="*/ 347472 h 505800"/>
                <a:gd name="connsiteX32" fmla="*/ 215611 w 956275"/>
                <a:gd name="connsiteY32" fmla="*/ 374904 h 505800"/>
                <a:gd name="connsiteX33" fmla="*/ 169891 w 956275"/>
                <a:gd name="connsiteY33" fmla="*/ 402336 h 505800"/>
                <a:gd name="connsiteX34" fmla="*/ 151603 w 956275"/>
                <a:gd name="connsiteY34" fmla="*/ 402336 h 505800"/>
                <a:gd name="connsiteX35" fmla="*/ 169891 w 956275"/>
                <a:gd name="connsiteY35" fmla="*/ 365760 h 505800"/>
                <a:gd name="connsiteX36" fmla="*/ 224755 w 956275"/>
                <a:gd name="connsiteY36" fmla="*/ 301752 h 505800"/>
                <a:gd name="connsiteX37" fmla="*/ 316195 w 956275"/>
                <a:gd name="connsiteY37" fmla="*/ 219456 h 505800"/>
                <a:gd name="connsiteX38" fmla="*/ 361915 w 956275"/>
                <a:gd name="connsiteY38" fmla="*/ 146304 h 505800"/>
                <a:gd name="connsiteX39" fmla="*/ 361915 w 956275"/>
                <a:gd name="connsiteY39" fmla="*/ 64008 h 505800"/>
                <a:gd name="connsiteX40" fmla="*/ 352771 w 956275"/>
                <a:gd name="connsiteY40" fmla="*/ 54864 h 505800"/>
                <a:gd name="connsiteX41" fmla="*/ 343627 w 956275"/>
                <a:gd name="connsiteY41" fmla="*/ 128016 h 505800"/>
                <a:gd name="connsiteX42" fmla="*/ 316195 w 956275"/>
                <a:gd name="connsiteY42" fmla="*/ 173736 h 505800"/>
                <a:gd name="connsiteX43" fmla="*/ 243043 w 956275"/>
                <a:gd name="connsiteY43" fmla="*/ 237744 h 505800"/>
                <a:gd name="connsiteX44" fmla="*/ 215611 w 956275"/>
                <a:gd name="connsiteY44" fmla="*/ 256032 h 505800"/>
                <a:gd name="connsiteX45" fmla="*/ 142459 w 956275"/>
                <a:gd name="connsiteY45" fmla="*/ 347472 h 505800"/>
                <a:gd name="connsiteX46" fmla="*/ 133315 w 956275"/>
                <a:gd name="connsiteY46" fmla="*/ 374904 h 505800"/>
                <a:gd name="connsiteX47" fmla="*/ 124171 w 956275"/>
                <a:gd name="connsiteY47" fmla="*/ 411480 h 505800"/>
                <a:gd name="connsiteX48" fmla="*/ 142459 w 956275"/>
                <a:gd name="connsiteY48" fmla="*/ 429768 h 505800"/>
                <a:gd name="connsiteX49" fmla="*/ 96739 w 956275"/>
                <a:gd name="connsiteY49" fmla="*/ 457200 h 505800"/>
                <a:gd name="connsiteX50" fmla="*/ 13820 w 956275"/>
                <a:gd name="connsiteY50" fmla="*/ 496783 h 505800"/>
                <a:gd name="connsiteX51" fmla="*/ 13820 w 956275"/>
                <a:gd name="connsiteY51" fmla="*/ 496784 h 505800"/>
                <a:gd name="connsiteX52" fmla="*/ 13820 w 956275"/>
                <a:gd name="connsiteY52" fmla="*/ 496784 h 505800"/>
                <a:gd name="connsiteX53" fmla="*/ 132458 w 956275"/>
                <a:gd name="connsiteY53" fmla="*/ 430387 h 505800"/>
                <a:gd name="connsiteX54" fmla="*/ 114796 w 956275"/>
                <a:gd name="connsiteY54" fmla="*/ 504511 h 505800"/>
                <a:gd name="connsiteX55" fmla="*/ 114797 w 956275"/>
                <a:gd name="connsiteY55" fmla="*/ 504512 h 505800"/>
                <a:gd name="connsiteX0" fmla="*/ 114798 w 956275"/>
                <a:gd name="connsiteY0" fmla="*/ 504512 h 505800"/>
                <a:gd name="connsiteX1" fmla="*/ 13820 w 956275"/>
                <a:gd name="connsiteY1" fmla="*/ 496784 h 505800"/>
                <a:gd name="connsiteX2" fmla="*/ 13820 w 956275"/>
                <a:gd name="connsiteY2" fmla="*/ 496784 h 505800"/>
                <a:gd name="connsiteX3" fmla="*/ 51019 w 956275"/>
                <a:gd name="connsiteY3" fmla="*/ 493776 h 505800"/>
                <a:gd name="connsiteX4" fmla="*/ 151603 w 956275"/>
                <a:gd name="connsiteY4" fmla="*/ 466344 h 505800"/>
                <a:gd name="connsiteX5" fmla="*/ 252187 w 956275"/>
                <a:gd name="connsiteY5" fmla="*/ 384048 h 505800"/>
                <a:gd name="connsiteX6" fmla="*/ 444211 w 956275"/>
                <a:gd name="connsiteY6" fmla="*/ 301752 h 505800"/>
                <a:gd name="connsiteX7" fmla="*/ 526507 w 956275"/>
                <a:gd name="connsiteY7" fmla="*/ 192024 h 505800"/>
                <a:gd name="connsiteX8" fmla="*/ 672811 w 956275"/>
                <a:gd name="connsiteY8" fmla="*/ 155448 h 505800"/>
                <a:gd name="connsiteX9" fmla="*/ 718531 w 956275"/>
                <a:gd name="connsiteY9" fmla="*/ 155448 h 505800"/>
                <a:gd name="connsiteX10" fmla="*/ 755107 w 956275"/>
                <a:gd name="connsiteY10" fmla="*/ 137160 h 505800"/>
                <a:gd name="connsiteX11" fmla="*/ 709387 w 956275"/>
                <a:gd name="connsiteY11" fmla="*/ 137160 h 505800"/>
                <a:gd name="connsiteX12" fmla="*/ 617947 w 956275"/>
                <a:gd name="connsiteY12" fmla="*/ 137160 h 505800"/>
                <a:gd name="connsiteX13" fmla="*/ 563083 w 956275"/>
                <a:gd name="connsiteY13" fmla="*/ 146304 h 505800"/>
                <a:gd name="connsiteX14" fmla="*/ 553939 w 956275"/>
                <a:gd name="connsiteY14" fmla="*/ 155448 h 505800"/>
                <a:gd name="connsiteX15" fmla="*/ 535651 w 956275"/>
                <a:gd name="connsiteY15" fmla="*/ 146304 h 505800"/>
                <a:gd name="connsiteX16" fmla="*/ 663667 w 956275"/>
                <a:gd name="connsiteY16" fmla="*/ 91440 h 505800"/>
                <a:gd name="connsiteX17" fmla="*/ 718531 w 956275"/>
                <a:gd name="connsiteY17" fmla="*/ 91440 h 505800"/>
                <a:gd name="connsiteX18" fmla="*/ 809971 w 956275"/>
                <a:gd name="connsiteY18" fmla="*/ 82296 h 505800"/>
                <a:gd name="connsiteX19" fmla="*/ 937987 w 956275"/>
                <a:gd name="connsiteY19" fmla="*/ 27432 h 505800"/>
                <a:gd name="connsiteX20" fmla="*/ 919699 w 956275"/>
                <a:gd name="connsiteY20" fmla="*/ 0 h 505800"/>
                <a:gd name="connsiteX21" fmla="*/ 883123 w 956275"/>
                <a:gd name="connsiteY21" fmla="*/ 27432 h 505800"/>
                <a:gd name="connsiteX22" fmla="*/ 846547 w 956275"/>
                <a:gd name="connsiteY22" fmla="*/ 36576 h 505800"/>
                <a:gd name="connsiteX23" fmla="*/ 773395 w 956275"/>
                <a:gd name="connsiteY23" fmla="*/ 64008 h 505800"/>
                <a:gd name="connsiteX24" fmla="*/ 718531 w 956275"/>
                <a:gd name="connsiteY24" fmla="*/ 64008 h 505800"/>
                <a:gd name="connsiteX25" fmla="*/ 608803 w 956275"/>
                <a:gd name="connsiteY25" fmla="*/ 64008 h 505800"/>
                <a:gd name="connsiteX26" fmla="*/ 553939 w 956275"/>
                <a:gd name="connsiteY26" fmla="*/ 100584 h 505800"/>
                <a:gd name="connsiteX27" fmla="*/ 517363 w 956275"/>
                <a:gd name="connsiteY27" fmla="*/ 146304 h 505800"/>
                <a:gd name="connsiteX28" fmla="*/ 471643 w 956275"/>
                <a:gd name="connsiteY28" fmla="*/ 182880 h 505800"/>
                <a:gd name="connsiteX29" fmla="*/ 425923 w 956275"/>
                <a:gd name="connsiteY29" fmla="*/ 256032 h 505800"/>
                <a:gd name="connsiteX30" fmla="*/ 352771 w 956275"/>
                <a:gd name="connsiteY30" fmla="*/ 301752 h 505800"/>
                <a:gd name="connsiteX31" fmla="*/ 252187 w 956275"/>
                <a:gd name="connsiteY31" fmla="*/ 347472 h 505800"/>
                <a:gd name="connsiteX32" fmla="*/ 215611 w 956275"/>
                <a:gd name="connsiteY32" fmla="*/ 374904 h 505800"/>
                <a:gd name="connsiteX33" fmla="*/ 169891 w 956275"/>
                <a:gd name="connsiteY33" fmla="*/ 402336 h 505800"/>
                <a:gd name="connsiteX34" fmla="*/ 151603 w 956275"/>
                <a:gd name="connsiteY34" fmla="*/ 402336 h 505800"/>
                <a:gd name="connsiteX35" fmla="*/ 169891 w 956275"/>
                <a:gd name="connsiteY35" fmla="*/ 365760 h 505800"/>
                <a:gd name="connsiteX36" fmla="*/ 224755 w 956275"/>
                <a:gd name="connsiteY36" fmla="*/ 301752 h 505800"/>
                <a:gd name="connsiteX37" fmla="*/ 316195 w 956275"/>
                <a:gd name="connsiteY37" fmla="*/ 219456 h 505800"/>
                <a:gd name="connsiteX38" fmla="*/ 361915 w 956275"/>
                <a:gd name="connsiteY38" fmla="*/ 146304 h 505800"/>
                <a:gd name="connsiteX39" fmla="*/ 361915 w 956275"/>
                <a:gd name="connsiteY39" fmla="*/ 64008 h 505800"/>
                <a:gd name="connsiteX40" fmla="*/ 352771 w 956275"/>
                <a:gd name="connsiteY40" fmla="*/ 54864 h 505800"/>
                <a:gd name="connsiteX41" fmla="*/ 343627 w 956275"/>
                <a:gd name="connsiteY41" fmla="*/ 128016 h 505800"/>
                <a:gd name="connsiteX42" fmla="*/ 316195 w 956275"/>
                <a:gd name="connsiteY42" fmla="*/ 173736 h 505800"/>
                <a:gd name="connsiteX43" fmla="*/ 243043 w 956275"/>
                <a:gd name="connsiteY43" fmla="*/ 237744 h 505800"/>
                <a:gd name="connsiteX44" fmla="*/ 215611 w 956275"/>
                <a:gd name="connsiteY44" fmla="*/ 256032 h 505800"/>
                <a:gd name="connsiteX45" fmla="*/ 142459 w 956275"/>
                <a:gd name="connsiteY45" fmla="*/ 347472 h 505800"/>
                <a:gd name="connsiteX46" fmla="*/ 133315 w 956275"/>
                <a:gd name="connsiteY46" fmla="*/ 374904 h 505800"/>
                <a:gd name="connsiteX47" fmla="*/ 124171 w 956275"/>
                <a:gd name="connsiteY47" fmla="*/ 411480 h 505800"/>
                <a:gd name="connsiteX48" fmla="*/ 142459 w 956275"/>
                <a:gd name="connsiteY48" fmla="*/ 429768 h 505800"/>
                <a:gd name="connsiteX49" fmla="*/ 96739 w 956275"/>
                <a:gd name="connsiteY49" fmla="*/ 457200 h 505800"/>
                <a:gd name="connsiteX50" fmla="*/ 13820 w 956275"/>
                <a:gd name="connsiteY50" fmla="*/ 496783 h 505800"/>
                <a:gd name="connsiteX51" fmla="*/ 13820 w 956275"/>
                <a:gd name="connsiteY51" fmla="*/ 496784 h 505800"/>
                <a:gd name="connsiteX52" fmla="*/ 13820 w 956275"/>
                <a:gd name="connsiteY52" fmla="*/ 496784 h 505800"/>
                <a:gd name="connsiteX53" fmla="*/ 132458 w 956275"/>
                <a:gd name="connsiteY53" fmla="*/ 430387 h 505800"/>
                <a:gd name="connsiteX54" fmla="*/ 114796 w 956275"/>
                <a:gd name="connsiteY54" fmla="*/ 504511 h 505800"/>
                <a:gd name="connsiteX55" fmla="*/ 114798 w 956275"/>
                <a:gd name="connsiteY55" fmla="*/ 504512 h 505800"/>
                <a:gd name="connsiteX0" fmla="*/ 40672 w 956275"/>
                <a:gd name="connsiteY0" fmla="*/ 486852 h 504511"/>
                <a:gd name="connsiteX1" fmla="*/ 13820 w 956275"/>
                <a:gd name="connsiteY1" fmla="*/ 496784 h 504511"/>
                <a:gd name="connsiteX2" fmla="*/ 13820 w 956275"/>
                <a:gd name="connsiteY2" fmla="*/ 496784 h 504511"/>
                <a:gd name="connsiteX3" fmla="*/ 51019 w 956275"/>
                <a:gd name="connsiteY3" fmla="*/ 493776 h 504511"/>
                <a:gd name="connsiteX4" fmla="*/ 151603 w 956275"/>
                <a:gd name="connsiteY4" fmla="*/ 466344 h 504511"/>
                <a:gd name="connsiteX5" fmla="*/ 252187 w 956275"/>
                <a:gd name="connsiteY5" fmla="*/ 384048 h 504511"/>
                <a:gd name="connsiteX6" fmla="*/ 444211 w 956275"/>
                <a:gd name="connsiteY6" fmla="*/ 301752 h 504511"/>
                <a:gd name="connsiteX7" fmla="*/ 526507 w 956275"/>
                <a:gd name="connsiteY7" fmla="*/ 192024 h 504511"/>
                <a:gd name="connsiteX8" fmla="*/ 672811 w 956275"/>
                <a:gd name="connsiteY8" fmla="*/ 155448 h 504511"/>
                <a:gd name="connsiteX9" fmla="*/ 718531 w 956275"/>
                <a:gd name="connsiteY9" fmla="*/ 155448 h 504511"/>
                <a:gd name="connsiteX10" fmla="*/ 755107 w 956275"/>
                <a:gd name="connsiteY10" fmla="*/ 137160 h 504511"/>
                <a:gd name="connsiteX11" fmla="*/ 709387 w 956275"/>
                <a:gd name="connsiteY11" fmla="*/ 137160 h 504511"/>
                <a:gd name="connsiteX12" fmla="*/ 617947 w 956275"/>
                <a:gd name="connsiteY12" fmla="*/ 137160 h 504511"/>
                <a:gd name="connsiteX13" fmla="*/ 563083 w 956275"/>
                <a:gd name="connsiteY13" fmla="*/ 146304 h 504511"/>
                <a:gd name="connsiteX14" fmla="*/ 553939 w 956275"/>
                <a:gd name="connsiteY14" fmla="*/ 155448 h 504511"/>
                <a:gd name="connsiteX15" fmla="*/ 535651 w 956275"/>
                <a:gd name="connsiteY15" fmla="*/ 146304 h 504511"/>
                <a:gd name="connsiteX16" fmla="*/ 663667 w 956275"/>
                <a:gd name="connsiteY16" fmla="*/ 91440 h 504511"/>
                <a:gd name="connsiteX17" fmla="*/ 718531 w 956275"/>
                <a:gd name="connsiteY17" fmla="*/ 91440 h 504511"/>
                <a:gd name="connsiteX18" fmla="*/ 809971 w 956275"/>
                <a:gd name="connsiteY18" fmla="*/ 82296 h 504511"/>
                <a:gd name="connsiteX19" fmla="*/ 937987 w 956275"/>
                <a:gd name="connsiteY19" fmla="*/ 27432 h 504511"/>
                <a:gd name="connsiteX20" fmla="*/ 919699 w 956275"/>
                <a:gd name="connsiteY20" fmla="*/ 0 h 504511"/>
                <a:gd name="connsiteX21" fmla="*/ 883123 w 956275"/>
                <a:gd name="connsiteY21" fmla="*/ 27432 h 504511"/>
                <a:gd name="connsiteX22" fmla="*/ 846547 w 956275"/>
                <a:gd name="connsiteY22" fmla="*/ 36576 h 504511"/>
                <a:gd name="connsiteX23" fmla="*/ 773395 w 956275"/>
                <a:gd name="connsiteY23" fmla="*/ 64008 h 504511"/>
                <a:gd name="connsiteX24" fmla="*/ 718531 w 956275"/>
                <a:gd name="connsiteY24" fmla="*/ 64008 h 504511"/>
                <a:gd name="connsiteX25" fmla="*/ 608803 w 956275"/>
                <a:gd name="connsiteY25" fmla="*/ 64008 h 504511"/>
                <a:gd name="connsiteX26" fmla="*/ 553939 w 956275"/>
                <a:gd name="connsiteY26" fmla="*/ 100584 h 504511"/>
                <a:gd name="connsiteX27" fmla="*/ 517363 w 956275"/>
                <a:gd name="connsiteY27" fmla="*/ 146304 h 504511"/>
                <a:gd name="connsiteX28" fmla="*/ 471643 w 956275"/>
                <a:gd name="connsiteY28" fmla="*/ 182880 h 504511"/>
                <a:gd name="connsiteX29" fmla="*/ 425923 w 956275"/>
                <a:gd name="connsiteY29" fmla="*/ 256032 h 504511"/>
                <a:gd name="connsiteX30" fmla="*/ 352771 w 956275"/>
                <a:gd name="connsiteY30" fmla="*/ 301752 h 504511"/>
                <a:gd name="connsiteX31" fmla="*/ 252187 w 956275"/>
                <a:gd name="connsiteY31" fmla="*/ 347472 h 504511"/>
                <a:gd name="connsiteX32" fmla="*/ 215611 w 956275"/>
                <a:gd name="connsiteY32" fmla="*/ 374904 h 504511"/>
                <a:gd name="connsiteX33" fmla="*/ 169891 w 956275"/>
                <a:gd name="connsiteY33" fmla="*/ 402336 h 504511"/>
                <a:gd name="connsiteX34" fmla="*/ 151603 w 956275"/>
                <a:gd name="connsiteY34" fmla="*/ 402336 h 504511"/>
                <a:gd name="connsiteX35" fmla="*/ 169891 w 956275"/>
                <a:gd name="connsiteY35" fmla="*/ 365760 h 504511"/>
                <a:gd name="connsiteX36" fmla="*/ 224755 w 956275"/>
                <a:gd name="connsiteY36" fmla="*/ 301752 h 504511"/>
                <a:gd name="connsiteX37" fmla="*/ 316195 w 956275"/>
                <a:gd name="connsiteY37" fmla="*/ 219456 h 504511"/>
                <a:gd name="connsiteX38" fmla="*/ 361915 w 956275"/>
                <a:gd name="connsiteY38" fmla="*/ 146304 h 504511"/>
                <a:gd name="connsiteX39" fmla="*/ 361915 w 956275"/>
                <a:gd name="connsiteY39" fmla="*/ 64008 h 504511"/>
                <a:gd name="connsiteX40" fmla="*/ 352771 w 956275"/>
                <a:gd name="connsiteY40" fmla="*/ 54864 h 504511"/>
                <a:gd name="connsiteX41" fmla="*/ 343627 w 956275"/>
                <a:gd name="connsiteY41" fmla="*/ 128016 h 504511"/>
                <a:gd name="connsiteX42" fmla="*/ 316195 w 956275"/>
                <a:gd name="connsiteY42" fmla="*/ 173736 h 504511"/>
                <a:gd name="connsiteX43" fmla="*/ 243043 w 956275"/>
                <a:gd name="connsiteY43" fmla="*/ 237744 h 504511"/>
                <a:gd name="connsiteX44" fmla="*/ 215611 w 956275"/>
                <a:gd name="connsiteY44" fmla="*/ 256032 h 504511"/>
                <a:gd name="connsiteX45" fmla="*/ 142459 w 956275"/>
                <a:gd name="connsiteY45" fmla="*/ 347472 h 504511"/>
                <a:gd name="connsiteX46" fmla="*/ 133315 w 956275"/>
                <a:gd name="connsiteY46" fmla="*/ 374904 h 504511"/>
                <a:gd name="connsiteX47" fmla="*/ 124171 w 956275"/>
                <a:gd name="connsiteY47" fmla="*/ 411480 h 504511"/>
                <a:gd name="connsiteX48" fmla="*/ 142459 w 956275"/>
                <a:gd name="connsiteY48" fmla="*/ 429768 h 504511"/>
                <a:gd name="connsiteX49" fmla="*/ 96739 w 956275"/>
                <a:gd name="connsiteY49" fmla="*/ 457200 h 504511"/>
                <a:gd name="connsiteX50" fmla="*/ 13820 w 956275"/>
                <a:gd name="connsiteY50" fmla="*/ 496783 h 504511"/>
                <a:gd name="connsiteX51" fmla="*/ 13820 w 956275"/>
                <a:gd name="connsiteY51" fmla="*/ 496784 h 504511"/>
                <a:gd name="connsiteX52" fmla="*/ 13820 w 956275"/>
                <a:gd name="connsiteY52" fmla="*/ 496784 h 504511"/>
                <a:gd name="connsiteX53" fmla="*/ 132458 w 956275"/>
                <a:gd name="connsiteY53" fmla="*/ 430387 h 504511"/>
                <a:gd name="connsiteX54" fmla="*/ 114796 w 956275"/>
                <a:gd name="connsiteY54" fmla="*/ 504511 h 504511"/>
                <a:gd name="connsiteX55" fmla="*/ 40672 w 956275"/>
                <a:gd name="connsiteY55" fmla="*/ 486852 h 504511"/>
                <a:gd name="connsiteX0" fmla="*/ 40672 w 956275"/>
                <a:gd name="connsiteY0" fmla="*/ 486852 h 504512"/>
                <a:gd name="connsiteX1" fmla="*/ 13820 w 956275"/>
                <a:gd name="connsiteY1" fmla="*/ 496784 h 504512"/>
                <a:gd name="connsiteX2" fmla="*/ 13820 w 956275"/>
                <a:gd name="connsiteY2" fmla="*/ 496784 h 504512"/>
                <a:gd name="connsiteX3" fmla="*/ 51019 w 956275"/>
                <a:gd name="connsiteY3" fmla="*/ 493776 h 504512"/>
                <a:gd name="connsiteX4" fmla="*/ 151603 w 956275"/>
                <a:gd name="connsiteY4" fmla="*/ 466344 h 504512"/>
                <a:gd name="connsiteX5" fmla="*/ 252187 w 956275"/>
                <a:gd name="connsiteY5" fmla="*/ 384048 h 504512"/>
                <a:gd name="connsiteX6" fmla="*/ 444211 w 956275"/>
                <a:gd name="connsiteY6" fmla="*/ 301752 h 504512"/>
                <a:gd name="connsiteX7" fmla="*/ 526507 w 956275"/>
                <a:gd name="connsiteY7" fmla="*/ 192024 h 504512"/>
                <a:gd name="connsiteX8" fmla="*/ 672811 w 956275"/>
                <a:gd name="connsiteY8" fmla="*/ 155448 h 504512"/>
                <a:gd name="connsiteX9" fmla="*/ 718531 w 956275"/>
                <a:gd name="connsiteY9" fmla="*/ 155448 h 504512"/>
                <a:gd name="connsiteX10" fmla="*/ 755107 w 956275"/>
                <a:gd name="connsiteY10" fmla="*/ 137160 h 504512"/>
                <a:gd name="connsiteX11" fmla="*/ 709387 w 956275"/>
                <a:gd name="connsiteY11" fmla="*/ 137160 h 504512"/>
                <a:gd name="connsiteX12" fmla="*/ 617947 w 956275"/>
                <a:gd name="connsiteY12" fmla="*/ 137160 h 504512"/>
                <a:gd name="connsiteX13" fmla="*/ 563083 w 956275"/>
                <a:gd name="connsiteY13" fmla="*/ 146304 h 504512"/>
                <a:gd name="connsiteX14" fmla="*/ 553939 w 956275"/>
                <a:gd name="connsiteY14" fmla="*/ 155448 h 504512"/>
                <a:gd name="connsiteX15" fmla="*/ 535651 w 956275"/>
                <a:gd name="connsiteY15" fmla="*/ 146304 h 504512"/>
                <a:gd name="connsiteX16" fmla="*/ 663667 w 956275"/>
                <a:gd name="connsiteY16" fmla="*/ 91440 h 504512"/>
                <a:gd name="connsiteX17" fmla="*/ 718531 w 956275"/>
                <a:gd name="connsiteY17" fmla="*/ 91440 h 504512"/>
                <a:gd name="connsiteX18" fmla="*/ 809971 w 956275"/>
                <a:gd name="connsiteY18" fmla="*/ 82296 h 504512"/>
                <a:gd name="connsiteX19" fmla="*/ 937987 w 956275"/>
                <a:gd name="connsiteY19" fmla="*/ 27432 h 504512"/>
                <a:gd name="connsiteX20" fmla="*/ 919699 w 956275"/>
                <a:gd name="connsiteY20" fmla="*/ 0 h 504512"/>
                <a:gd name="connsiteX21" fmla="*/ 883123 w 956275"/>
                <a:gd name="connsiteY21" fmla="*/ 27432 h 504512"/>
                <a:gd name="connsiteX22" fmla="*/ 846547 w 956275"/>
                <a:gd name="connsiteY22" fmla="*/ 36576 h 504512"/>
                <a:gd name="connsiteX23" fmla="*/ 773395 w 956275"/>
                <a:gd name="connsiteY23" fmla="*/ 64008 h 504512"/>
                <a:gd name="connsiteX24" fmla="*/ 718531 w 956275"/>
                <a:gd name="connsiteY24" fmla="*/ 64008 h 504512"/>
                <a:gd name="connsiteX25" fmla="*/ 608803 w 956275"/>
                <a:gd name="connsiteY25" fmla="*/ 64008 h 504512"/>
                <a:gd name="connsiteX26" fmla="*/ 553939 w 956275"/>
                <a:gd name="connsiteY26" fmla="*/ 100584 h 504512"/>
                <a:gd name="connsiteX27" fmla="*/ 517363 w 956275"/>
                <a:gd name="connsiteY27" fmla="*/ 146304 h 504512"/>
                <a:gd name="connsiteX28" fmla="*/ 471643 w 956275"/>
                <a:gd name="connsiteY28" fmla="*/ 182880 h 504512"/>
                <a:gd name="connsiteX29" fmla="*/ 425923 w 956275"/>
                <a:gd name="connsiteY29" fmla="*/ 256032 h 504512"/>
                <a:gd name="connsiteX30" fmla="*/ 352771 w 956275"/>
                <a:gd name="connsiteY30" fmla="*/ 301752 h 504512"/>
                <a:gd name="connsiteX31" fmla="*/ 252187 w 956275"/>
                <a:gd name="connsiteY31" fmla="*/ 347472 h 504512"/>
                <a:gd name="connsiteX32" fmla="*/ 215611 w 956275"/>
                <a:gd name="connsiteY32" fmla="*/ 374904 h 504512"/>
                <a:gd name="connsiteX33" fmla="*/ 169891 w 956275"/>
                <a:gd name="connsiteY33" fmla="*/ 402336 h 504512"/>
                <a:gd name="connsiteX34" fmla="*/ 151603 w 956275"/>
                <a:gd name="connsiteY34" fmla="*/ 402336 h 504512"/>
                <a:gd name="connsiteX35" fmla="*/ 169891 w 956275"/>
                <a:gd name="connsiteY35" fmla="*/ 365760 h 504512"/>
                <a:gd name="connsiteX36" fmla="*/ 224755 w 956275"/>
                <a:gd name="connsiteY36" fmla="*/ 301752 h 504512"/>
                <a:gd name="connsiteX37" fmla="*/ 316195 w 956275"/>
                <a:gd name="connsiteY37" fmla="*/ 219456 h 504512"/>
                <a:gd name="connsiteX38" fmla="*/ 361915 w 956275"/>
                <a:gd name="connsiteY38" fmla="*/ 146304 h 504512"/>
                <a:gd name="connsiteX39" fmla="*/ 361915 w 956275"/>
                <a:gd name="connsiteY39" fmla="*/ 64008 h 504512"/>
                <a:gd name="connsiteX40" fmla="*/ 352771 w 956275"/>
                <a:gd name="connsiteY40" fmla="*/ 54864 h 504512"/>
                <a:gd name="connsiteX41" fmla="*/ 343627 w 956275"/>
                <a:gd name="connsiteY41" fmla="*/ 128016 h 504512"/>
                <a:gd name="connsiteX42" fmla="*/ 316195 w 956275"/>
                <a:gd name="connsiteY42" fmla="*/ 173736 h 504512"/>
                <a:gd name="connsiteX43" fmla="*/ 243043 w 956275"/>
                <a:gd name="connsiteY43" fmla="*/ 237744 h 504512"/>
                <a:gd name="connsiteX44" fmla="*/ 215611 w 956275"/>
                <a:gd name="connsiteY44" fmla="*/ 256032 h 504512"/>
                <a:gd name="connsiteX45" fmla="*/ 142459 w 956275"/>
                <a:gd name="connsiteY45" fmla="*/ 347472 h 504512"/>
                <a:gd name="connsiteX46" fmla="*/ 133315 w 956275"/>
                <a:gd name="connsiteY46" fmla="*/ 374904 h 504512"/>
                <a:gd name="connsiteX47" fmla="*/ 124171 w 956275"/>
                <a:gd name="connsiteY47" fmla="*/ 411480 h 504512"/>
                <a:gd name="connsiteX48" fmla="*/ 142459 w 956275"/>
                <a:gd name="connsiteY48" fmla="*/ 429768 h 504512"/>
                <a:gd name="connsiteX49" fmla="*/ 96739 w 956275"/>
                <a:gd name="connsiteY49" fmla="*/ 457200 h 504512"/>
                <a:gd name="connsiteX50" fmla="*/ 13820 w 956275"/>
                <a:gd name="connsiteY50" fmla="*/ 496783 h 504512"/>
                <a:gd name="connsiteX51" fmla="*/ 13820 w 956275"/>
                <a:gd name="connsiteY51" fmla="*/ 496784 h 504512"/>
                <a:gd name="connsiteX52" fmla="*/ 13820 w 956275"/>
                <a:gd name="connsiteY52" fmla="*/ 496784 h 504512"/>
                <a:gd name="connsiteX53" fmla="*/ 132458 w 956275"/>
                <a:gd name="connsiteY53" fmla="*/ 430387 h 504512"/>
                <a:gd name="connsiteX54" fmla="*/ 114798 w 956275"/>
                <a:gd name="connsiteY54" fmla="*/ 504512 h 504512"/>
                <a:gd name="connsiteX55" fmla="*/ 40672 w 956275"/>
                <a:gd name="connsiteY55" fmla="*/ 486852 h 504512"/>
                <a:gd name="connsiteX0" fmla="*/ 40672 w 956275"/>
                <a:gd name="connsiteY0" fmla="*/ 486852 h 504512"/>
                <a:gd name="connsiteX1" fmla="*/ 13820 w 956275"/>
                <a:gd name="connsiteY1" fmla="*/ 496784 h 504512"/>
                <a:gd name="connsiteX2" fmla="*/ 13820 w 956275"/>
                <a:gd name="connsiteY2" fmla="*/ 496784 h 504512"/>
                <a:gd name="connsiteX3" fmla="*/ 51019 w 956275"/>
                <a:gd name="connsiteY3" fmla="*/ 493776 h 504512"/>
                <a:gd name="connsiteX4" fmla="*/ 151603 w 956275"/>
                <a:gd name="connsiteY4" fmla="*/ 466344 h 504512"/>
                <a:gd name="connsiteX5" fmla="*/ 252187 w 956275"/>
                <a:gd name="connsiteY5" fmla="*/ 384048 h 504512"/>
                <a:gd name="connsiteX6" fmla="*/ 444211 w 956275"/>
                <a:gd name="connsiteY6" fmla="*/ 301752 h 504512"/>
                <a:gd name="connsiteX7" fmla="*/ 526507 w 956275"/>
                <a:gd name="connsiteY7" fmla="*/ 192024 h 504512"/>
                <a:gd name="connsiteX8" fmla="*/ 672811 w 956275"/>
                <a:gd name="connsiteY8" fmla="*/ 155448 h 504512"/>
                <a:gd name="connsiteX9" fmla="*/ 718531 w 956275"/>
                <a:gd name="connsiteY9" fmla="*/ 155448 h 504512"/>
                <a:gd name="connsiteX10" fmla="*/ 755107 w 956275"/>
                <a:gd name="connsiteY10" fmla="*/ 137160 h 504512"/>
                <a:gd name="connsiteX11" fmla="*/ 709387 w 956275"/>
                <a:gd name="connsiteY11" fmla="*/ 137160 h 504512"/>
                <a:gd name="connsiteX12" fmla="*/ 617947 w 956275"/>
                <a:gd name="connsiteY12" fmla="*/ 137160 h 504512"/>
                <a:gd name="connsiteX13" fmla="*/ 563083 w 956275"/>
                <a:gd name="connsiteY13" fmla="*/ 146304 h 504512"/>
                <a:gd name="connsiteX14" fmla="*/ 553939 w 956275"/>
                <a:gd name="connsiteY14" fmla="*/ 155448 h 504512"/>
                <a:gd name="connsiteX15" fmla="*/ 535651 w 956275"/>
                <a:gd name="connsiteY15" fmla="*/ 146304 h 504512"/>
                <a:gd name="connsiteX16" fmla="*/ 663667 w 956275"/>
                <a:gd name="connsiteY16" fmla="*/ 91440 h 504512"/>
                <a:gd name="connsiteX17" fmla="*/ 718531 w 956275"/>
                <a:gd name="connsiteY17" fmla="*/ 91440 h 504512"/>
                <a:gd name="connsiteX18" fmla="*/ 809971 w 956275"/>
                <a:gd name="connsiteY18" fmla="*/ 82296 h 504512"/>
                <a:gd name="connsiteX19" fmla="*/ 937987 w 956275"/>
                <a:gd name="connsiteY19" fmla="*/ 27432 h 504512"/>
                <a:gd name="connsiteX20" fmla="*/ 919699 w 956275"/>
                <a:gd name="connsiteY20" fmla="*/ 0 h 504512"/>
                <a:gd name="connsiteX21" fmla="*/ 883123 w 956275"/>
                <a:gd name="connsiteY21" fmla="*/ 27432 h 504512"/>
                <a:gd name="connsiteX22" fmla="*/ 846547 w 956275"/>
                <a:gd name="connsiteY22" fmla="*/ 36576 h 504512"/>
                <a:gd name="connsiteX23" fmla="*/ 773395 w 956275"/>
                <a:gd name="connsiteY23" fmla="*/ 64008 h 504512"/>
                <a:gd name="connsiteX24" fmla="*/ 718531 w 956275"/>
                <a:gd name="connsiteY24" fmla="*/ 64008 h 504512"/>
                <a:gd name="connsiteX25" fmla="*/ 608803 w 956275"/>
                <a:gd name="connsiteY25" fmla="*/ 64008 h 504512"/>
                <a:gd name="connsiteX26" fmla="*/ 553939 w 956275"/>
                <a:gd name="connsiteY26" fmla="*/ 100584 h 504512"/>
                <a:gd name="connsiteX27" fmla="*/ 517363 w 956275"/>
                <a:gd name="connsiteY27" fmla="*/ 146304 h 504512"/>
                <a:gd name="connsiteX28" fmla="*/ 471643 w 956275"/>
                <a:gd name="connsiteY28" fmla="*/ 182880 h 504512"/>
                <a:gd name="connsiteX29" fmla="*/ 425923 w 956275"/>
                <a:gd name="connsiteY29" fmla="*/ 256032 h 504512"/>
                <a:gd name="connsiteX30" fmla="*/ 352771 w 956275"/>
                <a:gd name="connsiteY30" fmla="*/ 301752 h 504512"/>
                <a:gd name="connsiteX31" fmla="*/ 252187 w 956275"/>
                <a:gd name="connsiteY31" fmla="*/ 347472 h 504512"/>
                <a:gd name="connsiteX32" fmla="*/ 215611 w 956275"/>
                <a:gd name="connsiteY32" fmla="*/ 374904 h 504512"/>
                <a:gd name="connsiteX33" fmla="*/ 169891 w 956275"/>
                <a:gd name="connsiteY33" fmla="*/ 402336 h 504512"/>
                <a:gd name="connsiteX34" fmla="*/ 151603 w 956275"/>
                <a:gd name="connsiteY34" fmla="*/ 402336 h 504512"/>
                <a:gd name="connsiteX35" fmla="*/ 169891 w 956275"/>
                <a:gd name="connsiteY35" fmla="*/ 365760 h 504512"/>
                <a:gd name="connsiteX36" fmla="*/ 224755 w 956275"/>
                <a:gd name="connsiteY36" fmla="*/ 301752 h 504512"/>
                <a:gd name="connsiteX37" fmla="*/ 316195 w 956275"/>
                <a:gd name="connsiteY37" fmla="*/ 219456 h 504512"/>
                <a:gd name="connsiteX38" fmla="*/ 361915 w 956275"/>
                <a:gd name="connsiteY38" fmla="*/ 146304 h 504512"/>
                <a:gd name="connsiteX39" fmla="*/ 361915 w 956275"/>
                <a:gd name="connsiteY39" fmla="*/ 64008 h 504512"/>
                <a:gd name="connsiteX40" fmla="*/ 352771 w 956275"/>
                <a:gd name="connsiteY40" fmla="*/ 54864 h 504512"/>
                <a:gd name="connsiteX41" fmla="*/ 343627 w 956275"/>
                <a:gd name="connsiteY41" fmla="*/ 128016 h 504512"/>
                <a:gd name="connsiteX42" fmla="*/ 316195 w 956275"/>
                <a:gd name="connsiteY42" fmla="*/ 173736 h 504512"/>
                <a:gd name="connsiteX43" fmla="*/ 243043 w 956275"/>
                <a:gd name="connsiteY43" fmla="*/ 237744 h 504512"/>
                <a:gd name="connsiteX44" fmla="*/ 215611 w 956275"/>
                <a:gd name="connsiteY44" fmla="*/ 256032 h 504512"/>
                <a:gd name="connsiteX45" fmla="*/ 142459 w 956275"/>
                <a:gd name="connsiteY45" fmla="*/ 347472 h 504512"/>
                <a:gd name="connsiteX46" fmla="*/ 133315 w 956275"/>
                <a:gd name="connsiteY46" fmla="*/ 374904 h 504512"/>
                <a:gd name="connsiteX47" fmla="*/ 124171 w 956275"/>
                <a:gd name="connsiteY47" fmla="*/ 411480 h 504512"/>
                <a:gd name="connsiteX48" fmla="*/ 142459 w 956275"/>
                <a:gd name="connsiteY48" fmla="*/ 429768 h 504512"/>
                <a:gd name="connsiteX49" fmla="*/ 96739 w 956275"/>
                <a:gd name="connsiteY49" fmla="*/ 457200 h 504512"/>
                <a:gd name="connsiteX50" fmla="*/ 13820 w 956275"/>
                <a:gd name="connsiteY50" fmla="*/ 496783 h 504512"/>
                <a:gd name="connsiteX51" fmla="*/ 13820 w 956275"/>
                <a:gd name="connsiteY51" fmla="*/ 496784 h 504512"/>
                <a:gd name="connsiteX52" fmla="*/ 13820 w 956275"/>
                <a:gd name="connsiteY52" fmla="*/ 496784 h 504512"/>
                <a:gd name="connsiteX53" fmla="*/ 132458 w 956275"/>
                <a:gd name="connsiteY53" fmla="*/ 430387 h 504512"/>
                <a:gd name="connsiteX54" fmla="*/ 114797 w 956275"/>
                <a:gd name="connsiteY54" fmla="*/ 504512 h 504512"/>
                <a:gd name="connsiteX55" fmla="*/ 40672 w 956275"/>
                <a:gd name="connsiteY55" fmla="*/ 486852 h 504512"/>
                <a:gd name="connsiteX0" fmla="*/ 40672 w 956275"/>
                <a:gd name="connsiteY0" fmla="*/ 486852 h 578638"/>
                <a:gd name="connsiteX1" fmla="*/ 13820 w 956275"/>
                <a:gd name="connsiteY1" fmla="*/ 496784 h 578638"/>
                <a:gd name="connsiteX2" fmla="*/ 13820 w 956275"/>
                <a:gd name="connsiteY2" fmla="*/ 496784 h 578638"/>
                <a:gd name="connsiteX3" fmla="*/ 51019 w 956275"/>
                <a:gd name="connsiteY3" fmla="*/ 493776 h 578638"/>
                <a:gd name="connsiteX4" fmla="*/ 151603 w 956275"/>
                <a:gd name="connsiteY4" fmla="*/ 466344 h 578638"/>
                <a:gd name="connsiteX5" fmla="*/ 252187 w 956275"/>
                <a:gd name="connsiteY5" fmla="*/ 384048 h 578638"/>
                <a:gd name="connsiteX6" fmla="*/ 444211 w 956275"/>
                <a:gd name="connsiteY6" fmla="*/ 301752 h 578638"/>
                <a:gd name="connsiteX7" fmla="*/ 526507 w 956275"/>
                <a:gd name="connsiteY7" fmla="*/ 192024 h 578638"/>
                <a:gd name="connsiteX8" fmla="*/ 672811 w 956275"/>
                <a:gd name="connsiteY8" fmla="*/ 155448 h 578638"/>
                <a:gd name="connsiteX9" fmla="*/ 718531 w 956275"/>
                <a:gd name="connsiteY9" fmla="*/ 155448 h 578638"/>
                <a:gd name="connsiteX10" fmla="*/ 755107 w 956275"/>
                <a:gd name="connsiteY10" fmla="*/ 137160 h 578638"/>
                <a:gd name="connsiteX11" fmla="*/ 709387 w 956275"/>
                <a:gd name="connsiteY11" fmla="*/ 137160 h 578638"/>
                <a:gd name="connsiteX12" fmla="*/ 617947 w 956275"/>
                <a:gd name="connsiteY12" fmla="*/ 137160 h 578638"/>
                <a:gd name="connsiteX13" fmla="*/ 563083 w 956275"/>
                <a:gd name="connsiteY13" fmla="*/ 146304 h 578638"/>
                <a:gd name="connsiteX14" fmla="*/ 553939 w 956275"/>
                <a:gd name="connsiteY14" fmla="*/ 155448 h 578638"/>
                <a:gd name="connsiteX15" fmla="*/ 535651 w 956275"/>
                <a:gd name="connsiteY15" fmla="*/ 146304 h 578638"/>
                <a:gd name="connsiteX16" fmla="*/ 663667 w 956275"/>
                <a:gd name="connsiteY16" fmla="*/ 91440 h 578638"/>
                <a:gd name="connsiteX17" fmla="*/ 718531 w 956275"/>
                <a:gd name="connsiteY17" fmla="*/ 91440 h 578638"/>
                <a:gd name="connsiteX18" fmla="*/ 809971 w 956275"/>
                <a:gd name="connsiteY18" fmla="*/ 82296 h 578638"/>
                <a:gd name="connsiteX19" fmla="*/ 937987 w 956275"/>
                <a:gd name="connsiteY19" fmla="*/ 27432 h 578638"/>
                <a:gd name="connsiteX20" fmla="*/ 919699 w 956275"/>
                <a:gd name="connsiteY20" fmla="*/ 0 h 578638"/>
                <a:gd name="connsiteX21" fmla="*/ 883123 w 956275"/>
                <a:gd name="connsiteY21" fmla="*/ 27432 h 578638"/>
                <a:gd name="connsiteX22" fmla="*/ 846547 w 956275"/>
                <a:gd name="connsiteY22" fmla="*/ 36576 h 578638"/>
                <a:gd name="connsiteX23" fmla="*/ 773395 w 956275"/>
                <a:gd name="connsiteY23" fmla="*/ 64008 h 578638"/>
                <a:gd name="connsiteX24" fmla="*/ 718531 w 956275"/>
                <a:gd name="connsiteY24" fmla="*/ 64008 h 578638"/>
                <a:gd name="connsiteX25" fmla="*/ 608803 w 956275"/>
                <a:gd name="connsiteY25" fmla="*/ 64008 h 578638"/>
                <a:gd name="connsiteX26" fmla="*/ 553939 w 956275"/>
                <a:gd name="connsiteY26" fmla="*/ 100584 h 578638"/>
                <a:gd name="connsiteX27" fmla="*/ 517363 w 956275"/>
                <a:gd name="connsiteY27" fmla="*/ 146304 h 578638"/>
                <a:gd name="connsiteX28" fmla="*/ 471643 w 956275"/>
                <a:gd name="connsiteY28" fmla="*/ 182880 h 578638"/>
                <a:gd name="connsiteX29" fmla="*/ 425923 w 956275"/>
                <a:gd name="connsiteY29" fmla="*/ 256032 h 578638"/>
                <a:gd name="connsiteX30" fmla="*/ 352771 w 956275"/>
                <a:gd name="connsiteY30" fmla="*/ 301752 h 578638"/>
                <a:gd name="connsiteX31" fmla="*/ 252187 w 956275"/>
                <a:gd name="connsiteY31" fmla="*/ 347472 h 578638"/>
                <a:gd name="connsiteX32" fmla="*/ 215611 w 956275"/>
                <a:gd name="connsiteY32" fmla="*/ 374904 h 578638"/>
                <a:gd name="connsiteX33" fmla="*/ 169891 w 956275"/>
                <a:gd name="connsiteY33" fmla="*/ 402336 h 578638"/>
                <a:gd name="connsiteX34" fmla="*/ 151603 w 956275"/>
                <a:gd name="connsiteY34" fmla="*/ 402336 h 578638"/>
                <a:gd name="connsiteX35" fmla="*/ 169891 w 956275"/>
                <a:gd name="connsiteY35" fmla="*/ 365760 h 578638"/>
                <a:gd name="connsiteX36" fmla="*/ 224755 w 956275"/>
                <a:gd name="connsiteY36" fmla="*/ 301752 h 578638"/>
                <a:gd name="connsiteX37" fmla="*/ 316195 w 956275"/>
                <a:gd name="connsiteY37" fmla="*/ 219456 h 578638"/>
                <a:gd name="connsiteX38" fmla="*/ 361915 w 956275"/>
                <a:gd name="connsiteY38" fmla="*/ 146304 h 578638"/>
                <a:gd name="connsiteX39" fmla="*/ 361915 w 956275"/>
                <a:gd name="connsiteY39" fmla="*/ 64008 h 578638"/>
                <a:gd name="connsiteX40" fmla="*/ 352771 w 956275"/>
                <a:gd name="connsiteY40" fmla="*/ 54864 h 578638"/>
                <a:gd name="connsiteX41" fmla="*/ 343627 w 956275"/>
                <a:gd name="connsiteY41" fmla="*/ 128016 h 578638"/>
                <a:gd name="connsiteX42" fmla="*/ 316195 w 956275"/>
                <a:gd name="connsiteY42" fmla="*/ 173736 h 578638"/>
                <a:gd name="connsiteX43" fmla="*/ 243043 w 956275"/>
                <a:gd name="connsiteY43" fmla="*/ 237744 h 578638"/>
                <a:gd name="connsiteX44" fmla="*/ 215611 w 956275"/>
                <a:gd name="connsiteY44" fmla="*/ 256032 h 578638"/>
                <a:gd name="connsiteX45" fmla="*/ 142459 w 956275"/>
                <a:gd name="connsiteY45" fmla="*/ 347472 h 578638"/>
                <a:gd name="connsiteX46" fmla="*/ 133315 w 956275"/>
                <a:gd name="connsiteY46" fmla="*/ 374904 h 578638"/>
                <a:gd name="connsiteX47" fmla="*/ 124171 w 956275"/>
                <a:gd name="connsiteY47" fmla="*/ 411480 h 578638"/>
                <a:gd name="connsiteX48" fmla="*/ 142459 w 956275"/>
                <a:gd name="connsiteY48" fmla="*/ 429768 h 578638"/>
                <a:gd name="connsiteX49" fmla="*/ 96739 w 956275"/>
                <a:gd name="connsiteY49" fmla="*/ 457200 h 578638"/>
                <a:gd name="connsiteX50" fmla="*/ 13820 w 956275"/>
                <a:gd name="connsiteY50" fmla="*/ 496783 h 578638"/>
                <a:gd name="connsiteX51" fmla="*/ 13820 w 956275"/>
                <a:gd name="connsiteY51" fmla="*/ 496784 h 578638"/>
                <a:gd name="connsiteX52" fmla="*/ 13820 w 956275"/>
                <a:gd name="connsiteY52" fmla="*/ 496784 h 578638"/>
                <a:gd name="connsiteX53" fmla="*/ 132458 w 956275"/>
                <a:gd name="connsiteY53" fmla="*/ 430387 h 578638"/>
                <a:gd name="connsiteX54" fmla="*/ 97137 w 956275"/>
                <a:gd name="connsiteY54" fmla="*/ 578638 h 578638"/>
                <a:gd name="connsiteX55" fmla="*/ 40672 w 956275"/>
                <a:gd name="connsiteY55" fmla="*/ 486852 h 578638"/>
                <a:gd name="connsiteX0" fmla="*/ 40672 w 956275"/>
                <a:gd name="connsiteY0" fmla="*/ 486852 h 503380"/>
                <a:gd name="connsiteX1" fmla="*/ 13820 w 956275"/>
                <a:gd name="connsiteY1" fmla="*/ 496784 h 503380"/>
                <a:gd name="connsiteX2" fmla="*/ 13820 w 956275"/>
                <a:gd name="connsiteY2" fmla="*/ 496784 h 503380"/>
                <a:gd name="connsiteX3" fmla="*/ 51019 w 956275"/>
                <a:gd name="connsiteY3" fmla="*/ 493776 h 503380"/>
                <a:gd name="connsiteX4" fmla="*/ 151603 w 956275"/>
                <a:gd name="connsiteY4" fmla="*/ 466344 h 503380"/>
                <a:gd name="connsiteX5" fmla="*/ 252187 w 956275"/>
                <a:gd name="connsiteY5" fmla="*/ 384048 h 503380"/>
                <a:gd name="connsiteX6" fmla="*/ 444211 w 956275"/>
                <a:gd name="connsiteY6" fmla="*/ 301752 h 503380"/>
                <a:gd name="connsiteX7" fmla="*/ 526507 w 956275"/>
                <a:gd name="connsiteY7" fmla="*/ 192024 h 503380"/>
                <a:gd name="connsiteX8" fmla="*/ 672811 w 956275"/>
                <a:gd name="connsiteY8" fmla="*/ 155448 h 503380"/>
                <a:gd name="connsiteX9" fmla="*/ 718531 w 956275"/>
                <a:gd name="connsiteY9" fmla="*/ 155448 h 503380"/>
                <a:gd name="connsiteX10" fmla="*/ 755107 w 956275"/>
                <a:gd name="connsiteY10" fmla="*/ 137160 h 503380"/>
                <a:gd name="connsiteX11" fmla="*/ 709387 w 956275"/>
                <a:gd name="connsiteY11" fmla="*/ 137160 h 503380"/>
                <a:gd name="connsiteX12" fmla="*/ 617947 w 956275"/>
                <a:gd name="connsiteY12" fmla="*/ 137160 h 503380"/>
                <a:gd name="connsiteX13" fmla="*/ 563083 w 956275"/>
                <a:gd name="connsiteY13" fmla="*/ 146304 h 503380"/>
                <a:gd name="connsiteX14" fmla="*/ 553939 w 956275"/>
                <a:gd name="connsiteY14" fmla="*/ 155448 h 503380"/>
                <a:gd name="connsiteX15" fmla="*/ 535651 w 956275"/>
                <a:gd name="connsiteY15" fmla="*/ 146304 h 503380"/>
                <a:gd name="connsiteX16" fmla="*/ 663667 w 956275"/>
                <a:gd name="connsiteY16" fmla="*/ 91440 h 503380"/>
                <a:gd name="connsiteX17" fmla="*/ 718531 w 956275"/>
                <a:gd name="connsiteY17" fmla="*/ 91440 h 503380"/>
                <a:gd name="connsiteX18" fmla="*/ 809971 w 956275"/>
                <a:gd name="connsiteY18" fmla="*/ 82296 h 503380"/>
                <a:gd name="connsiteX19" fmla="*/ 937987 w 956275"/>
                <a:gd name="connsiteY19" fmla="*/ 27432 h 503380"/>
                <a:gd name="connsiteX20" fmla="*/ 919699 w 956275"/>
                <a:gd name="connsiteY20" fmla="*/ 0 h 503380"/>
                <a:gd name="connsiteX21" fmla="*/ 883123 w 956275"/>
                <a:gd name="connsiteY21" fmla="*/ 27432 h 503380"/>
                <a:gd name="connsiteX22" fmla="*/ 846547 w 956275"/>
                <a:gd name="connsiteY22" fmla="*/ 36576 h 503380"/>
                <a:gd name="connsiteX23" fmla="*/ 773395 w 956275"/>
                <a:gd name="connsiteY23" fmla="*/ 64008 h 503380"/>
                <a:gd name="connsiteX24" fmla="*/ 718531 w 956275"/>
                <a:gd name="connsiteY24" fmla="*/ 64008 h 503380"/>
                <a:gd name="connsiteX25" fmla="*/ 608803 w 956275"/>
                <a:gd name="connsiteY25" fmla="*/ 64008 h 503380"/>
                <a:gd name="connsiteX26" fmla="*/ 553939 w 956275"/>
                <a:gd name="connsiteY26" fmla="*/ 100584 h 503380"/>
                <a:gd name="connsiteX27" fmla="*/ 517363 w 956275"/>
                <a:gd name="connsiteY27" fmla="*/ 146304 h 503380"/>
                <a:gd name="connsiteX28" fmla="*/ 471643 w 956275"/>
                <a:gd name="connsiteY28" fmla="*/ 182880 h 503380"/>
                <a:gd name="connsiteX29" fmla="*/ 425923 w 956275"/>
                <a:gd name="connsiteY29" fmla="*/ 256032 h 503380"/>
                <a:gd name="connsiteX30" fmla="*/ 352771 w 956275"/>
                <a:gd name="connsiteY30" fmla="*/ 301752 h 503380"/>
                <a:gd name="connsiteX31" fmla="*/ 252187 w 956275"/>
                <a:gd name="connsiteY31" fmla="*/ 347472 h 503380"/>
                <a:gd name="connsiteX32" fmla="*/ 215611 w 956275"/>
                <a:gd name="connsiteY32" fmla="*/ 374904 h 503380"/>
                <a:gd name="connsiteX33" fmla="*/ 169891 w 956275"/>
                <a:gd name="connsiteY33" fmla="*/ 402336 h 503380"/>
                <a:gd name="connsiteX34" fmla="*/ 151603 w 956275"/>
                <a:gd name="connsiteY34" fmla="*/ 402336 h 503380"/>
                <a:gd name="connsiteX35" fmla="*/ 169891 w 956275"/>
                <a:gd name="connsiteY35" fmla="*/ 365760 h 503380"/>
                <a:gd name="connsiteX36" fmla="*/ 224755 w 956275"/>
                <a:gd name="connsiteY36" fmla="*/ 301752 h 503380"/>
                <a:gd name="connsiteX37" fmla="*/ 316195 w 956275"/>
                <a:gd name="connsiteY37" fmla="*/ 219456 h 503380"/>
                <a:gd name="connsiteX38" fmla="*/ 361915 w 956275"/>
                <a:gd name="connsiteY38" fmla="*/ 146304 h 503380"/>
                <a:gd name="connsiteX39" fmla="*/ 361915 w 956275"/>
                <a:gd name="connsiteY39" fmla="*/ 64008 h 503380"/>
                <a:gd name="connsiteX40" fmla="*/ 352771 w 956275"/>
                <a:gd name="connsiteY40" fmla="*/ 54864 h 503380"/>
                <a:gd name="connsiteX41" fmla="*/ 343627 w 956275"/>
                <a:gd name="connsiteY41" fmla="*/ 128016 h 503380"/>
                <a:gd name="connsiteX42" fmla="*/ 316195 w 956275"/>
                <a:gd name="connsiteY42" fmla="*/ 173736 h 503380"/>
                <a:gd name="connsiteX43" fmla="*/ 243043 w 956275"/>
                <a:gd name="connsiteY43" fmla="*/ 237744 h 503380"/>
                <a:gd name="connsiteX44" fmla="*/ 215611 w 956275"/>
                <a:gd name="connsiteY44" fmla="*/ 256032 h 503380"/>
                <a:gd name="connsiteX45" fmla="*/ 142459 w 956275"/>
                <a:gd name="connsiteY45" fmla="*/ 347472 h 503380"/>
                <a:gd name="connsiteX46" fmla="*/ 133315 w 956275"/>
                <a:gd name="connsiteY46" fmla="*/ 374904 h 503380"/>
                <a:gd name="connsiteX47" fmla="*/ 124171 w 956275"/>
                <a:gd name="connsiteY47" fmla="*/ 411480 h 503380"/>
                <a:gd name="connsiteX48" fmla="*/ 142459 w 956275"/>
                <a:gd name="connsiteY48" fmla="*/ 429768 h 503380"/>
                <a:gd name="connsiteX49" fmla="*/ 96739 w 956275"/>
                <a:gd name="connsiteY49" fmla="*/ 457200 h 503380"/>
                <a:gd name="connsiteX50" fmla="*/ 13820 w 956275"/>
                <a:gd name="connsiteY50" fmla="*/ 496783 h 503380"/>
                <a:gd name="connsiteX51" fmla="*/ 13820 w 956275"/>
                <a:gd name="connsiteY51" fmla="*/ 496784 h 503380"/>
                <a:gd name="connsiteX52" fmla="*/ 13820 w 956275"/>
                <a:gd name="connsiteY52" fmla="*/ 496784 h 503380"/>
                <a:gd name="connsiteX53" fmla="*/ 132458 w 956275"/>
                <a:gd name="connsiteY53" fmla="*/ 430387 h 503380"/>
                <a:gd name="connsiteX54" fmla="*/ 40672 w 956275"/>
                <a:gd name="connsiteY54" fmla="*/ 486852 h 503380"/>
                <a:gd name="connsiteX55" fmla="*/ 40672 w 956275"/>
                <a:gd name="connsiteY55" fmla="*/ 486852 h 503380"/>
                <a:gd name="connsiteX0" fmla="*/ 40672 w 956275"/>
                <a:gd name="connsiteY0" fmla="*/ 486852 h 503380"/>
                <a:gd name="connsiteX1" fmla="*/ 13820 w 956275"/>
                <a:gd name="connsiteY1" fmla="*/ 496784 h 503380"/>
                <a:gd name="connsiteX2" fmla="*/ 13820 w 956275"/>
                <a:gd name="connsiteY2" fmla="*/ 496784 h 503380"/>
                <a:gd name="connsiteX3" fmla="*/ 51019 w 956275"/>
                <a:gd name="connsiteY3" fmla="*/ 493776 h 503380"/>
                <a:gd name="connsiteX4" fmla="*/ 151603 w 956275"/>
                <a:gd name="connsiteY4" fmla="*/ 466344 h 503380"/>
                <a:gd name="connsiteX5" fmla="*/ 252187 w 956275"/>
                <a:gd name="connsiteY5" fmla="*/ 384048 h 503380"/>
                <a:gd name="connsiteX6" fmla="*/ 444211 w 956275"/>
                <a:gd name="connsiteY6" fmla="*/ 301752 h 503380"/>
                <a:gd name="connsiteX7" fmla="*/ 526507 w 956275"/>
                <a:gd name="connsiteY7" fmla="*/ 192024 h 503380"/>
                <a:gd name="connsiteX8" fmla="*/ 672811 w 956275"/>
                <a:gd name="connsiteY8" fmla="*/ 155448 h 503380"/>
                <a:gd name="connsiteX9" fmla="*/ 718531 w 956275"/>
                <a:gd name="connsiteY9" fmla="*/ 155448 h 503380"/>
                <a:gd name="connsiteX10" fmla="*/ 755107 w 956275"/>
                <a:gd name="connsiteY10" fmla="*/ 137160 h 503380"/>
                <a:gd name="connsiteX11" fmla="*/ 709387 w 956275"/>
                <a:gd name="connsiteY11" fmla="*/ 137160 h 503380"/>
                <a:gd name="connsiteX12" fmla="*/ 617947 w 956275"/>
                <a:gd name="connsiteY12" fmla="*/ 137160 h 503380"/>
                <a:gd name="connsiteX13" fmla="*/ 563083 w 956275"/>
                <a:gd name="connsiteY13" fmla="*/ 146304 h 503380"/>
                <a:gd name="connsiteX14" fmla="*/ 553939 w 956275"/>
                <a:gd name="connsiteY14" fmla="*/ 155448 h 503380"/>
                <a:gd name="connsiteX15" fmla="*/ 535651 w 956275"/>
                <a:gd name="connsiteY15" fmla="*/ 146304 h 503380"/>
                <a:gd name="connsiteX16" fmla="*/ 663667 w 956275"/>
                <a:gd name="connsiteY16" fmla="*/ 91440 h 503380"/>
                <a:gd name="connsiteX17" fmla="*/ 718531 w 956275"/>
                <a:gd name="connsiteY17" fmla="*/ 91440 h 503380"/>
                <a:gd name="connsiteX18" fmla="*/ 809971 w 956275"/>
                <a:gd name="connsiteY18" fmla="*/ 82296 h 503380"/>
                <a:gd name="connsiteX19" fmla="*/ 937987 w 956275"/>
                <a:gd name="connsiteY19" fmla="*/ 27432 h 503380"/>
                <a:gd name="connsiteX20" fmla="*/ 919699 w 956275"/>
                <a:gd name="connsiteY20" fmla="*/ 0 h 503380"/>
                <a:gd name="connsiteX21" fmla="*/ 883123 w 956275"/>
                <a:gd name="connsiteY21" fmla="*/ 27432 h 503380"/>
                <a:gd name="connsiteX22" fmla="*/ 846547 w 956275"/>
                <a:gd name="connsiteY22" fmla="*/ 36576 h 503380"/>
                <a:gd name="connsiteX23" fmla="*/ 773395 w 956275"/>
                <a:gd name="connsiteY23" fmla="*/ 64008 h 503380"/>
                <a:gd name="connsiteX24" fmla="*/ 718531 w 956275"/>
                <a:gd name="connsiteY24" fmla="*/ 64008 h 503380"/>
                <a:gd name="connsiteX25" fmla="*/ 608803 w 956275"/>
                <a:gd name="connsiteY25" fmla="*/ 64008 h 503380"/>
                <a:gd name="connsiteX26" fmla="*/ 553939 w 956275"/>
                <a:gd name="connsiteY26" fmla="*/ 100584 h 503380"/>
                <a:gd name="connsiteX27" fmla="*/ 517363 w 956275"/>
                <a:gd name="connsiteY27" fmla="*/ 146304 h 503380"/>
                <a:gd name="connsiteX28" fmla="*/ 471643 w 956275"/>
                <a:gd name="connsiteY28" fmla="*/ 182880 h 503380"/>
                <a:gd name="connsiteX29" fmla="*/ 425923 w 956275"/>
                <a:gd name="connsiteY29" fmla="*/ 256032 h 503380"/>
                <a:gd name="connsiteX30" fmla="*/ 352771 w 956275"/>
                <a:gd name="connsiteY30" fmla="*/ 301752 h 503380"/>
                <a:gd name="connsiteX31" fmla="*/ 252187 w 956275"/>
                <a:gd name="connsiteY31" fmla="*/ 347472 h 503380"/>
                <a:gd name="connsiteX32" fmla="*/ 215611 w 956275"/>
                <a:gd name="connsiteY32" fmla="*/ 374904 h 503380"/>
                <a:gd name="connsiteX33" fmla="*/ 169891 w 956275"/>
                <a:gd name="connsiteY33" fmla="*/ 402336 h 503380"/>
                <a:gd name="connsiteX34" fmla="*/ 151603 w 956275"/>
                <a:gd name="connsiteY34" fmla="*/ 402336 h 503380"/>
                <a:gd name="connsiteX35" fmla="*/ 169891 w 956275"/>
                <a:gd name="connsiteY35" fmla="*/ 365760 h 503380"/>
                <a:gd name="connsiteX36" fmla="*/ 224755 w 956275"/>
                <a:gd name="connsiteY36" fmla="*/ 301752 h 503380"/>
                <a:gd name="connsiteX37" fmla="*/ 316195 w 956275"/>
                <a:gd name="connsiteY37" fmla="*/ 219456 h 503380"/>
                <a:gd name="connsiteX38" fmla="*/ 361915 w 956275"/>
                <a:gd name="connsiteY38" fmla="*/ 146304 h 503380"/>
                <a:gd name="connsiteX39" fmla="*/ 361915 w 956275"/>
                <a:gd name="connsiteY39" fmla="*/ 64008 h 503380"/>
                <a:gd name="connsiteX40" fmla="*/ 352771 w 956275"/>
                <a:gd name="connsiteY40" fmla="*/ 54864 h 503380"/>
                <a:gd name="connsiteX41" fmla="*/ 343627 w 956275"/>
                <a:gd name="connsiteY41" fmla="*/ 128016 h 503380"/>
                <a:gd name="connsiteX42" fmla="*/ 316195 w 956275"/>
                <a:gd name="connsiteY42" fmla="*/ 173736 h 503380"/>
                <a:gd name="connsiteX43" fmla="*/ 243043 w 956275"/>
                <a:gd name="connsiteY43" fmla="*/ 237744 h 503380"/>
                <a:gd name="connsiteX44" fmla="*/ 215611 w 956275"/>
                <a:gd name="connsiteY44" fmla="*/ 256032 h 503380"/>
                <a:gd name="connsiteX45" fmla="*/ 142459 w 956275"/>
                <a:gd name="connsiteY45" fmla="*/ 347472 h 503380"/>
                <a:gd name="connsiteX46" fmla="*/ 133315 w 956275"/>
                <a:gd name="connsiteY46" fmla="*/ 374904 h 503380"/>
                <a:gd name="connsiteX47" fmla="*/ 124171 w 956275"/>
                <a:gd name="connsiteY47" fmla="*/ 411480 h 503380"/>
                <a:gd name="connsiteX48" fmla="*/ 142459 w 956275"/>
                <a:gd name="connsiteY48" fmla="*/ 429768 h 503380"/>
                <a:gd name="connsiteX49" fmla="*/ 96739 w 956275"/>
                <a:gd name="connsiteY49" fmla="*/ 457200 h 503380"/>
                <a:gd name="connsiteX50" fmla="*/ 13820 w 956275"/>
                <a:gd name="connsiteY50" fmla="*/ 496783 h 503380"/>
                <a:gd name="connsiteX51" fmla="*/ 13820 w 956275"/>
                <a:gd name="connsiteY51" fmla="*/ 496784 h 503380"/>
                <a:gd name="connsiteX52" fmla="*/ 40672 w 956275"/>
                <a:gd name="connsiteY52" fmla="*/ 486851 h 503380"/>
                <a:gd name="connsiteX53" fmla="*/ 132458 w 956275"/>
                <a:gd name="connsiteY53" fmla="*/ 430387 h 503380"/>
                <a:gd name="connsiteX54" fmla="*/ 40672 w 956275"/>
                <a:gd name="connsiteY54" fmla="*/ 486852 h 503380"/>
                <a:gd name="connsiteX55" fmla="*/ 40672 w 956275"/>
                <a:gd name="connsiteY55" fmla="*/ 486852 h 503380"/>
                <a:gd name="connsiteX0" fmla="*/ 97137 w 956275"/>
                <a:gd name="connsiteY0" fmla="*/ 578637 h 578637"/>
                <a:gd name="connsiteX1" fmla="*/ 13820 w 956275"/>
                <a:gd name="connsiteY1" fmla="*/ 496784 h 578637"/>
                <a:gd name="connsiteX2" fmla="*/ 13820 w 956275"/>
                <a:gd name="connsiteY2" fmla="*/ 496784 h 578637"/>
                <a:gd name="connsiteX3" fmla="*/ 51019 w 956275"/>
                <a:gd name="connsiteY3" fmla="*/ 493776 h 578637"/>
                <a:gd name="connsiteX4" fmla="*/ 151603 w 956275"/>
                <a:gd name="connsiteY4" fmla="*/ 466344 h 578637"/>
                <a:gd name="connsiteX5" fmla="*/ 252187 w 956275"/>
                <a:gd name="connsiteY5" fmla="*/ 384048 h 578637"/>
                <a:gd name="connsiteX6" fmla="*/ 444211 w 956275"/>
                <a:gd name="connsiteY6" fmla="*/ 301752 h 578637"/>
                <a:gd name="connsiteX7" fmla="*/ 526507 w 956275"/>
                <a:gd name="connsiteY7" fmla="*/ 192024 h 578637"/>
                <a:gd name="connsiteX8" fmla="*/ 672811 w 956275"/>
                <a:gd name="connsiteY8" fmla="*/ 155448 h 578637"/>
                <a:gd name="connsiteX9" fmla="*/ 718531 w 956275"/>
                <a:gd name="connsiteY9" fmla="*/ 155448 h 578637"/>
                <a:gd name="connsiteX10" fmla="*/ 755107 w 956275"/>
                <a:gd name="connsiteY10" fmla="*/ 137160 h 578637"/>
                <a:gd name="connsiteX11" fmla="*/ 709387 w 956275"/>
                <a:gd name="connsiteY11" fmla="*/ 137160 h 578637"/>
                <a:gd name="connsiteX12" fmla="*/ 617947 w 956275"/>
                <a:gd name="connsiteY12" fmla="*/ 137160 h 578637"/>
                <a:gd name="connsiteX13" fmla="*/ 563083 w 956275"/>
                <a:gd name="connsiteY13" fmla="*/ 146304 h 578637"/>
                <a:gd name="connsiteX14" fmla="*/ 553939 w 956275"/>
                <a:gd name="connsiteY14" fmla="*/ 155448 h 578637"/>
                <a:gd name="connsiteX15" fmla="*/ 535651 w 956275"/>
                <a:gd name="connsiteY15" fmla="*/ 146304 h 578637"/>
                <a:gd name="connsiteX16" fmla="*/ 663667 w 956275"/>
                <a:gd name="connsiteY16" fmla="*/ 91440 h 578637"/>
                <a:gd name="connsiteX17" fmla="*/ 718531 w 956275"/>
                <a:gd name="connsiteY17" fmla="*/ 91440 h 578637"/>
                <a:gd name="connsiteX18" fmla="*/ 809971 w 956275"/>
                <a:gd name="connsiteY18" fmla="*/ 82296 h 578637"/>
                <a:gd name="connsiteX19" fmla="*/ 937987 w 956275"/>
                <a:gd name="connsiteY19" fmla="*/ 27432 h 578637"/>
                <a:gd name="connsiteX20" fmla="*/ 919699 w 956275"/>
                <a:gd name="connsiteY20" fmla="*/ 0 h 578637"/>
                <a:gd name="connsiteX21" fmla="*/ 883123 w 956275"/>
                <a:gd name="connsiteY21" fmla="*/ 27432 h 578637"/>
                <a:gd name="connsiteX22" fmla="*/ 846547 w 956275"/>
                <a:gd name="connsiteY22" fmla="*/ 36576 h 578637"/>
                <a:gd name="connsiteX23" fmla="*/ 773395 w 956275"/>
                <a:gd name="connsiteY23" fmla="*/ 64008 h 578637"/>
                <a:gd name="connsiteX24" fmla="*/ 718531 w 956275"/>
                <a:gd name="connsiteY24" fmla="*/ 64008 h 578637"/>
                <a:gd name="connsiteX25" fmla="*/ 608803 w 956275"/>
                <a:gd name="connsiteY25" fmla="*/ 64008 h 578637"/>
                <a:gd name="connsiteX26" fmla="*/ 553939 w 956275"/>
                <a:gd name="connsiteY26" fmla="*/ 100584 h 578637"/>
                <a:gd name="connsiteX27" fmla="*/ 517363 w 956275"/>
                <a:gd name="connsiteY27" fmla="*/ 146304 h 578637"/>
                <a:gd name="connsiteX28" fmla="*/ 471643 w 956275"/>
                <a:gd name="connsiteY28" fmla="*/ 182880 h 578637"/>
                <a:gd name="connsiteX29" fmla="*/ 425923 w 956275"/>
                <a:gd name="connsiteY29" fmla="*/ 256032 h 578637"/>
                <a:gd name="connsiteX30" fmla="*/ 352771 w 956275"/>
                <a:gd name="connsiteY30" fmla="*/ 301752 h 578637"/>
                <a:gd name="connsiteX31" fmla="*/ 252187 w 956275"/>
                <a:gd name="connsiteY31" fmla="*/ 347472 h 578637"/>
                <a:gd name="connsiteX32" fmla="*/ 215611 w 956275"/>
                <a:gd name="connsiteY32" fmla="*/ 374904 h 578637"/>
                <a:gd name="connsiteX33" fmla="*/ 169891 w 956275"/>
                <a:gd name="connsiteY33" fmla="*/ 402336 h 578637"/>
                <a:gd name="connsiteX34" fmla="*/ 151603 w 956275"/>
                <a:gd name="connsiteY34" fmla="*/ 402336 h 578637"/>
                <a:gd name="connsiteX35" fmla="*/ 169891 w 956275"/>
                <a:gd name="connsiteY35" fmla="*/ 365760 h 578637"/>
                <a:gd name="connsiteX36" fmla="*/ 224755 w 956275"/>
                <a:gd name="connsiteY36" fmla="*/ 301752 h 578637"/>
                <a:gd name="connsiteX37" fmla="*/ 316195 w 956275"/>
                <a:gd name="connsiteY37" fmla="*/ 219456 h 578637"/>
                <a:gd name="connsiteX38" fmla="*/ 361915 w 956275"/>
                <a:gd name="connsiteY38" fmla="*/ 146304 h 578637"/>
                <a:gd name="connsiteX39" fmla="*/ 361915 w 956275"/>
                <a:gd name="connsiteY39" fmla="*/ 64008 h 578637"/>
                <a:gd name="connsiteX40" fmla="*/ 352771 w 956275"/>
                <a:gd name="connsiteY40" fmla="*/ 54864 h 578637"/>
                <a:gd name="connsiteX41" fmla="*/ 343627 w 956275"/>
                <a:gd name="connsiteY41" fmla="*/ 128016 h 578637"/>
                <a:gd name="connsiteX42" fmla="*/ 316195 w 956275"/>
                <a:gd name="connsiteY42" fmla="*/ 173736 h 578637"/>
                <a:gd name="connsiteX43" fmla="*/ 243043 w 956275"/>
                <a:gd name="connsiteY43" fmla="*/ 237744 h 578637"/>
                <a:gd name="connsiteX44" fmla="*/ 215611 w 956275"/>
                <a:gd name="connsiteY44" fmla="*/ 256032 h 578637"/>
                <a:gd name="connsiteX45" fmla="*/ 142459 w 956275"/>
                <a:gd name="connsiteY45" fmla="*/ 347472 h 578637"/>
                <a:gd name="connsiteX46" fmla="*/ 133315 w 956275"/>
                <a:gd name="connsiteY46" fmla="*/ 374904 h 578637"/>
                <a:gd name="connsiteX47" fmla="*/ 124171 w 956275"/>
                <a:gd name="connsiteY47" fmla="*/ 411480 h 578637"/>
                <a:gd name="connsiteX48" fmla="*/ 142459 w 956275"/>
                <a:gd name="connsiteY48" fmla="*/ 429768 h 578637"/>
                <a:gd name="connsiteX49" fmla="*/ 96739 w 956275"/>
                <a:gd name="connsiteY49" fmla="*/ 457200 h 578637"/>
                <a:gd name="connsiteX50" fmla="*/ 13820 w 956275"/>
                <a:gd name="connsiteY50" fmla="*/ 496783 h 578637"/>
                <a:gd name="connsiteX51" fmla="*/ 13820 w 956275"/>
                <a:gd name="connsiteY51" fmla="*/ 496784 h 578637"/>
                <a:gd name="connsiteX52" fmla="*/ 40672 w 956275"/>
                <a:gd name="connsiteY52" fmla="*/ 486851 h 578637"/>
                <a:gd name="connsiteX53" fmla="*/ 132458 w 956275"/>
                <a:gd name="connsiteY53" fmla="*/ 430387 h 578637"/>
                <a:gd name="connsiteX54" fmla="*/ 40672 w 956275"/>
                <a:gd name="connsiteY54" fmla="*/ 486852 h 578637"/>
                <a:gd name="connsiteX55" fmla="*/ 97137 w 956275"/>
                <a:gd name="connsiteY55" fmla="*/ 578637 h 578637"/>
                <a:gd name="connsiteX0" fmla="*/ 97137 w 956275"/>
                <a:gd name="connsiteY0" fmla="*/ 578637 h 578637"/>
                <a:gd name="connsiteX1" fmla="*/ 13820 w 956275"/>
                <a:gd name="connsiteY1" fmla="*/ 496784 h 578637"/>
                <a:gd name="connsiteX2" fmla="*/ 13820 w 956275"/>
                <a:gd name="connsiteY2" fmla="*/ 496784 h 578637"/>
                <a:gd name="connsiteX3" fmla="*/ 51019 w 956275"/>
                <a:gd name="connsiteY3" fmla="*/ 493776 h 578637"/>
                <a:gd name="connsiteX4" fmla="*/ 151603 w 956275"/>
                <a:gd name="connsiteY4" fmla="*/ 466344 h 578637"/>
                <a:gd name="connsiteX5" fmla="*/ 252187 w 956275"/>
                <a:gd name="connsiteY5" fmla="*/ 384048 h 578637"/>
                <a:gd name="connsiteX6" fmla="*/ 444211 w 956275"/>
                <a:gd name="connsiteY6" fmla="*/ 301752 h 578637"/>
                <a:gd name="connsiteX7" fmla="*/ 526507 w 956275"/>
                <a:gd name="connsiteY7" fmla="*/ 192024 h 578637"/>
                <a:gd name="connsiteX8" fmla="*/ 672811 w 956275"/>
                <a:gd name="connsiteY8" fmla="*/ 155448 h 578637"/>
                <a:gd name="connsiteX9" fmla="*/ 718531 w 956275"/>
                <a:gd name="connsiteY9" fmla="*/ 155448 h 578637"/>
                <a:gd name="connsiteX10" fmla="*/ 755107 w 956275"/>
                <a:gd name="connsiteY10" fmla="*/ 137160 h 578637"/>
                <a:gd name="connsiteX11" fmla="*/ 709387 w 956275"/>
                <a:gd name="connsiteY11" fmla="*/ 137160 h 578637"/>
                <a:gd name="connsiteX12" fmla="*/ 617947 w 956275"/>
                <a:gd name="connsiteY12" fmla="*/ 137160 h 578637"/>
                <a:gd name="connsiteX13" fmla="*/ 563083 w 956275"/>
                <a:gd name="connsiteY13" fmla="*/ 146304 h 578637"/>
                <a:gd name="connsiteX14" fmla="*/ 553939 w 956275"/>
                <a:gd name="connsiteY14" fmla="*/ 155448 h 578637"/>
                <a:gd name="connsiteX15" fmla="*/ 535651 w 956275"/>
                <a:gd name="connsiteY15" fmla="*/ 146304 h 578637"/>
                <a:gd name="connsiteX16" fmla="*/ 663667 w 956275"/>
                <a:gd name="connsiteY16" fmla="*/ 91440 h 578637"/>
                <a:gd name="connsiteX17" fmla="*/ 718531 w 956275"/>
                <a:gd name="connsiteY17" fmla="*/ 91440 h 578637"/>
                <a:gd name="connsiteX18" fmla="*/ 809971 w 956275"/>
                <a:gd name="connsiteY18" fmla="*/ 82296 h 578637"/>
                <a:gd name="connsiteX19" fmla="*/ 937987 w 956275"/>
                <a:gd name="connsiteY19" fmla="*/ 27432 h 578637"/>
                <a:gd name="connsiteX20" fmla="*/ 919699 w 956275"/>
                <a:gd name="connsiteY20" fmla="*/ 0 h 578637"/>
                <a:gd name="connsiteX21" fmla="*/ 883123 w 956275"/>
                <a:gd name="connsiteY21" fmla="*/ 27432 h 578637"/>
                <a:gd name="connsiteX22" fmla="*/ 846547 w 956275"/>
                <a:gd name="connsiteY22" fmla="*/ 36576 h 578637"/>
                <a:gd name="connsiteX23" fmla="*/ 773395 w 956275"/>
                <a:gd name="connsiteY23" fmla="*/ 64008 h 578637"/>
                <a:gd name="connsiteX24" fmla="*/ 718531 w 956275"/>
                <a:gd name="connsiteY24" fmla="*/ 64008 h 578637"/>
                <a:gd name="connsiteX25" fmla="*/ 608803 w 956275"/>
                <a:gd name="connsiteY25" fmla="*/ 64008 h 578637"/>
                <a:gd name="connsiteX26" fmla="*/ 553939 w 956275"/>
                <a:gd name="connsiteY26" fmla="*/ 100584 h 578637"/>
                <a:gd name="connsiteX27" fmla="*/ 517363 w 956275"/>
                <a:gd name="connsiteY27" fmla="*/ 146304 h 578637"/>
                <a:gd name="connsiteX28" fmla="*/ 471643 w 956275"/>
                <a:gd name="connsiteY28" fmla="*/ 182880 h 578637"/>
                <a:gd name="connsiteX29" fmla="*/ 425923 w 956275"/>
                <a:gd name="connsiteY29" fmla="*/ 256032 h 578637"/>
                <a:gd name="connsiteX30" fmla="*/ 352771 w 956275"/>
                <a:gd name="connsiteY30" fmla="*/ 301752 h 578637"/>
                <a:gd name="connsiteX31" fmla="*/ 252187 w 956275"/>
                <a:gd name="connsiteY31" fmla="*/ 347472 h 578637"/>
                <a:gd name="connsiteX32" fmla="*/ 215611 w 956275"/>
                <a:gd name="connsiteY32" fmla="*/ 374904 h 578637"/>
                <a:gd name="connsiteX33" fmla="*/ 169891 w 956275"/>
                <a:gd name="connsiteY33" fmla="*/ 402336 h 578637"/>
                <a:gd name="connsiteX34" fmla="*/ 151603 w 956275"/>
                <a:gd name="connsiteY34" fmla="*/ 402336 h 578637"/>
                <a:gd name="connsiteX35" fmla="*/ 169891 w 956275"/>
                <a:gd name="connsiteY35" fmla="*/ 365760 h 578637"/>
                <a:gd name="connsiteX36" fmla="*/ 224755 w 956275"/>
                <a:gd name="connsiteY36" fmla="*/ 301752 h 578637"/>
                <a:gd name="connsiteX37" fmla="*/ 316195 w 956275"/>
                <a:gd name="connsiteY37" fmla="*/ 219456 h 578637"/>
                <a:gd name="connsiteX38" fmla="*/ 361915 w 956275"/>
                <a:gd name="connsiteY38" fmla="*/ 146304 h 578637"/>
                <a:gd name="connsiteX39" fmla="*/ 361915 w 956275"/>
                <a:gd name="connsiteY39" fmla="*/ 64008 h 578637"/>
                <a:gd name="connsiteX40" fmla="*/ 352771 w 956275"/>
                <a:gd name="connsiteY40" fmla="*/ 54864 h 578637"/>
                <a:gd name="connsiteX41" fmla="*/ 343627 w 956275"/>
                <a:gd name="connsiteY41" fmla="*/ 128016 h 578637"/>
                <a:gd name="connsiteX42" fmla="*/ 316195 w 956275"/>
                <a:gd name="connsiteY42" fmla="*/ 173736 h 578637"/>
                <a:gd name="connsiteX43" fmla="*/ 243043 w 956275"/>
                <a:gd name="connsiteY43" fmla="*/ 237744 h 578637"/>
                <a:gd name="connsiteX44" fmla="*/ 215611 w 956275"/>
                <a:gd name="connsiteY44" fmla="*/ 256032 h 578637"/>
                <a:gd name="connsiteX45" fmla="*/ 142459 w 956275"/>
                <a:gd name="connsiteY45" fmla="*/ 347472 h 578637"/>
                <a:gd name="connsiteX46" fmla="*/ 133315 w 956275"/>
                <a:gd name="connsiteY46" fmla="*/ 374904 h 578637"/>
                <a:gd name="connsiteX47" fmla="*/ 124171 w 956275"/>
                <a:gd name="connsiteY47" fmla="*/ 411480 h 578637"/>
                <a:gd name="connsiteX48" fmla="*/ 142459 w 956275"/>
                <a:gd name="connsiteY48" fmla="*/ 429768 h 578637"/>
                <a:gd name="connsiteX49" fmla="*/ 96739 w 956275"/>
                <a:gd name="connsiteY49" fmla="*/ 457200 h 578637"/>
                <a:gd name="connsiteX50" fmla="*/ 13820 w 956275"/>
                <a:gd name="connsiteY50" fmla="*/ 496783 h 578637"/>
                <a:gd name="connsiteX51" fmla="*/ 13820 w 956275"/>
                <a:gd name="connsiteY51" fmla="*/ 496784 h 578637"/>
                <a:gd name="connsiteX52" fmla="*/ 40672 w 956275"/>
                <a:gd name="connsiteY52" fmla="*/ 486851 h 578637"/>
                <a:gd name="connsiteX53" fmla="*/ 132458 w 956275"/>
                <a:gd name="connsiteY53" fmla="*/ 430387 h 578637"/>
                <a:gd name="connsiteX54" fmla="*/ 97137 w 956275"/>
                <a:gd name="connsiteY54" fmla="*/ 578637 h 578637"/>
                <a:gd name="connsiteX55" fmla="*/ 97137 w 956275"/>
                <a:gd name="connsiteY55" fmla="*/ 578637 h 578637"/>
                <a:gd name="connsiteX0" fmla="*/ 97137 w 956275"/>
                <a:gd name="connsiteY0" fmla="*/ 578637 h 578637"/>
                <a:gd name="connsiteX1" fmla="*/ 13820 w 956275"/>
                <a:gd name="connsiteY1" fmla="*/ 496784 h 578637"/>
                <a:gd name="connsiteX2" fmla="*/ 13820 w 956275"/>
                <a:gd name="connsiteY2" fmla="*/ 496784 h 578637"/>
                <a:gd name="connsiteX3" fmla="*/ 51019 w 956275"/>
                <a:gd name="connsiteY3" fmla="*/ 493776 h 578637"/>
                <a:gd name="connsiteX4" fmla="*/ 151603 w 956275"/>
                <a:gd name="connsiteY4" fmla="*/ 466344 h 578637"/>
                <a:gd name="connsiteX5" fmla="*/ 252187 w 956275"/>
                <a:gd name="connsiteY5" fmla="*/ 384048 h 578637"/>
                <a:gd name="connsiteX6" fmla="*/ 444211 w 956275"/>
                <a:gd name="connsiteY6" fmla="*/ 301752 h 578637"/>
                <a:gd name="connsiteX7" fmla="*/ 526507 w 956275"/>
                <a:gd name="connsiteY7" fmla="*/ 192024 h 578637"/>
                <a:gd name="connsiteX8" fmla="*/ 672811 w 956275"/>
                <a:gd name="connsiteY8" fmla="*/ 155448 h 578637"/>
                <a:gd name="connsiteX9" fmla="*/ 718531 w 956275"/>
                <a:gd name="connsiteY9" fmla="*/ 155448 h 578637"/>
                <a:gd name="connsiteX10" fmla="*/ 755107 w 956275"/>
                <a:gd name="connsiteY10" fmla="*/ 137160 h 578637"/>
                <a:gd name="connsiteX11" fmla="*/ 709387 w 956275"/>
                <a:gd name="connsiteY11" fmla="*/ 137160 h 578637"/>
                <a:gd name="connsiteX12" fmla="*/ 617947 w 956275"/>
                <a:gd name="connsiteY12" fmla="*/ 137160 h 578637"/>
                <a:gd name="connsiteX13" fmla="*/ 563083 w 956275"/>
                <a:gd name="connsiteY13" fmla="*/ 146304 h 578637"/>
                <a:gd name="connsiteX14" fmla="*/ 553939 w 956275"/>
                <a:gd name="connsiteY14" fmla="*/ 155448 h 578637"/>
                <a:gd name="connsiteX15" fmla="*/ 535651 w 956275"/>
                <a:gd name="connsiteY15" fmla="*/ 146304 h 578637"/>
                <a:gd name="connsiteX16" fmla="*/ 663667 w 956275"/>
                <a:gd name="connsiteY16" fmla="*/ 91440 h 578637"/>
                <a:gd name="connsiteX17" fmla="*/ 718531 w 956275"/>
                <a:gd name="connsiteY17" fmla="*/ 91440 h 578637"/>
                <a:gd name="connsiteX18" fmla="*/ 809971 w 956275"/>
                <a:gd name="connsiteY18" fmla="*/ 82296 h 578637"/>
                <a:gd name="connsiteX19" fmla="*/ 937987 w 956275"/>
                <a:gd name="connsiteY19" fmla="*/ 27432 h 578637"/>
                <a:gd name="connsiteX20" fmla="*/ 919699 w 956275"/>
                <a:gd name="connsiteY20" fmla="*/ 0 h 578637"/>
                <a:gd name="connsiteX21" fmla="*/ 883123 w 956275"/>
                <a:gd name="connsiteY21" fmla="*/ 27432 h 578637"/>
                <a:gd name="connsiteX22" fmla="*/ 846547 w 956275"/>
                <a:gd name="connsiteY22" fmla="*/ 36576 h 578637"/>
                <a:gd name="connsiteX23" fmla="*/ 773395 w 956275"/>
                <a:gd name="connsiteY23" fmla="*/ 64008 h 578637"/>
                <a:gd name="connsiteX24" fmla="*/ 718531 w 956275"/>
                <a:gd name="connsiteY24" fmla="*/ 64008 h 578637"/>
                <a:gd name="connsiteX25" fmla="*/ 608803 w 956275"/>
                <a:gd name="connsiteY25" fmla="*/ 64008 h 578637"/>
                <a:gd name="connsiteX26" fmla="*/ 553939 w 956275"/>
                <a:gd name="connsiteY26" fmla="*/ 100584 h 578637"/>
                <a:gd name="connsiteX27" fmla="*/ 517363 w 956275"/>
                <a:gd name="connsiteY27" fmla="*/ 146304 h 578637"/>
                <a:gd name="connsiteX28" fmla="*/ 471643 w 956275"/>
                <a:gd name="connsiteY28" fmla="*/ 182880 h 578637"/>
                <a:gd name="connsiteX29" fmla="*/ 425923 w 956275"/>
                <a:gd name="connsiteY29" fmla="*/ 256032 h 578637"/>
                <a:gd name="connsiteX30" fmla="*/ 352771 w 956275"/>
                <a:gd name="connsiteY30" fmla="*/ 301752 h 578637"/>
                <a:gd name="connsiteX31" fmla="*/ 252187 w 956275"/>
                <a:gd name="connsiteY31" fmla="*/ 347472 h 578637"/>
                <a:gd name="connsiteX32" fmla="*/ 215611 w 956275"/>
                <a:gd name="connsiteY32" fmla="*/ 374904 h 578637"/>
                <a:gd name="connsiteX33" fmla="*/ 169891 w 956275"/>
                <a:gd name="connsiteY33" fmla="*/ 402336 h 578637"/>
                <a:gd name="connsiteX34" fmla="*/ 151603 w 956275"/>
                <a:gd name="connsiteY34" fmla="*/ 402336 h 578637"/>
                <a:gd name="connsiteX35" fmla="*/ 169891 w 956275"/>
                <a:gd name="connsiteY35" fmla="*/ 365760 h 578637"/>
                <a:gd name="connsiteX36" fmla="*/ 224755 w 956275"/>
                <a:gd name="connsiteY36" fmla="*/ 301752 h 578637"/>
                <a:gd name="connsiteX37" fmla="*/ 316195 w 956275"/>
                <a:gd name="connsiteY37" fmla="*/ 219456 h 578637"/>
                <a:gd name="connsiteX38" fmla="*/ 361915 w 956275"/>
                <a:gd name="connsiteY38" fmla="*/ 146304 h 578637"/>
                <a:gd name="connsiteX39" fmla="*/ 361915 w 956275"/>
                <a:gd name="connsiteY39" fmla="*/ 64008 h 578637"/>
                <a:gd name="connsiteX40" fmla="*/ 352771 w 956275"/>
                <a:gd name="connsiteY40" fmla="*/ 54864 h 578637"/>
                <a:gd name="connsiteX41" fmla="*/ 343627 w 956275"/>
                <a:gd name="connsiteY41" fmla="*/ 128016 h 578637"/>
                <a:gd name="connsiteX42" fmla="*/ 316195 w 956275"/>
                <a:gd name="connsiteY42" fmla="*/ 173736 h 578637"/>
                <a:gd name="connsiteX43" fmla="*/ 243043 w 956275"/>
                <a:gd name="connsiteY43" fmla="*/ 237744 h 578637"/>
                <a:gd name="connsiteX44" fmla="*/ 215611 w 956275"/>
                <a:gd name="connsiteY44" fmla="*/ 256032 h 578637"/>
                <a:gd name="connsiteX45" fmla="*/ 142459 w 956275"/>
                <a:gd name="connsiteY45" fmla="*/ 347472 h 578637"/>
                <a:gd name="connsiteX46" fmla="*/ 133315 w 956275"/>
                <a:gd name="connsiteY46" fmla="*/ 374904 h 578637"/>
                <a:gd name="connsiteX47" fmla="*/ 124171 w 956275"/>
                <a:gd name="connsiteY47" fmla="*/ 411480 h 578637"/>
                <a:gd name="connsiteX48" fmla="*/ 142459 w 956275"/>
                <a:gd name="connsiteY48" fmla="*/ 429768 h 578637"/>
                <a:gd name="connsiteX49" fmla="*/ 96739 w 956275"/>
                <a:gd name="connsiteY49" fmla="*/ 457200 h 578637"/>
                <a:gd name="connsiteX50" fmla="*/ 13820 w 956275"/>
                <a:gd name="connsiteY50" fmla="*/ 496783 h 578637"/>
                <a:gd name="connsiteX51" fmla="*/ 13820 w 956275"/>
                <a:gd name="connsiteY51" fmla="*/ 496784 h 578637"/>
                <a:gd name="connsiteX52" fmla="*/ 23012 w 956275"/>
                <a:gd name="connsiteY52" fmla="*/ 560977 h 578637"/>
                <a:gd name="connsiteX53" fmla="*/ 132458 w 956275"/>
                <a:gd name="connsiteY53" fmla="*/ 430387 h 578637"/>
                <a:gd name="connsiteX54" fmla="*/ 97137 w 956275"/>
                <a:gd name="connsiteY54" fmla="*/ 578637 h 578637"/>
                <a:gd name="connsiteX55" fmla="*/ 97137 w 956275"/>
                <a:gd name="connsiteY55" fmla="*/ 578637 h 578637"/>
                <a:gd name="connsiteX0" fmla="*/ 97137 w 956275"/>
                <a:gd name="connsiteY0" fmla="*/ 578637 h 578637"/>
                <a:gd name="connsiteX1" fmla="*/ 13820 w 956275"/>
                <a:gd name="connsiteY1" fmla="*/ 496784 h 578637"/>
                <a:gd name="connsiteX2" fmla="*/ 13820 w 956275"/>
                <a:gd name="connsiteY2" fmla="*/ 496784 h 578637"/>
                <a:gd name="connsiteX3" fmla="*/ 51019 w 956275"/>
                <a:gd name="connsiteY3" fmla="*/ 493776 h 578637"/>
                <a:gd name="connsiteX4" fmla="*/ 151603 w 956275"/>
                <a:gd name="connsiteY4" fmla="*/ 466344 h 578637"/>
                <a:gd name="connsiteX5" fmla="*/ 252187 w 956275"/>
                <a:gd name="connsiteY5" fmla="*/ 384048 h 578637"/>
                <a:gd name="connsiteX6" fmla="*/ 444211 w 956275"/>
                <a:gd name="connsiteY6" fmla="*/ 301752 h 578637"/>
                <a:gd name="connsiteX7" fmla="*/ 526507 w 956275"/>
                <a:gd name="connsiteY7" fmla="*/ 192024 h 578637"/>
                <a:gd name="connsiteX8" fmla="*/ 672811 w 956275"/>
                <a:gd name="connsiteY8" fmla="*/ 155448 h 578637"/>
                <a:gd name="connsiteX9" fmla="*/ 718531 w 956275"/>
                <a:gd name="connsiteY9" fmla="*/ 155448 h 578637"/>
                <a:gd name="connsiteX10" fmla="*/ 755107 w 956275"/>
                <a:gd name="connsiteY10" fmla="*/ 137160 h 578637"/>
                <a:gd name="connsiteX11" fmla="*/ 709387 w 956275"/>
                <a:gd name="connsiteY11" fmla="*/ 137160 h 578637"/>
                <a:gd name="connsiteX12" fmla="*/ 617947 w 956275"/>
                <a:gd name="connsiteY12" fmla="*/ 137160 h 578637"/>
                <a:gd name="connsiteX13" fmla="*/ 563083 w 956275"/>
                <a:gd name="connsiteY13" fmla="*/ 146304 h 578637"/>
                <a:gd name="connsiteX14" fmla="*/ 553939 w 956275"/>
                <a:gd name="connsiteY14" fmla="*/ 155448 h 578637"/>
                <a:gd name="connsiteX15" fmla="*/ 535651 w 956275"/>
                <a:gd name="connsiteY15" fmla="*/ 146304 h 578637"/>
                <a:gd name="connsiteX16" fmla="*/ 663667 w 956275"/>
                <a:gd name="connsiteY16" fmla="*/ 91440 h 578637"/>
                <a:gd name="connsiteX17" fmla="*/ 718531 w 956275"/>
                <a:gd name="connsiteY17" fmla="*/ 91440 h 578637"/>
                <a:gd name="connsiteX18" fmla="*/ 809971 w 956275"/>
                <a:gd name="connsiteY18" fmla="*/ 82296 h 578637"/>
                <a:gd name="connsiteX19" fmla="*/ 937987 w 956275"/>
                <a:gd name="connsiteY19" fmla="*/ 27432 h 578637"/>
                <a:gd name="connsiteX20" fmla="*/ 919699 w 956275"/>
                <a:gd name="connsiteY20" fmla="*/ 0 h 578637"/>
                <a:gd name="connsiteX21" fmla="*/ 883123 w 956275"/>
                <a:gd name="connsiteY21" fmla="*/ 27432 h 578637"/>
                <a:gd name="connsiteX22" fmla="*/ 846547 w 956275"/>
                <a:gd name="connsiteY22" fmla="*/ 36576 h 578637"/>
                <a:gd name="connsiteX23" fmla="*/ 773395 w 956275"/>
                <a:gd name="connsiteY23" fmla="*/ 64008 h 578637"/>
                <a:gd name="connsiteX24" fmla="*/ 718531 w 956275"/>
                <a:gd name="connsiteY24" fmla="*/ 64008 h 578637"/>
                <a:gd name="connsiteX25" fmla="*/ 608803 w 956275"/>
                <a:gd name="connsiteY25" fmla="*/ 64008 h 578637"/>
                <a:gd name="connsiteX26" fmla="*/ 553939 w 956275"/>
                <a:gd name="connsiteY26" fmla="*/ 100584 h 578637"/>
                <a:gd name="connsiteX27" fmla="*/ 517363 w 956275"/>
                <a:gd name="connsiteY27" fmla="*/ 146304 h 578637"/>
                <a:gd name="connsiteX28" fmla="*/ 471643 w 956275"/>
                <a:gd name="connsiteY28" fmla="*/ 182880 h 578637"/>
                <a:gd name="connsiteX29" fmla="*/ 425923 w 956275"/>
                <a:gd name="connsiteY29" fmla="*/ 256032 h 578637"/>
                <a:gd name="connsiteX30" fmla="*/ 352771 w 956275"/>
                <a:gd name="connsiteY30" fmla="*/ 301752 h 578637"/>
                <a:gd name="connsiteX31" fmla="*/ 252187 w 956275"/>
                <a:gd name="connsiteY31" fmla="*/ 347472 h 578637"/>
                <a:gd name="connsiteX32" fmla="*/ 215611 w 956275"/>
                <a:gd name="connsiteY32" fmla="*/ 374904 h 578637"/>
                <a:gd name="connsiteX33" fmla="*/ 169891 w 956275"/>
                <a:gd name="connsiteY33" fmla="*/ 402336 h 578637"/>
                <a:gd name="connsiteX34" fmla="*/ 151603 w 956275"/>
                <a:gd name="connsiteY34" fmla="*/ 402336 h 578637"/>
                <a:gd name="connsiteX35" fmla="*/ 169891 w 956275"/>
                <a:gd name="connsiteY35" fmla="*/ 365760 h 578637"/>
                <a:gd name="connsiteX36" fmla="*/ 224755 w 956275"/>
                <a:gd name="connsiteY36" fmla="*/ 301752 h 578637"/>
                <a:gd name="connsiteX37" fmla="*/ 316195 w 956275"/>
                <a:gd name="connsiteY37" fmla="*/ 219456 h 578637"/>
                <a:gd name="connsiteX38" fmla="*/ 361915 w 956275"/>
                <a:gd name="connsiteY38" fmla="*/ 146304 h 578637"/>
                <a:gd name="connsiteX39" fmla="*/ 361915 w 956275"/>
                <a:gd name="connsiteY39" fmla="*/ 64008 h 578637"/>
                <a:gd name="connsiteX40" fmla="*/ 352771 w 956275"/>
                <a:gd name="connsiteY40" fmla="*/ 54864 h 578637"/>
                <a:gd name="connsiteX41" fmla="*/ 343627 w 956275"/>
                <a:gd name="connsiteY41" fmla="*/ 128016 h 578637"/>
                <a:gd name="connsiteX42" fmla="*/ 316195 w 956275"/>
                <a:gd name="connsiteY42" fmla="*/ 173736 h 578637"/>
                <a:gd name="connsiteX43" fmla="*/ 243043 w 956275"/>
                <a:gd name="connsiteY43" fmla="*/ 237744 h 578637"/>
                <a:gd name="connsiteX44" fmla="*/ 215611 w 956275"/>
                <a:gd name="connsiteY44" fmla="*/ 256032 h 578637"/>
                <a:gd name="connsiteX45" fmla="*/ 142459 w 956275"/>
                <a:gd name="connsiteY45" fmla="*/ 347472 h 578637"/>
                <a:gd name="connsiteX46" fmla="*/ 133315 w 956275"/>
                <a:gd name="connsiteY46" fmla="*/ 374904 h 578637"/>
                <a:gd name="connsiteX47" fmla="*/ 124171 w 956275"/>
                <a:gd name="connsiteY47" fmla="*/ 411480 h 578637"/>
                <a:gd name="connsiteX48" fmla="*/ 142459 w 956275"/>
                <a:gd name="connsiteY48" fmla="*/ 429768 h 578637"/>
                <a:gd name="connsiteX49" fmla="*/ 96739 w 956275"/>
                <a:gd name="connsiteY49" fmla="*/ 457200 h 578637"/>
                <a:gd name="connsiteX50" fmla="*/ 13820 w 956275"/>
                <a:gd name="connsiteY50" fmla="*/ 496783 h 578637"/>
                <a:gd name="connsiteX51" fmla="*/ 13820 w 956275"/>
                <a:gd name="connsiteY51" fmla="*/ 496784 h 578637"/>
                <a:gd name="connsiteX52" fmla="*/ 132458 w 956275"/>
                <a:gd name="connsiteY52" fmla="*/ 430387 h 578637"/>
                <a:gd name="connsiteX53" fmla="*/ 132458 w 956275"/>
                <a:gd name="connsiteY53" fmla="*/ 430387 h 578637"/>
                <a:gd name="connsiteX54" fmla="*/ 97137 w 956275"/>
                <a:gd name="connsiteY54" fmla="*/ 578637 h 578637"/>
                <a:gd name="connsiteX55" fmla="*/ 97137 w 956275"/>
                <a:gd name="connsiteY55" fmla="*/ 578637 h 578637"/>
                <a:gd name="connsiteX0" fmla="*/ 89270 w 948408"/>
                <a:gd name="connsiteY0" fmla="*/ 578637 h 578637"/>
                <a:gd name="connsiteX1" fmla="*/ 5953 w 948408"/>
                <a:gd name="connsiteY1" fmla="*/ 496784 h 578637"/>
                <a:gd name="connsiteX2" fmla="*/ 5953 w 948408"/>
                <a:gd name="connsiteY2" fmla="*/ 496784 h 578637"/>
                <a:gd name="connsiteX3" fmla="*/ 43152 w 948408"/>
                <a:gd name="connsiteY3" fmla="*/ 493776 h 578637"/>
                <a:gd name="connsiteX4" fmla="*/ 143736 w 948408"/>
                <a:gd name="connsiteY4" fmla="*/ 466344 h 578637"/>
                <a:gd name="connsiteX5" fmla="*/ 244320 w 948408"/>
                <a:gd name="connsiteY5" fmla="*/ 384048 h 578637"/>
                <a:gd name="connsiteX6" fmla="*/ 436344 w 948408"/>
                <a:gd name="connsiteY6" fmla="*/ 301752 h 578637"/>
                <a:gd name="connsiteX7" fmla="*/ 518640 w 948408"/>
                <a:gd name="connsiteY7" fmla="*/ 192024 h 578637"/>
                <a:gd name="connsiteX8" fmla="*/ 664944 w 948408"/>
                <a:gd name="connsiteY8" fmla="*/ 155448 h 578637"/>
                <a:gd name="connsiteX9" fmla="*/ 710664 w 948408"/>
                <a:gd name="connsiteY9" fmla="*/ 155448 h 578637"/>
                <a:gd name="connsiteX10" fmla="*/ 747240 w 948408"/>
                <a:gd name="connsiteY10" fmla="*/ 137160 h 578637"/>
                <a:gd name="connsiteX11" fmla="*/ 701520 w 948408"/>
                <a:gd name="connsiteY11" fmla="*/ 137160 h 578637"/>
                <a:gd name="connsiteX12" fmla="*/ 610080 w 948408"/>
                <a:gd name="connsiteY12" fmla="*/ 137160 h 578637"/>
                <a:gd name="connsiteX13" fmla="*/ 555216 w 948408"/>
                <a:gd name="connsiteY13" fmla="*/ 146304 h 578637"/>
                <a:gd name="connsiteX14" fmla="*/ 546072 w 948408"/>
                <a:gd name="connsiteY14" fmla="*/ 155448 h 578637"/>
                <a:gd name="connsiteX15" fmla="*/ 527784 w 948408"/>
                <a:gd name="connsiteY15" fmla="*/ 146304 h 578637"/>
                <a:gd name="connsiteX16" fmla="*/ 655800 w 948408"/>
                <a:gd name="connsiteY16" fmla="*/ 91440 h 578637"/>
                <a:gd name="connsiteX17" fmla="*/ 710664 w 948408"/>
                <a:gd name="connsiteY17" fmla="*/ 91440 h 578637"/>
                <a:gd name="connsiteX18" fmla="*/ 802104 w 948408"/>
                <a:gd name="connsiteY18" fmla="*/ 82296 h 578637"/>
                <a:gd name="connsiteX19" fmla="*/ 930120 w 948408"/>
                <a:gd name="connsiteY19" fmla="*/ 27432 h 578637"/>
                <a:gd name="connsiteX20" fmla="*/ 911832 w 948408"/>
                <a:gd name="connsiteY20" fmla="*/ 0 h 578637"/>
                <a:gd name="connsiteX21" fmla="*/ 875256 w 948408"/>
                <a:gd name="connsiteY21" fmla="*/ 27432 h 578637"/>
                <a:gd name="connsiteX22" fmla="*/ 838680 w 948408"/>
                <a:gd name="connsiteY22" fmla="*/ 36576 h 578637"/>
                <a:gd name="connsiteX23" fmla="*/ 765528 w 948408"/>
                <a:gd name="connsiteY23" fmla="*/ 64008 h 578637"/>
                <a:gd name="connsiteX24" fmla="*/ 710664 w 948408"/>
                <a:gd name="connsiteY24" fmla="*/ 64008 h 578637"/>
                <a:gd name="connsiteX25" fmla="*/ 600936 w 948408"/>
                <a:gd name="connsiteY25" fmla="*/ 64008 h 578637"/>
                <a:gd name="connsiteX26" fmla="*/ 546072 w 948408"/>
                <a:gd name="connsiteY26" fmla="*/ 100584 h 578637"/>
                <a:gd name="connsiteX27" fmla="*/ 509496 w 948408"/>
                <a:gd name="connsiteY27" fmla="*/ 146304 h 578637"/>
                <a:gd name="connsiteX28" fmla="*/ 463776 w 948408"/>
                <a:gd name="connsiteY28" fmla="*/ 182880 h 578637"/>
                <a:gd name="connsiteX29" fmla="*/ 418056 w 948408"/>
                <a:gd name="connsiteY29" fmla="*/ 256032 h 578637"/>
                <a:gd name="connsiteX30" fmla="*/ 344904 w 948408"/>
                <a:gd name="connsiteY30" fmla="*/ 301752 h 578637"/>
                <a:gd name="connsiteX31" fmla="*/ 244320 w 948408"/>
                <a:gd name="connsiteY31" fmla="*/ 347472 h 578637"/>
                <a:gd name="connsiteX32" fmla="*/ 207744 w 948408"/>
                <a:gd name="connsiteY32" fmla="*/ 374904 h 578637"/>
                <a:gd name="connsiteX33" fmla="*/ 162024 w 948408"/>
                <a:gd name="connsiteY33" fmla="*/ 402336 h 578637"/>
                <a:gd name="connsiteX34" fmla="*/ 143736 w 948408"/>
                <a:gd name="connsiteY34" fmla="*/ 402336 h 578637"/>
                <a:gd name="connsiteX35" fmla="*/ 162024 w 948408"/>
                <a:gd name="connsiteY35" fmla="*/ 365760 h 578637"/>
                <a:gd name="connsiteX36" fmla="*/ 216888 w 948408"/>
                <a:gd name="connsiteY36" fmla="*/ 301752 h 578637"/>
                <a:gd name="connsiteX37" fmla="*/ 308328 w 948408"/>
                <a:gd name="connsiteY37" fmla="*/ 219456 h 578637"/>
                <a:gd name="connsiteX38" fmla="*/ 354048 w 948408"/>
                <a:gd name="connsiteY38" fmla="*/ 146304 h 578637"/>
                <a:gd name="connsiteX39" fmla="*/ 354048 w 948408"/>
                <a:gd name="connsiteY39" fmla="*/ 64008 h 578637"/>
                <a:gd name="connsiteX40" fmla="*/ 344904 w 948408"/>
                <a:gd name="connsiteY40" fmla="*/ 54864 h 578637"/>
                <a:gd name="connsiteX41" fmla="*/ 335760 w 948408"/>
                <a:gd name="connsiteY41" fmla="*/ 128016 h 578637"/>
                <a:gd name="connsiteX42" fmla="*/ 308328 w 948408"/>
                <a:gd name="connsiteY42" fmla="*/ 173736 h 578637"/>
                <a:gd name="connsiteX43" fmla="*/ 235176 w 948408"/>
                <a:gd name="connsiteY43" fmla="*/ 237744 h 578637"/>
                <a:gd name="connsiteX44" fmla="*/ 207744 w 948408"/>
                <a:gd name="connsiteY44" fmla="*/ 256032 h 578637"/>
                <a:gd name="connsiteX45" fmla="*/ 134592 w 948408"/>
                <a:gd name="connsiteY45" fmla="*/ 347472 h 578637"/>
                <a:gd name="connsiteX46" fmla="*/ 125448 w 948408"/>
                <a:gd name="connsiteY46" fmla="*/ 374904 h 578637"/>
                <a:gd name="connsiteX47" fmla="*/ 116304 w 948408"/>
                <a:gd name="connsiteY47" fmla="*/ 411480 h 578637"/>
                <a:gd name="connsiteX48" fmla="*/ 134592 w 948408"/>
                <a:gd name="connsiteY48" fmla="*/ 429768 h 578637"/>
                <a:gd name="connsiteX49" fmla="*/ 88872 w 948408"/>
                <a:gd name="connsiteY49" fmla="*/ 457200 h 578637"/>
                <a:gd name="connsiteX50" fmla="*/ 5953 w 948408"/>
                <a:gd name="connsiteY50" fmla="*/ 496783 h 578637"/>
                <a:gd name="connsiteX51" fmla="*/ 124591 w 948408"/>
                <a:gd name="connsiteY51" fmla="*/ 430387 h 578637"/>
                <a:gd name="connsiteX52" fmla="*/ 124591 w 948408"/>
                <a:gd name="connsiteY52" fmla="*/ 430387 h 578637"/>
                <a:gd name="connsiteX53" fmla="*/ 124591 w 948408"/>
                <a:gd name="connsiteY53" fmla="*/ 430387 h 578637"/>
                <a:gd name="connsiteX54" fmla="*/ 89270 w 948408"/>
                <a:gd name="connsiteY54" fmla="*/ 578637 h 578637"/>
                <a:gd name="connsiteX55" fmla="*/ 89270 w 948408"/>
                <a:gd name="connsiteY55" fmla="*/ 578637 h 578637"/>
                <a:gd name="connsiteX0" fmla="*/ 83317 w 942455"/>
                <a:gd name="connsiteY0" fmla="*/ 578637 h 578637"/>
                <a:gd name="connsiteX1" fmla="*/ 0 w 942455"/>
                <a:gd name="connsiteY1" fmla="*/ 496784 h 578637"/>
                <a:gd name="connsiteX2" fmla="*/ 0 w 942455"/>
                <a:gd name="connsiteY2" fmla="*/ 496784 h 578637"/>
                <a:gd name="connsiteX3" fmla="*/ 37199 w 942455"/>
                <a:gd name="connsiteY3" fmla="*/ 493776 h 578637"/>
                <a:gd name="connsiteX4" fmla="*/ 137783 w 942455"/>
                <a:gd name="connsiteY4" fmla="*/ 466344 h 578637"/>
                <a:gd name="connsiteX5" fmla="*/ 238367 w 942455"/>
                <a:gd name="connsiteY5" fmla="*/ 384048 h 578637"/>
                <a:gd name="connsiteX6" fmla="*/ 430391 w 942455"/>
                <a:gd name="connsiteY6" fmla="*/ 301752 h 578637"/>
                <a:gd name="connsiteX7" fmla="*/ 512687 w 942455"/>
                <a:gd name="connsiteY7" fmla="*/ 192024 h 578637"/>
                <a:gd name="connsiteX8" fmla="*/ 658991 w 942455"/>
                <a:gd name="connsiteY8" fmla="*/ 155448 h 578637"/>
                <a:gd name="connsiteX9" fmla="*/ 704711 w 942455"/>
                <a:gd name="connsiteY9" fmla="*/ 155448 h 578637"/>
                <a:gd name="connsiteX10" fmla="*/ 741287 w 942455"/>
                <a:gd name="connsiteY10" fmla="*/ 137160 h 578637"/>
                <a:gd name="connsiteX11" fmla="*/ 695567 w 942455"/>
                <a:gd name="connsiteY11" fmla="*/ 137160 h 578637"/>
                <a:gd name="connsiteX12" fmla="*/ 604127 w 942455"/>
                <a:gd name="connsiteY12" fmla="*/ 137160 h 578637"/>
                <a:gd name="connsiteX13" fmla="*/ 549263 w 942455"/>
                <a:gd name="connsiteY13" fmla="*/ 146304 h 578637"/>
                <a:gd name="connsiteX14" fmla="*/ 540119 w 942455"/>
                <a:gd name="connsiteY14" fmla="*/ 155448 h 578637"/>
                <a:gd name="connsiteX15" fmla="*/ 521831 w 942455"/>
                <a:gd name="connsiteY15" fmla="*/ 146304 h 578637"/>
                <a:gd name="connsiteX16" fmla="*/ 649847 w 942455"/>
                <a:gd name="connsiteY16" fmla="*/ 91440 h 578637"/>
                <a:gd name="connsiteX17" fmla="*/ 704711 w 942455"/>
                <a:gd name="connsiteY17" fmla="*/ 91440 h 578637"/>
                <a:gd name="connsiteX18" fmla="*/ 796151 w 942455"/>
                <a:gd name="connsiteY18" fmla="*/ 82296 h 578637"/>
                <a:gd name="connsiteX19" fmla="*/ 924167 w 942455"/>
                <a:gd name="connsiteY19" fmla="*/ 27432 h 578637"/>
                <a:gd name="connsiteX20" fmla="*/ 905879 w 942455"/>
                <a:gd name="connsiteY20" fmla="*/ 0 h 578637"/>
                <a:gd name="connsiteX21" fmla="*/ 869303 w 942455"/>
                <a:gd name="connsiteY21" fmla="*/ 27432 h 578637"/>
                <a:gd name="connsiteX22" fmla="*/ 832727 w 942455"/>
                <a:gd name="connsiteY22" fmla="*/ 36576 h 578637"/>
                <a:gd name="connsiteX23" fmla="*/ 759575 w 942455"/>
                <a:gd name="connsiteY23" fmla="*/ 64008 h 578637"/>
                <a:gd name="connsiteX24" fmla="*/ 704711 w 942455"/>
                <a:gd name="connsiteY24" fmla="*/ 64008 h 578637"/>
                <a:gd name="connsiteX25" fmla="*/ 594983 w 942455"/>
                <a:gd name="connsiteY25" fmla="*/ 64008 h 578637"/>
                <a:gd name="connsiteX26" fmla="*/ 540119 w 942455"/>
                <a:gd name="connsiteY26" fmla="*/ 100584 h 578637"/>
                <a:gd name="connsiteX27" fmla="*/ 503543 w 942455"/>
                <a:gd name="connsiteY27" fmla="*/ 146304 h 578637"/>
                <a:gd name="connsiteX28" fmla="*/ 457823 w 942455"/>
                <a:gd name="connsiteY28" fmla="*/ 182880 h 578637"/>
                <a:gd name="connsiteX29" fmla="*/ 412103 w 942455"/>
                <a:gd name="connsiteY29" fmla="*/ 256032 h 578637"/>
                <a:gd name="connsiteX30" fmla="*/ 338951 w 942455"/>
                <a:gd name="connsiteY30" fmla="*/ 301752 h 578637"/>
                <a:gd name="connsiteX31" fmla="*/ 238367 w 942455"/>
                <a:gd name="connsiteY31" fmla="*/ 347472 h 578637"/>
                <a:gd name="connsiteX32" fmla="*/ 201791 w 942455"/>
                <a:gd name="connsiteY32" fmla="*/ 374904 h 578637"/>
                <a:gd name="connsiteX33" fmla="*/ 156071 w 942455"/>
                <a:gd name="connsiteY33" fmla="*/ 402336 h 578637"/>
                <a:gd name="connsiteX34" fmla="*/ 137783 w 942455"/>
                <a:gd name="connsiteY34" fmla="*/ 402336 h 578637"/>
                <a:gd name="connsiteX35" fmla="*/ 156071 w 942455"/>
                <a:gd name="connsiteY35" fmla="*/ 365760 h 578637"/>
                <a:gd name="connsiteX36" fmla="*/ 210935 w 942455"/>
                <a:gd name="connsiteY36" fmla="*/ 301752 h 578637"/>
                <a:gd name="connsiteX37" fmla="*/ 302375 w 942455"/>
                <a:gd name="connsiteY37" fmla="*/ 219456 h 578637"/>
                <a:gd name="connsiteX38" fmla="*/ 348095 w 942455"/>
                <a:gd name="connsiteY38" fmla="*/ 146304 h 578637"/>
                <a:gd name="connsiteX39" fmla="*/ 348095 w 942455"/>
                <a:gd name="connsiteY39" fmla="*/ 64008 h 578637"/>
                <a:gd name="connsiteX40" fmla="*/ 338951 w 942455"/>
                <a:gd name="connsiteY40" fmla="*/ 54864 h 578637"/>
                <a:gd name="connsiteX41" fmla="*/ 329807 w 942455"/>
                <a:gd name="connsiteY41" fmla="*/ 128016 h 578637"/>
                <a:gd name="connsiteX42" fmla="*/ 302375 w 942455"/>
                <a:gd name="connsiteY42" fmla="*/ 173736 h 578637"/>
                <a:gd name="connsiteX43" fmla="*/ 229223 w 942455"/>
                <a:gd name="connsiteY43" fmla="*/ 237744 h 578637"/>
                <a:gd name="connsiteX44" fmla="*/ 201791 w 942455"/>
                <a:gd name="connsiteY44" fmla="*/ 256032 h 578637"/>
                <a:gd name="connsiteX45" fmla="*/ 128639 w 942455"/>
                <a:gd name="connsiteY45" fmla="*/ 347472 h 578637"/>
                <a:gd name="connsiteX46" fmla="*/ 119495 w 942455"/>
                <a:gd name="connsiteY46" fmla="*/ 374904 h 578637"/>
                <a:gd name="connsiteX47" fmla="*/ 110351 w 942455"/>
                <a:gd name="connsiteY47" fmla="*/ 411480 h 578637"/>
                <a:gd name="connsiteX48" fmla="*/ 128639 w 942455"/>
                <a:gd name="connsiteY48" fmla="*/ 429768 h 578637"/>
                <a:gd name="connsiteX49" fmla="*/ 82919 w 942455"/>
                <a:gd name="connsiteY49" fmla="*/ 457200 h 578637"/>
                <a:gd name="connsiteX50" fmla="*/ 118640 w 942455"/>
                <a:gd name="connsiteY50" fmla="*/ 430387 h 578637"/>
                <a:gd name="connsiteX51" fmla="*/ 118638 w 942455"/>
                <a:gd name="connsiteY51" fmla="*/ 430387 h 578637"/>
                <a:gd name="connsiteX52" fmla="*/ 118638 w 942455"/>
                <a:gd name="connsiteY52" fmla="*/ 430387 h 578637"/>
                <a:gd name="connsiteX53" fmla="*/ 118638 w 942455"/>
                <a:gd name="connsiteY53" fmla="*/ 430387 h 578637"/>
                <a:gd name="connsiteX54" fmla="*/ 83317 w 942455"/>
                <a:gd name="connsiteY54" fmla="*/ 578637 h 578637"/>
                <a:gd name="connsiteX55" fmla="*/ 83317 w 942455"/>
                <a:gd name="connsiteY55" fmla="*/ 578637 h 578637"/>
                <a:gd name="connsiteX0" fmla="*/ 118639 w 942455"/>
                <a:gd name="connsiteY0" fmla="*/ 430387 h 578637"/>
                <a:gd name="connsiteX1" fmla="*/ 0 w 942455"/>
                <a:gd name="connsiteY1" fmla="*/ 496784 h 578637"/>
                <a:gd name="connsiteX2" fmla="*/ 0 w 942455"/>
                <a:gd name="connsiteY2" fmla="*/ 496784 h 578637"/>
                <a:gd name="connsiteX3" fmla="*/ 37199 w 942455"/>
                <a:gd name="connsiteY3" fmla="*/ 493776 h 578637"/>
                <a:gd name="connsiteX4" fmla="*/ 137783 w 942455"/>
                <a:gd name="connsiteY4" fmla="*/ 466344 h 578637"/>
                <a:gd name="connsiteX5" fmla="*/ 238367 w 942455"/>
                <a:gd name="connsiteY5" fmla="*/ 384048 h 578637"/>
                <a:gd name="connsiteX6" fmla="*/ 430391 w 942455"/>
                <a:gd name="connsiteY6" fmla="*/ 301752 h 578637"/>
                <a:gd name="connsiteX7" fmla="*/ 512687 w 942455"/>
                <a:gd name="connsiteY7" fmla="*/ 192024 h 578637"/>
                <a:gd name="connsiteX8" fmla="*/ 658991 w 942455"/>
                <a:gd name="connsiteY8" fmla="*/ 155448 h 578637"/>
                <a:gd name="connsiteX9" fmla="*/ 704711 w 942455"/>
                <a:gd name="connsiteY9" fmla="*/ 155448 h 578637"/>
                <a:gd name="connsiteX10" fmla="*/ 741287 w 942455"/>
                <a:gd name="connsiteY10" fmla="*/ 137160 h 578637"/>
                <a:gd name="connsiteX11" fmla="*/ 695567 w 942455"/>
                <a:gd name="connsiteY11" fmla="*/ 137160 h 578637"/>
                <a:gd name="connsiteX12" fmla="*/ 604127 w 942455"/>
                <a:gd name="connsiteY12" fmla="*/ 137160 h 578637"/>
                <a:gd name="connsiteX13" fmla="*/ 549263 w 942455"/>
                <a:gd name="connsiteY13" fmla="*/ 146304 h 578637"/>
                <a:gd name="connsiteX14" fmla="*/ 540119 w 942455"/>
                <a:gd name="connsiteY14" fmla="*/ 155448 h 578637"/>
                <a:gd name="connsiteX15" fmla="*/ 521831 w 942455"/>
                <a:gd name="connsiteY15" fmla="*/ 146304 h 578637"/>
                <a:gd name="connsiteX16" fmla="*/ 649847 w 942455"/>
                <a:gd name="connsiteY16" fmla="*/ 91440 h 578637"/>
                <a:gd name="connsiteX17" fmla="*/ 704711 w 942455"/>
                <a:gd name="connsiteY17" fmla="*/ 91440 h 578637"/>
                <a:gd name="connsiteX18" fmla="*/ 796151 w 942455"/>
                <a:gd name="connsiteY18" fmla="*/ 82296 h 578637"/>
                <a:gd name="connsiteX19" fmla="*/ 924167 w 942455"/>
                <a:gd name="connsiteY19" fmla="*/ 27432 h 578637"/>
                <a:gd name="connsiteX20" fmla="*/ 905879 w 942455"/>
                <a:gd name="connsiteY20" fmla="*/ 0 h 578637"/>
                <a:gd name="connsiteX21" fmla="*/ 869303 w 942455"/>
                <a:gd name="connsiteY21" fmla="*/ 27432 h 578637"/>
                <a:gd name="connsiteX22" fmla="*/ 832727 w 942455"/>
                <a:gd name="connsiteY22" fmla="*/ 36576 h 578637"/>
                <a:gd name="connsiteX23" fmla="*/ 759575 w 942455"/>
                <a:gd name="connsiteY23" fmla="*/ 64008 h 578637"/>
                <a:gd name="connsiteX24" fmla="*/ 704711 w 942455"/>
                <a:gd name="connsiteY24" fmla="*/ 64008 h 578637"/>
                <a:gd name="connsiteX25" fmla="*/ 594983 w 942455"/>
                <a:gd name="connsiteY25" fmla="*/ 64008 h 578637"/>
                <a:gd name="connsiteX26" fmla="*/ 540119 w 942455"/>
                <a:gd name="connsiteY26" fmla="*/ 100584 h 578637"/>
                <a:gd name="connsiteX27" fmla="*/ 503543 w 942455"/>
                <a:gd name="connsiteY27" fmla="*/ 146304 h 578637"/>
                <a:gd name="connsiteX28" fmla="*/ 457823 w 942455"/>
                <a:gd name="connsiteY28" fmla="*/ 182880 h 578637"/>
                <a:gd name="connsiteX29" fmla="*/ 412103 w 942455"/>
                <a:gd name="connsiteY29" fmla="*/ 256032 h 578637"/>
                <a:gd name="connsiteX30" fmla="*/ 338951 w 942455"/>
                <a:gd name="connsiteY30" fmla="*/ 301752 h 578637"/>
                <a:gd name="connsiteX31" fmla="*/ 238367 w 942455"/>
                <a:gd name="connsiteY31" fmla="*/ 347472 h 578637"/>
                <a:gd name="connsiteX32" fmla="*/ 201791 w 942455"/>
                <a:gd name="connsiteY32" fmla="*/ 374904 h 578637"/>
                <a:gd name="connsiteX33" fmla="*/ 156071 w 942455"/>
                <a:gd name="connsiteY33" fmla="*/ 402336 h 578637"/>
                <a:gd name="connsiteX34" fmla="*/ 137783 w 942455"/>
                <a:gd name="connsiteY34" fmla="*/ 402336 h 578637"/>
                <a:gd name="connsiteX35" fmla="*/ 156071 w 942455"/>
                <a:gd name="connsiteY35" fmla="*/ 365760 h 578637"/>
                <a:gd name="connsiteX36" fmla="*/ 210935 w 942455"/>
                <a:gd name="connsiteY36" fmla="*/ 301752 h 578637"/>
                <a:gd name="connsiteX37" fmla="*/ 302375 w 942455"/>
                <a:gd name="connsiteY37" fmla="*/ 219456 h 578637"/>
                <a:gd name="connsiteX38" fmla="*/ 348095 w 942455"/>
                <a:gd name="connsiteY38" fmla="*/ 146304 h 578637"/>
                <a:gd name="connsiteX39" fmla="*/ 348095 w 942455"/>
                <a:gd name="connsiteY39" fmla="*/ 64008 h 578637"/>
                <a:gd name="connsiteX40" fmla="*/ 338951 w 942455"/>
                <a:gd name="connsiteY40" fmla="*/ 54864 h 578637"/>
                <a:gd name="connsiteX41" fmla="*/ 329807 w 942455"/>
                <a:gd name="connsiteY41" fmla="*/ 128016 h 578637"/>
                <a:gd name="connsiteX42" fmla="*/ 302375 w 942455"/>
                <a:gd name="connsiteY42" fmla="*/ 173736 h 578637"/>
                <a:gd name="connsiteX43" fmla="*/ 229223 w 942455"/>
                <a:gd name="connsiteY43" fmla="*/ 237744 h 578637"/>
                <a:gd name="connsiteX44" fmla="*/ 201791 w 942455"/>
                <a:gd name="connsiteY44" fmla="*/ 256032 h 578637"/>
                <a:gd name="connsiteX45" fmla="*/ 128639 w 942455"/>
                <a:gd name="connsiteY45" fmla="*/ 347472 h 578637"/>
                <a:gd name="connsiteX46" fmla="*/ 119495 w 942455"/>
                <a:gd name="connsiteY46" fmla="*/ 374904 h 578637"/>
                <a:gd name="connsiteX47" fmla="*/ 110351 w 942455"/>
                <a:gd name="connsiteY47" fmla="*/ 411480 h 578637"/>
                <a:gd name="connsiteX48" fmla="*/ 128639 w 942455"/>
                <a:gd name="connsiteY48" fmla="*/ 429768 h 578637"/>
                <a:gd name="connsiteX49" fmla="*/ 82919 w 942455"/>
                <a:gd name="connsiteY49" fmla="*/ 457200 h 578637"/>
                <a:gd name="connsiteX50" fmla="*/ 118640 w 942455"/>
                <a:gd name="connsiteY50" fmla="*/ 430387 h 578637"/>
                <a:gd name="connsiteX51" fmla="*/ 118638 w 942455"/>
                <a:gd name="connsiteY51" fmla="*/ 430387 h 578637"/>
                <a:gd name="connsiteX52" fmla="*/ 118638 w 942455"/>
                <a:gd name="connsiteY52" fmla="*/ 430387 h 578637"/>
                <a:gd name="connsiteX53" fmla="*/ 118638 w 942455"/>
                <a:gd name="connsiteY53" fmla="*/ 430387 h 578637"/>
                <a:gd name="connsiteX54" fmla="*/ 83317 w 942455"/>
                <a:gd name="connsiteY54" fmla="*/ 578637 h 578637"/>
                <a:gd name="connsiteX55" fmla="*/ 118639 w 942455"/>
                <a:gd name="connsiteY55" fmla="*/ 430387 h 578637"/>
                <a:gd name="connsiteX0" fmla="*/ 118639 w 942455"/>
                <a:gd name="connsiteY0" fmla="*/ 430387 h 578637"/>
                <a:gd name="connsiteX1" fmla="*/ 0 w 942455"/>
                <a:gd name="connsiteY1" fmla="*/ 496784 h 578637"/>
                <a:gd name="connsiteX2" fmla="*/ 0 w 942455"/>
                <a:gd name="connsiteY2" fmla="*/ 496784 h 578637"/>
                <a:gd name="connsiteX3" fmla="*/ 118639 w 942455"/>
                <a:gd name="connsiteY3" fmla="*/ 430387 h 578637"/>
                <a:gd name="connsiteX4" fmla="*/ 137783 w 942455"/>
                <a:gd name="connsiteY4" fmla="*/ 466344 h 578637"/>
                <a:gd name="connsiteX5" fmla="*/ 238367 w 942455"/>
                <a:gd name="connsiteY5" fmla="*/ 384048 h 578637"/>
                <a:gd name="connsiteX6" fmla="*/ 430391 w 942455"/>
                <a:gd name="connsiteY6" fmla="*/ 301752 h 578637"/>
                <a:gd name="connsiteX7" fmla="*/ 512687 w 942455"/>
                <a:gd name="connsiteY7" fmla="*/ 192024 h 578637"/>
                <a:gd name="connsiteX8" fmla="*/ 658991 w 942455"/>
                <a:gd name="connsiteY8" fmla="*/ 155448 h 578637"/>
                <a:gd name="connsiteX9" fmla="*/ 704711 w 942455"/>
                <a:gd name="connsiteY9" fmla="*/ 155448 h 578637"/>
                <a:gd name="connsiteX10" fmla="*/ 741287 w 942455"/>
                <a:gd name="connsiteY10" fmla="*/ 137160 h 578637"/>
                <a:gd name="connsiteX11" fmla="*/ 695567 w 942455"/>
                <a:gd name="connsiteY11" fmla="*/ 137160 h 578637"/>
                <a:gd name="connsiteX12" fmla="*/ 604127 w 942455"/>
                <a:gd name="connsiteY12" fmla="*/ 137160 h 578637"/>
                <a:gd name="connsiteX13" fmla="*/ 549263 w 942455"/>
                <a:gd name="connsiteY13" fmla="*/ 146304 h 578637"/>
                <a:gd name="connsiteX14" fmla="*/ 540119 w 942455"/>
                <a:gd name="connsiteY14" fmla="*/ 155448 h 578637"/>
                <a:gd name="connsiteX15" fmla="*/ 521831 w 942455"/>
                <a:gd name="connsiteY15" fmla="*/ 146304 h 578637"/>
                <a:gd name="connsiteX16" fmla="*/ 649847 w 942455"/>
                <a:gd name="connsiteY16" fmla="*/ 91440 h 578637"/>
                <a:gd name="connsiteX17" fmla="*/ 704711 w 942455"/>
                <a:gd name="connsiteY17" fmla="*/ 91440 h 578637"/>
                <a:gd name="connsiteX18" fmla="*/ 796151 w 942455"/>
                <a:gd name="connsiteY18" fmla="*/ 82296 h 578637"/>
                <a:gd name="connsiteX19" fmla="*/ 924167 w 942455"/>
                <a:gd name="connsiteY19" fmla="*/ 27432 h 578637"/>
                <a:gd name="connsiteX20" fmla="*/ 905879 w 942455"/>
                <a:gd name="connsiteY20" fmla="*/ 0 h 578637"/>
                <a:gd name="connsiteX21" fmla="*/ 869303 w 942455"/>
                <a:gd name="connsiteY21" fmla="*/ 27432 h 578637"/>
                <a:gd name="connsiteX22" fmla="*/ 832727 w 942455"/>
                <a:gd name="connsiteY22" fmla="*/ 36576 h 578637"/>
                <a:gd name="connsiteX23" fmla="*/ 759575 w 942455"/>
                <a:gd name="connsiteY23" fmla="*/ 64008 h 578637"/>
                <a:gd name="connsiteX24" fmla="*/ 704711 w 942455"/>
                <a:gd name="connsiteY24" fmla="*/ 64008 h 578637"/>
                <a:gd name="connsiteX25" fmla="*/ 594983 w 942455"/>
                <a:gd name="connsiteY25" fmla="*/ 64008 h 578637"/>
                <a:gd name="connsiteX26" fmla="*/ 540119 w 942455"/>
                <a:gd name="connsiteY26" fmla="*/ 100584 h 578637"/>
                <a:gd name="connsiteX27" fmla="*/ 503543 w 942455"/>
                <a:gd name="connsiteY27" fmla="*/ 146304 h 578637"/>
                <a:gd name="connsiteX28" fmla="*/ 457823 w 942455"/>
                <a:gd name="connsiteY28" fmla="*/ 182880 h 578637"/>
                <a:gd name="connsiteX29" fmla="*/ 412103 w 942455"/>
                <a:gd name="connsiteY29" fmla="*/ 256032 h 578637"/>
                <a:gd name="connsiteX30" fmla="*/ 338951 w 942455"/>
                <a:gd name="connsiteY30" fmla="*/ 301752 h 578637"/>
                <a:gd name="connsiteX31" fmla="*/ 238367 w 942455"/>
                <a:gd name="connsiteY31" fmla="*/ 347472 h 578637"/>
                <a:gd name="connsiteX32" fmla="*/ 201791 w 942455"/>
                <a:gd name="connsiteY32" fmla="*/ 374904 h 578637"/>
                <a:gd name="connsiteX33" fmla="*/ 156071 w 942455"/>
                <a:gd name="connsiteY33" fmla="*/ 402336 h 578637"/>
                <a:gd name="connsiteX34" fmla="*/ 137783 w 942455"/>
                <a:gd name="connsiteY34" fmla="*/ 402336 h 578637"/>
                <a:gd name="connsiteX35" fmla="*/ 156071 w 942455"/>
                <a:gd name="connsiteY35" fmla="*/ 365760 h 578637"/>
                <a:gd name="connsiteX36" fmla="*/ 210935 w 942455"/>
                <a:gd name="connsiteY36" fmla="*/ 301752 h 578637"/>
                <a:gd name="connsiteX37" fmla="*/ 302375 w 942455"/>
                <a:gd name="connsiteY37" fmla="*/ 219456 h 578637"/>
                <a:gd name="connsiteX38" fmla="*/ 348095 w 942455"/>
                <a:gd name="connsiteY38" fmla="*/ 146304 h 578637"/>
                <a:gd name="connsiteX39" fmla="*/ 348095 w 942455"/>
                <a:gd name="connsiteY39" fmla="*/ 64008 h 578637"/>
                <a:gd name="connsiteX40" fmla="*/ 338951 w 942455"/>
                <a:gd name="connsiteY40" fmla="*/ 54864 h 578637"/>
                <a:gd name="connsiteX41" fmla="*/ 329807 w 942455"/>
                <a:gd name="connsiteY41" fmla="*/ 128016 h 578637"/>
                <a:gd name="connsiteX42" fmla="*/ 302375 w 942455"/>
                <a:gd name="connsiteY42" fmla="*/ 173736 h 578637"/>
                <a:gd name="connsiteX43" fmla="*/ 229223 w 942455"/>
                <a:gd name="connsiteY43" fmla="*/ 237744 h 578637"/>
                <a:gd name="connsiteX44" fmla="*/ 201791 w 942455"/>
                <a:gd name="connsiteY44" fmla="*/ 256032 h 578637"/>
                <a:gd name="connsiteX45" fmla="*/ 128639 w 942455"/>
                <a:gd name="connsiteY45" fmla="*/ 347472 h 578637"/>
                <a:gd name="connsiteX46" fmla="*/ 119495 w 942455"/>
                <a:gd name="connsiteY46" fmla="*/ 374904 h 578637"/>
                <a:gd name="connsiteX47" fmla="*/ 110351 w 942455"/>
                <a:gd name="connsiteY47" fmla="*/ 411480 h 578637"/>
                <a:gd name="connsiteX48" fmla="*/ 128639 w 942455"/>
                <a:gd name="connsiteY48" fmla="*/ 429768 h 578637"/>
                <a:gd name="connsiteX49" fmla="*/ 82919 w 942455"/>
                <a:gd name="connsiteY49" fmla="*/ 457200 h 578637"/>
                <a:gd name="connsiteX50" fmla="*/ 118640 w 942455"/>
                <a:gd name="connsiteY50" fmla="*/ 430387 h 578637"/>
                <a:gd name="connsiteX51" fmla="*/ 118638 w 942455"/>
                <a:gd name="connsiteY51" fmla="*/ 430387 h 578637"/>
                <a:gd name="connsiteX52" fmla="*/ 118638 w 942455"/>
                <a:gd name="connsiteY52" fmla="*/ 430387 h 578637"/>
                <a:gd name="connsiteX53" fmla="*/ 118638 w 942455"/>
                <a:gd name="connsiteY53" fmla="*/ 430387 h 578637"/>
                <a:gd name="connsiteX54" fmla="*/ 83317 w 942455"/>
                <a:gd name="connsiteY54" fmla="*/ 578637 h 578637"/>
                <a:gd name="connsiteX55" fmla="*/ 118639 w 942455"/>
                <a:gd name="connsiteY55" fmla="*/ 430387 h 578637"/>
                <a:gd name="connsiteX0" fmla="*/ 118639 w 942455"/>
                <a:gd name="connsiteY0" fmla="*/ 430387 h 578637"/>
                <a:gd name="connsiteX1" fmla="*/ 0 w 942455"/>
                <a:gd name="connsiteY1" fmla="*/ 496784 h 578637"/>
                <a:gd name="connsiteX2" fmla="*/ 118639 w 942455"/>
                <a:gd name="connsiteY2" fmla="*/ 430387 h 578637"/>
                <a:gd name="connsiteX3" fmla="*/ 118639 w 942455"/>
                <a:gd name="connsiteY3" fmla="*/ 430387 h 578637"/>
                <a:gd name="connsiteX4" fmla="*/ 137783 w 942455"/>
                <a:gd name="connsiteY4" fmla="*/ 466344 h 578637"/>
                <a:gd name="connsiteX5" fmla="*/ 238367 w 942455"/>
                <a:gd name="connsiteY5" fmla="*/ 384048 h 578637"/>
                <a:gd name="connsiteX6" fmla="*/ 430391 w 942455"/>
                <a:gd name="connsiteY6" fmla="*/ 301752 h 578637"/>
                <a:gd name="connsiteX7" fmla="*/ 512687 w 942455"/>
                <a:gd name="connsiteY7" fmla="*/ 192024 h 578637"/>
                <a:gd name="connsiteX8" fmla="*/ 658991 w 942455"/>
                <a:gd name="connsiteY8" fmla="*/ 155448 h 578637"/>
                <a:gd name="connsiteX9" fmla="*/ 704711 w 942455"/>
                <a:gd name="connsiteY9" fmla="*/ 155448 h 578637"/>
                <a:gd name="connsiteX10" fmla="*/ 741287 w 942455"/>
                <a:gd name="connsiteY10" fmla="*/ 137160 h 578637"/>
                <a:gd name="connsiteX11" fmla="*/ 695567 w 942455"/>
                <a:gd name="connsiteY11" fmla="*/ 137160 h 578637"/>
                <a:gd name="connsiteX12" fmla="*/ 604127 w 942455"/>
                <a:gd name="connsiteY12" fmla="*/ 137160 h 578637"/>
                <a:gd name="connsiteX13" fmla="*/ 549263 w 942455"/>
                <a:gd name="connsiteY13" fmla="*/ 146304 h 578637"/>
                <a:gd name="connsiteX14" fmla="*/ 540119 w 942455"/>
                <a:gd name="connsiteY14" fmla="*/ 155448 h 578637"/>
                <a:gd name="connsiteX15" fmla="*/ 521831 w 942455"/>
                <a:gd name="connsiteY15" fmla="*/ 146304 h 578637"/>
                <a:gd name="connsiteX16" fmla="*/ 649847 w 942455"/>
                <a:gd name="connsiteY16" fmla="*/ 91440 h 578637"/>
                <a:gd name="connsiteX17" fmla="*/ 704711 w 942455"/>
                <a:gd name="connsiteY17" fmla="*/ 91440 h 578637"/>
                <a:gd name="connsiteX18" fmla="*/ 796151 w 942455"/>
                <a:gd name="connsiteY18" fmla="*/ 82296 h 578637"/>
                <a:gd name="connsiteX19" fmla="*/ 924167 w 942455"/>
                <a:gd name="connsiteY19" fmla="*/ 27432 h 578637"/>
                <a:gd name="connsiteX20" fmla="*/ 905879 w 942455"/>
                <a:gd name="connsiteY20" fmla="*/ 0 h 578637"/>
                <a:gd name="connsiteX21" fmla="*/ 869303 w 942455"/>
                <a:gd name="connsiteY21" fmla="*/ 27432 h 578637"/>
                <a:gd name="connsiteX22" fmla="*/ 832727 w 942455"/>
                <a:gd name="connsiteY22" fmla="*/ 36576 h 578637"/>
                <a:gd name="connsiteX23" fmla="*/ 759575 w 942455"/>
                <a:gd name="connsiteY23" fmla="*/ 64008 h 578637"/>
                <a:gd name="connsiteX24" fmla="*/ 704711 w 942455"/>
                <a:gd name="connsiteY24" fmla="*/ 64008 h 578637"/>
                <a:gd name="connsiteX25" fmla="*/ 594983 w 942455"/>
                <a:gd name="connsiteY25" fmla="*/ 64008 h 578637"/>
                <a:gd name="connsiteX26" fmla="*/ 540119 w 942455"/>
                <a:gd name="connsiteY26" fmla="*/ 100584 h 578637"/>
                <a:gd name="connsiteX27" fmla="*/ 503543 w 942455"/>
                <a:gd name="connsiteY27" fmla="*/ 146304 h 578637"/>
                <a:gd name="connsiteX28" fmla="*/ 457823 w 942455"/>
                <a:gd name="connsiteY28" fmla="*/ 182880 h 578637"/>
                <a:gd name="connsiteX29" fmla="*/ 412103 w 942455"/>
                <a:gd name="connsiteY29" fmla="*/ 256032 h 578637"/>
                <a:gd name="connsiteX30" fmla="*/ 338951 w 942455"/>
                <a:gd name="connsiteY30" fmla="*/ 301752 h 578637"/>
                <a:gd name="connsiteX31" fmla="*/ 238367 w 942455"/>
                <a:gd name="connsiteY31" fmla="*/ 347472 h 578637"/>
                <a:gd name="connsiteX32" fmla="*/ 201791 w 942455"/>
                <a:gd name="connsiteY32" fmla="*/ 374904 h 578637"/>
                <a:gd name="connsiteX33" fmla="*/ 156071 w 942455"/>
                <a:gd name="connsiteY33" fmla="*/ 402336 h 578637"/>
                <a:gd name="connsiteX34" fmla="*/ 137783 w 942455"/>
                <a:gd name="connsiteY34" fmla="*/ 402336 h 578637"/>
                <a:gd name="connsiteX35" fmla="*/ 156071 w 942455"/>
                <a:gd name="connsiteY35" fmla="*/ 365760 h 578637"/>
                <a:gd name="connsiteX36" fmla="*/ 210935 w 942455"/>
                <a:gd name="connsiteY36" fmla="*/ 301752 h 578637"/>
                <a:gd name="connsiteX37" fmla="*/ 302375 w 942455"/>
                <a:gd name="connsiteY37" fmla="*/ 219456 h 578637"/>
                <a:gd name="connsiteX38" fmla="*/ 348095 w 942455"/>
                <a:gd name="connsiteY38" fmla="*/ 146304 h 578637"/>
                <a:gd name="connsiteX39" fmla="*/ 348095 w 942455"/>
                <a:gd name="connsiteY39" fmla="*/ 64008 h 578637"/>
                <a:gd name="connsiteX40" fmla="*/ 338951 w 942455"/>
                <a:gd name="connsiteY40" fmla="*/ 54864 h 578637"/>
                <a:gd name="connsiteX41" fmla="*/ 329807 w 942455"/>
                <a:gd name="connsiteY41" fmla="*/ 128016 h 578637"/>
                <a:gd name="connsiteX42" fmla="*/ 302375 w 942455"/>
                <a:gd name="connsiteY42" fmla="*/ 173736 h 578637"/>
                <a:gd name="connsiteX43" fmla="*/ 229223 w 942455"/>
                <a:gd name="connsiteY43" fmla="*/ 237744 h 578637"/>
                <a:gd name="connsiteX44" fmla="*/ 201791 w 942455"/>
                <a:gd name="connsiteY44" fmla="*/ 256032 h 578637"/>
                <a:gd name="connsiteX45" fmla="*/ 128639 w 942455"/>
                <a:gd name="connsiteY45" fmla="*/ 347472 h 578637"/>
                <a:gd name="connsiteX46" fmla="*/ 119495 w 942455"/>
                <a:gd name="connsiteY46" fmla="*/ 374904 h 578637"/>
                <a:gd name="connsiteX47" fmla="*/ 110351 w 942455"/>
                <a:gd name="connsiteY47" fmla="*/ 411480 h 578637"/>
                <a:gd name="connsiteX48" fmla="*/ 128639 w 942455"/>
                <a:gd name="connsiteY48" fmla="*/ 429768 h 578637"/>
                <a:gd name="connsiteX49" fmla="*/ 82919 w 942455"/>
                <a:gd name="connsiteY49" fmla="*/ 457200 h 578637"/>
                <a:gd name="connsiteX50" fmla="*/ 118640 w 942455"/>
                <a:gd name="connsiteY50" fmla="*/ 430387 h 578637"/>
                <a:gd name="connsiteX51" fmla="*/ 118638 w 942455"/>
                <a:gd name="connsiteY51" fmla="*/ 430387 h 578637"/>
                <a:gd name="connsiteX52" fmla="*/ 118638 w 942455"/>
                <a:gd name="connsiteY52" fmla="*/ 430387 h 578637"/>
                <a:gd name="connsiteX53" fmla="*/ 118638 w 942455"/>
                <a:gd name="connsiteY53" fmla="*/ 430387 h 578637"/>
                <a:gd name="connsiteX54" fmla="*/ 83317 w 942455"/>
                <a:gd name="connsiteY54" fmla="*/ 578637 h 578637"/>
                <a:gd name="connsiteX55" fmla="*/ 118639 w 942455"/>
                <a:gd name="connsiteY55" fmla="*/ 430387 h 578637"/>
                <a:gd name="connsiteX0" fmla="*/ 118639 w 942455"/>
                <a:gd name="connsiteY0" fmla="*/ 430387 h 496784"/>
                <a:gd name="connsiteX1" fmla="*/ 0 w 942455"/>
                <a:gd name="connsiteY1" fmla="*/ 496784 h 496784"/>
                <a:gd name="connsiteX2" fmla="*/ 118639 w 942455"/>
                <a:gd name="connsiteY2" fmla="*/ 430387 h 496784"/>
                <a:gd name="connsiteX3" fmla="*/ 118639 w 942455"/>
                <a:gd name="connsiteY3" fmla="*/ 430387 h 496784"/>
                <a:gd name="connsiteX4" fmla="*/ 137783 w 942455"/>
                <a:gd name="connsiteY4" fmla="*/ 466344 h 496784"/>
                <a:gd name="connsiteX5" fmla="*/ 238367 w 942455"/>
                <a:gd name="connsiteY5" fmla="*/ 384048 h 496784"/>
                <a:gd name="connsiteX6" fmla="*/ 430391 w 942455"/>
                <a:gd name="connsiteY6" fmla="*/ 301752 h 496784"/>
                <a:gd name="connsiteX7" fmla="*/ 512687 w 942455"/>
                <a:gd name="connsiteY7" fmla="*/ 192024 h 496784"/>
                <a:gd name="connsiteX8" fmla="*/ 658991 w 942455"/>
                <a:gd name="connsiteY8" fmla="*/ 155448 h 496784"/>
                <a:gd name="connsiteX9" fmla="*/ 704711 w 942455"/>
                <a:gd name="connsiteY9" fmla="*/ 155448 h 496784"/>
                <a:gd name="connsiteX10" fmla="*/ 741287 w 942455"/>
                <a:gd name="connsiteY10" fmla="*/ 137160 h 496784"/>
                <a:gd name="connsiteX11" fmla="*/ 695567 w 942455"/>
                <a:gd name="connsiteY11" fmla="*/ 137160 h 496784"/>
                <a:gd name="connsiteX12" fmla="*/ 604127 w 942455"/>
                <a:gd name="connsiteY12" fmla="*/ 137160 h 496784"/>
                <a:gd name="connsiteX13" fmla="*/ 549263 w 942455"/>
                <a:gd name="connsiteY13" fmla="*/ 146304 h 496784"/>
                <a:gd name="connsiteX14" fmla="*/ 540119 w 942455"/>
                <a:gd name="connsiteY14" fmla="*/ 155448 h 496784"/>
                <a:gd name="connsiteX15" fmla="*/ 521831 w 942455"/>
                <a:gd name="connsiteY15" fmla="*/ 146304 h 496784"/>
                <a:gd name="connsiteX16" fmla="*/ 649847 w 942455"/>
                <a:gd name="connsiteY16" fmla="*/ 91440 h 496784"/>
                <a:gd name="connsiteX17" fmla="*/ 704711 w 942455"/>
                <a:gd name="connsiteY17" fmla="*/ 91440 h 496784"/>
                <a:gd name="connsiteX18" fmla="*/ 796151 w 942455"/>
                <a:gd name="connsiteY18" fmla="*/ 82296 h 496784"/>
                <a:gd name="connsiteX19" fmla="*/ 924167 w 942455"/>
                <a:gd name="connsiteY19" fmla="*/ 27432 h 496784"/>
                <a:gd name="connsiteX20" fmla="*/ 905879 w 942455"/>
                <a:gd name="connsiteY20" fmla="*/ 0 h 496784"/>
                <a:gd name="connsiteX21" fmla="*/ 869303 w 942455"/>
                <a:gd name="connsiteY21" fmla="*/ 27432 h 496784"/>
                <a:gd name="connsiteX22" fmla="*/ 832727 w 942455"/>
                <a:gd name="connsiteY22" fmla="*/ 36576 h 496784"/>
                <a:gd name="connsiteX23" fmla="*/ 759575 w 942455"/>
                <a:gd name="connsiteY23" fmla="*/ 64008 h 496784"/>
                <a:gd name="connsiteX24" fmla="*/ 704711 w 942455"/>
                <a:gd name="connsiteY24" fmla="*/ 64008 h 496784"/>
                <a:gd name="connsiteX25" fmla="*/ 594983 w 942455"/>
                <a:gd name="connsiteY25" fmla="*/ 64008 h 496784"/>
                <a:gd name="connsiteX26" fmla="*/ 540119 w 942455"/>
                <a:gd name="connsiteY26" fmla="*/ 100584 h 496784"/>
                <a:gd name="connsiteX27" fmla="*/ 503543 w 942455"/>
                <a:gd name="connsiteY27" fmla="*/ 146304 h 496784"/>
                <a:gd name="connsiteX28" fmla="*/ 457823 w 942455"/>
                <a:gd name="connsiteY28" fmla="*/ 182880 h 496784"/>
                <a:gd name="connsiteX29" fmla="*/ 412103 w 942455"/>
                <a:gd name="connsiteY29" fmla="*/ 256032 h 496784"/>
                <a:gd name="connsiteX30" fmla="*/ 338951 w 942455"/>
                <a:gd name="connsiteY30" fmla="*/ 301752 h 496784"/>
                <a:gd name="connsiteX31" fmla="*/ 238367 w 942455"/>
                <a:gd name="connsiteY31" fmla="*/ 347472 h 496784"/>
                <a:gd name="connsiteX32" fmla="*/ 201791 w 942455"/>
                <a:gd name="connsiteY32" fmla="*/ 374904 h 496784"/>
                <a:gd name="connsiteX33" fmla="*/ 156071 w 942455"/>
                <a:gd name="connsiteY33" fmla="*/ 402336 h 496784"/>
                <a:gd name="connsiteX34" fmla="*/ 137783 w 942455"/>
                <a:gd name="connsiteY34" fmla="*/ 402336 h 496784"/>
                <a:gd name="connsiteX35" fmla="*/ 156071 w 942455"/>
                <a:gd name="connsiteY35" fmla="*/ 365760 h 496784"/>
                <a:gd name="connsiteX36" fmla="*/ 210935 w 942455"/>
                <a:gd name="connsiteY36" fmla="*/ 301752 h 496784"/>
                <a:gd name="connsiteX37" fmla="*/ 302375 w 942455"/>
                <a:gd name="connsiteY37" fmla="*/ 219456 h 496784"/>
                <a:gd name="connsiteX38" fmla="*/ 348095 w 942455"/>
                <a:gd name="connsiteY38" fmla="*/ 146304 h 496784"/>
                <a:gd name="connsiteX39" fmla="*/ 348095 w 942455"/>
                <a:gd name="connsiteY39" fmla="*/ 64008 h 496784"/>
                <a:gd name="connsiteX40" fmla="*/ 338951 w 942455"/>
                <a:gd name="connsiteY40" fmla="*/ 54864 h 496784"/>
                <a:gd name="connsiteX41" fmla="*/ 329807 w 942455"/>
                <a:gd name="connsiteY41" fmla="*/ 128016 h 496784"/>
                <a:gd name="connsiteX42" fmla="*/ 302375 w 942455"/>
                <a:gd name="connsiteY42" fmla="*/ 173736 h 496784"/>
                <a:gd name="connsiteX43" fmla="*/ 229223 w 942455"/>
                <a:gd name="connsiteY43" fmla="*/ 237744 h 496784"/>
                <a:gd name="connsiteX44" fmla="*/ 201791 w 942455"/>
                <a:gd name="connsiteY44" fmla="*/ 256032 h 496784"/>
                <a:gd name="connsiteX45" fmla="*/ 128639 w 942455"/>
                <a:gd name="connsiteY45" fmla="*/ 347472 h 496784"/>
                <a:gd name="connsiteX46" fmla="*/ 119495 w 942455"/>
                <a:gd name="connsiteY46" fmla="*/ 374904 h 496784"/>
                <a:gd name="connsiteX47" fmla="*/ 110351 w 942455"/>
                <a:gd name="connsiteY47" fmla="*/ 411480 h 496784"/>
                <a:gd name="connsiteX48" fmla="*/ 128639 w 942455"/>
                <a:gd name="connsiteY48" fmla="*/ 429768 h 496784"/>
                <a:gd name="connsiteX49" fmla="*/ 82919 w 942455"/>
                <a:gd name="connsiteY49" fmla="*/ 457200 h 496784"/>
                <a:gd name="connsiteX50" fmla="*/ 118640 w 942455"/>
                <a:gd name="connsiteY50" fmla="*/ 430387 h 496784"/>
                <a:gd name="connsiteX51" fmla="*/ 118638 w 942455"/>
                <a:gd name="connsiteY51" fmla="*/ 430387 h 496784"/>
                <a:gd name="connsiteX52" fmla="*/ 118638 w 942455"/>
                <a:gd name="connsiteY52" fmla="*/ 430387 h 496784"/>
                <a:gd name="connsiteX53" fmla="*/ 118638 w 942455"/>
                <a:gd name="connsiteY53" fmla="*/ 430387 h 496784"/>
                <a:gd name="connsiteX54" fmla="*/ 118639 w 942455"/>
                <a:gd name="connsiteY54" fmla="*/ 430387 h 496784"/>
                <a:gd name="connsiteX55" fmla="*/ 118639 w 942455"/>
                <a:gd name="connsiteY55" fmla="*/ 430387 h 496784"/>
                <a:gd name="connsiteX0" fmla="*/ 37386 w 861202"/>
                <a:gd name="connsiteY0" fmla="*/ 430387 h 474067"/>
                <a:gd name="connsiteX1" fmla="*/ 37385 w 861202"/>
                <a:gd name="connsiteY1" fmla="*/ 430387 h 474067"/>
                <a:gd name="connsiteX2" fmla="*/ 37386 w 861202"/>
                <a:gd name="connsiteY2" fmla="*/ 430387 h 474067"/>
                <a:gd name="connsiteX3" fmla="*/ 37386 w 861202"/>
                <a:gd name="connsiteY3" fmla="*/ 430387 h 474067"/>
                <a:gd name="connsiteX4" fmla="*/ 56530 w 861202"/>
                <a:gd name="connsiteY4" fmla="*/ 466344 h 474067"/>
                <a:gd name="connsiteX5" fmla="*/ 157114 w 861202"/>
                <a:gd name="connsiteY5" fmla="*/ 384048 h 474067"/>
                <a:gd name="connsiteX6" fmla="*/ 349138 w 861202"/>
                <a:gd name="connsiteY6" fmla="*/ 301752 h 474067"/>
                <a:gd name="connsiteX7" fmla="*/ 431434 w 861202"/>
                <a:gd name="connsiteY7" fmla="*/ 192024 h 474067"/>
                <a:gd name="connsiteX8" fmla="*/ 577738 w 861202"/>
                <a:gd name="connsiteY8" fmla="*/ 155448 h 474067"/>
                <a:gd name="connsiteX9" fmla="*/ 623458 w 861202"/>
                <a:gd name="connsiteY9" fmla="*/ 155448 h 474067"/>
                <a:gd name="connsiteX10" fmla="*/ 660034 w 861202"/>
                <a:gd name="connsiteY10" fmla="*/ 137160 h 474067"/>
                <a:gd name="connsiteX11" fmla="*/ 614314 w 861202"/>
                <a:gd name="connsiteY11" fmla="*/ 137160 h 474067"/>
                <a:gd name="connsiteX12" fmla="*/ 522874 w 861202"/>
                <a:gd name="connsiteY12" fmla="*/ 137160 h 474067"/>
                <a:gd name="connsiteX13" fmla="*/ 468010 w 861202"/>
                <a:gd name="connsiteY13" fmla="*/ 146304 h 474067"/>
                <a:gd name="connsiteX14" fmla="*/ 458866 w 861202"/>
                <a:gd name="connsiteY14" fmla="*/ 155448 h 474067"/>
                <a:gd name="connsiteX15" fmla="*/ 440578 w 861202"/>
                <a:gd name="connsiteY15" fmla="*/ 146304 h 474067"/>
                <a:gd name="connsiteX16" fmla="*/ 568594 w 861202"/>
                <a:gd name="connsiteY16" fmla="*/ 91440 h 474067"/>
                <a:gd name="connsiteX17" fmla="*/ 623458 w 861202"/>
                <a:gd name="connsiteY17" fmla="*/ 91440 h 474067"/>
                <a:gd name="connsiteX18" fmla="*/ 714898 w 861202"/>
                <a:gd name="connsiteY18" fmla="*/ 82296 h 474067"/>
                <a:gd name="connsiteX19" fmla="*/ 842914 w 861202"/>
                <a:gd name="connsiteY19" fmla="*/ 27432 h 474067"/>
                <a:gd name="connsiteX20" fmla="*/ 824626 w 861202"/>
                <a:gd name="connsiteY20" fmla="*/ 0 h 474067"/>
                <a:gd name="connsiteX21" fmla="*/ 788050 w 861202"/>
                <a:gd name="connsiteY21" fmla="*/ 27432 h 474067"/>
                <a:gd name="connsiteX22" fmla="*/ 751474 w 861202"/>
                <a:gd name="connsiteY22" fmla="*/ 36576 h 474067"/>
                <a:gd name="connsiteX23" fmla="*/ 678322 w 861202"/>
                <a:gd name="connsiteY23" fmla="*/ 64008 h 474067"/>
                <a:gd name="connsiteX24" fmla="*/ 623458 w 861202"/>
                <a:gd name="connsiteY24" fmla="*/ 64008 h 474067"/>
                <a:gd name="connsiteX25" fmla="*/ 513730 w 861202"/>
                <a:gd name="connsiteY25" fmla="*/ 64008 h 474067"/>
                <a:gd name="connsiteX26" fmla="*/ 458866 w 861202"/>
                <a:gd name="connsiteY26" fmla="*/ 100584 h 474067"/>
                <a:gd name="connsiteX27" fmla="*/ 422290 w 861202"/>
                <a:gd name="connsiteY27" fmla="*/ 146304 h 474067"/>
                <a:gd name="connsiteX28" fmla="*/ 376570 w 861202"/>
                <a:gd name="connsiteY28" fmla="*/ 182880 h 474067"/>
                <a:gd name="connsiteX29" fmla="*/ 330850 w 861202"/>
                <a:gd name="connsiteY29" fmla="*/ 256032 h 474067"/>
                <a:gd name="connsiteX30" fmla="*/ 257698 w 861202"/>
                <a:gd name="connsiteY30" fmla="*/ 301752 h 474067"/>
                <a:gd name="connsiteX31" fmla="*/ 157114 w 861202"/>
                <a:gd name="connsiteY31" fmla="*/ 347472 h 474067"/>
                <a:gd name="connsiteX32" fmla="*/ 120538 w 861202"/>
                <a:gd name="connsiteY32" fmla="*/ 374904 h 474067"/>
                <a:gd name="connsiteX33" fmla="*/ 74818 w 861202"/>
                <a:gd name="connsiteY33" fmla="*/ 402336 h 474067"/>
                <a:gd name="connsiteX34" fmla="*/ 56530 w 861202"/>
                <a:gd name="connsiteY34" fmla="*/ 402336 h 474067"/>
                <a:gd name="connsiteX35" fmla="*/ 74818 w 861202"/>
                <a:gd name="connsiteY35" fmla="*/ 365760 h 474067"/>
                <a:gd name="connsiteX36" fmla="*/ 129682 w 861202"/>
                <a:gd name="connsiteY36" fmla="*/ 301752 h 474067"/>
                <a:gd name="connsiteX37" fmla="*/ 221122 w 861202"/>
                <a:gd name="connsiteY37" fmla="*/ 219456 h 474067"/>
                <a:gd name="connsiteX38" fmla="*/ 266842 w 861202"/>
                <a:gd name="connsiteY38" fmla="*/ 146304 h 474067"/>
                <a:gd name="connsiteX39" fmla="*/ 266842 w 861202"/>
                <a:gd name="connsiteY39" fmla="*/ 64008 h 474067"/>
                <a:gd name="connsiteX40" fmla="*/ 257698 w 861202"/>
                <a:gd name="connsiteY40" fmla="*/ 54864 h 474067"/>
                <a:gd name="connsiteX41" fmla="*/ 248554 w 861202"/>
                <a:gd name="connsiteY41" fmla="*/ 128016 h 474067"/>
                <a:gd name="connsiteX42" fmla="*/ 221122 w 861202"/>
                <a:gd name="connsiteY42" fmla="*/ 173736 h 474067"/>
                <a:gd name="connsiteX43" fmla="*/ 147970 w 861202"/>
                <a:gd name="connsiteY43" fmla="*/ 237744 h 474067"/>
                <a:gd name="connsiteX44" fmla="*/ 120538 w 861202"/>
                <a:gd name="connsiteY44" fmla="*/ 256032 h 474067"/>
                <a:gd name="connsiteX45" fmla="*/ 47386 w 861202"/>
                <a:gd name="connsiteY45" fmla="*/ 347472 h 474067"/>
                <a:gd name="connsiteX46" fmla="*/ 38242 w 861202"/>
                <a:gd name="connsiteY46" fmla="*/ 374904 h 474067"/>
                <a:gd name="connsiteX47" fmla="*/ 29098 w 861202"/>
                <a:gd name="connsiteY47" fmla="*/ 411480 h 474067"/>
                <a:gd name="connsiteX48" fmla="*/ 47386 w 861202"/>
                <a:gd name="connsiteY48" fmla="*/ 429768 h 474067"/>
                <a:gd name="connsiteX49" fmla="*/ 1666 w 861202"/>
                <a:gd name="connsiteY49" fmla="*/ 457200 h 474067"/>
                <a:gd name="connsiteX50" fmla="*/ 37387 w 861202"/>
                <a:gd name="connsiteY50" fmla="*/ 430387 h 474067"/>
                <a:gd name="connsiteX51" fmla="*/ 37385 w 861202"/>
                <a:gd name="connsiteY51" fmla="*/ 430387 h 474067"/>
                <a:gd name="connsiteX52" fmla="*/ 37385 w 861202"/>
                <a:gd name="connsiteY52" fmla="*/ 430387 h 474067"/>
                <a:gd name="connsiteX53" fmla="*/ 37385 w 861202"/>
                <a:gd name="connsiteY53" fmla="*/ 430387 h 474067"/>
                <a:gd name="connsiteX54" fmla="*/ 37386 w 861202"/>
                <a:gd name="connsiteY54" fmla="*/ 430387 h 474067"/>
                <a:gd name="connsiteX55" fmla="*/ 37386 w 861202"/>
                <a:gd name="connsiteY55" fmla="*/ 430387 h 474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861202" h="474067">
                  <a:moveTo>
                    <a:pt x="37386" y="430387"/>
                  </a:moveTo>
                  <a:lnTo>
                    <a:pt x="37385" y="430387"/>
                  </a:lnTo>
                  <a:lnTo>
                    <a:pt x="37386" y="430387"/>
                  </a:lnTo>
                  <a:lnTo>
                    <a:pt x="37386" y="430387"/>
                  </a:lnTo>
                  <a:cubicBezTo>
                    <a:pt x="40577" y="436380"/>
                    <a:pt x="36575" y="474067"/>
                    <a:pt x="56530" y="466344"/>
                  </a:cubicBezTo>
                  <a:cubicBezTo>
                    <a:pt x="76485" y="458621"/>
                    <a:pt x="108346" y="411480"/>
                    <a:pt x="157114" y="384048"/>
                  </a:cubicBezTo>
                  <a:cubicBezTo>
                    <a:pt x="205882" y="356616"/>
                    <a:pt x="303418" y="333756"/>
                    <a:pt x="349138" y="301752"/>
                  </a:cubicBezTo>
                  <a:cubicBezTo>
                    <a:pt x="394858" y="269748"/>
                    <a:pt x="393334" y="216408"/>
                    <a:pt x="431434" y="192024"/>
                  </a:cubicBezTo>
                  <a:cubicBezTo>
                    <a:pt x="469534" y="167640"/>
                    <a:pt x="545734" y="161544"/>
                    <a:pt x="577738" y="155448"/>
                  </a:cubicBezTo>
                  <a:cubicBezTo>
                    <a:pt x="609742" y="149352"/>
                    <a:pt x="609742" y="158496"/>
                    <a:pt x="623458" y="155448"/>
                  </a:cubicBezTo>
                  <a:cubicBezTo>
                    <a:pt x="637174" y="152400"/>
                    <a:pt x="661558" y="140208"/>
                    <a:pt x="660034" y="137160"/>
                  </a:cubicBezTo>
                  <a:cubicBezTo>
                    <a:pt x="658510" y="134112"/>
                    <a:pt x="614314" y="137160"/>
                    <a:pt x="614314" y="137160"/>
                  </a:cubicBezTo>
                  <a:cubicBezTo>
                    <a:pt x="591454" y="137160"/>
                    <a:pt x="547258" y="135636"/>
                    <a:pt x="522874" y="137160"/>
                  </a:cubicBezTo>
                  <a:cubicBezTo>
                    <a:pt x="498490" y="138684"/>
                    <a:pt x="478678" y="143256"/>
                    <a:pt x="468010" y="146304"/>
                  </a:cubicBezTo>
                  <a:cubicBezTo>
                    <a:pt x="457342" y="149352"/>
                    <a:pt x="463438" y="155448"/>
                    <a:pt x="458866" y="155448"/>
                  </a:cubicBezTo>
                  <a:cubicBezTo>
                    <a:pt x="454294" y="155448"/>
                    <a:pt x="422290" y="156972"/>
                    <a:pt x="440578" y="146304"/>
                  </a:cubicBezTo>
                  <a:cubicBezTo>
                    <a:pt x="458866" y="135636"/>
                    <a:pt x="538114" y="100584"/>
                    <a:pt x="568594" y="91440"/>
                  </a:cubicBezTo>
                  <a:cubicBezTo>
                    <a:pt x="599074" y="82296"/>
                    <a:pt x="599074" y="92964"/>
                    <a:pt x="623458" y="91440"/>
                  </a:cubicBezTo>
                  <a:cubicBezTo>
                    <a:pt x="647842" y="89916"/>
                    <a:pt x="678322" y="92964"/>
                    <a:pt x="714898" y="82296"/>
                  </a:cubicBezTo>
                  <a:cubicBezTo>
                    <a:pt x="751474" y="71628"/>
                    <a:pt x="824626" y="41148"/>
                    <a:pt x="842914" y="27432"/>
                  </a:cubicBezTo>
                  <a:cubicBezTo>
                    <a:pt x="861202" y="13716"/>
                    <a:pt x="833770" y="0"/>
                    <a:pt x="824626" y="0"/>
                  </a:cubicBezTo>
                  <a:cubicBezTo>
                    <a:pt x="815482" y="0"/>
                    <a:pt x="800242" y="21336"/>
                    <a:pt x="788050" y="27432"/>
                  </a:cubicBezTo>
                  <a:cubicBezTo>
                    <a:pt x="775858" y="33528"/>
                    <a:pt x="769762" y="30480"/>
                    <a:pt x="751474" y="36576"/>
                  </a:cubicBezTo>
                  <a:cubicBezTo>
                    <a:pt x="733186" y="42672"/>
                    <a:pt x="699658" y="59436"/>
                    <a:pt x="678322" y="64008"/>
                  </a:cubicBezTo>
                  <a:cubicBezTo>
                    <a:pt x="656986" y="68580"/>
                    <a:pt x="623458" y="64008"/>
                    <a:pt x="623458" y="64008"/>
                  </a:cubicBezTo>
                  <a:cubicBezTo>
                    <a:pt x="596026" y="64008"/>
                    <a:pt x="541162" y="57912"/>
                    <a:pt x="513730" y="64008"/>
                  </a:cubicBezTo>
                  <a:cubicBezTo>
                    <a:pt x="486298" y="70104"/>
                    <a:pt x="474106" y="86868"/>
                    <a:pt x="458866" y="100584"/>
                  </a:cubicBezTo>
                  <a:cubicBezTo>
                    <a:pt x="443626" y="114300"/>
                    <a:pt x="436006" y="132588"/>
                    <a:pt x="422290" y="146304"/>
                  </a:cubicBezTo>
                  <a:cubicBezTo>
                    <a:pt x="408574" y="160020"/>
                    <a:pt x="391810" y="164592"/>
                    <a:pt x="376570" y="182880"/>
                  </a:cubicBezTo>
                  <a:cubicBezTo>
                    <a:pt x="361330" y="201168"/>
                    <a:pt x="350662" y="236220"/>
                    <a:pt x="330850" y="256032"/>
                  </a:cubicBezTo>
                  <a:cubicBezTo>
                    <a:pt x="311038" y="275844"/>
                    <a:pt x="286654" y="286512"/>
                    <a:pt x="257698" y="301752"/>
                  </a:cubicBezTo>
                  <a:cubicBezTo>
                    <a:pt x="228742" y="316992"/>
                    <a:pt x="179974" y="335280"/>
                    <a:pt x="157114" y="347472"/>
                  </a:cubicBezTo>
                  <a:cubicBezTo>
                    <a:pt x="134254" y="359664"/>
                    <a:pt x="134254" y="365760"/>
                    <a:pt x="120538" y="374904"/>
                  </a:cubicBezTo>
                  <a:cubicBezTo>
                    <a:pt x="106822" y="384048"/>
                    <a:pt x="85486" y="397764"/>
                    <a:pt x="74818" y="402336"/>
                  </a:cubicBezTo>
                  <a:cubicBezTo>
                    <a:pt x="64150" y="406908"/>
                    <a:pt x="56530" y="408432"/>
                    <a:pt x="56530" y="402336"/>
                  </a:cubicBezTo>
                  <a:cubicBezTo>
                    <a:pt x="56530" y="396240"/>
                    <a:pt x="62626" y="382524"/>
                    <a:pt x="74818" y="365760"/>
                  </a:cubicBezTo>
                  <a:cubicBezTo>
                    <a:pt x="87010" y="348996"/>
                    <a:pt x="105298" y="326136"/>
                    <a:pt x="129682" y="301752"/>
                  </a:cubicBezTo>
                  <a:cubicBezTo>
                    <a:pt x="154066" y="277368"/>
                    <a:pt x="198262" y="245364"/>
                    <a:pt x="221122" y="219456"/>
                  </a:cubicBezTo>
                  <a:cubicBezTo>
                    <a:pt x="243982" y="193548"/>
                    <a:pt x="259222" y="172212"/>
                    <a:pt x="266842" y="146304"/>
                  </a:cubicBezTo>
                  <a:cubicBezTo>
                    <a:pt x="274462" y="120396"/>
                    <a:pt x="268366" y="79248"/>
                    <a:pt x="266842" y="64008"/>
                  </a:cubicBezTo>
                  <a:cubicBezTo>
                    <a:pt x="265318" y="48768"/>
                    <a:pt x="260746" y="44196"/>
                    <a:pt x="257698" y="54864"/>
                  </a:cubicBezTo>
                  <a:cubicBezTo>
                    <a:pt x="254650" y="65532"/>
                    <a:pt x="254650" y="108204"/>
                    <a:pt x="248554" y="128016"/>
                  </a:cubicBezTo>
                  <a:cubicBezTo>
                    <a:pt x="242458" y="147828"/>
                    <a:pt x="237886" y="155448"/>
                    <a:pt x="221122" y="173736"/>
                  </a:cubicBezTo>
                  <a:cubicBezTo>
                    <a:pt x="204358" y="192024"/>
                    <a:pt x="164734" y="224028"/>
                    <a:pt x="147970" y="237744"/>
                  </a:cubicBezTo>
                  <a:cubicBezTo>
                    <a:pt x="131206" y="251460"/>
                    <a:pt x="137302" y="237744"/>
                    <a:pt x="120538" y="256032"/>
                  </a:cubicBezTo>
                  <a:cubicBezTo>
                    <a:pt x="103774" y="274320"/>
                    <a:pt x="61102" y="327660"/>
                    <a:pt x="47386" y="347472"/>
                  </a:cubicBezTo>
                  <a:cubicBezTo>
                    <a:pt x="33670" y="367284"/>
                    <a:pt x="41290" y="364236"/>
                    <a:pt x="38242" y="374904"/>
                  </a:cubicBezTo>
                  <a:cubicBezTo>
                    <a:pt x="35194" y="385572"/>
                    <a:pt x="27574" y="402336"/>
                    <a:pt x="29098" y="411480"/>
                  </a:cubicBezTo>
                  <a:cubicBezTo>
                    <a:pt x="30622" y="420624"/>
                    <a:pt x="51958" y="422148"/>
                    <a:pt x="47386" y="429768"/>
                  </a:cubicBezTo>
                  <a:cubicBezTo>
                    <a:pt x="42814" y="437388"/>
                    <a:pt x="3332" y="457097"/>
                    <a:pt x="1666" y="457200"/>
                  </a:cubicBezTo>
                  <a:cubicBezTo>
                    <a:pt x="0" y="457303"/>
                    <a:pt x="31434" y="434856"/>
                    <a:pt x="37387" y="430387"/>
                  </a:cubicBezTo>
                  <a:cubicBezTo>
                    <a:pt x="43340" y="425918"/>
                    <a:pt x="26821" y="429886"/>
                    <a:pt x="37385" y="430387"/>
                  </a:cubicBezTo>
                  <a:lnTo>
                    <a:pt x="37385" y="430387"/>
                  </a:lnTo>
                  <a:lnTo>
                    <a:pt x="37385" y="430387"/>
                  </a:lnTo>
                  <a:lnTo>
                    <a:pt x="37386" y="430387"/>
                  </a:lnTo>
                  <a:lnTo>
                    <a:pt x="37386" y="430387"/>
                  </a:lnTo>
                  <a:close/>
                </a:path>
              </a:pathLst>
            </a:custGeom>
            <a:solidFill>
              <a:srgbClr val="92D050">
                <a:alpha val="45000"/>
              </a:srgbClr>
            </a:solidFill>
            <a:ln w="6350" cap="flat" cmpd="sng" algn="ctr">
              <a:solidFill>
                <a:srgbClr val="663300"/>
              </a:solidFill>
              <a:prstDash val="solid"/>
            </a:ln>
            <a:effectLst/>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0" cap="none" spc="0" normalizeH="0" baseline="0" noProof="0" dirty="0">
                <a:ln>
                  <a:noFill/>
                </a:ln>
                <a:solidFill>
                  <a:prstClr val="white"/>
                </a:solidFill>
                <a:effectLst/>
                <a:uLnTx/>
                <a:uFillTx/>
                <a:latin typeface="News Gothic MT" panose="020B0503020103020203" pitchFamily="34" charset="0"/>
                <a:ea typeface="MS PGothic" charset="0"/>
                <a:cs typeface="+mn-cs"/>
              </a:endParaRPr>
            </a:p>
          </p:txBody>
        </p:sp>
        <p:cxnSp>
          <p:nvCxnSpPr>
            <p:cNvPr id="20" name="Straight Connector 19">
              <a:extLst>
                <a:ext uri="{FF2B5EF4-FFF2-40B4-BE49-F238E27FC236}">
                  <a16:creationId xmlns:a16="http://schemas.microsoft.com/office/drawing/2014/main" id="{0A835661-F0B2-4FE3-8C23-523F99B69C62}"/>
                </a:ext>
              </a:extLst>
            </p:cNvPr>
            <p:cNvCxnSpPr>
              <a:stCxn id="18" idx="25"/>
              <a:endCxn id="18" idx="24"/>
            </p:cNvCxnSpPr>
            <p:nvPr/>
          </p:nvCxnSpPr>
          <p:spPr>
            <a:xfrm flipV="1">
              <a:off x="5997884" y="3409695"/>
              <a:ext cx="85344" cy="45720"/>
            </a:xfrm>
            <a:prstGeom prst="line">
              <a:avLst/>
            </a:prstGeom>
            <a:noFill/>
            <a:ln w="9525" cap="flat" cmpd="sng" algn="ctr">
              <a:solidFill>
                <a:srgbClr val="8DAA44"/>
              </a:solidFill>
              <a:prstDash val="solid"/>
            </a:ln>
            <a:effectLst/>
          </p:spPr>
        </p:cxnSp>
        <p:cxnSp>
          <p:nvCxnSpPr>
            <p:cNvPr id="21" name="Straight Connector 20">
              <a:extLst>
                <a:ext uri="{FF2B5EF4-FFF2-40B4-BE49-F238E27FC236}">
                  <a16:creationId xmlns:a16="http://schemas.microsoft.com/office/drawing/2014/main" id="{67B57A83-BD77-411B-9067-A332F25647C2}"/>
                </a:ext>
              </a:extLst>
            </p:cNvPr>
            <p:cNvCxnSpPr>
              <a:stCxn id="18" idx="25"/>
              <a:endCxn id="18" idx="26"/>
            </p:cNvCxnSpPr>
            <p:nvPr/>
          </p:nvCxnSpPr>
          <p:spPr>
            <a:xfrm flipH="1" flipV="1">
              <a:off x="5936924" y="3427983"/>
              <a:ext cx="60960" cy="27432"/>
            </a:xfrm>
            <a:prstGeom prst="line">
              <a:avLst/>
            </a:prstGeom>
            <a:noFill/>
            <a:ln w="9525" cap="flat" cmpd="sng" algn="ctr">
              <a:solidFill>
                <a:srgbClr val="8DAA44"/>
              </a:solidFill>
              <a:prstDash val="solid"/>
            </a:ln>
            <a:effectLst/>
          </p:spPr>
        </p:cxnSp>
        <p:sp>
          <p:nvSpPr>
            <p:cNvPr id="22" name="Freeform 217">
              <a:extLst>
                <a:ext uri="{FF2B5EF4-FFF2-40B4-BE49-F238E27FC236}">
                  <a16:creationId xmlns:a16="http://schemas.microsoft.com/office/drawing/2014/main" id="{7F9220B4-CBA7-433D-BFD5-656AEC3999FA}"/>
                </a:ext>
              </a:extLst>
            </p:cNvPr>
            <p:cNvSpPr/>
            <p:nvPr/>
          </p:nvSpPr>
          <p:spPr>
            <a:xfrm>
              <a:off x="5943148" y="3435349"/>
              <a:ext cx="100013" cy="37306"/>
            </a:xfrm>
            <a:custGeom>
              <a:avLst/>
              <a:gdLst>
                <a:gd name="connsiteX0" fmla="*/ 0 w 75010"/>
                <a:gd name="connsiteY0" fmla="*/ 3175 h 37306"/>
                <a:gd name="connsiteX1" fmla="*/ 47625 w 75010"/>
                <a:gd name="connsiteY1" fmla="*/ 34131 h 37306"/>
                <a:gd name="connsiteX2" fmla="*/ 52388 w 75010"/>
                <a:gd name="connsiteY2" fmla="*/ 22225 h 37306"/>
                <a:gd name="connsiteX3" fmla="*/ 71438 w 75010"/>
                <a:gd name="connsiteY3" fmla="*/ 3175 h 37306"/>
                <a:gd name="connsiteX4" fmla="*/ 73819 w 75010"/>
                <a:gd name="connsiteY4" fmla="*/ 3175 h 373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010" h="37306">
                  <a:moveTo>
                    <a:pt x="0" y="3175"/>
                  </a:moveTo>
                  <a:cubicBezTo>
                    <a:pt x="19447" y="17065"/>
                    <a:pt x="38894" y="30956"/>
                    <a:pt x="47625" y="34131"/>
                  </a:cubicBezTo>
                  <a:cubicBezTo>
                    <a:pt x="56356" y="37306"/>
                    <a:pt x="48419" y="27384"/>
                    <a:pt x="52388" y="22225"/>
                  </a:cubicBezTo>
                  <a:cubicBezTo>
                    <a:pt x="56357" y="17066"/>
                    <a:pt x="67866" y="6350"/>
                    <a:pt x="71438" y="3175"/>
                  </a:cubicBezTo>
                  <a:cubicBezTo>
                    <a:pt x="75010" y="0"/>
                    <a:pt x="74414" y="1587"/>
                    <a:pt x="73819" y="3175"/>
                  </a:cubicBezTo>
                </a:path>
              </a:pathLst>
            </a:custGeom>
            <a:solidFill>
              <a:srgbClr val="8DAA44"/>
            </a:solidFill>
            <a:ln w="9525" cap="flat" cmpd="sng" algn="ctr">
              <a:solidFill>
                <a:srgbClr val="8DAA44"/>
              </a:solidFill>
              <a:prstDash val="solid"/>
            </a:ln>
            <a:effectLst/>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0" cap="none" spc="0" normalizeH="0" baseline="0" noProof="0" dirty="0">
                <a:ln>
                  <a:noFill/>
                </a:ln>
                <a:solidFill>
                  <a:prstClr val="black"/>
                </a:solidFill>
                <a:effectLst/>
                <a:uLnTx/>
                <a:uFillTx/>
                <a:latin typeface="News Gothic MT" panose="020B0503020103020203" pitchFamily="34" charset="0"/>
                <a:ea typeface="MS PGothic" charset="0"/>
                <a:cs typeface="+mn-cs"/>
              </a:endParaRPr>
            </a:p>
          </p:txBody>
        </p:sp>
        <p:grpSp>
          <p:nvGrpSpPr>
            <p:cNvPr id="26" name="Group 55">
              <a:extLst>
                <a:ext uri="{FF2B5EF4-FFF2-40B4-BE49-F238E27FC236}">
                  <a16:creationId xmlns:a16="http://schemas.microsoft.com/office/drawing/2014/main" id="{E2C34939-2FA3-483A-B897-3FB23B4C1DF1}"/>
                </a:ext>
              </a:extLst>
            </p:cNvPr>
            <p:cNvGrpSpPr/>
            <p:nvPr/>
          </p:nvGrpSpPr>
          <p:grpSpPr>
            <a:xfrm rot="4998310">
              <a:off x="4902600" y="3403445"/>
              <a:ext cx="228600" cy="304800"/>
              <a:chOff x="3124200" y="3959622"/>
              <a:chExt cx="184547" cy="152400"/>
            </a:xfrm>
            <a:solidFill>
              <a:srgbClr val="663300"/>
            </a:solidFill>
          </p:grpSpPr>
          <p:sp>
            <p:nvSpPr>
              <p:cNvPr id="27" name="Freeform 225">
                <a:extLst>
                  <a:ext uri="{FF2B5EF4-FFF2-40B4-BE49-F238E27FC236}">
                    <a16:creationId xmlns:a16="http://schemas.microsoft.com/office/drawing/2014/main" id="{3641BE5B-448E-44E4-8D7B-9DA469CCC277}"/>
                  </a:ext>
                </a:extLst>
              </p:cNvPr>
              <p:cNvSpPr/>
              <p:nvPr/>
            </p:nvSpPr>
            <p:spPr>
              <a:xfrm>
                <a:off x="3124200" y="3962400"/>
                <a:ext cx="184547" cy="147638"/>
              </a:xfrm>
              <a:custGeom>
                <a:avLst/>
                <a:gdLst>
                  <a:gd name="connsiteX0" fmla="*/ 107553 w 184547"/>
                  <a:gd name="connsiteY0" fmla="*/ 4366 h 147638"/>
                  <a:gd name="connsiteX1" fmla="*/ 174228 w 184547"/>
                  <a:gd name="connsiteY1" fmla="*/ 51991 h 147638"/>
                  <a:gd name="connsiteX2" fmla="*/ 169465 w 184547"/>
                  <a:gd name="connsiteY2" fmla="*/ 85328 h 147638"/>
                  <a:gd name="connsiteX3" fmla="*/ 155178 w 184547"/>
                  <a:gd name="connsiteY3" fmla="*/ 106760 h 147638"/>
                  <a:gd name="connsiteX4" fmla="*/ 124222 w 184547"/>
                  <a:gd name="connsiteY4" fmla="*/ 137716 h 147638"/>
                  <a:gd name="connsiteX5" fmla="*/ 107553 w 184547"/>
                  <a:gd name="connsiteY5" fmla="*/ 144860 h 147638"/>
                  <a:gd name="connsiteX6" fmla="*/ 90884 w 184547"/>
                  <a:gd name="connsiteY6" fmla="*/ 144860 h 147638"/>
                  <a:gd name="connsiteX7" fmla="*/ 67072 w 184547"/>
                  <a:gd name="connsiteY7" fmla="*/ 128191 h 147638"/>
                  <a:gd name="connsiteX8" fmla="*/ 14684 w 184547"/>
                  <a:gd name="connsiteY8" fmla="*/ 87710 h 147638"/>
                  <a:gd name="connsiteX9" fmla="*/ 397 w 184547"/>
                  <a:gd name="connsiteY9" fmla="*/ 61516 h 147638"/>
                  <a:gd name="connsiteX10" fmla="*/ 17065 w 184547"/>
                  <a:gd name="connsiteY10" fmla="*/ 37703 h 147638"/>
                  <a:gd name="connsiteX11" fmla="*/ 48022 w 184547"/>
                  <a:gd name="connsiteY11" fmla="*/ 25797 h 147638"/>
                  <a:gd name="connsiteX12" fmla="*/ 107553 w 184547"/>
                  <a:gd name="connsiteY12" fmla="*/ 4366 h 147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4547" h="147638">
                    <a:moveTo>
                      <a:pt x="107553" y="4366"/>
                    </a:moveTo>
                    <a:cubicBezTo>
                      <a:pt x="128587" y="8732"/>
                      <a:pt x="163909" y="38497"/>
                      <a:pt x="174228" y="51991"/>
                    </a:cubicBezTo>
                    <a:cubicBezTo>
                      <a:pt x="184547" y="65485"/>
                      <a:pt x="172640" y="76200"/>
                      <a:pt x="169465" y="85328"/>
                    </a:cubicBezTo>
                    <a:cubicBezTo>
                      <a:pt x="166290" y="94456"/>
                      <a:pt x="162719" y="98029"/>
                      <a:pt x="155178" y="106760"/>
                    </a:cubicBezTo>
                    <a:cubicBezTo>
                      <a:pt x="147637" y="115491"/>
                      <a:pt x="132159" y="131366"/>
                      <a:pt x="124222" y="137716"/>
                    </a:cubicBezTo>
                    <a:cubicBezTo>
                      <a:pt x="116285" y="144066"/>
                      <a:pt x="113109" y="143669"/>
                      <a:pt x="107553" y="144860"/>
                    </a:cubicBezTo>
                    <a:cubicBezTo>
                      <a:pt x="101997" y="146051"/>
                      <a:pt x="97631" y="147638"/>
                      <a:pt x="90884" y="144860"/>
                    </a:cubicBezTo>
                    <a:cubicBezTo>
                      <a:pt x="84137" y="142082"/>
                      <a:pt x="79772" y="137716"/>
                      <a:pt x="67072" y="128191"/>
                    </a:cubicBezTo>
                    <a:cubicBezTo>
                      <a:pt x="54372" y="118666"/>
                      <a:pt x="25796" y="98822"/>
                      <a:pt x="14684" y="87710"/>
                    </a:cubicBezTo>
                    <a:cubicBezTo>
                      <a:pt x="3572" y="76598"/>
                      <a:pt x="0" y="69850"/>
                      <a:pt x="397" y="61516"/>
                    </a:cubicBezTo>
                    <a:cubicBezTo>
                      <a:pt x="794" y="53182"/>
                      <a:pt x="9128" y="43656"/>
                      <a:pt x="17065" y="37703"/>
                    </a:cubicBezTo>
                    <a:cubicBezTo>
                      <a:pt x="25002" y="31750"/>
                      <a:pt x="33338" y="30162"/>
                      <a:pt x="48022" y="25797"/>
                    </a:cubicBezTo>
                    <a:cubicBezTo>
                      <a:pt x="62706" y="21432"/>
                      <a:pt x="86519" y="0"/>
                      <a:pt x="107553" y="4366"/>
                    </a:cubicBezTo>
                    <a:close/>
                  </a:path>
                </a:pathLst>
              </a:custGeom>
              <a:grpFill/>
              <a:ln w="9525" cap="flat" cmpd="sng" algn="ctr">
                <a:solidFill>
                  <a:srgbClr val="F79646">
                    <a:lumMod val="50000"/>
                  </a:srgbClr>
                </a:solidFill>
                <a:prstDash val="solid"/>
              </a:ln>
              <a:effectLst/>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0" cap="none" spc="0" normalizeH="0" baseline="0" noProof="0" dirty="0">
                  <a:ln>
                    <a:noFill/>
                  </a:ln>
                  <a:solidFill>
                    <a:prstClr val="white"/>
                  </a:solidFill>
                  <a:effectLst/>
                  <a:uLnTx/>
                  <a:uFillTx/>
                  <a:latin typeface="News Gothic MT" panose="020B0503020103020203" pitchFamily="34" charset="0"/>
                  <a:ea typeface="MS PGothic" charset="0"/>
                  <a:cs typeface="+mn-cs"/>
                </a:endParaRPr>
              </a:p>
            </p:txBody>
          </p:sp>
          <p:grpSp>
            <p:nvGrpSpPr>
              <p:cNvPr id="28" name="Group 71">
                <a:extLst>
                  <a:ext uri="{FF2B5EF4-FFF2-40B4-BE49-F238E27FC236}">
                    <a16:creationId xmlns:a16="http://schemas.microsoft.com/office/drawing/2014/main" id="{7C376237-448F-42F1-A4B2-B92A127ADF99}"/>
                  </a:ext>
                </a:extLst>
              </p:cNvPr>
              <p:cNvGrpSpPr/>
              <p:nvPr/>
            </p:nvGrpSpPr>
            <p:grpSpPr>
              <a:xfrm>
                <a:off x="3138884" y="3959622"/>
                <a:ext cx="152400" cy="152400"/>
                <a:chOff x="6400800" y="2819400"/>
                <a:chExt cx="228600" cy="228600"/>
              </a:xfrm>
              <a:grpFill/>
            </p:grpSpPr>
            <p:grpSp>
              <p:nvGrpSpPr>
                <p:cNvPr id="33" name="Group 69">
                  <a:extLst>
                    <a:ext uri="{FF2B5EF4-FFF2-40B4-BE49-F238E27FC236}">
                      <a16:creationId xmlns:a16="http://schemas.microsoft.com/office/drawing/2014/main" id="{68CE42A8-84B6-463E-A549-0455BADFE0B3}"/>
                    </a:ext>
                  </a:extLst>
                </p:cNvPr>
                <p:cNvGrpSpPr/>
                <p:nvPr/>
              </p:nvGrpSpPr>
              <p:grpSpPr>
                <a:xfrm>
                  <a:off x="6400800" y="2819400"/>
                  <a:ext cx="228600" cy="228600"/>
                  <a:chOff x="6096000" y="2974731"/>
                  <a:chExt cx="153930" cy="147275"/>
                </a:xfrm>
                <a:grpFill/>
              </p:grpSpPr>
              <p:sp>
                <p:nvSpPr>
                  <p:cNvPr id="35" name="Teardrop 34">
                    <a:extLst>
                      <a:ext uri="{FF2B5EF4-FFF2-40B4-BE49-F238E27FC236}">
                        <a16:creationId xmlns:a16="http://schemas.microsoft.com/office/drawing/2014/main" id="{AEE5D378-523F-475E-9123-768F21DEEABE}"/>
                      </a:ext>
                    </a:extLst>
                  </p:cNvPr>
                  <p:cNvSpPr/>
                  <p:nvPr/>
                </p:nvSpPr>
                <p:spPr>
                  <a:xfrm rot="17025255">
                    <a:off x="6103202" y="2988215"/>
                    <a:ext cx="118267" cy="107639"/>
                  </a:xfrm>
                  <a:prstGeom prst="teardrop">
                    <a:avLst/>
                  </a:prstGeom>
                  <a:grpFill/>
                  <a:ln w="12700" cap="flat" cmpd="sng" algn="ctr">
                    <a:solidFill>
                      <a:srgbClr val="F79646">
                        <a:lumMod val="50000"/>
                      </a:srgbClr>
                    </a:solidFill>
                    <a:prstDash val="solid"/>
                  </a:ln>
                  <a:effectLst/>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0" cap="none" spc="0" normalizeH="0" baseline="0" noProof="0" dirty="0">
                      <a:ln>
                        <a:noFill/>
                      </a:ln>
                      <a:solidFill>
                        <a:prstClr val="black"/>
                      </a:solidFill>
                      <a:effectLst/>
                      <a:uLnTx/>
                      <a:uFillTx/>
                      <a:latin typeface="News Gothic MT" panose="020B0503020103020203" pitchFamily="34" charset="0"/>
                      <a:ea typeface="MS PGothic" charset="0"/>
                      <a:cs typeface="+mn-cs"/>
                    </a:endParaRPr>
                  </a:p>
                </p:txBody>
              </p:sp>
              <p:sp>
                <p:nvSpPr>
                  <p:cNvPr id="36" name="Teardrop 35">
                    <a:extLst>
                      <a:ext uri="{FF2B5EF4-FFF2-40B4-BE49-F238E27FC236}">
                        <a16:creationId xmlns:a16="http://schemas.microsoft.com/office/drawing/2014/main" id="{2B88D95D-7130-444B-92B8-155A2CD239AB}"/>
                      </a:ext>
                    </a:extLst>
                  </p:cNvPr>
                  <p:cNvSpPr/>
                  <p:nvPr/>
                </p:nvSpPr>
                <p:spPr>
                  <a:xfrm rot="3869114">
                    <a:off x="6101215" y="3062586"/>
                    <a:ext cx="65788" cy="53051"/>
                  </a:xfrm>
                  <a:prstGeom prst="teardrop">
                    <a:avLst/>
                  </a:prstGeom>
                  <a:grpFill/>
                  <a:ln w="12700" cap="flat" cmpd="sng" algn="ctr">
                    <a:solidFill>
                      <a:srgbClr val="F79646">
                        <a:lumMod val="50000"/>
                      </a:srgbClr>
                    </a:solidFill>
                    <a:prstDash val="solid"/>
                  </a:ln>
                  <a:effectLst/>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0" cap="none" spc="0" normalizeH="0" baseline="0" noProof="0" dirty="0">
                      <a:ln>
                        <a:noFill/>
                      </a:ln>
                      <a:solidFill>
                        <a:prstClr val="black"/>
                      </a:solidFill>
                      <a:effectLst/>
                      <a:uLnTx/>
                      <a:uFillTx/>
                      <a:latin typeface="News Gothic MT" panose="020B0503020103020203" pitchFamily="34" charset="0"/>
                      <a:ea typeface="MS PGothic" charset="0"/>
                      <a:cs typeface="+mn-cs"/>
                    </a:endParaRPr>
                  </a:p>
                </p:txBody>
              </p:sp>
              <p:sp>
                <p:nvSpPr>
                  <p:cNvPr id="37" name="Teardrop 36">
                    <a:extLst>
                      <a:ext uri="{FF2B5EF4-FFF2-40B4-BE49-F238E27FC236}">
                        <a16:creationId xmlns:a16="http://schemas.microsoft.com/office/drawing/2014/main" id="{CAEE54EC-1E4E-4725-BFCD-F21093150C0D}"/>
                      </a:ext>
                    </a:extLst>
                  </p:cNvPr>
                  <p:cNvSpPr/>
                  <p:nvPr/>
                </p:nvSpPr>
                <p:spPr>
                  <a:xfrm rot="11091085">
                    <a:off x="6174139" y="2974731"/>
                    <a:ext cx="71394" cy="48885"/>
                  </a:xfrm>
                  <a:prstGeom prst="teardrop">
                    <a:avLst/>
                  </a:prstGeom>
                  <a:grpFill/>
                  <a:ln w="12700" cap="flat" cmpd="sng" algn="ctr">
                    <a:solidFill>
                      <a:srgbClr val="F79646">
                        <a:lumMod val="50000"/>
                      </a:srgbClr>
                    </a:solidFill>
                    <a:prstDash val="solid"/>
                  </a:ln>
                  <a:effectLst/>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0" cap="none" spc="0" normalizeH="0" baseline="0" noProof="0" dirty="0">
                      <a:ln>
                        <a:noFill/>
                      </a:ln>
                      <a:solidFill>
                        <a:prstClr val="black"/>
                      </a:solidFill>
                      <a:effectLst/>
                      <a:uLnTx/>
                      <a:uFillTx/>
                      <a:latin typeface="News Gothic MT" panose="020B0503020103020203" pitchFamily="34" charset="0"/>
                      <a:ea typeface="MS PGothic" charset="0"/>
                      <a:cs typeface="+mn-cs"/>
                    </a:endParaRPr>
                  </a:p>
                </p:txBody>
              </p:sp>
              <p:sp>
                <p:nvSpPr>
                  <p:cNvPr id="38" name="Teardrop 37">
                    <a:extLst>
                      <a:ext uri="{FF2B5EF4-FFF2-40B4-BE49-F238E27FC236}">
                        <a16:creationId xmlns:a16="http://schemas.microsoft.com/office/drawing/2014/main" id="{CCB3502A-D9FD-4448-B171-F239A251711E}"/>
                      </a:ext>
                    </a:extLst>
                  </p:cNvPr>
                  <p:cNvSpPr/>
                  <p:nvPr/>
                </p:nvSpPr>
                <p:spPr>
                  <a:xfrm rot="3118103">
                    <a:off x="6101748" y="2990127"/>
                    <a:ext cx="70359" cy="48885"/>
                  </a:xfrm>
                  <a:prstGeom prst="teardrop">
                    <a:avLst/>
                  </a:prstGeom>
                  <a:grpFill/>
                  <a:ln w="12700" cap="flat" cmpd="sng" algn="ctr">
                    <a:solidFill>
                      <a:srgbClr val="F79646">
                        <a:lumMod val="50000"/>
                      </a:srgbClr>
                    </a:solidFill>
                    <a:prstDash val="solid"/>
                  </a:ln>
                  <a:effectLst/>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0" cap="none" spc="0" normalizeH="0" baseline="0" noProof="0" dirty="0">
                      <a:ln>
                        <a:noFill/>
                      </a:ln>
                      <a:solidFill>
                        <a:prstClr val="black"/>
                      </a:solidFill>
                      <a:effectLst/>
                      <a:uLnTx/>
                      <a:uFillTx/>
                      <a:latin typeface="News Gothic MT" panose="020B0503020103020203" pitchFamily="34" charset="0"/>
                      <a:ea typeface="MS PGothic" charset="0"/>
                      <a:cs typeface="+mn-cs"/>
                    </a:endParaRPr>
                  </a:p>
                </p:txBody>
              </p:sp>
              <p:sp>
                <p:nvSpPr>
                  <p:cNvPr id="39" name="Teardrop 38">
                    <a:extLst>
                      <a:ext uri="{FF2B5EF4-FFF2-40B4-BE49-F238E27FC236}">
                        <a16:creationId xmlns:a16="http://schemas.microsoft.com/office/drawing/2014/main" id="{3129CC84-454E-45E0-A8FC-651EDE3A7A9F}"/>
                      </a:ext>
                    </a:extLst>
                  </p:cNvPr>
                  <p:cNvSpPr/>
                  <p:nvPr/>
                </p:nvSpPr>
                <p:spPr>
                  <a:xfrm rot="12488966">
                    <a:off x="6179570" y="2985507"/>
                    <a:ext cx="70360" cy="48884"/>
                  </a:xfrm>
                  <a:prstGeom prst="teardrop">
                    <a:avLst/>
                  </a:prstGeom>
                  <a:grpFill/>
                  <a:ln w="12700" cap="flat" cmpd="sng" algn="ctr">
                    <a:solidFill>
                      <a:srgbClr val="F79646">
                        <a:lumMod val="50000"/>
                      </a:srgbClr>
                    </a:solidFill>
                    <a:prstDash val="solid"/>
                  </a:ln>
                  <a:effectLst/>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0" cap="none" spc="0" normalizeH="0" baseline="0" noProof="0" dirty="0">
                      <a:ln>
                        <a:noFill/>
                      </a:ln>
                      <a:solidFill>
                        <a:prstClr val="black"/>
                      </a:solidFill>
                      <a:effectLst/>
                      <a:uLnTx/>
                      <a:uFillTx/>
                      <a:latin typeface="News Gothic MT" panose="020B0503020103020203" pitchFamily="34" charset="0"/>
                      <a:ea typeface="MS PGothic" charset="0"/>
                      <a:cs typeface="+mn-cs"/>
                    </a:endParaRPr>
                  </a:p>
                </p:txBody>
              </p:sp>
              <p:sp>
                <p:nvSpPr>
                  <p:cNvPr id="40" name="Teardrop 39">
                    <a:extLst>
                      <a:ext uri="{FF2B5EF4-FFF2-40B4-BE49-F238E27FC236}">
                        <a16:creationId xmlns:a16="http://schemas.microsoft.com/office/drawing/2014/main" id="{2F64C97D-1A2C-4E34-BC1A-7731A297A38B}"/>
                      </a:ext>
                    </a:extLst>
                  </p:cNvPr>
                  <p:cNvSpPr/>
                  <p:nvPr/>
                </p:nvSpPr>
                <p:spPr>
                  <a:xfrm rot="17025255">
                    <a:off x="6188241" y="3044533"/>
                    <a:ext cx="48887" cy="71394"/>
                  </a:xfrm>
                  <a:prstGeom prst="teardrop">
                    <a:avLst/>
                  </a:prstGeom>
                  <a:grpFill/>
                  <a:ln w="12700" cap="flat" cmpd="sng" algn="ctr">
                    <a:solidFill>
                      <a:srgbClr val="F79646">
                        <a:lumMod val="50000"/>
                      </a:srgbClr>
                    </a:solidFill>
                    <a:prstDash val="solid"/>
                  </a:ln>
                  <a:effectLst/>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0" cap="none" spc="0" normalizeH="0" baseline="0" noProof="0" dirty="0">
                      <a:ln>
                        <a:noFill/>
                      </a:ln>
                      <a:solidFill>
                        <a:prstClr val="black"/>
                      </a:solidFill>
                      <a:effectLst/>
                      <a:uLnTx/>
                      <a:uFillTx/>
                      <a:latin typeface="News Gothic MT" panose="020B0503020103020203" pitchFamily="34" charset="0"/>
                      <a:ea typeface="MS PGothic" charset="0"/>
                      <a:cs typeface="+mn-cs"/>
                    </a:endParaRPr>
                  </a:p>
                </p:txBody>
              </p:sp>
              <p:sp>
                <p:nvSpPr>
                  <p:cNvPr id="41" name="Teardrop 40">
                    <a:extLst>
                      <a:ext uri="{FF2B5EF4-FFF2-40B4-BE49-F238E27FC236}">
                        <a16:creationId xmlns:a16="http://schemas.microsoft.com/office/drawing/2014/main" id="{53E81CB2-DB68-4454-9950-6A01877F1FB7}"/>
                      </a:ext>
                    </a:extLst>
                  </p:cNvPr>
                  <p:cNvSpPr/>
                  <p:nvPr/>
                </p:nvSpPr>
                <p:spPr>
                  <a:xfrm>
                    <a:off x="6096000" y="3048000"/>
                    <a:ext cx="71394" cy="48885"/>
                  </a:xfrm>
                  <a:prstGeom prst="teardrop">
                    <a:avLst/>
                  </a:prstGeom>
                  <a:grpFill/>
                  <a:ln w="12700" cap="flat" cmpd="sng" algn="ctr">
                    <a:solidFill>
                      <a:srgbClr val="F79646">
                        <a:lumMod val="50000"/>
                      </a:srgbClr>
                    </a:solidFill>
                    <a:prstDash val="solid"/>
                  </a:ln>
                  <a:effectLst/>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0" cap="none" spc="0" normalizeH="0" baseline="0" noProof="0" dirty="0">
                      <a:ln>
                        <a:noFill/>
                      </a:ln>
                      <a:solidFill>
                        <a:prstClr val="black"/>
                      </a:solidFill>
                      <a:effectLst/>
                      <a:uLnTx/>
                      <a:uFillTx/>
                      <a:latin typeface="News Gothic MT" panose="020B0503020103020203" pitchFamily="34" charset="0"/>
                      <a:ea typeface="MS PGothic" charset="0"/>
                      <a:cs typeface="+mn-cs"/>
                    </a:endParaRPr>
                  </a:p>
                </p:txBody>
              </p:sp>
              <p:sp>
                <p:nvSpPr>
                  <p:cNvPr id="42" name="Teardrop 41">
                    <a:extLst>
                      <a:ext uri="{FF2B5EF4-FFF2-40B4-BE49-F238E27FC236}">
                        <a16:creationId xmlns:a16="http://schemas.microsoft.com/office/drawing/2014/main" id="{C15325B4-EBED-4038-8436-1CD4050589CD}"/>
                      </a:ext>
                    </a:extLst>
                  </p:cNvPr>
                  <p:cNvSpPr/>
                  <p:nvPr/>
                </p:nvSpPr>
                <p:spPr>
                  <a:xfrm rot="7058568">
                    <a:off x="6171537" y="2994108"/>
                    <a:ext cx="78026" cy="45719"/>
                  </a:xfrm>
                  <a:prstGeom prst="teardrop">
                    <a:avLst/>
                  </a:prstGeom>
                  <a:grpFill/>
                  <a:ln w="12700" cap="flat" cmpd="sng" algn="ctr">
                    <a:solidFill>
                      <a:srgbClr val="F79646">
                        <a:lumMod val="50000"/>
                      </a:srgbClr>
                    </a:solidFill>
                    <a:prstDash val="solid"/>
                  </a:ln>
                  <a:effectLst/>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0" cap="none" spc="0" normalizeH="0" baseline="0" noProof="0" dirty="0">
                      <a:ln>
                        <a:noFill/>
                      </a:ln>
                      <a:solidFill>
                        <a:prstClr val="black"/>
                      </a:solidFill>
                      <a:effectLst/>
                      <a:uLnTx/>
                      <a:uFillTx/>
                      <a:latin typeface="News Gothic MT" panose="020B0503020103020203" pitchFamily="34" charset="0"/>
                      <a:ea typeface="MS PGothic" charset="0"/>
                      <a:cs typeface="+mn-cs"/>
                    </a:endParaRPr>
                  </a:p>
                </p:txBody>
              </p:sp>
            </p:grpSp>
            <p:sp>
              <p:nvSpPr>
                <p:cNvPr id="34" name="Oval 33">
                  <a:extLst>
                    <a:ext uri="{FF2B5EF4-FFF2-40B4-BE49-F238E27FC236}">
                      <a16:creationId xmlns:a16="http://schemas.microsoft.com/office/drawing/2014/main" id="{92288CED-026D-4E2C-A1C8-D931D692CE9C}"/>
                    </a:ext>
                  </a:extLst>
                </p:cNvPr>
                <p:cNvSpPr/>
                <p:nvPr/>
              </p:nvSpPr>
              <p:spPr>
                <a:xfrm>
                  <a:off x="6477000" y="2895600"/>
                  <a:ext cx="76200" cy="76200"/>
                </a:xfrm>
                <a:prstGeom prst="ellipse">
                  <a:avLst/>
                </a:prstGeom>
                <a:solidFill>
                  <a:srgbClr val="663300"/>
                </a:solidFill>
                <a:ln w="25400" cap="flat" cmpd="sng" algn="ctr">
                  <a:solidFill>
                    <a:srgbClr val="663300"/>
                  </a:solidFill>
                  <a:prstDash val="solid"/>
                </a:ln>
                <a:effectLst/>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0" cap="none" spc="0" normalizeH="0" baseline="0" noProof="0" dirty="0">
                    <a:ln>
                      <a:noFill/>
                    </a:ln>
                    <a:solidFill>
                      <a:prstClr val="white"/>
                    </a:solidFill>
                    <a:effectLst/>
                    <a:uLnTx/>
                    <a:uFillTx/>
                    <a:latin typeface="News Gothic MT" panose="020B0503020103020203" pitchFamily="34" charset="0"/>
                    <a:ea typeface="MS PGothic" charset="0"/>
                    <a:cs typeface="+mn-cs"/>
                  </a:endParaRPr>
                </a:p>
              </p:txBody>
            </p:sp>
          </p:grpSp>
          <p:sp>
            <p:nvSpPr>
              <p:cNvPr id="29" name="Arc 28">
                <a:extLst>
                  <a:ext uri="{FF2B5EF4-FFF2-40B4-BE49-F238E27FC236}">
                    <a16:creationId xmlns:a16="http://schemas.microsoft.com/office/drawing/2014/main" id="{68FA7C6E-3B45-4269-AE6F-64FAFE30A30E}"/>
                  </a:ext>
                </a:extLst>
              </p:cNvPr>
              <p:cNvSpPr/>
              <p:nvPr/>
            </p:nvSpPr>
            <p:spPr>
              <a:xfrm>
                <a:off x="3215084" y="4035822"/>
                <a:ext cx="45719" cy="45719"/>
              </a:xfrm>
              <a:prstGeom prst="arc">
                <a:avLst/>
              </a:prstGeom>
              <a:grpFill/>
              <a:ln w="9525" cap="flat" cmpd="sng" algn="ctr">
                <a:solidFill>
                  <a:srgbClr val="F79646">
                    <a:lumMod val="50000"/>
                  </a:srgbClr>
                </a:solidFill>
                <a:prstDash val="solid"/>
              </a:ln>
              <a:effectLst/>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0" cap="none" spc="0" normalizeH="0" baseline="0" noProof="0" dirty="0">
                  <a:ln>
                    <a:noFill/>
                  </a:ln>
                  <a:solidFill>
                    <a:prstClr val="black"/>
                  </a:solidFill>
                  <a:effectLst/>
                  <a:uLnTx/>
                  <a:uFillTx/>
                  <a:latin typeface="News Gothic MT" panose="020B0503020103020203" pitchFamily="34" charset="0"/>
                  <a:ea typeface="MS PGothic" charset="0"/>
                  <a:cs typeface="+mn-cs"/>
                </a:endParaRPr>
              </a:p>
            </p:txBody>
          </p:sp>
          <p:sp>
            <p:nvSpPr>
              <p:cNvPr id="30" name="Arc 29">
                <a:extLst>
                  <a:ext uri="{FF2B5EF4-FFF2-40B4-BE49-F238E27FC236}">
                    <a16:creationId xmlns:a16="http://schemas.microsoft.com/office/drawing/2014/main" id="{8C649B4D-09B8-4F9B-A0A2-22BCECBEF201}"/>
                  </a:ext>
                </a:extLst>
              </p:cNvPr>
              <p:cNvSpPr/>
              <p:nvPr/>
            </p:nvSpPr>
            <p:spPr>
              <a:xfrm flipV="1">
                <a:off x="3215084" y="3959622"/>
                <a:ext cx="45719" cy="45719"/>
              </a:xfrm>
              <a:prstGeom prst="arc">
                <a:avLst/>
              </a:prstGeom>
              <a:grpFill/>
              <a:ln w="9525" cap="flat" cmpd="sng" algn="ctr">
                <a:solidFill>
                  <a:srgbClr val="F79646">
                    <a:lumMod val="50000"/>
                  </a:srgbClr>
                </a:solidFill>
                <a:prstDash val="solid"/>
              </a:ln>
              <a:effectLst/>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0" cap="none" spc="0" normalizeH="0" baseline="0" noProof="0" dirty="0">
                  <a:ln>
                    <a:noFill/>
                  </a:ln>
                  <a:solidFill>
                    <a:prstClr val="black"/>
                  </a:solidFill>
                  <a:effectLst/>
                  <a:uLnTx/>
                  <a:uFillTx/>
                  <a:latin typeface="News Gothic MT" panose="020B0503020103020203" pitchFamily="34" charset="0"/>
                  <a:ea typeface="MS PGothic" charset="0"/>
                  <a:cs typeface="+mn-cs"/>
                </a:endParaRPr>
              </a:p>
            </p:txBody>
          </p:sp>
          <p:sp>
            <p:nvSpPr>
              <p:cNvPr id="31" name="Arc 30">
                <a:extLst>
                  <a:ext uri="{FF2B5EF4-FFF2-40B4-BE49-F238E27FC236}">
                    <a16:creationId xmlns:a16="http://schemas.microsoft.com/office/drawing/2014/main" id="{786F0042-AE49-4238-AAFE-084C2F7A39F3}"/>
                  </a:ext>
                </a:extLst>
              </p:cNvPr>
              <p:cNvSpPr/>
              <p:nvPr/>
            </p:nvSpPr>
            <p:spPr>
              <a:xfrm rot="6954699">
                <a:off x="3144202" y="3964940"/>
                <a:ext cx="76200" cy="76200"/>
              </a:xfrm>
              <a:prstGeom prst="arc">
                <a:avLst/>
              </a:prstGeom>
              <a:grpFill/>
              <a:ln w="9525" cap="flat" cmpd="sng" algn="ctr">
                <a:solidFill>
                  <a:srgbClr val="F79646">
                    <a:lumMod val="50000"/>
                  </a:srgbClr>
                </a:solidFill>
                <a:prstDash val="solid"/>
              </a:ln>
              <a:effectLst/>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0" cap="none" spc="0" normalizeH="0" baseline="0" noProof="0" dirty="0">
                  <a:ln>
                    <a:noFill/>
                  </a:ln>
                  <a:solidFill>
                    <a:prstClr val="black"/>
                  </a:solidFill>
                  <a:effectLst/>
                  <a:uLnTx/>
                  <a:uFillTx/>
                  <a:latin typeface="News Gothic MT" panose="020B0503020103020203" pitchFamily="34" charset="0"/>
                  <a:ea typeface="MS PGothic" charset="0"/>
                  <a:cs typeface="+mn-cs"/>
                </a:endParaRPr>
              </a:p>
            </p:txBody>
          </p:sp>
          <p:sp>
            <p:nvSpPr>
              <p:cNvPr id="32" name="Arc 31">
                <a:extLst>
                  <a:ext uri="{FF2B5EF4-FFF2-40B4-BE49-F238E27FC236}">
                    <a16:creationId xmlns:a16="http://schemas.microsoft.com/office/drawing/2014/main" id="{025675F8-E6CE-4C61-94C3-307300D384DA}"/>
                  </a:ext>
                </a:extLst>
              </p:cNvPr>
              <p:cNvSpPr/>
              <p:nvPr/>
            </p:nvSpPr>
            <p:spPr>
              <a:xfrm rot="13076909">
                <a:off x="3221742" y="4052510"/>
                <a:ext cx="69996" cy="45719"/>
              </a:xfrm>
              <a:prstGeom prst="arc">
                <a:avLst/>
              </a:prstGeom>
              <a:grpFill/>
              <a:ln w="9525" cap="flat" cmpd="sng" algn="ctr">
                <a:solidFill>
                  <a:srgbClr val="F79646">
                    <a:lumMod val="50000"/>
                  </a:srgbClr>
                </a:solidFill>
                <a:prstDash val="solid"/>
              </a:ln>
              <a:effectLst/>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0" cap="none" spc="0" normalizeH="0" baseline="0" noProof="0" dirty="0">
                  <a:ln>
                    <a:noFill/>
                  </a:ln>
                  <a:solidFill>
                    <a:prstClr val="black"/>
                  </a:solidFill>
                  <a:effectLst/>
                  <a:uLnTx/>
                  <a:uFillTx/>
                  <a:latin typeface="News Gothic MT" panose="020B0503020103020203" pitchFamily="34" charset="0"/>
                  <a:ea typeface="MS PGothic" charset="0"/>
                  <a:cs typeface="+mn-cs"/>
                </a:endParaRPr>
              </a:p>
            </p:txBody>
          </p:sp>
        </p:grpSp>
        <p:grpSp>
          <p:nvGrpSpPr>
            <p:cNvPr id="43" name="Group 77">
              <a:extLst>
                <a:ext uri="{FF2B5EF4-FFF2-40B4-BE49-F238E27FC236}">
                  <a16:creationId xmlns:a16="http://schemas.microsoft.com/office/drawing/2014/main" id="{CB046FFC-04DB-480C-AD1F-3F511B19ABE9}"/>
                </a:ext>
              </a:extLst>
            </p:cNvPr>
            <p:cNvGrpSpPr/>
            <p:nvPr/>
          </p:nvGrpSpPr>
          <p:grpSpPr>
            <a:xfrm rot="4998310">
              <a:off x="5918600" y="3022445"/>
              <a:ext cx="228600" cy="304800"/>
              <a:chOff x="3124200" y="3959622"/>
              <a:chExt cx="184547" cy="152400"/>
            </a:xfrm>
            <a:solidFill>
              <a:srgbClr val="663300"/>
            </a:solidFill>
          </p:grpSpPr>
          <p:sp>
            <p:nvSpPr>
              <p:cNvPr id="44" name="Freeform 242">
                <a:extLst>
                  <a:ext uri="{FF2B5EF4-FFF2-40B4-BE49-F238E27FC236}">
                    <a16:creationId xmlns:a16="http://schemas.microsoft.com/office/drawing/2014/main" id="{0D832037-7A6A-4582-AA77-41BEA858C68C}"/>
                  </a:ext>
                </a:extLst>
              </p:cNvPr>
              <p:cNvSpPr/>
              <p:nvPr/>
            </p:nvSpPr>
            <p:spPr>
              <a:xfrm>
                <a:off x="3124200" y="3962400"/>
                <a:ext cx="184547" cy="147638"/>
              </a:xfrm>
              <a:custGeom>
                <a:avLst/>
                <a:gdLst>
                  <a:gd name="connsiteX0" fmla="*/ 107553 w 184547"/>
                  <a:gd name="connsiteY0" fmla="*/ 4366 h 147638"/>
                  <a:gd name="connsiteX1" fmla="*/ 174228 w 184547"/>
                  <a:gd name="connsiteY1" fmla="*/ 51991 h 147638"/>
                  <a:gd name="connsiteX2" fmla="*/ 169465 w 184547"/>
                  <a:gd name="connsiteY2" fmla="*/ 85328 h 147638"/>
                  <a:gd name="connsiteX3" fmla="*/ 155178 w 184547"/>
                  <a:gd name="connsiteY3" fmla="*/ 106760 h 147638"/>
                  <a:gd name="connsiteX4" fmla="*/ 124222 w 184547"/>
                  <a:gd name="connsiteY4" fmla="*/ 137716 h 147638"/>
                  <a:gd name="connsiteX5" fmla="*/ 107553 w 184547"/>
                  <a:gd name="connsiteY5" fmla="*/ 144860 h 147638"/>
                  <a:gd name="connsiteX6" fmla="*/ 90884 w 184547"/>
                  <a:gd name="connsiteY6" fmla="*/ 144860 h 147638"/>
                  <a:gd name="connsiteX7" fmla="*/ 67072 w 184547"/>
                  <a:gd name="connsiteY7" fmla="*/ 128191 h 147638"/>
                  <a:gd name="connsiteX8" fmla="*/ 14684 w 184547"/>
                  <a:gd name="connsiteY8" fmla="*/ 87710 h 147638"/>
                  <a:gd name="connsiteX9" fmla="*/ 397 w 184547"/>
                  <a:gd name="connsiteY9" fmla="*/ 61516 h 147638"/>
                  <a:gd name="connsiteX10" fmla="*/ 17065 w 184547"/>
                  <a:gd name="connsiteY10" fmla="*/ 37703 h 147638"/>
                  <a:gd name="connsiteX11" fmla="*/ 48022 w 184547"/>
                  <a:gd name="connsiteY11" fmla="*/ 25797 h 147638"/>
                  <a:gd name="connsiteX12" fmla="*/ 107553 w 184547"/>
                  <a:gd name="connsiteY12" fmla="*/ 4366 h 147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4547" h="147638">
                    <a:moveTo>
                      <a:pt x="107553" y="4366"/>
                    </a:moveTo>
                    <a:cubicBezTo>
                      <a:pt x="128587" y="8732"/>
                      <a:pt x="163909" y="38497"/>
                      <a:pt x="174228" y="51991"/>
                    </a:cubicBezTo>
                    <a:cubicBezTo>
                      <a:pt x="184547" y="65485"/>
                      <a:pt x="172640" y="76200"/>
                      <a:pt x="169465" y="85328"/>
                    </a:cubicBezTo>
                    <a:cubicBezTo>
                      <a:pt x="166290" y="94456"/>
                      <a:pt x="162719" y="98029"/>
                      <a:pt x="155178" y="106760"/>
                    </a:cubicBezTo>
                    <a:cubicBezTo>
                      <a:pt x="147637" y="115491"/>
                      <a:pt x="132159" y="131366"/>
                      <a:pt x="124222" y="137716"/>
                    </a:cubicBezTo>
                    <a:cubicBezTo>
                      <a:pt x="116285" y="144066"/>
                      <a:pt x="113109" y="143669"/>
                      <a:pt x="107553" y="144860"/>
                    </a:cubicBezTo>
                    <a:cubicBezTo>
                      <a:pt x="101997" y="146051"/>
                      <a:pt x="97631" y="147638"/>
                      <a:pt x="90884" y="144860"/>
                    </a:cubicBezTo>
                    <a:cubicBezTo>
                      <a:pt x="84137" y="142082"/>
                      <a:pt x="79772" y="137716"/>
                      <a:pt x="67072" y="128191"/>
                    </a:cubicBezTo>
                    <a:cubicBezTo>
                      <a:pt x="54372" y="118666"/>
                      <a:pt x="25796" y="98822"/>
                      <a:pt x="14684" y="87710"/>
                    </a:cubicBezTo>
                    <a:cubicBezTo>
                      <a:pt x="3572" y="76598"/>
                      <a:pt x="0" y="69850"/>
                      <a:pt x="397" y="61516"/>
                    </a:cubicBezTo>
                    <a:cubicBezTo>
                      <a:pt x="794" y="53182"/>
                      <a:pt x="9128" y="43656"/>
                      <a:pt x="17065" y="37703"/>
                    </a:cubicBezTo>
                    <a:cubicBezTo>
                      <a:pt x="25002" y="31750"/>
                      <a:pt x="33338" y="30162"/>
                      <a:pt x="48022" y="25797"/>
                    </a:cubicBezTo>
                    <a:cubicBezTo>
                      <a:pt x="62706" y="21432"/>
                      <a:pt x="86519" y="0"/>
                      <a:pt x="107553" y="4366"/>
                    </a:cubicBezTo>
                    <a:close/>
                  </a:path>
                </a:pathLst>
              </a:custGeom>
              <a:grpFill/>
              <a:ln w="9525" cap="flat" cmpd="sng" algn="ctr">
                <a:solidFill>
                  <a:srgbClr val="F79646">
                    <a:lumMod val="50000"/>
                  </a:srgbClr>
                </a:solidFill>
                <a:prstDash val="solid"/>
              </a:ln>
              <a:effectLst/>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0" cap="none" spc="0" normalizeH="0" baseline="0" noProof="0" dirty="0">
                  <a:ln>
                    <a:noFill/>
                  </a:ln>
                  <a:solidFill>
                    <a:prstClr val="white"/>
                  </a:solidFill>
                  <a:effectLst/>
                  <a:uLnTx/>
                  <a:uFillTx/>
                  <a:latin typeface="News Gothic MT" panose="020B0503020103020203" pitchFamily="34" charset="0"/>
                  <a:ea typeface="MS PGothic" charset="0"/>
                  <a:cs typeface="+mn-cs"/>
                </a:endParaRPr>
              </a:p>
            </p:txBody>
          </p:sp>
          <p:grpSp>
            <p:nvGrpSpPr>
              <p:cNvPr id="45" name="Group 71">
                <a:extLst>
                  <a:ext uri="{FF2B5EF4-FFF2-40B4-BE49-F238E27FC236}">
                    <a16:creationId xmlns:a16="http://schemas.microsoft.com/office/drawing/2014/main" id="{B9BD2B47-2C51-4D9D-AAE1-09097A902FFA}"/>
                  </a:ext>
                </a:extLst>
              </p:cNvPr>
              <p:cNvGrpSpPr/>
              <p:nvPr/>
            </p:nvGrpSpPr>
            <p:grpSpPr>
              <a:xfrm>
                <a:off x="3138884" y="3959622"/>
                <a:ext cx="152400" cy="152400"/>
                <a:chOff x="6400800" y="2819400"/>
                <a:chExt cx="228600" cy="228600"/>
              </a:xfrm>
              <a:grpFill/>
            </p:grpSpPr>
            <p:grpSp>
              <p:nvGrpSpPr>
                <p:cNvPr id="50" name="Group 69">
                  <a:extLst>
                    <a:ext uri="{FF2B5EF4-FFF2-40B4-BE49-F238E27FC236}">
                      <a16:creationId xmlns:a16="http://schemas.microsoft.com/office/drawing/2014/main" id="{3AB66200-A4AE-4CCC-8CEC-7D0A39188085}"/>
                    </a:ext>
                  </a:extLst>
                </p:cNvPr>
                <p:cNvGrpSpPr/>
                <p:nvPr/>
              </p:nvGrpSpPr>
              <p:grpSpPr>
                <a:xfrm>
                  <a:off x="6400800" y="2819400"/>
                  <a:ext cx="228600" cy="228600"/>
                  <a:chOff x="6096000" y="2974731"/>
                  <a:chExt cx="153930" cy="147275"/>
                </a:xfrm>
                <a:grpFill/>
              </p:grpSpPr>
              <p:sp>
                <p:nvSpPr>
                  <p:cNvPr id="52" name="Teardrop 51">
                    <a:extLst>
                      <a:ext uri="{FF2B5EF4-FFF2-40B4-BE49-F238E27FC236}">
                        <a16:creationId xmlns:a16="http://schemas.microsoft.com/office/drawing/2014/main" id="{A73BB68C-FC00-4A48-866F-641B6DF3FE95}"/>
                      </a:ext>
                    </a:extLst>
                  </p:cNvPr>
                  <p:cNvSpPr/>
                  <p:nvPr/>
                </p:nvSpPr>
                <p:spPr>
                  <a:xfrm rot="17025255">
                    <a:off x="6103202" y="2988215"/>
                    <a:ext cx="118267" cy="107639"/>
                  </a:xfrm>
                  <a:prstGeom prst="teardrop">
                    <a:avLst/>
                  </a:prstGeom>
                  <a:grpFill/>
                  <a:ln w="12700" cap="flat" cmpd="sng" algn="ctr">
                    <a:solidFill>
                      <a:srgbClr val="F79646">
                        <a:lumMod val="50000"/>
                      </a:srgbClr>
                    </a:solidFill>
                    <a:prstDash val="solid"/>
                  </a:ln>
                  <a:effectLst/>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0" cap="none" spc="0" normalizeH="0" baseline="0" noProof="0" dirty="0">
                      <a:ln>
                        <a:noFill/>
                      </a:ln>
                      <a:solidFill>
                        <a:prstClr val="black"/>
                      </a:solidFill>
                      <a:effectLst/>
                      <a:uLnTx/>
                      <a:uFillTx/>
                      <a:latin typeface="News Gothic MT" panose="020B0503020103020203" pitchFamily="34" charset="0"/>
                      <a:ea typeface="MS PGothic" charset="0"/>
                      <a:cs typeface="+mn-cs"/>
                    </a:endParaRPr>
                  </a:p>
                </p:txBody>
              </p:sp>
              <p:sp>
                <p:nvSpPr>
                  <p:cNvPr id="53" name="Teardrop 52">
                    <a:extLst>
                      <a:ext uri="{FF2B5EF4-FFF2-40B4-BE49-F238E27FC236}">
                        <a16:creationId xmlns:a16="http://schemas.microsoft.com/office/drawing/2014/main" id="{89E0231F-CC2C-4AE1-AA7C-F1B2F5612357}"/>
                      </a:ext>
                    </a:extLst>
                  </p:cNvPr>
                  <p:cNvSpPr/>
                  <p:nvPr/>
                </p:nvSpPr>
                <p:spPr>
                  <a:xfrm rot="3869114">
                    <a:off x="6101215" y="3062586"/>
                    <a:ext cx="65788" cy="53051"/>
                  </a:xfrm>
                  <a:prstGeom prst="teardrop">
                    <a:avLst/>
                  </a:prstGeom>
                  <a:grpFill/>
                  <a:ln w="12700" cap="flat" cmpd="sng" algn="ctr">
                    <a:solidFill>
                      <a:srgbClr val="F79646">
                        <a:lumMod val="50000"/>
                      </a:srgbClr>
                    </a:solidFill>
                    <a:prstDash val="solid"/>
                  </a:ln>
                  <a:effectLst/>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0" cap="none" spc="0" normalizeH="0" baseline="0" noProof="0" dirty="0">
                      <a:ln>
                        <a:noFill/>
                      </a:ln>
                      <a:solidFill>
                        <a:prstClr val="black"/>
                      </a:solidFill>
                      <a:effectLst/>
                      <a:uLnTx/>
                      <a:uFillTx/>
                      <a:latin typeface="News Gothic MT" panose="020B0503020103020203" pitchFamily="34" charset="0"/>
                      <a:ea typeface="MS PGothic" charset="0"/>
                      <a:cs typeface="+mn-cs"/>
                    </a:endParaRPr>
                  </a:p>
                </p:txBody>
              </p:sp>
              <p:sp>
                <p:nvSpPr>
                  <p:cNvPr id="54" name="Teardrop 53">
                    <a:extLst>
                      <a:ext uri="{FF2B5EF4-FFF2-40B4-BE49-F238E27FC236}">
                        <a16:creationId xmlns:a16="http://schemas.microsoft.com/office/drawing/2014/main" id="{B57A611A-D597-42DE-AC3D-CA8152473DE7}"/>
                      </a:ext>
                    </a:extLst>
                  </p:cNvPr>
                  <p:cNvSpPr/>
                  <p:nvPr/>
                </p:nvSpPr>
                <p:spPr>
                  <a:xfrm rot="11091085">
                    <a:off x="6174139" y="2974731"/>
                    <a:ext cx="71394" cy="48885"/>
                  </a:xfrm>
                  <a:prstGeom prst="teardrop">
                    <a:avLst/>
                  </a:prstGeom>
                  <a:grpFill/>
                  <a:ln w="12700" cap="flat" cmpd="sng" algn="ctr">
                    <a:solidFill>
                      <a:srgbClr val="F79646">
                        <a:lumMod val="50000"/>
                      </a:srgbClr>
                    </a:solidFill>
                    <a:prstDash val="solid"/>
                  </a:ln>
                  <a:effectLst/>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0" cap="none" spc="0" normalizeH="0" baseline="0" noProof="0" dirty="0">
                      <a:ln>
                        <a:noFill/>
                      </a:ln>
                      <a:solidFill>
                        <a:prstClr val="black"/>
                      </a:solidFill>
                      <a:effectLst/>
                      <a:uLnTx/>
                      <a:uFillTx/>
                      <a:latin typeface="News Gothic MT" panose="020B0503020103020203" pitchFamily="34" charset="0"/>
                      <a:ea typeface="MS PGothic" charset="0"/>
                      <a:cs typeface="+mn-cs"/>
                    </a:endParaRPr>
                  </a:p>
                </p:txBody>
              </p:sp>
              <p:sp>
                <p:nvSpPr>
                  <p:cNvPr id="55" name="Teardrop 54">
                    <a:extLst>
                      <a:ext uri="{FF2B5EF4-FFF2-40B4-BE49-F238E27FC236}">
                        <a16:creationId xmlns:a16="http://schemas.microsoft.com/office/drawing/2014/main" id="{42342097-1B48-4C7F-A406-DEB42D0690C3}"/>
                      </a:ext>
                    </a:extLst>
                  </p:cNvPr>
                  <p:cNvSpPr/>
                  <p:nvPr/>
                </p:nvSpPr>
                <p:spPr>
                  <a:xfrm rot="3118103">
                    <a:off x="6101748" y="2990127"/>
                    <a:ext cx="70359" cy="48885"/>
                  </a:xfrm>
                  <a:prstGeom prst="teardrop">
                    <a:avLst/>
                  </a:prstGeom>
                  <a:grpFill/>
                  <a:ln w="12700" cap="flat" cmpd="sng" algn="ctr">
                    <a:solidFill>
                      <a:srgbClr val="F79646">
                        <a:lumMod val="50000"/>
                      </a:srgbClr>
                    </a:solidFill>
                    <a:prstDash val="solid"/>
                  </a:ln>
                  <a:effectLst/>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0" cap="none" spc="0" normalizeH="0" baseline="0" noProof="0" dirty="0">
                      <a:ln>
                        <a:noFill/>
                      </a:ln>
                      <a:solidFill>
                        <a:prstClr val="black"/>
                      </a:solidFill>
                      <a:effectLst/>
                      <a:uLnTx/>
                      <a:uFillTx/>
                      <a:latin typeface="News Gothic MT" panose="020B0503020103020203" pitchFamily="34" charset="0"/>
                      <a:ea typeface="MS PGothic" charset="0"/>
                      <a:cs typeface="+mn-cs"/>
                    </a:endParaRPr>
                  </a:p>
                </p:txBody>
              </p:sp>
              <p:sp>
                <p:nvSpPr>
                  <p:cNvPr id="56" name="Teardrop 55">
                    <a:extLst>
                      <a:ext uri="{FF2B5EF4-FFF2-40B4-BE49-F238E27FC236}">
                        <a16:creationId xmlns:a16="http://schemas.microsoft.com/office/drawing/2014/main" id="{1EEF7C2A-E713-49D6-8B5B-17AC2D1BFE73}"/>
                      </a:ext>
                    </a:extLst>
                  </p:cNvPr>
                  <p:cNvSpPr/>
                  <p:nvPr/>
                </p:nvSpPr>
                <p:spPr>
                  <a:xfrm rot="12488966">
                    <a:off x="6179570" y="2985507"/>
                    <a:ext cx="70360" cy="48884"/>
                  </a:xfrm>
                  <a:prstGeom prst="teardrop">
                    <a:avLst/>
                  </a:prstGeom>
                  <a:grpFill/>
                  <a:ln w="12700" cap="flat" cmpd="sng" algn="ctr">
                    <a:solidFill>
                      <a:srgbClr val="F79646">
                        <a:lumMod val="50000"/>
                      </a:srgbClr>
                    </a:solidFill>
                    <a:prstDash val="solid"/>
                  </a:ln>
                  <a:effectLst/>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0" cap="none" spc="0" normalizeH="0" baseline="0" noProof="0" dirty="0">
                      <a:ln>
                        <a:noFill/>
                      </a:ln>
                      <a:solidFill>
                        <a:prstClr val="black"/>
                      </a:solidFill>
                      <a:effectLst/>
                      <a:uLnTx/>
                      <a:uFillTx/>
                      <a:latin typeface="News Gothic MT" panose="020B0503020103020203" pitchFamily="34" charset="0"/>
                      <a:ea typeface="MS PGothic" charset="0"/>
                      <a:cs typeface="+mn-cs"/>
                    </a:endParaRPr>
                  </a:p>
                </p:txBody>
              </p:sp>
              <p:sp>
                <p:nvSpPr>
                  <p:cNvPr id="57" name="Teardrop 56">
                    <a:extLst>
                      <a:ext uri="{FF2B5EF4-FFF2-40B4-BE49-F238E27FC236}">
                        <a16:creationId xmlns:a16="http://schemas.microsoft.com/office/drawing/2014/main" id="{0C6AC9E8-991E-4AD5-8FC3-4A24A8CE1C27}"/>
                      </a:ext>
                    </a:extLst>
                  </p:cNvPr>
                  <p:cNvSpPr/>
                  <p:nvPr/>
                </p:nvSpPr>
                <p:spPr>
                  <a:xfrm rot="17025255">
                    <a:off x="6188241" y="3044533"/>
                    <a:ext cx="48887" cy="71394"/>
                  </a:xfrm>
                  <a:prstGeom prst="teardrop">
                    <a:avLst/>
                  </a:prstGeom>
                  <a:grpFill/>
                  <a:ln w="12700" cap="flat" cmpd="sng" algn="ctr">
                    <a:solidFill>
                      <a:srgbClr val="F79646">
                        <a:lumMod val="50000"/>
                      </a:srgbClr>
                    </a:solidFill>
                    <a:prstDash val="solid"/>
                  </a:ln>
                  <a:effectLst/>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0" cap="none" spc="0" normalizeH="0" baseline="0" noProof="0" dirty="0">
                      <a:ln>
                        <a:noFill/>
                      </a:ln>
                      <a:solidFill>
                        <a:prstClr val="black"/>
                      </a:solidFill>
                      <a:effectLst/>
                      <a:uLnTx/>
                      <a:uFillTx/>
                      <a:latin typeface="News Gothic MT" panose="020B0503020103020203" pitchFamily="34" charset="0"/>
                      <a:ea typeface="MS PGothic" charset="0"/>
                      <a:cs typeface="+mn-cs"/>
                    </a:endParaRPr>
                  </a:p>
                </p:txBody>
              </p:sp>
              <p:sp>
                <p:nvSpPr>
                  <p:cNvPr id="58" name="Teardrop 57">
                    <a:extLst>
                      <a:ext uri="{FF2B5EF4-FFF2-40B4-BE49-F238E27FC236}">
                        <a16:creationId xmlns:a16="http://schemas.microsoft.com/office/drawing/2014/main" id="{13458CE7-2BB0-40C8-8A49-4B154D05A05D}"/>
                      </a:ext>
                    </a:extLst>
                  </p:cNvPr>
                  <p:cNvSpPr/>
                  <p:nvPr/>
                </p:nvSpPr>
                <p:spPr>
                  <a:xfrm>
                    <a:off x="6096000" y="3048000"/>
                    <a:ext cx="71394" cy="48885"/>
                  </a:xfrm>
                  <a:prstGeom prst="teardrop">
                    <a:avLst/>
                  </a:prstGeom>
                  <a:grpFill/>
                  <a:ln w="12700" cap="flat" cmpd="sng" algn="ctr">
                    <a:solidFill>
                      <a:srgbClr val="F79646">
                        <a:lumMod val="50000"/>
                      </a:srgbClr>
                    </a:solidFill>
                    <a:prstDash val="solid"/>
                  </a:ln>
                  <a:effectLst/>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0" cap="none" spc="0" normalizeH="0" baseline="0" noProof="0" dirty="0">
                      <a:ln>
                        <a:noFill/>
                      </a:ln>
                      <a:solidFill>
                        <a:prstClr val="black"/>
                      </a:solidFill>
                      <a:effectLst/>
                      <a:uLnTx/>
                      <a:uFillTx/>
                      <a:latin typeface="News Gothic MT" panose="020B0503020103020203" pitchFamily="34" charset="0"/>
                      <a:ea typeface="MS PGothic" charset="0"/>
                      <a:cs typeface="+mn-cs"/>
                    </a:endParaRPr>
                  </a:p>
                </p:txBody>
              </p:sp>
              <p:sp>
                <p:nvSpPr>
                  <p:cNvPr id="59" name="Teardrop 58">
                    <a:extLst>
                      <a:ext uri="{FF2B5EF4-FFF2-40B4-BE49-F238E27FC236}">
                        <a16:creationId xmlns:a16="http://schemas.microsoft.com/office/drawing/2014/main" id="{8C459B60-5A39-4556-B61D-400EF984F9C9}"/>
                      </a:ext>
                    </a:extLst>
                  </p:cNvPr>
                  <p:cNvSpPr/>
                  <p:nvPr/>
                </p:nvSpPr>
                <p:spPr>
                  <a:xfrm rot="7058568">
                    <a:off x="6171537" y="2994108"/>
                    <a:ext cx="78026" cy="45719"/>
                  </a:xfrm>
                  <a:prstGeom prst="teardrop">
                    <a:avLst/>
                  </a:prstGeom>
                  <a:grpFill/>
                  <a:ln w="12700" cap="flat" cmpd="sng" algn="ctr">
                    <a:solidFill>
                      <a:srgbClr val="F79646">
                        <a:lumMod val="50000"/>
                      </a:srgbClr>
                    </a:solidFill>
                    <a:prstDash val="solid"/>
                  </a:ln>
                  <a:effectLst/>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0" cap="none" spc="0" normalizeH="0" baseline="0" noProof="0" dirty="0">
                      <a:ln>
                        <a:noFill/>
                      </a:ln>
                      <a:solidFill>
                        <a:prstClr val="black"/>
                      </a:solidFill>
                      <a:effectLst/>
                      <a:uLnTx/>
                      <a:uFillTx/>
                      <a:latin typeface="News Gothic MT" panose="020B0503020103020203" pitchFamily="34" charset="0"/>
                      <a:ea typeface="MS PGothic" charset="0"/>
                      <a:cs typeface="+mn-cs"/>
                    </a:endParaRPr>
                  </a:p>
                </p:txBody>
              </p:sp>
            </p:grpSp>
            <p:sp>
              <p:nvSpPr>
                <p:cNvPr id="51" name="Oval 50">
                  <a:extLst>
                    <a:ext uri="{FF2B5EF4-FFF2-40B4-BE49-F238E27FC236}">
                      <a16:creationId xmlns:a16="http://schemas.microsoft.com/office/drawing/2014/main" id="{1F447FB6-8C03-40FC-A66A-846C03AE1D39}"/>
                    </a:ext>
                  </a:extLst>
                </p:cNvPr>
                <p:cNvSpPr/>
                <p:nvPr/>
              </p:nvSpPr>
              <p:spPr>
                <a:xfrm>
                  <a:off x="6477000" y="2895600"/>
                  <a:ext cx="76200" cy="76200"/>
                </a:xfrm>
                <a:prstGeom prst="ellipse">
                  <a:avLst/>
                </a:prstGeom>
                <a:solidFill>
                  <a:srgbClr val="663300"/>
                </a:solidFill>
                <a:ln w="25400" cap="flat" cmpd="sng" algn="ctr">
                  <a:solidFill>
                    <a:srgbClr val="663300"/>
                  </a:solidFill>
                  <a:prstDash val="solid"/>
                </a:ln>
                <a:effectLst/>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0" cap="none" spc="0" normalizeH="0" baseline="0" noProof="0" dirty="0">
                    <a:ln>
                      <a:noFill/>
                    </a:ln>
                    <a:solidFill>
                      <a:prstClr val="white"/>
                    </a:solidFill>
                    <a:effectLst/>
                    <a:uLnTx/>
                    <a:uFillTx/>
                    <a:latin typeface="News Gothic MT" panose="020B0503020103020203" pitchFamily="34" charset="0"/>
                    <a:ea typeface="MS PGothic" charset="0"/>
                    <a:cs typeface="+mn-cs"/>
                  </a:endParaRPr>
                </a:p>
              </p:txBody>
            </p:sp>
          </p:grpSp>
          <p:sp>
            <p:nvSpPr>
              <p:cNvPr id="46" name="Arc 45">
                <a:extLst>
                  <a:ext uri="{FF2B5EF4-FFF2-40B4-BE49-F238E27FC236}">
                    <a16:creationId xmlns:a16="http://schemas.microsoft.com/office/drawing/2014/main" id="{BCE0A133-2ABF-46D7-A05B-719806CB4567}"/>
                  </a:ext>
                </a:extLst>
              </p:cNvPr>
              <p:cNvSpPr/>
              <p:nvPr/>
            </p:nvSpPr>
            <p:spPr>
              <a:xfrm>
                <a:off x="3215084" y="4035822"/>
                <a:ext cx="45719" cy="45719"/>
              </a:xfrm>
              <a:prstGeom prst="arc">
                <a:avLst/>
              </a:prstGeom>
              <a:grpFill/>
              <a:ln w="9525" cap="flat" cmpd="sng" algn="ctr">
                <a:solidFill>
                  <a:srgbClr val="F79646">
                    <a:lumMod val="50000"/>
                  </a:srgbClr>
                </a:solidFill>
                <a:prstDash val="solid"/>
              </a:ln>
              <a:effectLst/>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0" cap="none" spc="0" normalizeH="0" baseline="0" noProof="0" dirty="0">
                  <a:ln>
                    <a:noFill/>
                  </a:ln>
                  <a:solidFill>
                    <a:prstClr val="black"/>
                  </a:solidFill>
                  <a:effectLst/>
                  <a:uLnTx/>
                  <a:uFillTx/>
                  <a:latin typeface="News Gothic MT" panose="020B0503020103020203" pitchFamily="34" charset="0"/>
                  <a:ea typeface="MS PGothic" charset="0"/>
                  <a:cs typeface="+mn-cs"/>
                </a:endParaRPr>
              </a:p>
            </p:txBody>
          </p:sp>
          <p:sp>
            <p:nvSpPr>
              <p:cNvPr id="47" name="Arc 46">
                <a:extLst>
                  <a:ext uri="{FF2B5EF4-FFF2-40B4-BE49-F238E27FC236}">
                    <a16:creationId xmlns:a16="http://schemas.microsoft.com/office/drawing/2014/main" id="{07B96DDF-BE12-4DE1-B3E7-B279CB6919B8}"/>
                  </a:ext>
                </a:extLst>
              </p:cNvPr>
              <p:cNvSpPr/>
              <p:nvPr/>
            </p:nvSpPr>
            <p:spPr>
              <a:xfrm flipV="1">
                <a:off x="3215084" y="3959622"/>
                <a:ext cx="45719" cy="45719"/>
              </a:xfrm>
              <a:prstGeom prst="arc">
                <a:avLst/>
              </a:prstGeom>
              <a:grpFill/>
              <a:ln w="9525" cap="flat" cmpd="sng" algn="ctr">
                <a:solidFill>
                  <a:srgbClr val="F79646">
                    <a:lumMod val="50000"/>
                  </a:srgbClr>
                </a:solidFill>
                <a:prstDash val="solid"/>
              </a:ln>
              <a:effectLst/>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0" cap="none" spc="0" normalizeH="0" baseline="0" noProof="0" dirty="0">
                  <a:ln>
                    <a:noFill/>
                  </a:ln>
                  <a:solidFill>
                    <a:prstClr val="black"/>
                  </a:solidFill>
                  <a:effectLst/>
                  <a:uLnTx/>
                  <a:uFillTx/>
                  <a:latin typeface="News Gothic MT" panose="020B0503020103020203" pitchFamily="34" charset="0"/>
                  <a:ea typeface="MS PGothic" charset="0"/>
                  <a:cs typeface="+mn-cs"/>
                </a:endParaRPr>
              </a:p>
            </p:txBody>
          </p:sp>
          <p:sp>
            <p:nvSpPr>
              <p:cNvPr id="48" name="Arc 47">
                <a:extLst>
                  <a:ext uri="{FF2B5EF4-FFF2-40B4-BE49-F238E27FC236}">
                    <a16:creationId xmlns:a16="http://schemas.microsoft.com/office/drawing/2014/main" id="{87838E66-8521-4F6E-B0E0-5521CC9EFD1E}"/>
                  </a:ext>
                </a:extLst>
              </p:cNvPr>
              <p:cNvSpPr/>
              <p:nvPr/>
            </p:nvSpPr>
            <p:spPr>
              <a:xfrm rot="6954699">
                <a:off x="3144202" y="3964940"/>
                <a:ext cx="76200" cy="76200"/>
              </a:xfrm>
              <a:prstGeom prst="arc">
                <a:avLst/>
              </a:prstGeom>
              <a:grpFill/>
              <a:ln w="9525" cap="flat" cmpd="sng" algn="ctr">
                <a:solidFill>
                  <a:srgbClr val="F79646">
                    <a:lumMod val="50000"/>
                  </a:srgbClr>
                </a:solidFill>
                <a:prstDash val="solid"/>
              </a:ln>
              <a:effectLst/>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0" cap="none" spc="0" normalizeH="0" baseline="0" noProof="0" dirty="0">
                  <a:ln>
                    <a:noFill/>
                  </a:ln>
                  <a:solidFill>
                    <a:prstClr val="black"/>
                  </a:solidFill>
                  <a:effectLst/>
                  <a:uLnTx/>
                  <a:uFillTx/>
                  <a:latin typeface="News Gothic MT" panose="020B0503020103020203" pitchFamily="34" charset="0"/>
                  <a:ea typeface="MS PGothic" charset="0"/>
                  <a:cs typeface="+mn-cs"/>
                </a:endParaRPr>
              </a:p>
            </p:txBody>
          </p:sp>
          <p:sp>
            <p:nvSpPr>
              <p:cNvPr id="49" name="Arc 48">
                <a:extLst>
                  <a:ext uri="{FF2B5EF4-FFF2-40B4-BE49-F238E27FC236}">
                    <a16:creationId xmlns:a16="http://schemas.microsoft.com/office/drawing/2014/main" id="{8531E30B-7469-41DD-9DB6-C029BC24436A}"/>
                  </a:ext>
                </a:extLst>
              </p:cNvPr>
              <p:cNvSpPr/>
              <p:nvPr/>
            </p:nvSpPr>
            <p:spPr>
              <a:xfrm rot="13076909">
                <a:off x="3221742" y="4052510"/>
                <a:ext cx="69996" cy="45719"/>
              </a:xfrm>
              <a:prstGeom prst="arc">
                <a:avLst/>
              </a:prstGeom>
              <a:grpFill/>
              <a:ln w="9525" cap="flat" cmpd="sng" algn="ctr">
                <a:solidFill>
                  <a:srgbClr val="F79646">
                    <a:lumMod val="50000"/>
                  </a:srgbClr>
                </a:solidFill>
                <a:prstDash val="solid"/>
              </a:ln>
              <a:effectLst/>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0" cap="none" spc="0" normalizeH="0" baseline="0" noProof="0" dirty="0">
                  <a:ln>
                    <a:noFill/>
                  </a:ln>
                  <a:solidFill>
                    <a:prstClr val="black"/>
                  </a:solidFill>
                  <a:effectLst/>
                  <a:uLnTx/>
                  <a:uFillTx/>
                  <a:latin typeface="News Gothic MT" panose="020B0503020103020203" pitchFamily="34" charset="0"/>
                  <a:ea typeface="MS PGothic" charset="0"/>
                  <a:cs typeface="+mn-cs"/>
                </a:endParaRPr>
              </a:p>
            </p:txBody>
          </p:sp>
        </p:grpSp>
        <p:grpSp>
          <p:nvGrpSpPr>
            <p:cNvPr id="63" name="Group 77">
              <a:extLst>
                <a:ext uri="{FF2B5EF4-FFF2-40B4-BE49-F238E27FC236}">
                  <a16:creationId xmlns:a16="http://schemas.microsoft.com/office/drawing/2014/main" id="{3E8A3DC6-E5DD-483C-B74C-40F67F853BE6}"/>
                </a:ext>
              </a:extLst>
            </p:cNvPr>
            <p:cNvGrpSpPr/>
            <p:nvPr/>
          </p:nvGrpSpPr>
          <p:grpSpPr>
            <a:xfrm rot="4998310">
              <a:off x="7061265" y="1879446"/>
              <a:ext cx="228600" cy="304800"/>
              <a:chOff x="3124200" y="3959622"/>
              <a:chExt cx="184547" cy="152400"/>
            </a:xfrm>
            <a:solidFill>
              <a:srgbClr val="663300"/>
            </a:solidFill>
          </p:grpSpPr>
          <p:sp>
            <p:nvSpPr>
              <p:cNvPr id="64" name="Freeform 88">
                <a:extLst>
                  <a:ext uri="{FF2B5EF4-FFF2-40B4-BE49-F238E27FC236}">
                    <a16:creationId xmlns:a16="http://schemas.microsoft.com/office/drawing/2014/main" id="{856D5504-2548-4487-93CF-C81E2EC86819}"/>
                  </a:ext>
                </a:extLst>
              </p:cNvPr>
              <p:cNvSpPr/>
              <p:nvPr/>
            </p:nvSpPr>
            <p:spPr>
              <a:xfrm>
                <a:off x="3124200" y="3962400"/>
                <a:ext cx="184547" cy="147638"/>
              </a:xfrm>
              <a:custGeom>
                <a:avLst/>
                <a:gdLst>
                  <a:gd name="connsiteX0" fmla="*/ 107553 w 184547"/>
                  <a:gd name="connsiteY0" fmla="*/ 4366 h 147638"/>
                  <a:gd name="connsiteX1" fmla="*/ 174228 w 184547"/>
                  <a:gd name="connsiteY1" fmla="*/ 51991 h 147638"/>
                  <a:gd name="connsiteX2" fmla="*/ 169465 w 184547"/>
                  <a:gd name="connsiteY2" fmla="*/ 85328 h 147638"/>
                  <a:gd name="connsiteX3" fmla="*/ 155178 w 184547"/>
                  <a:gd name="connsiteY3" fmla="*/ 106760 h 147638"/>
                  <a:gd name="connsiteX4" fmla="*/ 124222 w 184547"/>
                  <a:gd name="connsiteY4" fmla="*/ 137716 h 147638"/>
                  <a:gd name="connsiteX5" fmla="*/ 107553 w 184547"/>
                  <a:gd name="connsiteY5" fmla="*/ 144860 h 147638"/>
                  <a:gd name="connsiteX6" fmla="*/ 90884 w 184547"/>
                  <a:gd name="connsiteY6" fmla="*/ 144860 h 147638"/>
                  <a:gd name="connsiteX7" fmla="*/ 67072 w 184547"/>
                  <a:gd name="connsiteY7" fmla="*/ 128191 h 147638"/>
                  <a:gd name="connsiteX8" fmla="*/ 14684 w 184547"/>
                  <a:gd name="connsiteY8" fmla="*/ 87710 h 147638"/>
                  <a:gd name="connsiteX9" fmla="*/ 397 w 184547"/>
                  <a:gd name="connsiteY9" fmla="*/ 61516 h 147638"/>
                  <a:gd name="connsiteX10" fmla="*/ 17065 w 184547"/>
                  <a:gd name="connsiteY10" fmla="*/ 37703 h 147638"/>
                  <a:gd name="connsiteX11" fmla="*/ 48022 w 184547"/>
                  <a:gd name="connsiteY11" fmla="*/ 25797 h 147638"/>
                  <a:gd name="connsiteX12" fmla="*/ 107553 w 184547"/>
                  <a:gd name="connsiteY12" fmla="*/ 4366 h 147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4547" h="147638">
                    <a:moveTo>
                      <a:pt x="107553" y="4366"/>
                    </a:moveTo>
                    <a:cubicBezTo>
                      <a:pt x="128587" y="8732"/>
                      <a:pt x="163909" y="38497"/>
                      <a:pt x="174228" y="51991"/>
                    </a:cubicBezTo>
                    <a:cubicBezTo>
                      <a:pt x="184547" y="65485"/>
                      <a:pt x="172640" y="76200"/>
                      <a:pt x="169465" y="85328"/>
                    </a:cubicBezTo>
                    <a:cubicBezTo>
                      <a:pt x="166290" y="94456"/>
                      <a:pt x="162719" y="98029"/>
                      <a:pt x="155178" y="106760"/>
                    </a:cubicBezTo>
                    <a:cubicBezTo>
                      <a:pt x="147637" y="115491"/>
                      <a:pt x="132159" y="131366"/>
                      <a:pt x="124222" y="137716"/>
                    </a:cubicBezTo>
                    <a:cubicBezTo>
                      <a:pt x="116285" y="144066"/>
                      <a:pt x="113109" y="143669"/>
                      <a:pt x="107553" y="144860"/>
                    </a:cubicBezTo>
                    <a:cubicBezTo>
                      <a:pt x="101997" y="146051"/>
                      <a:pt x="97631" y="147638"/>
                      <a:pt x="90884" y="144860"/>
                    </a:cubicBezTo>
                    <a:cubicBezTo>
                      <a:pt x="84137" y="142082"/>
                      <a:pt x="79772" y="137716"/>
                      <a:pt x="67072" y="128191"/>
                    </a:cubicBezTo>
                    <a:cubicBezTo>
                      <a:pt x="54372" y="118666"/>
                      <a:pt x="25796" y="98822"/>
                      <a:pt x="14684" y="87710"/>
                    </a:cubicBezTo>
                    <a:cubicBezTo>
                      <a:pt x="3572" y="76598"/>
                      <a:pt x="0" y="69850"/>
                      <a:pt x="397" y="61516"/>
                    </a:cubicBezTo>
                    <a:cubicBezTo>
                      <a:pt x="794" y="53182"/>
                      <a:pt x="9128" y="43656"/>
                      <a:pt x="17065" y="37703"/>
                    </a:cubicBezTo>
                    <a:cubicBezTo>
                      <a:pt x="25002" y="31750"/>
                      <a:pt x="33338" y="30162"/>
                      <a:pt x="48022" y="25797"/>
                    </a:cubicBezTo>
                    <a:cubicBezTo>
                      <a:pt x="62706" y="21432"/>
                      <a:pt x="86519" y="0"/>
                      <a:pt x="107553" y="4366"/>
                    </a:cubicBezTo>
                    <a:close/>
                  </a:path>
                </a:pathLst>
              </a:custGeom>
              <a:grpFill/>
              <a:ln w="9525" cap="flat" cmpd="sng" algn="ctr">
                <a:solidFill>
                  <a:srgbClr val="F79646">
                    <a:lumMod val="50000"/>
                  </a:srgbClr>
                </a:solidFill>
                <a:prstDash val="solid"/>
              </a:ln>
              <a:effectLst/>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0" cap="none" spc="0" normalizeH="0" baseline="0" noProof="0" dirty="0">
                  <a:ln>
                    <a:noFill/>
                  </a:ln>
                  <a:solidFill>
                    <a:prstClr val="white"/>
                  </a:solidFill>
                  <a:effectLst/>
                  <a:uLnTx/>
                  <a:uFillTx/>
                  <a:latin typeface="News Gothic MT" panose="020B0503020103020203" pitchFamily="34" charset="0"/>
                  <a:ea typeface="MS PGothic" charset="0"/>
                  <a:cs typeface="+mn-cs"/>
                </a:endParaRPr>
              </a:p>
            </p:txBody>
          </p:sp>
          <p:grpSp>
            <p:nvGrpSpPr>
              <p:cNvPr id="65" name="Group 71">
                <a:extLst>
                  <a:ext uri="{FF2B5EF4-FFF2-40B4-BE49-F238E27FC236}">
                    <a16:creationId xmlns:a16="http://schemas.microsoft.com/office/drawing/2014/main" id="{25617DFB-5F7F-400A-8509-CCB1DE2C3510}"/>
                  </a:ext>
                </a:extLst>
              </p:cNvPr>
              <p:cNvGrpSpPr/>
              <p:nvPr/>
            </p:nvGrpSpPr>
            <p:grpSpPr>
              <a:xfrm>
                <a:off x="3138884" y="3959622"/>
                <a:ext cx="152400" cy="152400"/>
                <a:chOff x="6400800" y="2819400"/>
                <a:chExt cx="228600" cy="228600"/>
              </a:xfrm>
              <a:grpFill/>
            </p:grpSpPr>
            <p:grpSp>
              <p:nvGrpSpPr>
                <p:cNvPr id="70" name="Group 69">
                  <a:extLst>
                    <a:ext uri="{FF2B5EF4-FFF2-40B4-BE49-F238E27FC236}">
                      <a16:creationId xmlns:a16="http://schemas.microsoft.com/office/drawing/2014/main" id="{EE5783BE-C4DA-41C1-84A9-6C082D72F3F1}"/>
                    </a:ext>
                  </a:extLst>
                </p:cNvPr>
                <p:cNvGrpSpPr/>
                <p:nvPr/>
              </p:nvGrpSpPr>
              <p:grpSpPr>
                <a:xfrm>
                  <a:off x="6400800" y="2819400"/>
                  <a:ext cx="228600" cy="228600"/>
                  <a:chOff x="6096000" y="2974731"/>
                  <a:chExt cx="153930" cy="147275"/>
                </a:xfrm>
                <a:grpFill/>
              </p:grpSpPr>
              <p:sp>
                <p:nvSpPr>
                  <p:cNvPr id="72" name="Teardrop 71">
                    <a:extLst>
                      <a:ext uri="{FF2B5EF4-FFF2-40B4-BE49-F238E27FC236}">
                        <a16:creationId xmlns:a16="http://schemas.microsoft.com/office/drawing/2014/main" id="{B172ACB7-1C26-4DC1-A2BF-89C2FC7999E4}"/>
                      </a:ext>
                    </a:extLst>
                  </p:cNvPr>
                  <p:cNvSpPr/>
                  <p:nvPr/>
                </p:nvSpPr>
                <p:spPr>
                  <a:xfrm rot="17025255">
                    <a:off x="6103202" y="2988215"/>
                    <a:ext cx="118267" cy="107639"/>
                  </a:xfrm>
                  <a:prstGeom prst="teardrop">
                    <a:avLst/>
                  </a:prstGeom>
                  <a:grpFill/>
                  <a:ln w="12700" cap="flat" cmpd="sng" algn="ctr">
                    <a:solidFill>
                      <a:srgbClr val="F79646">
                        <a:lumMod val="50000"/>
                      </a:srgbClr>
                    </a:solidFill>
                    <a:prstDash val="solid"/>
                  </a:ln>
                  <a:effectLst/>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0" cap="none" spc="0" normalizeH="0" baseline="0" noProof="0" dirty="0">
                      <a:ln>
                        <a:noFill/>
                      </a:ln>
                      <a:solidFill>
                        <a:prstClr val="black"/>
                      </a:solidFill>
                      <a:effectLst/>
                      <a:uLnTx/>
                      <a:uFillTx/>
                      <a:latin typeface="News Gothic MT" panose="020B0503020103020203" pitchFamily="34" charset="0"/>
                      <a:ea typeface="MS PGothic" charset="0"/>
                      <a:cs typeface="+mn-cs"/>
                    </a:endParaRPr>
                  </a:p>
                </p:txBody>
              </p:sp>
              <p:sp>
                <p:nvSpPr>
                  <p:cNvPr id="73" name="Teardrop 72">
                    <a:extLst>
                      <a:ext uri="{FF2B5EF4-FFF2-40B4-BE49-F238E27FC236}">
                        <a16:creationId xmlns:a16="http://schemas.microsoft.com/office/drawing/2014/main" id="{AA791C20-9119-47B4-99D0-D7CBE698FAF3}"/>
                      </a:ext>
                    </a:extLst>
                  </p:cNvPr>
                  <p:cNvSpPr/>
                  <p:nvPr/>
                </p:nvSpPr>
                <p:spPr>
                  <a:xfrm rot="3869114">
                    <a:off x="6101215" y="3062586"/>
                    <a:ext cx="65788" cy="53051"/>
                  </a:xfrm>
                  <a:prstGeom prst="teardrop">
                    <a:avLst/>
                  </a:prstGeom>
                  <a:grpFill/>
                  <a:ln w="12700" cap="flat" cmpd="sng" algn="ctr">
                    <a:solidFill>
                      <a:srgbClr val="F79646">
                        <a:lumMod val="50000"/>
                      </a:srgbClr>
                    </a:solidFill>
                    <a:prstDash val="solid"/>
                  </a:ln>
                  <a:effectLst/>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0" cap="none" spc="0" normalizeH="0" baseline="0" noProof="0" dirty="0">
                      <a:ln>
                        <a:noFill/>
                      </a:ln>
                      <a:solidFill>
                        <a:prstClr val="black"/>
                      </a:solidFill>
                      <a:effectLst/>
                      <a:uLnTx/>
                      <a:uFillTx/>
                      <a:latin typeface="News Gothic MT" panose="020B0503020103020203" pitchFamily="34" charset="0"/>
                      <a:ea typeface="MS PGothic" charset="0"/>
                      <a:cs typeface="+mn-cs"/>
                    </a:endParaRPr>
                  </a:p>
                </p:txBody>
              </p:sp>
              <p:sp>
                <p:nvSpPr>
                  <p:cNvPr id="74" name="Teardrop 73">
                    <a:extLst>
                      <a:ext uri="{FF2B5EF4-FFF2-40B4-BE49-F238E27FC236}">
                        <a16:creationId xmlns:a16="http://schemas.microsoft.com/office/drawing/2014/main" id="{FE8344BB-2AF3-401A-AFFD-09B416365106}"/>
                      </a:ext>
                    </a:extLst>
                  </p:cNvPr>
                  <p:cNvSpPr/>
                  <p:nvPr/>
                </p:nvSpPr>
                <p:spPr>
                  <a:xfrm rot="11091085">
                    <a:off x="6174139" y="2974731"/>
                    <a:ext cx="71394" cy="48885"/>
                  </a:xfrm>
                  <a:prstGeom prst="teardrop">
                    <a:avLst/>
                  </a:prstGeom>
                  <a:grpFill/>
                  <a:ln w="12700" cap="flat" cmpd="sng" algn="ctr">
                    <a:solidFill>
                      <a:srgbClr val="F79646">
                        <a:lumMod val="50000"/>
                      </a:srgbClr>
                    </a:solidFill>
                    <a:prstDash val="solid"/>
                  </a:ln>
                  <a:effectLst/>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0" cap="none" spc="0" normalizeH="0" baseline="0" noProof="0" dirty="0">
                      <a:ln>
                        <a:noFill/>
                      </a:ln>
                      <a:solidFill>
                        <a:prstClr val="black"/>
                      </a:solidFill>
                      <a:effectLst/>
                      <a:uLnTx/>
                      <a:uFillTx/>
                      <a:latin typeface="News Gothic MT" panose="020B0503020103020203" pitchFamily="34" charset="0"/>
                      <a:ea typeface="MS PGothic" charset="0"/>
                      <a:cs typeface="+mn-cs"/>
                    </a:endParaRPr>
                  </a:p>
                </p:txBody>
              </p:sp>
              <p:sp>
                <p:nvSpPr>
                  <p:cNvPr id="75" name="Teardrop 74">
                    <a:extLst>
                      <a:ext uri="{FF2B5EF4-FFF2-40B4-BE49-F238E27FC236}">
                        <a16:creationId xmlns:a16="http://schemas.microsoft.com/office/drawing/2014/main" id="{87222002-95D2-4563-850D-EB8D09E3045F}"/>
                      </a:ext>
                    </a:extLst>
                  </p:cNvPr>
                  <p:cNvSpPr/>
                  <p:nvPr/>
                </p:nvSpPr>
                <p:spPr>
                  <a:xfrm rot="3118103">
                    <a:off x="6101748" y="2990127"/>
                    <a:ext cx="70359" cy="48885"/>
                  </a:xfrm>
                  <a:prstGeom prst="teardrop">
                    <a:avLst/>
                  </a:prstGeom>
                  <a:grpFill/>
                  <a:ln w="12700" cap="flat" cmpd="sng" algn="ctr">
                    <a:solidFill>
                      <a:srgbClr val="F79646">
                        <a:lumMod val="50000"/>
                      </a:srgbClr>
                    </a:solidFill>
                    <a:prstDash val="solid"/>
                  </a:ln>
                  <a:effectLst/>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0" cap="none" spc="0" normalizeH="0" baseline="0" noProof="0" dirty="0">
                      <a:ln>
                        <a:noFill/>
                      </a:ln>
                      <a:solidFill>
                        <a:prstClr val="black"/>
                      </a:solidFill>
                      <a:effectLst/>
                      <a:uLnTx/>
                      <a:uFillTx/>
                      <a:latin typeface="News Gothic MT" panose="020B0503020103020203" pitchFamily="34" charset="0"/>
                      <a:ea typeface="MS PGothic" charset="0"/>
                      <a:cs typeface="+mn-cs"/>
                    </a:endParaRPr>
                  </a:p>
                </p:txBody>
              </p:sp>
              <p:sp>
                <p:nvSpPr>
                  <p:cNvPr id="76" name="Teardrop 75">
                    <a:extLst>
                      <a:ext uri="{FF2B5EF4-FFF2-40B4-BE49-F238E27FC236}">
                        <a16:creationId xmlns:a16="http://schemas.microsoft.com/office/drawing/2014/main" id="{D8A91074-ECB9-49B5-B319-A0ADB7E89D45}"/>
                      </a:ext>
                    </a:extLst>
                  </p:cNvPr>
                  <p:cNvSpPr/>
                  <p:nvPr/>
                </p:nvSpPr>
                <p:spPr>
                  <a:xfrm rot="12488966">
                    <a:off x="6179570" y="2985507"/>
                    <a:ext cx="70360" cy="48884"/>
                  </a:xfrm>
                  <a:prstGeom prst="teardrop">
                    <a:avLst/>
                  </a:prstGeom>
                  <a:grpFill/>
                  <a:ln w="12700" cap="flat" cmpd="sng" algn="ctr">
                    <a:solidFill>
                      <a:srgbClr val="F79646">
                        <a:lumMod val="50000"/>
                      </a:srgbClr>
                    </a:solidFill>
                    <a:prstDash val="solid"/>
                  </a:ln>
                  <a:effectLst/>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0" cap="none" spc="0" normalizeH="0" baseline="0" noProof="0" dirty="0">
                      <a:ln>
                        <a:noFill/>
                      </a:ln>
                      <a:solidFill>
                        <a:prstClr val="black"/>
                      </a:solidFill>
                      <a:effectLst/>
                      <a:uLnTx/>
                      <a:uFillTx/>
                      <a:latin typeface="News Gothic MT" panose="020B0503020103020203" pitchFamily="34" charset="0"/>
                      <a:ea typeface="MS PGothic" charset="0"/>
                      <a:cs typeface="+mn-cs"/>
                    </a:endParaRPr>
                  </a:p>
                </p:txBody>
              </p:sp>
              <p:sp>
                <p:nvSpPr>
                  <p:cNvPr id="77" name="Teardrop 76">
                    <a:extLst>
                      <a:ext uri="{FF2B5EF4-FFF2-40B4-BE49-F238E27FC236}">
                        <a16:creationId xmlns:a16="http://schemas.microsoft.com/office/drawing/2014/main" id="{D9165053-D399-4025-B2C7-73DB21C2F509}"/>
                      </a:ext>
                    </a:extLst>
                  </p:cNvPr>
                  <p:cNvSpPr/>
                  <p:nvPr/>
                </p:nvSpPr>
                <p:spPr>
                  <a:xfrm rot="17025255">
                    <a:off x="6188241" y="3044533"/>
                    <a:ext cx="48887" cy="71394"/>
                  </a:xfrm>
                  <a:prstGeom prst="teardrop">
                    <a:avLst/>
                  </a:prstGeom>
                  <a:grpFill/>
                  <a:ln w="12700" cap="flat" cmpd="sng" algn="ctr">
                    <a:solidFill>
                      <a:srgbClr val="F79646">
                        <a:lumMod val="50000"/>
                      </a:srgbClr>
                    </a:solidFill>
                    <a:prstDash val="solid"/>
                  </a:ln>
                  <a:effectLst/>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0" cap="none" spc="0" normalizeH="0" baseline="0" noProof="0" dirty="0">
                      <a:ln>
                        <a:noFill/>
                      </a:ln>
                      <a:solidFill>
                        <a:prstClr val="black"/>
                      </a:solidFill>
                      <a:effectLst/>
                      <a:uLnTx/>
                      <a:uFillTx/>
                      <a:latin typeface="News Gothic MT" panose="020B0503020103020203" pitchFamily="34" charset="0"/>
                      <a:ea typeface="MS PGothic" charset="0"/>
                      <a:cs typeface="+mn-cs"/>
                    </a:endParaRPr>
                  </a:p>
                </p:txBody>
              </p:sp>
              <p:sp>
                <p:nvSpPr>
                  <p:cNvPr id="78" name="Teardrop 77">
                    <a:extLst>
                      <a:ext uri="{FF2B5EF4-FFF2-40B4-BE49-F238E27FC236}">
                        <a16:creationId xmlns:a16="http://schemas.microsoft.com/office/drawing/2014/main" id="{9ECC595C-F096-4EE8-B602-CD0BD1BAE3B3}"/>
                      </a:ext>
                    </a:extLst>
                  </p:cNvPr>
                  <p:cNvSpPr/>
                  <p:nvPr/>
                </p:nvSpPr>
                <p:spPr>
                  <a:xfrm>
                    <a:off x="6096000" y="3048000"/>
                    <a:ext cx="71394" cy="48885"/>
                  </a:xfrm>
                  <a:prstGeom prst="teardrop">
                    <a:avLst/>
                  </a:prstGeom>
                  <a:grpFill/>
                  <a:ln w="12700" cap="flat" cmpd="sng" algn="ctr">
                    <a:solidFill>
                      <a:srgbClr val="F79646">
                        <a:lumMod val="50000"/>
                      </a:srgbClr>
                    </a:solidFill>
                    <a:prstDash val="solid"/>
                  </a:ln>
                  <a:effectLst/>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0" cap="none" spc="0" normalizeH="0" baseline="0" noProof="0" dirty="0">
                      <a:ln>
                        <a:noFill/>
                      </a:ln>
                      <a:solidFill>
                        <a:prstClr val="black"/>
                      </a:solidFill>
                      <a:effectLst/>
                      <a:uLnTx/>
                      <a:uFillTx/>
                      <a:latin typeface="News Gothic MT" panose="020B0503020103020203" pitchFamily="34" charset="0"/>
                      <a:ea typeface="MS PGothic" charset="0"/>
                      <a:cs typeface="+mn-cs"/>
                    </a:endParaRPr>
                  </a:p>
                </p:txBody>
              </p:sp>
              <p:sp>
                <p:nvSpPr>
                  <p:cNvPr id="79" name="Teardrop 78">
                    <a:extLst>
                      <a:ext uri="{FF2B5EF4-FFF2-40B4-BE49-F238E27FC236}">
                        <a16:creationId xmlns:a16="http://schemas.microsoft.com/office/drawing/2014/main" id="{8B8CE096-C2AE-410C-82FB-311ABE76B03F}"/>
                      </a:ext>
                    </a:extLst>
                  </p:cNvPr>
                  <p:cNvSpPr/>
                  <p:nvPr/>
                </p:nvSpPr>
                <p:spPr>
                  <a:xfrm rot="7058568">
                    <a:off x="6171537" y="2994108"/>
                    <a:ext cx="78026" cy="45719"/>
                  </a:xfrm>
                  <a:prstGeom prst="teardrop">
                    <a:avLst/>
                  </a:prstGeom>
                  <a:grpFill/>
                  <a:ln w="12700" cap="flat" cmpd="sng" algn="ctr">
                    <a:solidFill>
                      <a:srgbClr val="F79646">
                        <a:lumMod val="50000"/>
                      </a:srgbClr>
                    </a:solidFill>
                    <a:prstDash val="solid"/>
                  </a:ln>
                  <a:effectLst/>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0" cap="none" spc="0" normalizeH="0" baseline="0" noProof="0" dirty="0">
                      <a:ln>
                        <a:noFill/>
                      </a:ln>
                      <a:solidFill>
                        <a:prstClr val="black"/>
                      </a:solidFill>
                      <a:effectLst/>
                      <a:uLnTx/>
                      <a:uFillTx/>
                      <a:latin typeface="News Gothic MT" panose="020B0503020103020203" pitchFamily="34" charset="0"/>
                      <a:ea typeface="MS PGothic" charset="0"/>
                      <a:cs typeface="+mn-cs"/>
                    </a:endParaRPr>
                  </a:p>
                </p:txBody>
              </p:sp>
            </p:grpSp>
            <p:sp>
              <p:nvSpPr>
                <p:cNvPr id="71" name="Oval 70">
                  <a:extLst>
                    <a:ext uri="{FF2B5EF4-FFF2-40B4-BE49-F238E27FC236}">
                      <a16:creationId xmlns:a16="http://schemas.microsoft.com/office/drawing/2014/main" id="{7AED6173-8AAB-44E0-85E8-3BB58DC0133B}"/>
                    </a:ext>
                  </a:extLst>
                </p:cNvPr>
                <p:cNvSpPr/>
                <p:nvPr/>
              </p:nvSpPr>
              <p:spPr>
                <a:xfrm>
                  <a:off x="6477000" y="2895600"/>
                  <a:ext cx="76200" cy="76200"/>
                </a:xfrm>
                <a:prstGeom prst="ellipse">
                  <a:avLst/>
                </a:prstGeom>
                <a:solidFill>
                  <a:srgbClr val="663300"/>
                </a:solidFill>
                <a:ln w="25400" cap="flat" cmpd="sng" algn="ctr">
                  <a:solidFill>
                    <a:srgbClr val="663300"/>
                  </a:solidFill>
                  <a:prstDash val="solid"/>
                </a:ln>
                <a:effectLst/>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0" cap="none" spc="0" normalizeH="0" baseline="0" noProof="0" dirty="0">
                    <a:ln>
                      <a:noFill/>
                    </a:ln>
                    <a:solidFill>
                      <a:prstClr val="white"/>
                    </a:solidFill>
                    <a:effectLst/>
                    <a:uLnTx/>
                    <a:uFillTx/>
                    <a:latin typeface="News Gothic MT" panose="020B0503020103020203" pitchFamily="34" charset="0"/>
                    <a:ea typeface="MS PGothic" charset="0"/>
                    <a:cs typeface="+mn-cs"/>
                  </a:endParaRPr>
                </a:p>
              </p:txBody>
            </p:sp>
          </p:grpSp>
          <p:sp>
            <p:nvSpPr>
              <p:cNvPr id="66" name="Arc 65">
                <a:extLst>
                  <a:ext uri="{FF2B5EF4-FFF2-40B4-BE49-F238E27FC236}">
                    <a16:creationId xmlns:a16="http://schemas.microsoft.com/office/drawing/2014/main" id="{0BBF3F21-E89D-4B6F-852F-E4B916099532}"/>
                  </a:ext>
                </a:extLst>
              </p:cNvPr>
              <p:cNvSpPr/>
              <p:nvPr/>
            </p:nvSpPr>
            <p:spPr>
              <a:xfrm>
                <a:off x="3215084" y="4035822"/>
                <a:ext cx="45719" cy="45719"/>
              </a:xfrm>
              <a:prstGeom prst="arc">
                <a:avLst/>
              </a:prstGeom>
              <a:grpFill/>
              <a:ln w="9525" cap="flat" cmpd="sng" algn="ctr">
                <a:solidFill>
                  <a:srgbClr val="F79646">
                    <a:lumMod val="50000"/>
                  </a:srgbClr>
                </a:solidFill>
                <a:prstDash val="solid"/>
              </a:ln>
              <a:effectLst/>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0" cap="none" spc="0" normalizeH="0" baseline="0" noProof="0" dirty="0">
                  <a:ln>
                    <a:noFill/>
                  </a:ln>
                  <a:solidFill>
                    <a:prstClr val="black"/>
                  </a:solidFill>
                  <a:effectLst/>
                  <a:uLnTx/>
                  <a:uFillTx/>
                  <a:latin typeface="News Gothic MT" panose="020B0503020103020203" pitchFamily="34" charset="0"/>
                  <a:ea typeface="MS PGothic" charset="0"/>
                  <a:cs typeface="+mn-cs"/>
                </a:endParaRPr>
              </a:p>
            </p:txBody>
          </p:sp>
          <p:sp>
            <p:nvSpPr>
              <p:cNvPr id="67" name="Arc 66">
                <a:extLst>
                  <a:ext uri="{FF2B5EF4-FFF2-40B4-BE49-F238E27FC236}">
                    <a16:creationId xmlns:a16="http://schemas.microsoft.com/office/drawing/2014/main" id="{EFC02C59-44CF-4496-AA98-683B82A167F3}"/>
                  </a:ext>
                </a:extLst>
              </p:cNvPr>
              <p:cNvSpPr/>
              <p:nvPr/>
            </p:nvSpPr>
            <p:spPr>
              <a:xfrm flipV="1">
                <a:off x="3215084" y="3959622"/>
                <a:ext cx="45719" cy="45719"/>
              </a:xfrm>
              <a:prstGeom prst="arc">
                <a:avLst/>
              </a:prstGeom>
              <a:grpFill/>
              <a:ln w="9525" cap="flat" cmpd="sng" algn="ctr">
                <a:solidFill>
                  <a:srgbClr val="F79646">
                    <a:lumMod val="50000"/>
                  </a:srgbClr>
                </a:solidFill>
                <a:prstDash val="solid"/>
              </a:ln>
              <a:effectLst/>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0" cap="none" spc="0" normalizeH="0" baseline="0" noProof="0" dirty="0">
                  <a:ln>
                    <a:noFill/>
                  </a:ln>
                  <a:solidFill>
                    <a:prstClr val="black"/>
                  </a:solidFill>
                  <a:effectLst/>
                  <a:uLnTx/>
                  <a:uFillTx/>
                  <a:latin typeface="News Gothic MT" panose="020B0503020103020203" pitchFamily="34" charset="0"/>
                  <a:ea typeface="MS PGothic" charset="0"/>
                  <a:cs typeface="+mn-cs"/>
                </a:endParaRPr>
              </a:p>
            </p:txBody>
          </p:sp>
          <p:sp>
            <p:nvSpPr>
              <p:cNvPr id="68" name="Arc 67">
                <a:extLst>
                  <a:ext uri="{FF2B5EF4-FFF2-40B4-BE49-F238E27FC236}">
                    <a16:creationId xmlns:a16="http://schemas.microsoft.com/office/drawing/2014/main" id="{8663AC40-2DBD-470D-A7C9-42E12BD8E446}"/>
                  </a:ext>
                </a:extLst>
              </p:cNvPr>
              <p:cNvSpPr/>
              <p:nvPr/>
            </p:nvSpPr>
            <p:spPr>
              <a:xfrm rot="6954699">
                <a:off x="3144202" y="3964940"/>
                <a:ext cx="76200" cy="76200"/>
              </a:xfrm>
              <a:prstGeom prst="arc">
                <a:avLst/>
              </a:prstGeom>
              <a:grpFill/>
              <a:ln w="9525" cap="flat" cmpd="sng" algn="ctr">
                <a:solidFill>
                  <a:srgbClr val="F79646">
                    <a:lumMod val="50000"/>
                  </a:srgbClr>
                </a:solidFill>
                <a:prstDash val="solid"/>
              </a:ln>
              <a:effectLst/>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0" cap="none" spc="0" normalizeH="0" baseline="0" noProof="0" dirty="0">
                  <a:ln>
                    <a:noFill/>
                  </a:ln>
                  <a:solidFill>
                    <a:prstClr val="black"/>
                  </a:solidFill>
                  <a:effectLst/>
                  <a:uLnTx/>
                  <a:uFillTx/>
                  <a:latin typeface="News Gothic MT" panose="020B0503020103020203" pitchFamily="34" charset="0"/>
                  <a:ea typeface="MS PGothic" charset="0"/>
                  <a:cs typeface="+mn-cs"/>
                </a:endParaRPr>
              </a:p>
            </p:txBody>
          </p:sp>
          <p:sp>
            <p:nvSpPr>
              <p:cNvPr id="69" name="Arc 68">
                <a:extLst>
                  <a:ext uri="{FF2B5EF4-FFF2-40B4-BE49-F238E27FC236}">
                    <a16:creationId xmlns:a16="http://schemas.microsoft.com/office/drawing/2014/main" id="{8EE074F1-F59F-4461-80A8-1F8590A1E20B}"/>
                  </a:ext>
                </a:extLst>
              </p:cNvPr>
              <p:cNvSpPr/>
              <p:nvPr/>
            </p:nvSpPr>
            <p:spPr>
              <a:xfrm rot="13076909">
                <a:off x="3221742" y="4052510"/>
                <a:ext cx="69996" cy="45719"/>
              </a:xfrm>
              <a:prstGeom prst="arc">
                <a:avLst/>
              </a:prstGeom>
              <a:grpFill/>
              <a:ln w="9525" cap="flat" cmpd="sng" algn="ctr">
                <a:solidFill>
                  <a:srgbClr val="F79646">
                    <a:lumMod val="50000"/>
                  </a:srgbClr>
                </a:solidFill>
                <a:prstDash val="solid"/>
              </a:ln>
              <a:effectLst/>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0" i="0" u="none" strike="noStrike" kern="0" cap="none" spc="0" normalizeH="0" baseline="0" noProof="0" dirty="0">
                  <a:ln>
                    <a:noFill/>
                  </a:ln>
                  <a:solidFill>
                    <a:prstClr val="black"/>
                  </a:solidFill>
                  <a:effectLst/>
                  <a:uLnTx/>
                  <a:uFillTx/>
                  <a:latin typeface="News Gothic MT" panose="020B0503020103020203" pitchFamily="34" charset="0"/>
                  <a:ea typeface="MS PGothic" charset="0"/>
                  <a:cs typeface="+mn-cs"/>
                </a:endParaRPr>
              </a:p>
            </p:txBody>
          </p:sp>
        </p:grpSp>
      </p:grpSp>
      <p:sp>
        <p:nvSpPr>
          <p:cNvPr id="2" name="Title 1">
            <a:extLst>
              <a:ext uri="{FF2B5EF4-FFF2-40B4-BE49-F238E27FC236}">
                <a16:creationId xmlns:a16="http://schemas.microsoft.com/office/drawing/2014/main" id="{1A1DFE4B-F185-4BCC-9E8A-0FBBF9B96B08}"/>
              </a:ext>
            </a:extLst>
          </p:cNvPr>
          <p:cNvSpPr>
            <a:spLocks noGrp="1"/>
          </p:cNvSpPr>
          <p:nvPr>
            <p:ph type="title"/>
          </p:nvPr>
        </p:nvSpPr>
        <p:spPr/>
        <p:txBody>
          <a:bodyPr/>
          <a:lstStyle/>
          <a:p>
            <a:r>
              <a:rPr lang="en-US" sz="2800" dirty="0">
                <a:latin typeface="+mn-lt"/>
                <a:ea typeface="ＭＳ Ｐゴシック" pitchFamily="34" charset="-128"/>
              </a:rPr>
              <a:t>Biliary Tract Cancer: Frequent Actionable Alterations</a:t>
            </a:r>
            <a:endParaRPr lang="en-GB" dirty="0">
              <a:latin typeface="+mn-lt"/>
            </a:endParaRPr>
          </a:p>
        </p:txBody>
      </p:sp>
      <p:sp>
        <p:nvSpPr>
          <p:cNvPr id="16" name="Rounded Rectangle 211">
            <a:extLst>
              <a:ext uri="{FF2B5EF4-FFF2-40B4-BE49-F238E27FC236}">
                <a16:creationId xmlns:a16="http://schemas.microsoft.com/office/drawing/2014/main" id="{42F79320-51FE-4EF4-AA02-35F20EB974EF}"/>
              </a:ext>
            </a:extLst>
          </p:cNvPr>
          <p:cNvSpPr/>
          <p:nvPr/>
        </p:nvSpPr>
        <p:spPr>
          <a:xfrm>
            <a:off x="8448907" y="1608318"/>
            <a:ext cx="3149662" cy="2362201"/>
          </a:xfrm>
          <a:prstGeom prst="roundRect">
            <a:avLst>
              <a:gd name="adj" fmla="val 0"/>
            </a:avLst>
          </a:prstGeom>
          <a:solidFill>
            <a:srgbClr val="710135"/>
          </a:solidFill>
          <a:ln w="19050" cap="flat" cmpd="sng" algn="ctr">
            <a:noFill/>
            <a:prstDash val="solid"/>
          </a:ln>
          <a:effectLst/>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300" b="0" i="0" u="none" strike="noStrike" kern="0" cap="none" spc="0" normalizeH="0" baseline="0" noProof="0" dirty="0">
              <a:ln>
                <a:noFill/>
              </a:ln>
              <a:solidFill>
                <a:prstClr val="black"/>
              </a:solidFill>
              <a:effectLst/>
              <a:uLnTx/>
              <a:uFillTx/>
              <a:latin typeface="News Gothic MT" panose="020B0503020103020203" pitchFamily="34" charset="0"/>
              <a:ea typeface="MS PGothic" charset="0"/>
              <a:cs typeface="+mn-cs"/>
            </a:endParaRPr>
          </a:p>
        </p:txBody>
      </p:sp>
      <p:sp>
        <p:nvSpPr>
          <p:cNvPr id="23" name="Rounded Rectangle 219">
            <a:extLst>
              <a:ext uri="{FF2B5EF4-FFF2-40B4-BE49-F238E27FC236}">
                <a16:creationId xmlns:a16="http://schemas.microsoft.com/office/drawing/2014/main" id="{565183A4-20F5-4D63-9066-F7FEE9D1B7E2}"/>
              </a:ext>
            </a:extLst>
          </p:cNvPr>
          <p:cNvSpPr/>
          <p:nvPr/>
        </p:nvSpPr>
        <p:spPr>
          <a:xfrm>
            <a:off x="6671522" y="4480386"/>
            <a:ext cx="3995892" cy="1905000"/>
          </a:xfrm>
          <a:prstGeom prst="roundRect">
            <a:avLst>
              <a:gd name="adj" fmla="val 0"/>
            </a:avLst>
          </a:prstGeom>
          <a:solidFill>
            <a:srgbClr val="E29E2B"/>
          </a:solidFill>
          <a:ln w="19050" cap="flat" cmpd="sng" algn="ctr">
            <a:noFill/>
            <a:prstDash val="solid"/>
          </a:ln>
          <a:effectLst/>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Arial" panose="020B0604020202020204"/>
                <a:ea typeface="MS PGothic" charset="0"/>
                <a:cs typeface="+mn-cs"/>
              </a:rPr>
              <a:t>HER2 amplification/mutation (10%</a:t>
            </a:r>
            <a:r>
              <a:rPr kumimoji="0" lang="en-US" sz="1400" b="1" i="0" u="none" strike="noStrike" kern="1200" cap="none" spc="0" normalizeH="0" baseline="0" noProof="0" dirty="0">
                <a:ln>
                  <a:noFill/>
                </a:ln>
                <a:solidFill>
                  <a:srgbClr val="FFFFFF"/>
                </a:solidFill>
                <a:effectLst/>
                <a:uLnTx/>
                <a:uFillTx/>
                <a:latin typeface="Arial" panose="020B0604020202020204"/>
                <a:ea typeface="ＭＳ Ｐゴシック" pitchFamily="34" charset="-128"/>
                <a:cs typeface="+mn-cs"/>
              </a:rPr>
              <a:t>–</a:t>
            </a:r>
            <a:r>
              <a:rPr kumimoji="0" lang="en-US" sz="1400" b="1" i="0" u="none" strike="noStrike" kern="0" cap="none" spc="0" normalizeH="0" baseline="0" noProof="0" dirty="0">
                <a:ln>
                  <a:noFill/>
                </a:ln>
                <a:solidFill>
                  <a:srgbClr val="FFFFFF"/>
                </a:solidFill>
                <a:effectLst/>
                <a:uLnTx/>
                <a:uFillTx/>
                <a:latin typeface="Arial" panose="020B0604020202020204"/>
                <a:ea typeface="MS PGothic" charset="0"/>
                <a:cs typeface="+mn-cs"/>
              </a:rPr>
              <a:t>19%)</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Arial" panose="020B0604020202020204"/>
                <a:ea typeface="MS PGothic" charset="0"/>
                <a:cs typeface="+mn-cs"/>
              </a:rPr>
              <a:t>PIK3CA mutation (6%</a:t>
            </a:r>
            <a:r>
              <a:rPr kumimoji="0" lang="en-US" sz="1400" b="1" i="0" u="none" strike="noStrike" kern="1200" cap="none" spc="0" normalizeH="0" baseline="0" noProof="0" dirty="0">
                <a:ln>
                  <a:noFill/>
                </a:ln>
                <a:solidFill>
                  <a:srgbClr val="FFFFFF"/>
                </a:solidFill>
                <a:effectLst/>
                <a:uLnTx/>
                <a:uFillTx/>
                <a:latin typeface="Arial" panose="020B0604020202020204"/>
                <a:ea typeface="ＭＳ Ｐゴシック" pitchFamily="34" charset="-128"/>
                <a:cs typeface="+mn-cs"/>
              </a:rPr>
              <a:t>–</a:t>
            </a:r>
            <a:r>
              <a:rPr kumimoji="0" lang="en-US" sz="1400" b="1" i="0" u="none" strike="noStrike" kern="0" cap="none" spc="0" normalizeH="0" baseline="0" noProof="0" dirty="0">
                <a:ln>
                  <a:noFill/>
                </a:ln>
                <a:solidFill>
                  <a:srgbClr val="FFFFFF"/>
                </a:solidFill>
                <a:effectLst/>
                <a:uLnTx/>
                <a:uFillTx/>
                <a:latin typeface="Arial" panose="020B0604020202020204"/>
                <a:ea typeface="MS PGothic" charset="0"/>
                <a:cs typeface="+mn-cs"/>
              </a:rPr>
              <a:t>13%)</a:t>
            </a:r>
          </a:p>
          <a:p>
            <a:pPr marL="0" marR="0" lvl="0" indent="0" algn="ctr" defTabSz="914400" rtl="0" eaLnBrk="0" fontAlgn="base" latinLnBrk="0" hangingPunct="0">
              <a:lnSpc>
                <a:spcPct val="100000"/>
              </a:lnSpc>
              <a:spcBef>
                <a:spcPct val="0"/>
              </a:spcBef>
              <a:spcAft>
                <a:spcPts val="60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Arial" panose="020B0604020202020204"/>
                <a:ea typeface="MS PGothic" charset="0"/>
                <a:cs typeface="+mn-cs"/>
              </a:rPr>
              <a:t>BRAF mutation (1</a:t>
            </a:r>
            <a:r>
              <a:rPr kumimoji="0" lang="en-US" sz="1400" b="1" i="0" u="none" strike="noStrike" kern="1200" cap="none" spc="0" normalizeH="0" baseline="0" noProof="0" dirty="0">
                <a:ln>
                  <a:noFill/>
                </a:ln>
                <a:solidFill>
                  <a:srgbClr val="FFFFFF"/>
                </a:solidFill>
                <a:effectLst/>
                <a:uLnTx/>
                <a:uFillTx/>
                <a:latin typeface="Arial" panose="020B0604020202020204"/>
                <a:ea typeface="ＭＳ Ｐゴシック" pitchFamily="34" charset="-128"/>
                <a:cs typeface="+mn-cs"/>
              </a:rPr>
              <a:t>–</a:t>
            </a:r>
            <a:r>
              <a:rPr kumimoji="0" lang="en-US" sz="1400" b="1" i="0" u="none" strike="noStrike" kern="0" cap="none" spc="0" normalizeH="0" baseline="0" noProof="0" dirty="0">
                <a:ln>
                  <a:noFill/>
                </a:ln>
                <a:solidFill>
                  <a:srgbClr val="FFFFFF"/>
                </a:solidFill>
                <a:effectLst/>
                <a:uLnTx/>
                <a:uFillTx/>
                <a:latin typeface="Arial" panose="020B0604020202020204"/>
                <a:ea typeface="MS PGothic" charset="0"/>
                <a:cs typeface="+mn-cs"/>
              </a:rPr>
              <a:t>6%)</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Arial" panose="020B0604020202020204"/>
                <a:ea typeface="MS PGothic" charset="0"/>
                <a:cs typeface="+mn-cs"/>
              </a:rPr>
              <a:t>RNF43 mutation (4%)</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Arial" panose="020B0604020202020204"/>
                <a:ea typeface="MS PGothic" charset="0"/>
                <a:cs typeface="+mn-cs"/>
              </a:rPr>
              <a:t>MAP2K4 mutation (4%)</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Arial" panose="020B0604020202020204"/>
                <a:ea typeface="MS PGothic" charset="0"/>
                <a:cs typeface="+mn-cs"/>
              </a:rPr>
              <a:t>EGFR mutation (4%)</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Arial" panose="020B0604020202020204"/>
                <a:ea typeface="MS PGothic" charset="0"/>
                <a:cs typeface="+mn-cs"/>
              </a:rPr>
              <a:t>FGFR1-3 fusions, mutations, and amplifications (3%)</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Arial" panose="020B0604020202020204"/>
                <a:ea typeface="MS PGothic" charset="0"/>
                <a:cs typeface="+mn-cs"/>
              </a:rPr>
              <a:t>IDH1/2 mutation (2%)</a:t>
            </a:r>
          </a:p>
        </p:txBody>
      </p:sp>
      <p:sp>
        <p:nvSpPr>
          <p:cNvPr id="24" name="TextBox 23">
            <a:extLst>
              <a:ext uri="{FF2B5EF4-FFF2-40B4-BE49-F238E27FC236}">
                <a16:creationId xmlns:a16="http://schemas.microsoft.com/office/drawing/2014/main" id="{E5D9FC47-0A14-4EE6-BCD3-EEFAF51FE35B}"/>
              </a:ext>
            </a:extLst>
          </p:cNvPr>
          <p:cNvSpPr txBox="1"/>
          <p:nvPr/>
        </p:nvSpPr>
        <p:spPr>
          <a:xfrm>
            <a:off x="7056534" y="4097361"/>
            <a:ext cx="3043473" cy="369332"/>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ysClr val="windowText" lastClr="000000"/>
                </a:solidFill>
                <a:effectLst/>
                <a:uLnTx/>
                <a:uFillTx/>
                <a:latin typeface="Arial" panose="020B0604020202020204"/>
                <a:ea typeface="ＭＳ Ｐゴシック" pitchFamily="34" charset="-128"/>
                <a:cs typeface="+mn-cs"/>
              </a:rPr>
              <a:t>GBCA</a:t>
            </a:r>
          </a:p>
        </p:txBody>
      </p:sp>
      <p:sp>
        <p:nvSpPr>
          <p:cNvPr id="25" name="TextBox 24">
            <a:extLst>
              <a:ext uri="{FF2B5EF4-FFF2-40B4-BE49-F238E27FC236}">
                <a16:creationId xmlns:a16="http://schemas.microsoft.com/office/drawing/2014/main" id="{15E34C18-40BE-4D6D-8628-D2C616A861CE}"/>
              </a:ext>
            </a:extLst>
          </p:cNvPr>
          <p:cNvSpPr txBox="1"/>
          <p:nvPr/>
        </p:nvSpPr>
        <p:spPr>
          <a:xfrm>
            <a:off x="7792955" y="1220206"/>
            <a:ext cx="4483269" cy="369332"/>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ysClr val="windowText" lastClr="000000"/>
                </a:solidFill>
                <a:effectLst/>
                <a:uLnTx/>
                <a:uFillTx/>
                <a:latin typeface="Arial" panose="020B0604020202020204"/>
                <a:ea typeface="ＭＳ Ｐゴシック" pitchFamily="34" charset="-128"/>
                <a:cs typeface="+mn-cs"/>
              </a:rPr>
              <a:t>ICC</a:t>
            </a:r>
          </a:p>
        </p:txBody>
      </p:sp>
      <p:cxnSp>
        <p:nvCxnSpPr>
          <p:cNvPr id="60" name="Straight Arrow Connector 59">
            <a:extLst>
              <a:ext uri="{FF2B5EF4-FFF2-40B4-BE49-F238E27FC236}">
                <a16:creationId xmlns:a16="http://schemas.microsoft.com/office/drawing/2014/main" id="{20ECB875-46A0-4153-BB1D-08691F5BD7E5}"/>
              </a:ext>
            </a:extLst>
          </p:cNvPr>
          <p:cNvCxnSpPr>
            <a:cxnSpLocks/>
            <a:endCxn id="72" idx="7"/>
          </p:cNvCxnSpPr>
          <p:nvPr/>
        </p:nvCxnSpPr>
        <p:spPr>
          <a:xfrm flipH="1">
            <a:off x="7111887" y="1439004"/>
            <a:ext cx="1098086" cy="526195"/>
          </a:xfrm>
          <a:prstGeom prst="straightConnector1">
            <a:avLst/>
          </a:prstGeom>
          <a:noFill/>
          <a:ln w="38100" cap="flat" cmpd="sng" algn="ctr">
            <a:solidFill>
              <a:sysClr val="windowText" lastClr="000000"/>
            </a:solidFill>
            <a:prstDash val="solid"/>
            <a:tailEnd type="arrow"/>
          </a:ln>
          <a:effectLst/>
        </p:spPr>
      </p:cxnSp>
      <p:cxnSp>
        <p:nvCxnSpPr>
          <p:cNvPr id="61" name="Straight Arrow Connector 60">
            <a:extLst>
              <a:ext uri="{FF2B5EF4-FFF2-40B4-BE49-F238E27FC236}">
                <a16:creationId xmlns:a16="http://schemas.microsoft.com/office/drawing/2014/main" id="{35B4FCB1-E7A2-410E-AF3B-63C1C15D9F63}"/>
              </a:ext>
            </a:extLst>
          </p:cNvPr>
          <p:cNvCxnSpPr>
            <a:cxnSpLocks/>
            <a:endCxn id="30" idx="2"/>
          </p:cNvCxnSpPr>
          <p:nvPr/>
        </p:nvCxnSpPr>
        <p:spPr>
          <a:xfrm flipH="1" flipV="1">
            <a:off x="4924712" y="3597945"/>
            <a:ext cx="3048034" cy="673601"/>
          </a:xfrm>
          <a:prstGeom prst="straightConnector1">
            <a:avLst/>
          </a:prstGeom>
          <a:noFill/>
          <a:ln w="38100" cap="flat" cmpd="sng" algn="ctr">
            <a:solidFill>
              <a:sysClr val="windowText" lastClr="000000"/>
            </a:solidFill>
            <a:prstDash val="solid"/>
            <a:tailEnd type="arrow"/>
          </a:ln>
          <a:effectLst/>
        </p:spPr>
      </p:cxnSp>
      <p:cxnSp>
        <p:nvCxnSpPr>
          <p:cNvPr id="62" name="Straight Arrow Connector 61">
            <a:extLst>
              <a:ext uri="{FF2B5EF4-FFF2-40B4-BE49-F238E27FC236}">
                <a16:creationId xmlns:a16="http://schemas.microsoft.com/office/drawing/2014/main" id="{D02BCA6E-9888-41EE-AA49-BE4B91C6AE97}"/>
              </a:ext>
            </a:extLst>
          </p:cNvPr>
          <p:cNvCxnSpPr>
            <a:cxnSpLocks/>
            <a:stCxn id="82" idx="3"/>
            <a:endCxn id="17" idx="33"/>
          </p:cNvCxnSpPr>
          <p:nvPr/>
        </p:nvCxnSpPr>
        <p:spPr>
          <a:xfrm>
            <a:off x="3338576" y="1502275"/>
            <a:ext cx="2359897" cy="1578839"/>
          </a:xfrm>
          <a:prstGeom prst="straightConnector1">
            <a:avLst/>
          </a:prstGeom>
          <a:noFill/>
          <a:ln w="38100" cap="flat" cmpd="sng" algn="ctr">
            <a:solidFill>
              <a:sysClr val="windowText" lastClr="000000"/>
            </a:solidFill>
            <a:prstDash val="solid"/>
            <a:tailEnd type="arrow"/>
          </a:ln>
          <a:effectLst/>
        </p:spPr>
      </p:cxnSp>
      <p:sp>
        <p:nvSpPr>
          <p:cNvPr id="80" name="TextBox 79">
            <a:extLst>
              <a:ext uri="{FF2B5EF4-FFF2-40B4-BE49-F238E27FC236}">
                <a16:creationId xmlns:a16="http://schemas.microsoft.com/office/drawing/2014/main" id="{C84FD2DE-E1D4-4456-BF26-07737DDDCB56}"/>
              </a:ext>
            </a:extLst>
          </p:cNvPr>
          <p:cNvSpPr txBox="1"/>
          <p:nvPr/>
        </p:nvSpPr>
        <p:spPr>
          <a:xfrm>
            <a:off x="8411348" y="1652432"/>
            <a:ext cx="3211284" cy="2339102"/>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panose="020B0604020202020204"/>
                <a:ea typeface="ＭＳ Ｐゴシック" pitchFamily="34" charset="-128"/>
                <a:cs typeface="+mn-cs"/>
              </a:rPr>
              <a:t>FGFR1-3 alterations (11%–17%)</a:t>
            </a:r>
          </a:p>
          <a:p>
            <a:pPr marL="0" marR="0" lvl="0" indent="0" algn="ctr" defTabSz="914400" rtl="0" eaLnBrk="0" fontAlgn="base" latinLnBrk="0" hangingPunct="0">
              <a:lnSpc>
                <a:spcPct val="100000"/>
              </a:lnSpc>
              <a:spcBef>
                <a:spcPct val="0"/>
              </a:spcBef>
              <a:spcAft>
                <a:spcPts val="60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panose="020B0604020202020204"/>
                <a:ea typeface="ＭＳ Ｐゴシック" pitchFamily="34" charset="-128"/>
                <a:cs typeface="+mn-cs"/>
              </a:rPr>
              <a:t>IDH1/2 mutation (5%–36%)</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panose="020B0604020202020204"/>
                <a:ea typeface="ＭＳ Ｐゴシック" pitchFamily="34" charset="-128"/>
                <a:cs typeface="+mn-cs"/>
              </a:rPr>
              <a:t>RNF43 mutation (9%)</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panose="020B0604020202020204"/>
                <a:ea typeface="ＭＳ Ｐゴシック" pitchFamily="34" charset="-128"/>
                <a:cs typeface="+mn-cs"/>
              </a:rPr>
              <a:t>PIK3CA mutations (3%</a:t>
            </a:r>
            <a:r>
              <a:rPr kumimoji="0" lang="en-US" sz="1200" b="1" i="0" u="none" strike="noStrike" kern="1200" cap="none" spc="0" normalizeH="0" baseline="0" noProof="0" dirty="0">
                <a:ln>
                  <a:noFill/>
                </a:ln>
                <a:solidFill>
                  <a:srgbClr val="FFFFFF"/>
                </a:solidFill>
                <a:effectLst/>
                <a:uLnTx/>
                <a:uFillTx/>
                <a:latin typeface="Arial" panose="020B0604020202020204"/>
                <a:ea typeface="ＭＳ Ｐゴシック" pitchFamily="34" charset="-128"/>
                <a:cs typeface="+mn-cs"/>
              </a:rPr>
              <a:t>–</a:t>
            </a:r>
            <a:r>
              <a:rPr kumimoji="0" lang="en-US" sz="1200" b="0" i="0" u="none" strike="noStrike" kern="1200" cap="none" spc="0" normalizeH="0" baseline="0" noProof="0" dirty="0">
                <a:ln>
                  <a:noFill/>
                </a:ln>
                <a:solidFill>
                  <a:srgbClr val="FFFFFF"/>
                </a:solidFill>
                <a:effectLst/>
                <a:uLnTx/>
                <a:uFillTx/>
                <a:latin typeface="Arial" panose="020B0604020202020204"/>
                <a:ea typeface="ＭＳ Ｐゴシック" pitchFamily="34" charset="-128"/>
                <a:cs typeface="+mn-cs"/>
              </a:rPr>
              <a:t>9%)</a:t>
            </a:r>
            <a:br>
              <a:rPr kumimoji="0" lang="en-US" sz="1600" b="1" i="0" u="none" strike="noStrike" kern="1200" cap="none" spc="0" normalizeH="0" baseline="0" noProof="0" dirty="0">
                <a:ln>
                  <a:noFill/>
                </a:ln>
                <a:solidFill>
                  <a:srgbClr val="FFFFFF"/>
                </a:solidFill>
                <a:effectLst/>
                <a:uLnTx/>
                <a:uFillTx/>
                <a:latin typeface="Arial" panose="020B0604020202020204"/>
                <a:ea typeface="ＭＳ Ｐゴシック" pitchFamily="34" charset="-128"/>
                <a:cs typeface="+mn-cs"/>
              </a:rPr>
            </a:br>
            <a:endParaRPr kumimoji="0" lang="en-US" sz="1000" b="0" i="0" u="none" strike="noStrike" kern="1200" cap="none" spc="0" normalizeH="0" baseline="0" noProof="0" dirty="0">
              <a:ln>
                <a:noFill/>
              </a:ln>
              <a:solidFill>
                <a:srgbClr val="FFFFFF"/>
              </a:solidFill>
              <a:effectLst/>
              <a:uLnTx/>
              <a:uFillTx/>
              <a:latin typeface="Arial" panose="020B0604020202020204"/>
              <a:ea typeface="ＭＳ Ｐゴシック" pitchFamily="34" charset="-128"/>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panose="020B0604020202020204"/>
                <a:ea typeface="ＭＳ Ｐゴシック" pitchFamily="34" charset="-128"/>
                <a:cs typeface="+mn-cs"/>
              </a:rPr>
              <a:t>BRAF mutations (3%–7%)</a:t>
            </a:r>
          </a:p>
          <a:p>
            <a:pPr marL="0" marR="0" lvl="0" indent="0" algn="ctr" defTabSz="914400" rtl="0" eaLnBrk="0" fontAlgn="base" latinLnBrk="0" hangingPunct="0">
              <a:lnSpc>
                <a:spcPct val="100000"/>
              </a:lnSpc>
              <a:spcBef>
                <a:spcPct val="0"/>
              </a:spcBef>
              <a:spcAft>
                <a:spcPts val="60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panose="020B0604020202020204"/>
                <a:ea typeface="ＭＳ Ｐゴシック" pitchFamily="34" charset="-128"/>
                <a:cs typeface="+mn-cs"/>
              </a:rPr>
              <a:t>HER2 amplification/mutation (7%)</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panose="020B0604020202020204"/>
                <a:ea typeface="ＭＳ Ｐゴシック" pitchFamily="34" charset="-128"/>
                <a:cs typeface="+mn-cs"/>
              </a:rPr>
              <a:t>MET amplification (2%</a:t>
            </a:r>
            <a:r>
              <a:rPr kumimoji="0" lang="en-US" sz="1200" b="1" i="0" u="none" strike="noStrike" kern="1200" cap="none" spc="0" normalizeH="0" baseline="0" noProof="0" dirty="0">
                <a:ln>
                  <a:noFill/>
                </a:ln>
                <a:solidFill>
                  <a:srgbClr val="FFFFFF"/>
                </a:solidFill>
                <a:effectLst/>
                <a:uLnTx/>
                <a:uFillTx/>
                <a:latin typeface="Arial" panose="020B0604020202020204"/>
                <a:ea typeface="ＭＳ Ｐゴシック" pitchFamily="34" charset="-128"/>
                <a:cs typeface="+mn-cs"/>
              </a:rPr>
              <a:t>–</a:t>
            </a:r>
            <a:r>
              <a:rPr kumimoji="0" lang="en-US" sz="1200" b="0" i="0" u="none" strike="noStrike" kern="1200" cap="none" spc="0" normalizeH="0" baseline="0" noProof="0" dirty="0">
                <a:ln>
                  <a:noFill/>
                </a:ln>
                <a:solidFill>
                  <a:srgbClr val="FFFFFF"/>
                </a:solidFill>
                <a:effectLst/>
                <a:uLnTx/>
                <a:uFillTx/>
                <a:latin typeface="Arial" panose="020B0604020202020204"/>
                <a:ea typeface="ＭＳ Ｐゴシック" pitchFamily="34" charset="-128"/>
                <a:cs typeface="+mn-cs"/>
              </a:rPr>
              <a:t>7%)</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panose="020B0604020202020204"/>
                <a:ea typeface="ＭＳ Ｐゴシック" pitchFamily="34" charset="-128"/>
                <a:cs typeface="+mn-cs"/>
              </a:rPr>
              <a:t>MET mutation (5%)</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panose="020B0604020202020204"/>
                <a:ea typeface="ＭＳ Ｐゴシック" pitchFamily="34" charset="-128"/>
                <a:cs typeface="+mn-cs"/>
              </a:rPr>
              <a:t>EGFR mutation (1%</a:t>
            </a:r>
            <a:r>
              <a:rPr kumimoji="0" lang="en-US" sz="1200" b="1" i="0" u="none" strike="noStrike" kern="1200" cap="none" spc="0" normalizeH="0" baseline="0" noProof="0" dirty="0">
                <a:ln>
                  <a:noFill/>
                </a:ln>
                <a:solidFill>
                  <a:srgbClr val="FFFFFF"/>
                </a:solidFill>
                <a:effectLst/>
                <a:uLnTx/>
                <a:uFillTx/>
                <a:latin typeface="Arial" panose="020B0604020202020204"/>
                <a:ea typeface="ＭＳ Ｐゴシック" pitchFamily="34" charset="-128"/>
                <a:cs typeface="+mn-cs"/>
              </a:rPr>
              <a:t>–</a:t>
            </a:r>
            <a:r>
              <a:rPr kumimoji="0" lang="en-US" sz="1200" b="0" i="0" u="none" strike="noStrike" kern="1200" cap="none" spc="0" normalizeH="0" baseline="0" noProof="0" dirty="0">
                <a:ln>
                  <a:noFill/>
                </a:ln>
                <a:solidFill>
                  <a:srgbClr val="FFFFFF"/>
                </a:solidFill>
                <a:effectLst/>
                <a:uLnTx/>
                <a:uFillTx/>
                <a:latin typeface="Arial" panose="020B0604020202020204"/>
                <a:ea typeface="ＭＳ Ｐゴシック" pitchFamily="34" charset="-128"/>
                <a:cs typeface="+mn-cs"/>
              </a:rPr>
              <a:t>2%)</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panose="020B0604020202020204"/>
                <a:ea typeface="ＭＳ Ｐゴシック" pitchFamily="34" charset="-128"/>
                <a:cs typeface="+mn-cs"/>
              </a:rPr>
              <a:t>RET-fusion (&lt;1%)</a:t>
            </a:r>
          </a:p>
        </p:txBody>
      </p:sp>
      <p:sp>
        <p:nvSpPr>
          <p:cNvPr id="81" name="Rounded Rectangle 108">
            <a:extLst>
              <a:ext uri="{FF2B5EF4-FFF2-40B4-BE49-F238E27FC236}">
                <a16:creationId xmlns:a16="http://schemas.microsoft.com/office/drawing/2014/main" id="{A272FAB8-1F38-41B6-B4E1-B14A2B8A437A}"/>
              </a:ext>
            </a:extLst>
          </p:cNvPr>
          <p:cNvSpPr/>
          <p:nvPr/>
        </p:nvSpPr>
        <p:spPr>
          <a:xfrm>
            <a:off x="601583" y="1780081"/>
            <a:ext cx="2948388" cy="1719416"/>
          </a:xfrm>
          <a:prstGeom prst="roundRect">
            <a:avLst>
              <a:gd name="adj" fmla="val 0"/>
            </a:avLst>
          </a:prstGeom>
          <a:solidFill>
            <a:srgbClr val="43921E"/>
          </a:solidFill>
          <a:ln w="19050" cap="flat" cmpd="sng" algn="ctr">
            <a:noFill/>
            <a:prstDash val="solid"/>
          </a:ln>
          <a:effectLst/>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300" b="0" i="0" u="none" strike="noStrike" kern="0" cap="none" spc="0" normalizeH="0" baseline="0" noProof="0" dirty="0">
              <a:ln>
                <a:noFill/>
              </a:ln>
              <a:solidFill>
                <a:srgbClr val="FFFFFF"/>
              </a:solidFill>
              <a:effectLst/>
              <a:uLnTx/>
              <a:uFillTx/>
              <a:latin typeface="News Gothic MT" panose="020B0503020103020203" pitchFamily="34" charset="0"/>
              <a:ea typeface="MS PGothic" charset="0"/>
              <a:cs typeface="+mn-cs"/>
            </a:endParaRPr>
          </a:p>
        </p:txBody>
      </p:sp>
      <p:sp>
        <p:nvSpPr>
          <p:cNvPr id="82" name="TextBox 81">
            <a:extLst>
              <a:ext uri="{FF2B5EF4-FFF2-40B4-BE49-F238E27FC236}">
                <a16:creationId xmlns:a16="http://schemas.microsoft.com/office/drawing/2014/main" id="{E61355FA-DB27-49ED-8590-FB78CC4B9CA3}"/>
              </a:ext>
            </a:extLst>
          </p:cNvPr>
          <p:cNvSpPr txBox="1"/>
          <p:nvPr/>
        </p:nvSpPr>
        <p:spPr>
          <a:xfrm>
            <a:off x="835093" y="1317609"/>
            <a:ext cx="2503483" cy="369332"/>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ysClr val="windowText" lastClr="000000"/>
                </a:solidFill>
                <a:effectLst/>
                <a:uLnTx/>
                <a:uFillTx/>
                <a:latin typeface="Arial" panose="020B0604020202020204"/>
                <a:ea typeface="ＭＳ Ｐゴシック" pitchFamily="34" charset="-128"/>
                <a:cs typeface="+mn-cs"/>
              </a:rPr>
              <a:t>ECC</a:t>
            </a:r>
          </a:p>
        </p:txBody>
      </p:sp>
      <p:sp>
        <p:nvSpPr>
          <p:cNvPr id="83" name="TextBox 82">
            <a:extLst>
              <a:ext uri="{FF2B5EF4-FFF2-40B4-BE49-F238E27FC236}">
                <a16:creationId xmlns:a16="http://schemas.microsoft.com/office/drawing/2014/main" id="{FA067E0C-4B5A-45FF-9FEA-52810B5613E3}"/>
              </a:ext>
            </a:extLst>
          </p:cNvPr>
          <p:cNvSpPr txBox="1"/>
          <p:nvPr/>
        </p:nvSpPr>
        <p:spPr>
          <a:xfrm>
            <a:off x="287489" y="1835659"/>
            <a:ext cx="3474039" cy="1585049"/>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panose="020B0604020202020204"/>
                <a:ea typeface="ＭＳ Ｐゴシック" pitchFamily="34" charset="-128"/>
                <a:cs typeface="+mn-cs"/>
              </a:rPr>
              <a:t>PIK3CA mutation (7%)</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panose="020B0604020202020204"/>
                <a:ea typeface="ＭＳ Ｐゴシック" pitchFamily="34" charset="-128"/>
                <a:cs typeface="+mn-cs"/>
              </a:rPr>
              <a:t>HER2 amplification/mutation </a:t>
            </a:r>
          </a:p>
          <a:p>
            <a:pPr marL="0" marR="0" lvl="0" indent="0" algn="ctr" defTabSz="914400" rtl="0" eaLnBrk="0" fontAlgn="base" latinLnBrk="0" hangingPunct="0">
              <a:lnSpc>
                <a:spcPct val="100000"/>
              </a:lnSpc>
              <a:spcBef>
                <a:spcPct val="0"/>
              </a:spcBef>
              <a:spcAft>
                <a:spcPts val="60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panose="020B0604020202020204"/>
                <a:ea typeface="ＭＳ Ｐゴシック" pitchFamily="34" charset="-128"/>
                <a:cs typeface="+mn-cs"/>
              </a:rPr>
              <a:t>(5%–10%)</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panose="020B0604020202020204"/>
                <a:ea typeface="ＭＳ Ｐゴシック" pitchFamily="34" charset="-128"/>
                <a:cs typeface="+mn-cs"/>
              </a:rPr>
              <a:t>IDH1/2 mutation (0%</a:t>
            </a:r>
            <a:r>
              <a:rPr kumimoji="0" lang="en-US" sz="1200" b="1" i="0" u="none" strike="noStrike" kern="1200" cap="none" spc="0" normalizeH="0" baseline="0" noProof="0" dirty="0">
                <a:ln>
                  <a:noFill/>
                </a:ln>
                <a:solidFill>
                  <a:srgbClr val="FFFFFF"/>
                </a:solidFill>
                <a:effectLst/>
                <a:uLnTx/>
                <a:uFillTx/>
                <a:latin typeface="Arial" panose="020B0604020202020204"/>
                <a:ea typeface="ＭＳ Ｐゴシック" pitchFamily="34" charset="-128"/>
                <a:cs typeface="+mn-cs"/>
              </a:rPr>
              <a:t>–</a:t>
            </a:r>
            <a:r>
              <a:rPr kumimoji="0" lang="en-US" sz="1200" b="0" i="0" u="none" strike="noStrike" kern="1200" cap="none" spc="0" normalizeH="0" baseline="0" noProof="0" dirty="0">
                <a:ln>
                  <a:noFill/>
                </a:ln>
                <a:solidFill>
                  <a:srgbClr val="FFFFFF"/>
                </a:solidFill>
                <a:effectLst/>
                <a:uLnTx/>
                <a:uFillTx/>
                <a:latin typeface="Arial" panose="020B0604020202020204"/>
                <a:ea typeface="ＭＳ Ｐゴシック" pitchFamily="34" charset="-128"/>
                <a:cs typeface="+mn-cs"/>
              </a:rPr>
              <a:t>7%)</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panose="020B0604020202020204"/>
                <a:ea typeface="ＭＳ Ｐゴシック" pitchFamily="34" charset="-128"/>
                <a:cs typeface="+mn-cs"/>
              </a:rPr>
              <a:t>MET mutation (4%)</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panose="020B0604020202020204"/>
                <a:ea typeface="ＭＳ Ｐゴシック" pitchFamily="34" charset="-128"/>
                <a:cs typeface="+mn-cs"/>
              </a:rPr>
              <a:t>BRAF mutations (3%)</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panose="020B0604020202020204"/>
                <a:ea typeface="ＭＳ Ｐゴシック" pitchFamily="34" charset="-128"/>
                <a:cs typeface="+mn-cs"/>
              </a:rPr>
              <a:t>MET amplification (1%)</a:t>
            </a:r>
          </a:p>
        </p:txBody>
      </p:sp>
      <p:pic>
        <p:nvPicPr>
          <p:cNvPr id="85" name="Picture 84">
            <a:extLst>
              <a:ext uri="{FF2B5EF4-FFF2-40B4-BE49-F238E27FC236}">
                <a16:creationId xmlns:a16="http://schemas.microsoft.com/office/drawing/2014/main" id="{A125D9BF-9B72-4502-BF1A-294C53E2A71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86013" y="3972129"/>
            <a:ext cx="2922743" cy="1425448"/>
          </a:xfrm>
          <a:prstGeom prst="rect">
            <a:avLst/>
          </a:prstGeom>
        </p:spPr>
      </p:pic>
      <p:sp>
        <p:nvSpPr>
          <p:cNvPr id="84" name="TextBox 83">
            <a:extLst>
              <a:ext uri="{FF2B5EF4-FFF2-40B4-BE49-F238E27FC236}">
                <a16:creationId xmlns:a16="http://schemas.microsoft.com/office/drawing/2014/main" id="{5D4F5194-86F2-4C1E-AFD5-DC0AC1FF7CFD}"/>
              </a:ext>
            </a:extLst>
          </p:cNvPr>
          <p:cNvSpPr txBox="1"/>
          <p:nvPr/>
        </p:nvSpPr>
        <p:spPr>
          <a:xfrm>
            <a:off x="1743367" y="4330150"/>
            <a:ext cx="3840358"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212121"/>
                </a:solidFill>
                <a:effectLst/>
                <a:uLnTx/>
                <a:uFillTx/>
                <a:latin typeface="Arial" panose="020B0604020202020204"/>
                <a:ea typeface="ＭＳ Ｐゴシック" pitchFamily="34" charset="-128"/>
                <a:cs typeface="+mn-cs"/>
              </a:rPr>
              <a:t>Biomarkers Matter</a:t>
            </a:r>
          </a:p>
        </p:txBody>
      </p:sp>
      <p:sp>
        <p:nvSpPr>
          <p:cNvPr id="4" name="Text Placeholder 3">
            <a:extLst>
              <a:ext uri="{FF2B5EF4-FFF2-40B4-BE49-F238E27FC236}">
                <a16:creationId xmlns:a16="http://schemas.microsoft.com/office/drawing/2014/main" id="{2A1C5300-DF44-46A4-8367-141F838B5153}"/>
              </a:ext>
            </a:extLst>
          </p:cNvPr>
          <p:cNvSpPr>
            <a:spLocks noGrp="1"/>
          </p:cNvSpPr>
          <p:nvPr>
            <p:ph type="body" sz="quarter" idx="10"/>
          </p:nvPr>
        </p:nvSpPr>
        <p:spPr>
          <a:xfrm>
            <a:off x="609599" y="5480527"/>
            <a:ext cx="6061923" cy="1027756"/>
          </a:xfrm>
          <a:noFill/>
        </p:spPr>
        <p:txBody>
          <a:bodyPr/>
          <a:lstStyle/>
          <a:p>
            <a:r>
              <a:rPr lang="da-DK" dirty="0"/>
              <a:t>BRAF, v-raf murine sarcoma viral oncogene homolog B; ECC, extrahepatic cholangiocarcinoma; </a:t>
            </a:r>
            <a:r>
              <a:rPr lang="en-GB" dirty="0"/>
              <a:t>EGFR, epidermal growth factor receptor; FGFR, fibroblast growth factor receptor; GBCA, gallbladder carcinoma; HER2, human epidermal growth factor receptor 2; </a:t>
            </a:r>
            <a:r>
              <a:rPr lang="en-US" dirty="0"/>
              <a:t>ICC, intrahepatic cholangiocarcinoma;</a:t>
            </a:r>
            <a:r>
              <a:rPr lang="en-GB" dirty="0"/>
              <a:t> </a:t>
            </a:r>
            <a:r>
              <a:rPr lang="en-US" dirty="0"/>
              <a:t>IDH, isocitrate dehydrogenase; </a:t>
            </a:r>
            <a:r>
              <a:rPr lang="en-GB" dirty="0"/>
              <a:t>MAP, mitogen-activated protein kinase; MET, mesenchymal to epithelial transition; PIK3CA, phosphatidylinositol 3-kinase catalytic alpha polypeptide; RET, rearranged during transfection; RNF43, </a:t>
            </a:r>
            <a:r>
              <a:rPr lang="fr-FR" dirty="0"/>
              <a:t>ring finger protein 43</a:t>
            </a:r>
            <a:r>
              <a:rPr lang="en-GB" dirty="0"/>
              <a:t>. </a:t>
            </a:r>
            <a:br>
              <a:rPr lang="en-GB" dirty="0"/>
            </a:br>
            <a:r>
              <a:rPr lang="en-GB" dirty="0"/>
              <a:t>Adapted from Valle JW, et al. Cancer Discov 2017;7(9):943–962.</a:t>
            </a:r>
          </a:p>
        </p:txBody>
      </p:sp>
      <p:cxnSp>
        <p:nvCxnSpPr>
          <p:cNvPr id="92" name="Straight Connector 91">
            <a:extLst>
              <a:ext uri="{FF2B5EF4-FFF2-40B4-BE49-F238E27FC236}">
                <a16:creationId xmlns:a16="http://schemas.microsoft.com/office/drawing/2014/main" id="{63CE7B1B-28DC-0063-E4CC-FEA9FCD66DEE}"/>
              </a:ext>
            </a:extLst>
          </p:cNvPr>
          <p:cNvCxnSpPr>
            <a:cxnSpLocks/>
          </p:cNvCxnSpPr>
          <p:nvPr/>
        </p:nvCxnSpPr>
        <p:spPr>
          <a:xfrm flipH="1">
            <a:off x="2465798" y="1512549"/>
            <a:ext cx="872778"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340BDC9D-2FDB-28DD-065D-DF78771BB0E8}"/>
              </a:ext>
            </a:extLst>
          </p:cNvPr>
          <p:cNvCxnSpPr>
            <a:cxnSpLocks/>
          </p:cNvCxnSpPr>
          <p:nvPr/>
        </p:nvCxnSpPr>
        <p:spPr>
          <a:xfrm flipH="1">
            <a:off x="8199699" y="1415241"/>
            <a:ext cx="1478557" cy="2539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706874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4" grpId="0"/>
    </p:bld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8E70A0-23D2-3D57-B6FA-311AAA55D58C}"/>
              </a:ext>
            </a:extLst>
          </p:cNvPr>
          <p:cNvSpPr>
            <a:spLocks noGrp="1"/>
          </p:cNvSpPr>
          <p:nvPr>
            <p:ph type="title"/>
          </p:nvPr>
        </p:nvSpPr>
        <p:spPr/>
        <p:txBody>
          <a:bodyPr/>
          <a:lstStyle/>
          <a:p>
            <a:r>
              <a:rPr lang="en-US" dirty="0"/>
              <a:t>Role for Liquid Biopsy in Biliary Tract Cancer?</a:t>
            </a:r>
          </a:p>
        </p:txBody>
      </p:sp>
      <p:pic>
        <p:nvPicPr>
          <p:cNvPr id="6" name="Content Placeholder 5">
            <a:extLst>
              <a:ext uri="{FF2B5EF4-FFF2-40B4-BE49-F238E27FC236}">
                <a16:creationId xmlns:a16="http://schemas.microsoft.com/office/drawing/2014/main" id="{B31EE1B6-2CCD-9AD5-9961-9361F61598A9}"/>
              </a:ext>
            </a:extLst>
          </p:cNvPr>
          <p:cNvPicPr>
            <a:picLocks noGrp="1" noChangeAspect="1"/>
          </p:cNvPicPr>
          <p:nvPr>
            <p:ph idx="1"/>
          </p:nvPr>
        </p:nvPicPr>
        <p:blipFill rotWithShape="1">
          <a:blip r:embed="rId2"/>
          <a:srcRect l="26007" t="945" r="45854" b="50262"/>
          <a:stretch/>
        </p:blipFill>
        <p:spPr>
          <a:xfrm>
            <a:off x="5236258" y="2196411"/>
            <a:ext cx="2215342" cy="2465177"/>
          </a:xfrm>
        </p:spPr>
      </p:pic>
      <p:sp>
        <p:nvSpPr>
          <p:cNvPr id="4" name="Text Placeholder 3">
            <a:extLst>
              <a:ext uri="{FF2B5EF4-FFF2-40B4-BE49-F238E27FC236}">
                <a16:creationId xmlns:a16="http://schemas.microsoft.com/office/drawing/2014/main" id="{DB1D5292-E946-8D02-08AA-A4ADFFBDABC0}"/>
              </a:ext>
            </a:extLst>
          </p:cNvPr>
          <p:cNvSpPr>
            <a:spLocks noGrp="1"/>
          </p:cNvSpPr>
          <p:nvPr>
            <p:ph type="body" sz="quarter" idx="10"/>
          </p:nvPr>
        </p:nvSpPr>
        <p:spPr>
          <a:xfrm>
            <a:off x="182435" y="6539495"/>
            <a:ext cx="10972800" cy="398673"/>
          </a:xfrm>
        </p:spPr>
        <p:txBody>
          <a:bodyPr/>
          <a:lstStyle/>
          <a:p>
            <a:r>
              <a:rPr lang="en-US" dirty="0"/>
              <a:t>Berchuck, </a:t>
            </a:r>
            <a:r>
              <a:rPr lang="en-US" dirty="0" err="1"/>
              <a:t>etal</a:t>
            </a:r>
            <a:r>
              <a:rPr lang="en-US" dirty="0"/>
              <a:t>, </a:t>
            </a:r>
            <a:r>
              <a:rPr lang="en-US" i="1" dirty="0"/>
              <a:t>Annals of </a:t>
            </a:r>
            <a:r>
              <a:rPr lang="en-US" i="1" dirty="0" err="1"/>
              <a:t>Onc</a:t>
            </a:r>
            <a:r>
              <a:rPr lang="en-US" dirty="0"/>
              <a:t>, 2022</a:t>
            </a:r>
          </a:p>
        </p:txBody>
      </p:sp>
      <p:pic>
        <p:nvPicPr>
          <p:cNvPr id="8" name="Picture 7">
            <a:extLst>
              <a:ext uri="{FF2B5EF4-FFF2-40B4-BE49-F238E27FC236}">
                <a16:creationId xmlns:a16="http://schemas.microsoft.com/office/drawing/2014/main" id="{F0C0B1F9-748A-7D6A-C121-64443884AD12}"/>
              </a:ext>
            </a:extLst>
          </p:cNvPr>
          <p:cNvPicPr>
            <a:picLocks noChangeAspect="1"/>
          </p:cNvPicPr>
          <p:nvPr/>
        </p:nvPicPr>
        <p:blipFill rotWithShape="1">
          <a:blip r:embed="rId3"/>
          <a:srcRect r="52685"/>
          <a:stretch/>
        </p:blipFill>
        <p:spPr>
          <a:xfrm>
            <a:off x="1215266" y="1605990"/>
            <a:ext cx="3143151" cy="3409200"/>
          </a:xfrm>
          <a:prstGeom prst="rect">
            <a:avLst/>
          </a:prstGeom>
        </p:spPr>
      </p:pic>
      <p:sp>
        <p:nvSpPr>
          <p:cNvPr id="10" name="TextBox 9">
            <a:extLst>
              <a:ext uri="{FF2B5EF4-FFF2-40B4-BE49-F238E27FC236}">
                <a16:creationId xmlns:a16="http://schemas.microsoft.com/office/drawing/2014/main" id="{8ADBFBCE-12C4-0F53-A922-9A6A582C2B1B}"/>
              </a:ext>
            </a:extLst>
          </p:cNvPr>
          <p:cNvSpPr txBox="1"/>
          <p:nvPr/>
        </p:nvSpPr>
        <p:spPr>
          <a:xfrm>
            <a:off x="867678" y="5177178"/>
            <a:ext cx="3203738" cy="646331"/>
          </a:xfrm>
          <a:prstGeom prst="rect">
            <a:avLst/>
          </a:prstGeom>
          <a:noFill/>
          <a:ln w="34925">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212121"/>
                </a:solidFill>
                <a:effectLst/>
                <a:uLnTx/>
                <a:uFillTx/>
                <a:latin typeface="Arial" panose="020B0604020202020204"/>
                <a:ea typeface="MS PGothic" charset="0"/>
                <a:cs typeface="+mn-cs"/>
              </a:rPr>
              <a:t>44% of patients with actionable alteration</a:t>
            </a:r>
          </a:p>
        </p:txBody>
      </p:sp>
      <p:pic>
        <p:nvPicPr>
          <p:cNvPr id="3" name="Immagine 7">
            <a:extLst>
              <a:ext uri="{FF2B5EF4-FFF2-40B4-BE49-F238E27FC236}">
                <a16:creationId xmlns:a16="http://schemas.microsoft.com/office/drawing/2014/main" id="{7D1F7A79-9387-1F43-37DF-B2E680864047}"/>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074755" y="2016057"/>
            <a:ext cx="1983850" cy="2465177"/>
          </a:xfrm>
          <a:prstGeom prst="rect">
            <a:avLst/>
          </a:prstGeom>
        </p:spPr>
      </p:pic>
      <p:pic>
        <p:nvPicPr>
          <p:cNvPr id="7" name="Content Placeholder 5">
            <a:extLst>
              <a:ext uri="{FF2B5EF4-FFF2-40B4-BE49-F238E27FC236}">
                <a16:creationId xmlns:a16="http://schemas.microsoft.com/office/drawing/2014/main" id="{18A22AE1-5159-3FED-2022-74562995AED8}"/>
              </a:ext>
            </a:extLst>
          </p:cNvPr>
          <p:cNvPicPr>
            <a:picLocks noChangeAspect="1"/>
          </p:cNvPicPr>
          <p:nvPr/>
        </p:nvPicPr>
        <p:blipFill rotWithShape="1">
          <a:blip r:embed="rId2"/>
          <a:srcRect l="4194" t="14438" r="74272" b="57530"/>
          <a:stretch/>
        </p:blipFill>
        <p:spPr bwMode="auto">
          <a:xfrm>
            <a:off x="7451600" y="1192058"/>
            <a:ext cx="1695311" cy="1416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Box 12">
            <a:extLst>
              <a:ext uri="{FF2B5EF4-FFF2-40B4-BE49-F238E27FC236}">
                <a16:creationId xmlns:a16="http://schemas.microsoft.com/office/drawing/2014/main" id="{9C6FC62D-7515-3C69-CEB7-4DB13E565CCA}"/>
              </a:ext>
            </a:extLst>
          </p:cNvPr>
          <p:cNvSpPr txBox="1"/>
          <p:nvPr/>
        </p:nvSpPr>
        <p:spPr>
          <a:xfrm>
            <a:off x="8533918" y="5204277"/>
            <a:ext cx="3203738" cy="646331"/>
          </a:xfrm>
          <a:prstGeom prst="rect">
            <a:avLst/>
          </a:prstGeom>
          <a:noFill/>
          <a:ln w="34925">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212121"/>
                </a:solidFill>
                <a:effectLst/>
                <a:uLnTx/>
                <a:uFillTx/>
                <a:latin typeface="Arial" panose="020B0604020202020204"/>
                <a:ea typeface="MS PGothic" charset="0"/>
                <a:cs typeface="+mn-cs"/>
              </a:rPr>
              <a:t>18% detection for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a:ln>
                  <a:noFill/>
                </a:ln>
                <a:solidFill>
                  <a:srgbClr val="212121"/>
                </a:solidFill>
                <a:effectLst/>
                <a:uLnTx/>
                <a:uFillTx/>
                <a:latin typeface="Arial" panose="020B0604020202020204"/>
                <a:ea typeface="MS PGothic" charset="0"/>
                <a:cs typeface="+mn-cs"/>
              </a:rPr>
              <a:t>FGFR2</a:t>
            </a:r>
            <a:r>
              <a:rPr kumimoji="0" lang="en-US" sz="1800" b="1" i="0" u="none" strike="noStrike" kern="1200" cap="none" spc="0" normalizeH="0" baseline="0" noProof="0" dirty="0">
                <a:ln>
                  <a:noFill/>
                </a:ln>
                <a:solidFill>
                  <a:srgbClr val="212121"/>
                </a:solidFill>
                <a:effectLst/>
                <a:uLnTx/>
                <a:uFillTx/>
                <a:latin typeface="Arial" panose="020B0604020202020204"/>
                <a:ea typeface="MS PGothic" charset="0"/>
                <a:cs typeface="+mn-cs"/>
              </a:rPr>
              <a:t> fusions</a:t>
            </a:r>
          </a:p>
        </p:txBody>
      </p:sp>
      <p:sp>
        <p:nvSpPr>
          <p:cNvPr id="14" name="TextBox 13">
            <a:extLst>
              <a:ext uri="{FF2B5EF4-FFF2-40B4-BE49-F238E27FC236}">
                <a16:creationId xmlns:a16="http://schemas.microsoft.com/office/drawing/2014/main" id="{442DFFEF-3C40-3D35-DE07-0769D3744663}"/>
              </a:ext>
            </a:extLst>
          </p:cNvPr>
          <p:cNvSpPr txBox="1"/>
          <p:nvPr/>
        </p:nvSpPr>
        <p:spPr>
          <a:xfrm>
            <a:off x="4700798" y="5189874"/>
            <a:ext cx="3203738" cy="646331"/>
          </a:xfrm>
          <a:prstGeom prst="rect">
            <a:avLst/>
          </a:prstGeom>
          <a:noFill/>
          <a:ln w="34925">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212121"/>
                </a:solidFill>
                <a:effectLst/>
                <a:uLnTx/>
                <a:uFillTx/>
                <a:latin typeface="Arial" panose="020B0604020202020204"/>
                <a:ea typeface="MS PGothic" charset="0"/>
                <a:cs typeface="+mn-cs"/>
              </a:rPr>
              <a:t>87% detection for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a:ln>
                  <a:noFill/>
                </a:ln>
                <a:solidFill>
                  <a:srgbClr val="212121"/>
                </a:solidFill>
                <a:effectLst/>
                <a:uLnTx/>
                <a:uFillTx/>
                <a:latin typeface="Arial" panose="020B0604020202020204"/>
                <a:ea typeface="MS PGothic" charset="0"/>
                <a:cs typeface="+mn-cs"/>
              </a:rPr>
              <a:t>IDH1</a:t>
            </a:r>
            <a:r>
              <a:rPr kumimoji="0" lang="en-US" sz="1800" b="1" i="0" u="none" strike="noStrike" kern="1200" cap="none" spc="0" normalizeH="0" baseline="0" noProof="0" dirty="0">
                <a:ln>
                  <a:noFill/>
                </a:ln>
                <a:solidFill>
                  <a:srgbClr val="212121"/>
                </a:solidFill>
                <a:effectLst/>
                <a:uLnTx/>
                <a:uFillTx/>
                <a:latin typeface="Arial" panose="020B0604020202020204"/>
                <a:ea typeface="MS PGothic" charset="0"/>
                <a:cs typeface="+mn-cs"/>
              </a:rPr>
              <a:t> mutations</a:t>
            </a:r>
          </a:p>
        </p:txBody>
      </p:sp>
    </p:spTree>
    <p:extLst>
      <p:ext uri="{BB962C8B-B14F-4D97-AF65-F5344CB8AC3E}">
        <p14:creationId xmlns:p14="http://schemas.microsoft.com/office/powerpoint/2010/main" val="4369797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86ADDD-0821-4FCB-89C7-5BDD3937DC3B}"/>
              </a:ext>
            </a:extLst>
          </p:cNvPr>
          <p:cNvSpPr>
            <a:spLocks noGrp="1"/>
          </p:cNvSpPr>
          <p:nvPr>
            <p:ph type="title"/>
          </p:nvPr>
        </p:nvSpPr>
        <p:spPr/>
        <p:txBody>
          <a:bodyPr/>
          <a:lstStyle/>
          <a:p>
            <a:r>
              <a:rPr lang="en-US" sz="2800" dirty="0">
                <a:latin typeface="+mn-lt"/>
              </a:rPr>
              <a:t>Evaluating Targeted Therapy in an </a:t>
            </a:r>
            <a:br>
              <a:rPr lang="en-US" sz="2800" dirty="0">
                <a:latin typeface="+mn-lt"/>
              </a:rPr>
            </a:br>
            <a:r>
              <a:rPr lang="en-US" sz="2800" dirty="0">
                <a:latin typeface="+mn-lt"/>
              </a:rPr>
              <a:t>Uncommon Cancer: Approaches</a:t>
            </a:r>
            <a:endParaRPr lang="en-GB" dirty="0">
              <a:latin typeface="+mn-lt"/>
            </a:endParaRPr>
          </a:p>
        </p:txBody>
      </p:sp>
      <p:sp>
        <p:nvSpPr>
          <p:cNvPr id="4" name="Text Placeholder 3">
            <a:extLst>
              <a:ext uri="{FF2B5EF4-FFF2-40B4-BE49-F238E27FC236}">
                <a16:creationId xmlns:a16="http://schemas.microsoft.com/office/drawing/2014/main" id="{C7449E38-7799-45BB-A56B-4829F4EAE22B}"/>
              </a:ext>
            </a:extLst>
          </p:cNvPr>
          <p:cNvSpPr>
            <a:spLocks noGrp="1"/>
          </p:cNvSpPr>
          <p:nvPr>
            <p:ph type="body" sz="quarter" idx="10"/>
          </p:nvPr>
        </p:nvSpPr>
        <p:spPr>
          <a:xfrm>
            <a:off x="609600" y="5984529"/>
            <a:ext cx="10972800" cy="505723"/>
          </a:xfrm>
        </p:spPr>
        <p:txBody>
          <a:bodyPr/>
          <a:lstStyle/>
          <a:p>
            <a:r>
              <a:rPr lang="en-US" dirty="0"/>
              <a:t>ABC10, ABC transporter 10; BRAF, v-raf murine sarcoma viral oncogene homolog B; FGFR2, fibroblast growth factor receptor 2; HER2, human epidermal growth factor 2; </a:t>
            </a:r>
            <a:br>
              <a:rPr lang="en-US" dirty="0"/>
            </a:br>
            <a:r>
              <a:rPr lang="en-US" dirty="0"/>
              <a:t>IDH, isocitrate dehydrogenase; </a:t>
            </a:r>
            <a:r>
              <a:rPr lang="it-IT" dirty="0"/>
              <a:t>MSI, microsatellite instability; NTRK, neurotrophic tyrosine receptor kinase; </a:t>
            </a:r>
            <a:r>
              <a:rPr lang="en-GB" dirty="0"/>
              <a:t>RET, rearranged during transfection</a:t>
            </a:r>
            <a:r>
              <a:rPr lang="en-US" dirty="0"/>
              <a:t>.</a:t>
            </a:r>
            <a:br>
              <a:rPr lang="it-IT" dirty="0"/>
            </a:br>
            <a:r>
              <a:rPr lang="en-GB" dirty="0"/>
              <a:t>Valle JW, et al. Cancer Discov 2017;7(9):943–962.</a:t>
            </a:r>
          </a:p>
          <a:p>
            <a:endParaRPr lang="en-GB" dirty="0"/>
          </a:p>
        </p:txBody>
      </p:sp>
      <p:grpSp>
        <p:nvGrpSpPr>
          <p:cNvPr id="28" name="Group 27">
            <a:extLst>
              <a:ext uri="{FF2B5EF4-FFF2-40B4-BE49-F238E27FC236}">
                <a16:creationId xmlns:a16="http://schemas.microsoft.com/office/drawing/2014/main" id="{90F3D2D5-18DC-44FB-9049-A4528B28D876}"/>
              </a:ext>
            </a:extLst>
          </p:cNvPr>
          <p:cNvGrpSpPr/>
          <p:nvPr/>
        </p:nvGrpSpPr>
        <p:grpSpPr>
          <a:xfrm>
            <a:off x="8992052" y="1298078"/>
            <a:ext cx="3177855" cy="3979083"/>
            <a:chOff x="8609369" y="1421366"/>
            <a:chExt cx="3177855" cy="3979083"/>
          </a:xfrm>
        </p:grpSpPr>
        <p:pic>
          <p:nvPicPr>
            <p:cNvPr id="12" name="Picture 11">
              <a:extLst>
                <a:ext uri="{FF2B5EF4-FFF2-40B4-BE49-F238E27FC236}">
                  <a16:creationId xmlns:a16="http://schemas.microsoft.com/office/drawing/2014/main" id="{801630B0-47E4-4B65-BF04-AB116358E540}"/>
                </a:ext>
              </a:extLst>
            </p:cNvPr>
            <p:cNvPicPr>
              <a:picLocks noChangeAspect="1"/>
            </p:cNvPicPr>
            <p:nvPr/>
          </p:nvPicPr>
          <p:blipFill>
            <a:blip r:embed="rId3" cstate="email">
              <a:extLst>
                <a:ext uri="{BEBA8EAE-BF5A-486C-A8C5-ECC9F3942E4B}">
                  <a14:imgProps xmlns:a14="http://schemas.microsoft.com/office/drawing/2010/main">
                    <a14:imgLayer r:embed="rId4">
                      <a14:imgEffect>
                        <a14:saturation sat="33000"/>
                      </a14:imgEffect>
                    </a14:imgLayer>
                  </a14:imgProps>
                </a:ext>
                <a:ext uri="{28A0092B-C50C-407E-A947-70E740481C1C}">
                  <a14:useLocalDpi xmlns:a14="http://schemas.microsoft.com/office/drawing/2010/main"/>
                </a:ext>
              </a:extLst>
            </a:blip>
            <a:stretch>
              <a:fillRect/>
            </a:stretch>
          </p:blipFill>
          <p:spPr>
            <a:xfrm rot="1452218">
              <a:off x="9218149" y="2604882"/>
              <a:ext cx="1584819" cy="1884858"/>
            </a:xfrm>
            <a:prstGeom prst="rect">
              <a:avLst/>
            </a:prstGeom>
          </p:spPr>
        </p:pic>
        <p:sp>
          <p:nvSpPr>
            <p:cNvPr id="13" name="Arrow: Right 12">
              <a:extLst>
                <a:ext uri="{FF2B5EF4-FFF2-40B4-BE49-F238E27FC236}">
                  <a16:creationId xmlns:a16="http://schemas.microsoft.com/office/drawing/2014/main" id="{8D7EA8C8-FCBB-413E-BBB6-A95470CA6190}"/>
                </a:ext>
              </a:extLst>
            </p:cNvPr>
            <p:cNvSpPr/>
            <p:nvPr/>
          </p:nvSpPr>
          <p:spPr>
            <a:xfrm rot="5400000">
              <a:off x="9730966" y="4601250"/>
              <a:ext cx="551632" cy="301840"/>
            </a:xfrm>
            <a:prstGeom prst="rightArrow">
              <a:avLst/>
            </a:prstGeom>
            <a:solidFill>
              <a:srgbClr val="710135"/>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News Gothic MT" panose="020B0503020103020203" pitchFamily="34" charset="0"/>
                <a:ea typeface="MS PGothic" charset="0"/>
                <a:cs typeface="+mn-cs"/>
              </a:endParaRPr>
            </a:p>
          </p:txBody>
        </p:sp>
        <p:sp>
          <p:nvSpPr>
            <p:cNvPr id="14" name="TextBox 13">
              <a:extLst>
                <a:ext uri="{FF2B5EF4-FFF2-40B4-BE49-F238E27FC236}">
                  <a16:creationId xmlns:a16="http://schemas.microsoft.com/office/drawing/2014/main" id="{C2D418A8-0FD4-4D51-9B08-B7F9D6E0E18B}"/>
                </a:ext>
              </a:extLst>
            </p:cNvPr>
            <p:cNvSpPr txBox="1"/>
            <p:nvPr/>
          </p:nvSpPr>
          <p:spPr>
            <a:xfrm>
              <a:off x="9562299" y="5061895"/>
              <a:ext cx="86914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panose="020B0604020202020204"/>
                  <a:ea typeface="MS PGothic" charset="0"/>
                  <a:cs typeface="+mn-cs"/>
                </a:rPr>
                <a:t>ABC10</a:t>
              </a:r>
            </a:p>
          </p:txBody>
        </p:sp>
        <p:sp>
          <p:nvSpPr>
            <p:cNvPr id="15" name="Rectangle 14">
              <a:extLst>
                <a:ext uri="{FF2B5EF4-FFF2-40B4-BE49-F238E27FC236}">
                  <a16:creationId xmlns:a16="http://schemas.microsoft.com/office/drawing/2014/main" id="{EED11401-54D7-493F-BC49-2010AB9CEAAD}"/>
                </a:ext>
              </a:extLst>
            </p:cNvPr>
            <p:cNvSpPr/>
            <p:nvPr/>
          </p:nvSpPr>
          <p:spPr>
            <a:xfrm>
              <a:off x="8609369" y="1421366"/>
              <a:ext cx="3177855" cy="533943"/>
            </a:xfrm>
            <a:prstGeom prst="rect">
              <a:avLst/>
            </a:prstGeom>
            <a:noFill/>
            <a:ln w="25400" cap="flat" cmpd="sng" algn="ctr">
              <a:noFill/>
              <a:prstDash val="solid"/>
            </a:ln>
            <a:effectLst/>
          </p:spPr>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prstClr val="black"/>
                  </a:solidFill>
                  <a:effectLst/>
                  <a:uLnTx/>
                  <a:uFillTx/>
                  <a:latin typeface="Arial" panose="020B0604020202020204"/>
                  <a:ea typeface="MS PGothic" charset="0"/>
                  <a:cs typeface="+mn-cs"/>
                </a:rPr>
                <a:t>Biliary Umbrella Trial With Target-Specific Arms</a:t>
              </a:r>
            </a:p>
          </p:txBody>
        </p:sp>
        <p:sp>
          <p:nvSpPr>
            <p:cNvPr id="16" name="TextBox 15">
              <a:extLst>
                <a:ext uri="{FF2B5EF4-FFF2-40B4-BE49-F238E27FC236}">
                  <a16:creationId xmlns:a16="http://schemas.microsoft.com/office/drawing/2014/main" id="{B722EE41-58FD-4797-BD6C-849635BE0D08}"/>
                </a:ext>
              </a:extLst>
            </p:cNvPr>
            <p:cNvSpPr txBox="1"/>
            <p:nvPr/>
          </p:nvSpPr>
          <p:spPr>
            <a:xfrm rot="17568609">
              <a:off x="9176509" y="2893763"/>
              <a:ext cx="731290"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News Gothic MT" panose="020B0503020103020203" pitchFamily="34" charset="0"/>
                  <a:ea typeface="MS PGothic" charset="0"/>
                  <a:cs typeface="+mn-cs"/>
                </a:rPr>
                <a:t>IDH1</a:t>
              </a:r>
            </a:p>
          </p:txBody>
        </p:sp>
        <p:sp>
          <p:nvSpPr>
            <p:cNvPr id="17" name="TextBox 16">
              <a:extLst>
                <a:ext uri="{FF2B5EF4-FFF2-40B4-BE49-F238E27FC236}">
                  <a16:creationId xmlns:a16="http://schemas.microsoft.com/office/drawing/2014/main" id="{670FF921-B0C0-4FE7-A946-86657303EB75}"/>
                </a:ext>
              </a:extLst>
            </p:cNvPr>
            <p:cNvSpPr txBox="1"/>
            <p:nvPr/>
          </p:nvSpPr>
          <p:spPr>
            <a:xfrm rot="16985016">
              <a:off x="9522298" y="2924878"/>
              <a:ext cx="745910"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News Gothic MT" panose="020B0503020103020203" pitchFamily="34" charset="0"/>
                  <a:ea typeface="MS PGothic" charset="0"/>
                  <a:cs typeface="+mn-cs"/>
                </a:rPr>
                <a:t>FGF2</a:t>
              </a:r>
            </a:p>
          </p:txBody>
        </p:sp>
        <p:sp>
          <p:nvSpPr>
            <p:cNvPr id="18" name="TextBox 17">
              <a:extLst>
                <a:ext uri="{FF2B5EF4-FFF2-40B4-BE49-F238E27FC236}">
                  <a16:creationId xmlns:a16="http://schemas.microsoft.com/office/drawing/2014/main" id="{4D83DB42-184B-44C7-9457-84CC0006772C}"/>
                </a:ext>
              </a:extLst>
            </p:cNvPr>
            <p:cNvSpPr txBox="1"/>
            <p:nvPr/>
          </p:nvSpPr>
          <p:spPr>
            <a:xfrm rot="15309312">
              <a:off x="9888861" y="2913843"/>
              <a:ext cx="772969"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News Gothic MT" panose="020B0503020103020203" pitchFamily="34" charset="0"/>
                  <a:ea typeface="MS PGothic" charset="0"/>
                  <a:cs typeface="+mn-cs"/>
                </a:rPr>
                <a:t>BRAF</a:t>
              </a:r>
            </a:p>
          </p:txBody>
        </p:sp>
        <p:sp>
          <p:nvSpPr>
            <p:cNvPr id="19" name="TextBox 18">
              <a:extLst>
                <a:ext uri="{FF2B5EF4-FFF2-40B4-BE49-F238E27FC236}">
                  <a16:creationId xmlns:a16="http://schemas.microsoft.com/office/drawing/2014/main" id="{F0A453B1-CDB1-4304-BCDF-DEE455A0E3DC}"/>
                </a:ext>
              </a:extLst>
            </p:cNvPr>
            <p:cNvSpPr txBox="1"/>
            <p:nvPr/>
          </p:nvSpPr>
          <p:spPr>
            <a:xfrm rot="3250531">
              <a:off x="10296447" y="2887494"/>
              <a:ext cx="724878"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News Gothic MT" panose="020B0503020103020203" pitchFamily="34" charset="0"/>
                  <a:ea typeface="MS PGothic" charset="0"/>
                  <a:cs typeface="+mn-cs"/>
                </a:rPr>
                <a:t>HER2</a:t>
              </a:r>
            </a:p>
          </p:txBody>
        </p:sp>
      </p:grpSp>
      <p:pic>
        <p:nvPicPr>
          <p:cNvPr id="5" name="Picture 4">
            <a:extLst>
              <a:ext uri="{FF2B5EF4-FFF2-40B4-BE49-F238E27FC236}">
                <a16:creationId xmlns:a16="http://schemas.microsoft.com/office/drawing/2014/main" id="{539CD32C-11C5-4ECC-B3C1-FBA549630CF7}"/>
              </a:ext>
            </a:extLst>
          </p:cNvPr>
          <p:cNvPicPr>
            <a:picLocks noChangeAspect="1"/>
          </p:cNvPicPr>
          <p:nvPr/>
        </p:nvPicPr>
        <p:blipFill rotWithShape="1">
          <a:blip r:embed="rId5" cstate="email">
            <a:duotone>
              <a:schemeClr val="accent1">
                <a:shade val="45000"/>
                <a:satMod val="135000"/>
              </a:schemeClr>
              <a:prstClr val="white"/>
            </a:duotone>
            <a:extLst>
              <a:ext uri="{28A0092B-C50C-407E-A947-70E740481C1C}">
                <a14:useLocalDpi xmlns:a14="http://schemas.microsoft.com/office/drawing/2010/main"/>
              </a:ext>
            </a:extLst>
          </a:blip>
          <a:srcRect/>
          <a:stretch/>
        </p:blipFill>
        <p:spPr>
          <a:xfrm>
            <a:off x="1441647" y="2071720"/>
            <a:ext cx="2174393" cy="2114758"/>
          </a:xfrm>
          <a:prstGeom prst="rect">
            <a:avLst/>
          </a:prstGeom>
        </p:spPr>
      </p:pic>
      <p:sp>
        <p:nvSpPr>
          <p:cNvPr id="6" name="Arrow: Right 5">
            <a:extLst>
              <a:ext uri="{FF2B5EF4-FFF2-40B4-BE49-F238E27FC236}">
                <a16:creationId xmlns:a16="http://schemas.microsoft.com/office/drawing/2014/main" id="{58B0EC84-914E-419D-B534-AEBD5580693C}"/>
              </a:ext>
            </a:extLst>
          </p:cNvPr>
          <p:cNvSpPr/>
          <p:nvPr/>
        </p:nvSpPr>
        <p:spPr>
          <a:xfrm rot="7870035">
            <a:off x="1474435" y="4364142"/>
            <a:ext cx="852256" cy="301841"/>
          </a:xfrm>
          <a:prstGeom prst="rightArrow">
            <a:avLst/>
          </a:prstGeom>
          <a:solidFill>
            <a:srgbClr val="710135"/>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News Gothic MT" panose="020B0503020103020203" pitchFamily="34" charset="0"/>
              <a:ea typeface="MS PGothic" charset="0"/>
              <a:cs typeface="+mn-cs"/>
            </a:endParaRPr>
          </a:p>
        </p:txBody>
      </p:sp>
      <p:sp>
        <p:nvSpPr>
          <p:cNvPr id="7" name="Arrow: Right 6">
            <a:extLst>
              <a:ext uri="{FF2B5EF4-FFF2-40B4-BE49-F238E27FC236}">
                <a16:creationId xmlns:a16="http://schemas.microsoft.com/office/drawing/2014/main" id="{57568DC7-BD59-45DF-BDEE-6E07566A6577}"/>
              </a:ext>
            </a:extLst>
          </p:cNvPr>
          <p:cNvSpPr/>
          <p:nvPr/>
        </p:nvSpPr>
        <p:spPr>
          <a:xfrm rot="2700000">
            <a:off x="2950280" y="4352047"/>
            <a:ext cx="852256" cy="301841"/>
          </a:xfrm>
          <a:prstGeom prst="rightArrow">
            <a:avLst/>
          </a:prstGeom>
          <a:solidFill>
            <a:srgbClr val="710135"/>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News Gothic MT" panose="020B0503020103020203" pitchFamily="34" charset="0"/>
              <a:ea typeface="MS PGothic" charset="0"/>
              <a:cs typeface="+mn-cs"/>
            </a:endParaRPr>
          </a:p>
        </p:txBody>
      </p:sp>
      <p:sp>
        <p:nvSpPr>
          <p:cNvPr id="8" name="Rectangle 7">
            <a:extLst>
              <a:ext uri="{FF2B5EF4-FFF2-40B4-BE49-F238E27FC236}">
                <a16:creationId xmlns:a16="http://schemas.microsoft.com/office/drawing/2014/main" id="{86CA47EA-A761-4FF8-AB77-DBCF79EC2304}"/>
              </a:ext>
            </a:extLst>
          </p:cNvPr>
          <p:cNvSpPr/>
          <p:nvPr/>
        </p:nvSpPr>
        <p:spPr>
          <a:xfrm>
            <a:off x="952483" y="1367463"/>
            <a:ext cx="3587374" cy="533943"/>
          </a:xfrm>
          <a:prstGeom prst="rect">
            <a:avLst/>
          </a:prstGeom>
          <a:noFill/>
          <a:ln w="25400" cap="flat" cmpd="sng" algn="ctr">
            <a:noFill/>
            <a:prstDash val="solid"/>
          </a:ln>
          <a:effectLst/>
        </p:spPr>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prstClr val="black"/>
                </a:solidFill>
                <a:effectLst/>
                <a:uLnTx/>
                <a:uFillTx/>
                <a:latin typeface="Arial" panose="020B0604020202020204"/>
                <a:ea typeface="MS PGothic" charset="0"/>
                <a:cs typeface="+mn-cs"/>
              </a:rPr>
              <a:t>Target-Specific Cholangiocarcinoma Trial</a:t>
            </a:r>
          </a:p>
        </p:txBody>
      </p:sp>
      <p:sp>
        <p:nvSpPr>
          <p:cNvPr id="10" name="TextBox 9">
            <a:extLst>
              <a:ext uri="{FF2B5EF4-FFF2-40B4-BE49-F238E27FC236}">
                <a16:creationId xmlns:a16="http://schemas.microsoft.com/office/drawing/2014/main" id="{25593A9F-FE72-49F7-9481-852DC077F724}"/>
              </a:ext>
            </a:extLst>
          </p:cNvPr>
          <p:cNvSpPr txBox="1"/>
          <p:nvPr/>
        </p:nvSpPr>
        <p:spPr>
          <a:xfrm>
            <a:off x="2893436" y="4938607"/>
            <a:ext cx="1171731" cy="83099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panose="020B0604020202020204"/>
                <a:ea typeface="MS PGothic" charset="0"/>
                <a:cs typeface="+mn-cs"/>
              </a:rPr>
              <a:t>IDH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panose="020B0604020202020204"/>
                <a:ea typeface="MS PGothic" charset="0"/>
                <a:cs typeface="+mn-cs"/>
              </a:rPr>
              <a:t>mutation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a:ea typeface="MS PGothic" charset="0"/>
                <a:cs typeface="+mn-cs"/>
              </a:rPr>
              <a:t>15%–20%</a:t>
            </a:r>
          </a:p>
        </p:txBody>
      </p:sp>
      <p:sp>
        <p:nvSpPr>
          <p:cNvPr id="11" name="TextBox 10">
            <a:extLst>
              <a:ext uri="{FF2B5EF4-FFF2-40B4-BE49-F238E27FC236}">
                <a16:creationId xmlns:a16="http://schemas.microsoft.com/office/drawing/2014/main" id="{F0A4213D-7B6D-4149-86E4-E1A8AA31710B}"/>
              </a:ext>
            </a:extLst>
          </p:cNvPr>
          <p:cNvSpPr txBox="1"/>
          <p:nvPr/>
        </p:nvSpPr>
        <p:spPr>
          <a:xfrm>
            <a:off x="1229370" y="4938607"/>
            <a:ext cx="1119217" cy="83099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panose="020B0604020202020204"/>
                <a:ea typeface="MS PGothic" charset="0"/>
                <a:cs typeface="+mn-cs"/>
              </a:rPr>
              <a:t>FGFR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panose="020B0604020202020204"/>
                <a:ea typeface="MS PGothic" charset="0"/>
                <a:cs typeface="+mn-cs"/>
              </a:rPr>
              <a:t>fusion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a:ea typeface="MS PGothic" charset="0"/>
                <a:cs typeface="+mn-cs"/>
              </a:rPr>
              <a:t>10%–15%</a:t>
            </a:r>
          </a:p>
        </p:txBody>
      </p:sp>
      <p:sp>
        <p:nvSpPr>
          <p:cNvPr id="21" name="Rectangle 20">
            <a:extLst>
              <a:ext uri="{FF2B5EF4-FFF2-40B4-BE49-F238E27FC236}">
                <a16:creationId xmlns:a16="http://schemas.microsoft.com/office/drawing/2014/main" id="{AAF70077-5199-48E5-AA4A-07DF038D84D6}"/>
              </a:ext>
            </a:extLst>
          </p:cNvPr>
          <p:cNvSpPr/>
          <p:nvPr/>
        </p:nvSpPr>
        <p:spPr>
          <a:xfrm>
            <a:off x="748703" y="1235372"/>
            <a:ext cx="3813776" cy="4668338"/>
          </a:xfrm>
          <a:prstGeom prst="rect">
            <a:avLst/>
          </a:prstGeom>
          <a:noFill/>
          <a:ln w="28575" cap="flat" cmpd="sng" algn="ctr">
            <a:solidFill>
              <a:srgbClr val="E29E2B"/>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S PGothic" charset="0"/>
              <a:cs typeface="+mn-cs"/>
            </a:endParaRPr>
          </a:p>
        </p:txBody>
      </p:sp>
      <p:grpSp>
        <p:nvGrpSpPr>
          <p:cNvPr id="3" name="Group 2">
            <a:extLst>
              <a:ext uri="{FF2B5EF4-FFF2-40B4-BE49-F238E27FC236}">
                <a16:creationId xmlns:a16="http://schemas.microsoft.com/office/drawing/2014/main" id="{55C2DC2F-8487-D572-8A83-2B063ED1B0C3}"/>
              </a:ext>
            </a:extLst>
          </p:cNvPr>
          <p:cNvGrpSpPr/>
          <p:nvPr/>
        </p:nvGrpSpPr>
        <p:grpSpPr>
          <a:xfrm>
            <a:off x="4518332" y="1367463"/>
            <a:ext cx="4835429" cy="4478275"/>
            <a:chOff x="4518332" y="1367463"/>
            <a:chExt cx="4835429" cy="4478275"/>
          </a:xfrm>
        </p:grpSpPr>
        <p:grpSp>
          <p:nvGrpSpPr>
            <p:cNvPr id="27" name="Group 26">
              <a:extLst>
                <a:ext uri="{FF2B5EF4-FFF2-40B4-BE49-F238E27FC236}">
                  <a16:creationId xmlns:a16="http://schemas.microsoft.com/office/drawing/2014/main" id="{B3AA91C3-0704-4FB0-B16B-A15930B5358F}"/>
                </a:ext>
              </a:extLst>
            </p:cNvPr>
            <p:cNvGrpSpPr/>
            <p:nvPr/>
          </p:nvGrpSpPr>
          <p:grpSpPr>
            <a:xfrm>
              <a:off x="4518332" y="1367463"/>
              <a:ext cx="3786382" cy="4325196"/>
              <a:chOff x="4590918" y="1490751"/>
              <a:chExt cx="3786382" cy="4325196"/>
            </a:xfrm>
          </p:grpSpPr>
          <p:sp>
            <p:nvSpPr>
              <p:cNvPr id="9" name="Rectangle 8">
                <a:extLst>
                  <a:ext uri="{FF2B5EF4-FFF2-40B4-BE49-F238E27FC236}">
                    <a16:creationId xmlns:a16="http://schemas.microsoft.com/office/drawing/2014/main" id="{376796B4-668A-47BC-9DAE-4A2927D39739}"/>
                  </a:ext>
                </a:extLst>
              </p:cNvPr>
              <p:cNvSpPr/>
              <p:nvPr/>
            </p:nvSpPr>
            <p:spPr>
              <a:xfrm>
                <a:off x="4862737" y="1490751"/>
                <a:ext cx="3514563" cy="533943"/>
              </a:xfrm>
              <a:prstGeom prst="rect">
                <a:avLst/>
              </a:prstGeom>
              <a:noFill/>
              <a:ln w="25400" cap="flat" cmpd="sng" algn="ctr">
                <a:noFill/>
                <a:prstDash val="solid"/>
              </a:ln>
              <a:effectLst/>
            </p:spPr>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prstClr val="black"/>
                    </a:solidFill>
                    <a:effectLst/>
                    <a:uLnTx/>
                    <a:uFillTx/>
                    <a:latin typeface="Arial" panose="020B0604020202020204"/>
                    <a:ea typeface="MS PGothic" charset="0"/>
                    <a:cs typeface="+mn-cs"/>
                  </a:rPr>
                  <a:t>Target-Specific All Comer Basket Trial</a:t>
                </a:r>
              </a:p>
            </p:txBody>
          </p:sp>
          <p:pic>
            <p:nvPicPr>
              <p:cNvPr id="20" name="Picture 19">
                <a:extLst>
                  <a:ext uri="{FF2B5EF4-FFF2-40B4-BE49-F238E27FC236}">
                    <a16:creationId xmlns:a16="http://schemas.microsoft.com/office/drawing/2014/main" id="{C034AE45-6C17-45B7-BCE3-0D71B79EABD9}"/>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5614014" y="2443051"/>
                <a:ext cx="2036391" cy="1863081"/>
              </a:xfrm>
              <a:prstGeom prst="rect">
                <a:avLst/>
              </a:prstGeom>
            </p:spPr>
          </p:pic>
          <p:sp>
            <p:nvSpPr>
              <p:cNvPr id="22" name="Arrow: Right 21">
                <a:extLst>
                  <a:ext uri="{FF2B5EF4-FFF2-40B4-BE49-F238E27FC236}">
                    <a16:creationId xmlns:a16="http://schemas.microsoft.com/office/drawing/2014/main" id="{D3CC121B-3C5D-485D-BFA6-0D96BB1AA55B}"/>
                  </a:ext>
                </a:extLst>
              </p:cNvPr>
              <p:cNvSpPr/>
              <p:nvPr/>
            </p:nvSpPr>
            <p:spPr>
              <a:xfrm rot="7870035">
                <a:off x="5126566" y="3941960"/>
                <a:ext cx="852256" cy="301841"/>
              </a:xfrm>
              <a:prstGeom prst="rightArrow">
                <a:avLst/>
              </a:prstGeom>
              <a:solidFill>
                <a:srgbClr val="710135"/>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News Gothic MT" panose="020B0503020103020203" pitchFamily="34" charset="0"/>
                  <a:ea typeface="MS PGothic" charset="0"/>
                  <a:cs typeface="+mn-cs"/>
                </a:endParaRPr>
              </a:p>
            </p:txBody>
          </p:sp>
          <p:sp>
            <p:nvSpPr>
              <p:cNvPr id="23" name="Arrow: Right 22">
                <a:extLst>
                  <a:ext uri="{FF2B5EF4-FFF2-40B4-BE49-F238E27FC236}">
                    <a16:creationId xmlns:a16="http://schemas.microsoft.com/office/drawing/2014/main" id="{57E01C00-DD55-4F8F-B2C9-4E55C3E41E6E}"/>
                  </a:ext>
                </a:extLst>
              </p:cNvPr>
              <p:cNvSpPr/>
              <p:nvPr/>
            </p:nvSpPr>
            <p:spPr>
              <a:xfrm rot="2117969">
                <a:off x="7395028" y="3874451"/>
                <a:ext cx="852256" cy="301841"/>
              </a:xfrm>
              <a:prstGeom prst="rightArrow">
                <a:avLst/>
              </a:prstGeom>
              <a:solidFill>
                <a:srgbClr val="710135"/>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News Gothic MT" panose="020B0503020103020203" pitchFamily="34" charset="0"/>
                  <a:ea typeface="MS PGothic" charset="0"/>
                  <a:cs typeface="+mn-cs"/>
                </a:endParaRPr>
              </a:p>
            </p:txBody>
          </p:sp>
          <p:sp>
            <p:nvSpPr>
              <p:cNvPr id="24" name="TextBox 23">
                <a:extLst>
                  <a:ext uri="{FF2B5EF4-FFF2-40B4-BE49-F238E27FC236}">
                    <a16:creationId xmlns:a16="http://schemas.microsoft.com/office/drawing/2014/main" id="{89EF8AC1-D480-44C2-9F34-EF4DEB9B7686}"/>
                  </a:ext>
                </a:extLst>
              </p:cNvPr>
              <p:cNvSpPr txBox="1"/>
              <p:nvPr/>
            </p:nvSpPr>
            <p:spPr>
              <a:xfrm>
                <a:off x="4590918" y="4400175"/>
                <a:ext cx="1441420" cy="83099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panose="020B0604020202020204"/>
                    <a:ea typeface="MS PGothic" charset="0"/>
                    <a:cs typeface="+mn-cs"/>
                  </a:rPr>
                  <a:t>BRAF V600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panose="020B0604020202020204"/>
                    <a:ea typeface="MS PGothic" charset="0"/>
                    <a:cs typeface="+mn-cs"/>
                  </a:rPr>
                  <a:t>mutation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a:ea typeface="MS PGothic" charset="0"/>
                    <a:cs typeface="+mn-cs"/>
                  </a:rPr>
                  <a:t>4%–5%</a:t>
                </a:r>
              </a:p>
            </p:txBody>
          </p:sp>
          <p:sp>
            <p:nvSpPr>
              <p:cNvPr id="25" name="TextBox 24">
                <a:extLst>
                  <a:ext uri="{FF2B5EF4-FFF2-40B4-BE49-F238E27FC236}">
                    <a16:creationId xmlns:a16="http://schemas.microsoft.com/office/drawing/2014/main" id="{C7340D65-7F11-415B-8831-1925683F7A41}"/>
                  </a:ext>
                </a:extLst>
              </p:cNvPr>
              <p:cNvSpPr txBox="1"/>
              <p:nvPr/>
            </p:nvSpPr>
            <p:spPr>
              <a:xfrm>
                <a:off x="6257120" y="5231172"/>
                <a:ext cx="1732685"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panose="020B0604020202020204"/>
                    <a:ea typeface="MS PGothic" charset="0"/>
                    <a:cs typeface="+mn-cs"/>
                  </a:rPr>
                  <a:t>MSI-high</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a:ea typeface="MS PGothic" charset="0"/>
                    <a:cs typeface="+mn-cs"/>
                  </a:rPr>
                  <a:t>1%–2%</a:t>
                </a:r>
              </a:p>
            </p:txBody>
          </p:sp>
        </p:grpSp>
        <p:sp>
          <p:nvSpPr>
            <p:cNvPr id="29" name="TextBox 28">
              <a:extLst>
                <a:ext uri="{FF2B5EF4-FFF2-40B4-BE49-F238E27FC236}">
                  <a16:creationId xmlns:a16="http://schemas.microsoft.com/office/drawing/2014/main" id="{0BFBC4DE-97CF-4DA2-9FEA-781F219C4FD2}"/>
                </a:ext>
              </a:extLst>
            </p:cNvPr>
            <p:cNvSpPr txBox="1"/>
            <p:nvPr/>
          </p:nvSpPr>
          <p:spPr>
            <a:xfrm>
              <a:off x="7621076" y="4194032"/>
              <a:ext cx="1732685"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panose="020B0604020202020204"/>
                  <a:ea typeface="MS PGothic" charset="0"/>
                  <a:cs typeface="+mn-cs"/>
                </a:rPr>
                <a:t>RET-fus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a:ea typeface="MS PGothic" charset="0"/>
                  <a:cs typeface="+mn-cs"/>
                </a:rPr>
                <a:t>&lt;1%</a:t>
              </a:r>
            </a:p>
          </p:txBody>
        </p:sp>
        <p:sp>
          <p:nvSpPr>
            <p:cNvPr id="30" name="TextBox 29">
              <a:extLst>
                <a:ext uri="{FF2B5EF4-FFF2-40B4-BE49-F238E27FC236}">
                  <a16:creationId xmlns:a16="http://schemas.microsoft.com/office/drawing/2014/main" id="{EB3F3735-F966-4841-9DBE-F727701478EB}"/>
                </a:ext>
              </a:extLst>
            </p:cNvPr>
            <p:cNvSpPr txBox="1"/>
            <p:nvPr/>
          </p:nvSpPr>
          <p:spPr>
            <a:xfrm>
              <a:off x="4982333" y="5014741"/>
              <a:ext cx="1732685"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panose="020B0604020202020204"/>
                  <a:ea typeface="MS PGothic" charset="0"/>
                  <a:cs typeface="+mn-cs"/>
                </a:rPr>
                <a:t>HER2 amplific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a:ea typeface="MS PGothic" charset="0"/>
                  <a:cs typeface="+mn-cs"/>
                </a:rPr>
                <a:t>5-15%</a:t>
              </a:r>
            </a:p>
          </p:txBody>
        </p:sp>
        <p:sp>
          <p:nvSpPr>
            <p:cNvPr id="31" name="TextBox 30">
              <a:extLst>
                <a:ext uri="{FF2B5EF4-FFF2-40B4-BE49-F238E27FC236}">
                  <a16:creationId xmlns:a16="http://schemas.microsoft.com/office/drawing/2014/main" id="{D1C2A129-81EB-402D-9266-BAFA0C8E309A}"/>
                </a:ext>
              </a:extLst>
            </p:cNvPr>
            <p:cNvSpPr txBox="1"/>
            <p:nvPr/>
          </p:nvSpPr>
          <p:spPr>
            <a:xfrm>
              <a:off x="7438371" y="4802149"/>
              <a:ext cx="1732685"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panose="020B0604020202020204"/>
                  <a:ea typeface="MS PGothic" charset="0"/>
                  <a:cs typeface="+mn-cs"/>
                </a:rPr>
                <a:t>NTRK-fus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a:ea typeface="MS PGothic" charset="0"/>
                  <a:cs typeface="+mn-cs"/>
                </a:rPr>
                <a:t>&lt;1%</a:t>
              </a:r>
            </a:p>
          </p:txBody>
        </p:sp>
        <p:sp>
          <p:nvSpPr>
            <p:cNvPr id="32" name="Arrow: Right 31">
              <a:extLst>
                <a:ext uri="{FF2B5EF4-FFF2-40B4-BE49-F238E27FC236}">
                  <a16:creationId xmlns:a16="http://schemas.microsoft.com/office/drawing/2014/main" id="{B40E9E0F-BA95-4D13-837D-689BE309476F}"/>
                </a:ext>
              </a:extLst>
            </p:cNvPr>
            <p:cNvSpPr/>
            <p:nvPr/>
          </p:nvSpPr>
          <p:spPr>
            <a:xfrm rot="3212004">
              <a:off x="6965830" y="4262901"/>
              <a:ext cx="852256" cy="301841"/>
            </a:xfrm>
            <a:prstGeom prst="rightArrow">
              <a:avLst/>
            </a:prstGeom>
            <a:solidFill>
              <a:srgbClr val="710135"/>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News Gothic MT" panose="020B0503020103020203" pitchFamily="34" charset="0"/>
                <a:ea typeface="MS PGothic" charset="0"/>
                <a:cs typeface="+mn-cs"/>
              </a:endParaRPr>
            </a:p>
          </p:txBody>
        </p:sp>
        <p:sp>
          <p:nvSpPr>
            <p:cNvPr id="33" name="Arrow: Right 32">
              <a:extLst>
                <a:ext uri="{FF2B5EF4-FFF2-40B4-BE49-F238E27FC236}">
                  <a16:creationId xmlns:a16="http://schemas.microsoft.com/office/drawing/2014/main" id="{7392815E-A8D0-4D0B-A56F-671C8F08716E}"/>
                </a:ext>
              </a:extLst>
            </p:cNvPr>
            <p:cNvSpPr/>
            <p:nvPr/>
          </p:nvSpPr>
          <p:spPr>
            <a:xfrm rot="5191703">
              <a:off x="6418441" y="4430747"/>
              <a:ext cx="852256" cy="301841"/>
            </a:xfrm>
            <a:prstGeom prst="rightArrow">
              <a:avLst/>
            </a:prstGeom>
            <a:solidFill>
              <a:srgbClr val="710135"/>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News Gothic MT" panose="020B0503020103020203" pitchFamily="34" charset="0"/>
                <a:ea typeface="MS PGothic" charset="0"/>
                <a:cs typeface="+mn-cs"/>
              </a:endParaRPr>
            </a:p>
          </p:txBody>
        </p:sp>
        <p:sp>
          <p:nvSpPr>
            <p:cNvPr id="34" name="Arrow: Right 33">
              <a:extLst>
                <a:ext uri="{FF2B5EF4-FFF2-40B4-BE49-F238E27FC236}">
                  <a16:creationId xmlns:a16="http://schemas.microsoft.com/office/drawing/2014/main" id="{3AA1045B-E265-4CD7-85EF-CA6EFB6568CF}"/>
                </a:ext>
              </a:extLst>
            </p:cNvPr>
            <p:cNvSpPr/>
            <p:nvPr/>
          </p:nvSpPr>
          <p:spPr>
            <a:xfrm rot="6680943">
              <a:off x="5771978" y="4361744"/>
              <a:ext cx="852256" cy="301841"/>
            </a:xfrm>
            <a:prstGeom prst="rightArrow">
              <a:avLst/>
            </a:prstGeom>
            <a:solidFill>
              <a:srgbClr val="710135"/>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News Gothic MT" panose="020B0503020103020203" pitchFamily="34" charset="0"/>
                <a:ea typeface="MS PGothic" charset="0"/>
                <a:cs typeface="+mn-cs"/>
              </a:endParaRPr>
            </a:p>
          </p:txBody>
        </p:sp>
      </p:grpSp>
    </p:spTree>
    <p:extLst>
      <p:ext uri="{BB962C8B-B14F-4D97-AF65-F5344CB8AC3E}">
        <p14:creationId xmlns:p14="http://schemas.microsoft.com/office/powerpoint/2010/main" val="38732587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2F1576-AFEE-451D-BD8B-634B78081721}"/>
              </a:ext>
            </a:extLst>
          </p:cNvPr>
          <p:cNvSpPr>
            <a:spLocks noGrp="1"/>
          </p:cNvSpPr>
          <p:nvPr>
            <p:ph type="title"/>
          </p:nvPr>
        </p:nvSpPr>
        <p:spPr/>
        <p:txBody>
          <a:bodyPr/>
          <a:lstStyle/>
          <a:p>
            <a:r>
              <a:rPr lang="en-GB" dirty="0"/>
              <a:t>Selective FGFR Inhibitors for FGFR2 Fusions or Rearrangement Positive Cholangiocarcinoma</a:t>
            </a:r>
            <a:r>
              <a:rPr lang="en-GB" baseline="30000" dirty="0"/>
              <a:t>1–4 </a:t>
            </a:r>
          </a:p>
        </p:txBody>
      </p:sp>
      <p:sp>
        <p:nvSpPr>
          <p:cNvPr id="4" name="Text Placeholder 3">
            <a:extLst>
              <a:ext uri="{FF2B5EF4-FFF2-40B4-BE49-F238E27FC236}">
                <a16:creationId xmlns:a16="http://schemas.microsoft.com/office/drawing/2014/main" id="{15A60AC0-BAF0-4114-ABD3-875A2406272F}"/>
              </a:ext>
            </a:extLst>
          </p:cNvPr>
          <p:cNvSpPr>
            <a:spLocks noGrp="1"/>
          </p:cNvSpPr>
          <p:nvPr>
            <p:ph type="body" sz="quarter" idx="10"/>
          </p:nvPr>
        </p:nvSpPr>
        <p:spPr/>
        <p:txBody>
          <a:bodyPr/>
          <a:lstStyle/>
          <a:p>
            <a:r>
              <a:rPr lang="en-GB" dirty="0"/>
              <a:t>ATP, adenosine triphosphate; DCR, disease control rate; FGFR, fibroblast growth factor receptor; ORR, overall response rate; PFS, progression-free survival. </a:t>
            </a:r>
            <a:br>
              <a:rPr lang="en-GB" dirty="0"/>
            </a:br>
            <a:r>
              <a:rPr lang="en-GB" dirty="0"/>
              <a:t>1. Javle M, et al. J Clin Oncol 2018;36(3):276–282; 2. Javle M, et al. ASCO Gastrointestinal (GI) Cancers Symposium, 2021; </a:t>
            </a:r>
            <a:br>
              <a:rPr lang="en-GB" dirty="0"/>
            </a:br>
            <a:r>
              <a:rPr lang="en-GB" dirty="0"/>
              <a:t>3. Abou-Alfa GK, et al. Lancet Oncol 2020;21(5):671–684; 4. Abou-Alfa GK et al. ASCO 2021;Abstract 4086.</a:t>
            </a:r>
            <a:br>
              <a:rPr lang="en-GB" dirty="0"/>
            </a:br>
            <a:endParaRPr lang="en-GB" dirty="0"/>
          </a:p>
        </p:txBody>
      </p:sp>
      <p:grpSp>
        <p:nvGrpSpPr>
          <p:cNvPr id="18" name="Group 17">
            <a:extLst>
              <a:ext uri="{FF2B5EF4-FFF2-40B4-BE49-F238E27FC236}">
                <a16:creationId xmlns:a16="http://schemas.microsoft.com/office/drawing/2014/main" id="{B863255B-0886-4587-791E-C1F6CE846424}"/>
              </a:ext>
            </a:extLst>
          </p:cNvPr>
          <p:cNvGrpSpPr/>
          <p:nvPr/>
        </p:nvGrpSpPr>
        <p:grpSpPr>
          <a:xfrm>
            <a:off x="2102938" y="1389842"/>
            <a:ext cx="4213234" cy="4302491"/>
            <a:chOff x="3989383" y="1383963"/>
            <a:chExt cx="4213234" cy="4302491"/>
          </a:xfrm>
        </p:grpSpPr>
        <p:pic>
          <p:nvPicPr>
            <p:cNvPr id="7" name="Picture 6">
              <a:extLst>
                <a:ext uri="{FF2B5EF4-FFF2-40B4-BE49-F238E27FC236}">
                  <a16:creationId xmlns:a16="http://schemas.microsoft.com/office/drawing/2014/main" id="{DC93913C-CF9D-4076-BC42-7426C1653F64}"/>
                </a:ext>
              </a:extLst>
            </p:cNvPr>
            <p:cNvPicPr>
              <a:picLocks noChangeAspect="1"/>
            </p:cNvPicPr>
            <p:nvPr/>
          </p:nvPicPr>
          <p:blipFill>
            <a:blip r:embed="rId2"/>
            <a:stretch>
              <a:fillRect/>
            </a:stretch>
          </p:blipFill>
          <p:spPr>
            <a:xfrm>
              <a:off x="3989383" y="2502143"/>
              <a:ext cx="4213234" cy="2077890"/>
            </a:xfrm>
            <a:prstGeom prst="rect">
              <a:avLst/>
            </a:prstGeom>
          </p:spPr>
        </p:pic>
        <p:sp>
          <p:nvSpPr>
            <p:cNvPr id="10" name="TextBox 9">
              <a:extLst>
                <a:ext uri="{FF2B5EF4-FFF2-40B4-BE49-F238E27FC236}">
                  <a16:creationId xmlns:a16="http://schemas.microsoft.com/office/drawing/2014/main" id="{7FEE27CA-ED7B-49FF-A5E8-91F33F06C05F}"/>
                </a:ext>
              </a:extLst>
            </p:cNvPr>
            <p:cNvSpPr txBox="1"/>
            <p:nvPr/>
          </p:nvSpPr>
          <p:spPr>
            <a:xfrm>
              <a:off x="4282525" y="4763124"/>
              <a:ext cx="3626950" cy="9233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710135"/>
                  </a:solidFill>
                  <a:effectLst/>
                  <a:uLnTx/>
                  <a:uFillTx/>
                  <a:latin typeface="Calibri"/>
                  <a:ea typeface="MS PGothic" charset="0"/>
                  <a:cs typeface="+mn-cs"/>
                </a:rPr>
                <a:t>ORR: 35.5% (updated: 37.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S PGothic" charset="0"/>
                  <a:cs typeface="+mn-cs"/>
                </a:rPr>
                <a:t>DCR: 82.2% (updated 82.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S PGothic" charset="0"/>
                  <a:cs typeface="+mn-cs"/>
                </a:rPr>
                <a:t>PFS (updated): 7.0 months</a:t>
              </a:r>
            </a:p>
          </p:txBody>
        </p:sp>
        <p:sp>
          <p:nvSpPr>
            <p:cNvPr id="12" name="TextBox 11">
              <a:extLst>
                <a:ext uri="{FF2B5EF4-FFF2-40B4-BE49-F238E27FC236}">
                  <a16:creationId xmlns:a16="http://schemas.microsoft.com/office/drawing/2014/main" id="{1FDF8CAD-B25F-442D-9CF8-6ECE89F1291E}"/>
                </a:ext>
              </a:extLst>
            </p:cNvPr>
            <p:cNvSpPr txBox="1"/>
            <p:nvPr/>
          </p:nvSpPr>
          <p:spPr>
            <a:xfrm>
              <a:off x="4742400" y="1383963"/>
              <a:ext cx="2707200" cy="861774"/>
            </a:xfrm>
            <a:prstGeom prst="rect">
              <a:avLst/>
            </a:prstGeom>
            <a:solidFill>
              <a:srgbClr val="710135"/>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sng" strike="noStrike" kern="1200" cap="none" spc="0" normalizeH="0" baseline="0" noProof="0" dirty="0">
                  <a:ln>
                    <a:noFill/>
                  </a:ln>
                  <a:solidFill>
                    <a:prstClr val="white"/>
                  </a:solidFill>
                  <a:effectLst/>
                  <a:uLnTx/>
                  <a:uFillTx/>
                  <a:latin typeface="Calibri"/>
                  <a:ea typeface="MS PGothic" charset="0"/>
                  <a:cs typeface="+mn-cs"/>
                </a:rPr>
                <a:t>Pemigatinib</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a:ea typeface="MS PGothic" charset="0"/>
                  <a:cs typeface="+mn-cs"/>
                </a:rPr>
                <a:t>ATP-competitiv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a:ea typeface="MS PGothic" charset="0"/>
                  <a:cs typeface="+mn-cs"/>
                </a:rPr>
                <a:t>FGFR1–3 inhibitor</a:t>
              </a:r>
            </a:p>
          </p:txBody>
        </p:sp>
      </p:grpSp>
      <p:grpSp>
        <p:nvGrpSpPr>
          <p:cNvPr id="17" name="Group 16">
            <a:extLst>
              <a:ext uri="{FF2B5EF4-FFF2-40B4-BE49-F238E27FC236}">
                <a16:creationId xmlns:a16="http://schemas.microsoft.com/office/drawing/2014/main" id="{DB4ECAF9-BE3D-9CD4-211A-62076E3E4DE0}"/>
              </a:ext>
            </a:extLst>
          </p:cNvPr>
          <p:cNvGrpSpPr/>
          <p:nvPr/>
        </p:nvGrpSpPr>
        <p:grpSpPr>
          <a:xfrm>
            <a:off x="6094343" y="1404728"/>
            <a:ext cx="3809744" cy="4287605"/>
            <a:chOff x="12369" y="1398849"/>
            <a:chExt cx="3809744" cy="4287605"/>
          </a:xfrm>
        </p:grpSpPr>
        <p:pic>
          <p:nvPicPr>
            <p:cNvPr id="14" name="Picture 13">
              <a:extLst>
                <a:ext uri="{FF2B5EF4-FFF2-40B4-BE49-F238E27FC236}">
                  <a16:creationId xmlns:a16="http://schemas.microsoft.com/office/drawing/2014/main" id="{3C86F344-AA63-DB33-3A09-6736030EEA8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3973" y="2339729"/>
              <a:ext cx="3046539" cy="2091618"/>
            </a:xfrm>
            <a:prstGeom prst="rect">
              <a:avLst/>
            </a:prstGeom>
          </p:spPr>
        </p:pic>
        <p:sp>
          <p:nvSpPr>
            <p:cNvPr id="15" name="TextBox 14">
              <a:extLst>
                <a:ext uri="{FF2B5EF4-FFF2-40B4-BE49-F238E27FC236}">
                  <a16:creationId xmlns:a16="http://schemas.microsoft.com/office/drawing/2014/main" id="{DF54A4C4-2EF5-B7A4-A9E8-3B081E21B44C}"/>
                </a:ext>
              </a:extLst>
            </p:cNvPr>
            <p:cNvSpPr txBox="1"/>
            <p:nvPr/>
          </p:nvSpPr>
          <p:spPr>
            <a:xfrm>
              <a:off x="12369" y="4763124"/>
              <a:ext cx="3809744" cy="923330"/>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E29E2B"/>
                  </a:solidFill>
                  <a:effectLst/>
                  <a:uLnTx/>
                  <a:uFillTx/>
                  <a:latin typeface="Calibri"/>
                  <a:ea typeface="ＭＳ Ｐゴシック" pitchFamily="34" charset="-128"/>
                  <a:cs typeface="+mn-cs"/>
                </a:rPr>
                <a:t>ORR: 18.8% (updated: 23.1%)</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ＭＳ Ｐゴシック" pitchFamily="34" charset="-128"/>
                  <a:cs typeface="+mn-cs"/>
                </a:rPr>
                <a:t>DCR: 83.3% (updated: 84.3%)</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ＭＳ Ｐゴシック" pitchFamily="34" charset="-128"/>
                  <a:cs typeface="+mn-cs"/>
                </a:rPr>
                <a:t>PFS (updated): 7.3 months</a:t>
              </a:r>
            </a:p>
          </p:txBody>
        </p:sp>
        <p:sp>
          <p:nvSpPr>
            <p:cNvPr id="16" name="TextBox 15">
              <a:extLst>
                <a:ext uri="{FF2B5EF4-FFF2-40B4-BE49-F238E27FC236}">
                  <a16:creationId xmlns:a16="http://schemas.microsoft.com/office/drawing/2014/main" id="{4AADE698-5E5B-BEB7-FB2D-1AB932D22671}"/>
                </a:ext>
              </a:extLst>
            </p:cNvPr>
            <p:cNvSpPr txBox="1"/>
            <p:nvPr/>
          </p:nvSpPr>
          <p:spPr>
            <a:xfrm>
              <a:off x="563436" y="1398849"/>
              <a:ext cx="2707611" cy="830997"/>
            </a:xfrm>
            <a:prstGeom prst="rect">
              <a:avLst/>
            </a:prstGeom>
            <a:solidFill>
              <a:srgbClr val="E29E2B"/>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sng" strike="noStrike" kern="1200" cap="none" spc="0" normalizeH="0" baseline="0" noProof="0" dirty="0">
                  <a:ln>
                    <a:noFill/>
                  </a:ln>
                  <a:solidFill>
                    <a:srgbClr val="FFFFFF"/>
                  </a:solidFill>
                  <a:effectLst/>
                  <a:uLnTx/>
                  <a:uFillTx/>
                  <a:latin typeface="Calibri"/>
                  <a:ea typeface="MS PGothic" charset="0"/>
                  <a:cs typeface="+mn-cs"/>
                </a:rPr>
                <a:t>Infigratinib</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Calibri"/>
                  <a:ea typeface="MS PGothic" charset="0"/>
                  <a:cs typeface="+mn-cs"/>
                </a:rPr>
                <a:t>ATP-competitiv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Calibri"/>
                  <a:ea typeface="MS PGothic" charset="0"/>
                  <a:cs typeface="+mn-cs"/>
                </a:rPr>
                <a:t>FGFR1–3 inhibitor</a:t>
              </a:r>
            </a:p>
          </p:txBody>
        </p:sp>
      </p:grpSp>
    </p:spTree>
    <p:extLst>
      <p:ext uri="{BB962C8B-B14F-4D97-AF65-F5344CB8AC3E}">
        <p14:creationId xmlns:p14="http://schemas.microsoft.com/office/powerpoint/2010/main" val="149846090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46A9BE-9CB6-C7A2-56AC-F6ECE26D92C6}"/>
              </a:ext>
            </a:extLst>
          </p:cNvPr>
          <p:cNvSpPr>
            <a:spLocks noGrp="1"/>
          </p:cNvSpPr>
          <p:nvPr>
            <p:ph type="title"/>
          </p:nvPr>
        </p:nvSpPr>
        <p:spPr>
          <a:xfrm>
            <a:off x="1035575" y="1869897"/>
            <a:ext cx="10358967" cy="2130603"/>
          </a:xfrm>
        </p:spPr>
        <p:txBody>
          <a:bodyPr/>
          <a:lstStyle/>
          <a:p>
            <a:r>
              <a:rPr lang="en-US" sz="3600" dirty="0">
                <a:solidFill>
                  <a:srgbClr val="0432FF"/>
                </a:solidFill>
              </a:rPr>
              <a:t>MODULE 1: First-Line Treatment for Advanced Hepatocellular Carcinoma (HCC) — Dr Finn</a:t>
            </a:r>
          </a:p>
        </p:txBody>
      </p:sp>
    </p:spTree>
    <p:extLst>
      <p:ext uri="{BB962C8B-B14F-4D97-AF65-F5344CB8AC3E}">
        <p14:creationId xmlns:p14="http://schemas.microsoft.com/office/powerpoint/2010/main" val="26194487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2F1576-AFEE-451D-BD8B-634B78081721}"/>
              </a:ext>
            </a:extLst>
          </p:cNvPr>
          <p:cNvSpPr>
            <a:spLocks noGrp="1"/>
          </p:cNvSpPr>
          <p:nvPr>
            <p:ph type="title"/>
          </p:nvPr>
        </p:nvSpPr>
        <p:spPr>
          <a:xfrm>
            <a:off x="1103243" y="118062"/>
            <a:ext cx="10479157" cy="977211"/>
          </a:xfrm>
        </p:spPr>
        <p:txBody>
          <a:bodyPr/>
          <a:lstStyle/>
          <a:p>
            <a:r>
              <a:rPr lang="en-US" dirty="0">
                <a:effectLst/>
              </a:rPr>
              <a:t>FOENIX-CCA2 Study of </a:t>
            </a:r>
            <a:r>
              <a:rPr lang="en-US" dirty="0" err="1">
                <a:effectLst/>
              </a:rPr>
              <a:t>Futibatinib</a:t>
            </a:r>
            <a:r>
              <a:rPr lang="en-US" dirty="0">
                <a:effectLst/>
              </a:rPr>
              <a:t> for FGFR2-Rearranged</a:t>
            </a:r>
            <a:br>
              <a:rPr lang="en-US" dirty="0">
                <a:effectLst/>
              </a:rPr>
            </a:br>
            <a:r>
              <a:rPr lang="en-US" dirty="0">
                <a:effectLst/>
              </a:rPr>
              <a:t>Intrahepatic Cholangiocarcinoma</a:t>
            </a:r>
            <a:endParaRPr lang="en-GB" baseline="30000" dirty="0"/>
          </a:p>
        </p:txBody>
      </p:sp>
      <p:sp>
        <p:nvSpPr>
          <p:cNvPr id="4" name="Text Placeholder 3">
            <a:extLst>
              <a:ext uri="{FF2B5EF4-FFF2-40B4-BE49-F238E27FC236}">
                <a16:creationId xmlns:a16="http://schemas.microsoft.com/office/drawing/2014/main" id="{15A60AC0-BAF0-4114-ABD3-875A2406272F}"/>
              </a:ext>
            </a:extLst>
          </p:cNvPr>
          <p:cNvSpPr>
            <a:spLocks noGrp="1"/>
          </p:cNvSpPr>
          <p:nvPr>
            <p:ph type="body" sz="quarter" idx="10"/>
          </p:nvPr>
        </p:nvSpPr>
        <p:spPr>
          <a:xfrm>
            <a:off x="0" y="6563237"/>
            <a:ext cx="10972800" cy="398673"/>
          </a:xfrm>
        </p:spPr>
        <p:txBody>
          <a:bodyPr/>
          <a:lstStyle/>
          <a:p>
            <a:r>
              <a:rPr lang="en-GB" dirty="0"/>
              <a:t>Goyal L et al. </a:t>
            </a:r>
            <a:r>
              <a:rPr lang="en-GB" i="1" dirty="0"/>
              <a:t>N </a:t>
            </a:r>
            <a:r>
              <a:rPr lang="en-GB" i="1" dirty="0" err="1"/>
              <a:t>Engl</a:t>
            </a:r>
            <a:r>
              <a:rPr lang="en-GB" i="1" dirty="0"/>
              <a:t> J Med </a:t>
            </a:r>
            <a:r>
              <a:rPr lang="en-GB" dirty="0"/>
              <a:t>2023;388(3):228-39.</a:t>
            </a:r>
          </a:p>
        </p:txBody>
      </p:sp>
      <p:pic>
        <p:nvPicPr>
          <p:cNvPr id="5" name="Picture 4" descr="Timeline&#10;&#10;Description automatically generated">
            <a:extLst>
              <a:ext uri="{FF2B5EF4-FFF2-40B4-BE49-F238E27FC236}">
                <a16:creationId xmlns:a16="http://schemas.microsoft.com/office/drawing/2014/main" id="{A1BF90B1-CB9C-0053-199F-3492FB48A341}"/>
              </a:ext>
            </a:extLst>
          </p:cNvPr>
          <p:cNvPicPr>
            <a:picLocks noChangeAspect="1"/>
          </p:cNvPicPr>
          <p:nvPr/>
        </p:nvPicPr>
        <p:blipFill>
          <a:blip r:embed="rId2"/>
          <a:stretch>
            <a:fillRect/>
          </a:stretch>
        </p:blipFill>
        <p:spPr>
          <a:xfrm>
            <a:off x="2207568" y="1188792"/>
            <a:ext cx="6885132" cy="5280926"/>
          </a:xfrm>
          <a:prstGeom prst="rect">
            <a:avLst/>
          </a:prstGeom>
        </p:spPr>
      </p:pic>
      <p:sp>
        <p:nvSpPr>
          <p:cNvPr id="3" name="TextBox 2">
            <a:extLst>
              <a:ext uri="{FF2B5EF4-FFF2-40B4-BE49-F238E27FC236}">
                <a16:creationId xmlns:a16="http://schemas.microsoft.com/office/drawing/2014/main" id="{F1AFE3ED-5AE8-1DE4-1CCC-BF5BAF28CFB7}"/>
              </a:ext>
            </a:extLst>
          </p:cNvPr>
          <p:cNvSpPr txBox="1"/>
          <p:nvPr/>
        </p:nvSpPr>
        <p:spPr>
          <a:xfrm>
            <a:off x="9065951" y="3134635"/>
            <a:ext cx="2924768" cy="1323439"/>
          </a:xfrm>
          <a:prstGeom prst="rect">
            <a:avLst/>
          </a:prstGeom>
          <a:noFill/>
        </p:spPr>
        <p:txBody>
          <a:bodyPr wrap="square" rtlCol="0">
            <a:sp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212121"/>
                </a:solidFill>
                <a:effectLst/>
                <a:uLnTx/>
                <a:uFillTx/>
                <a:latin typeface="Arial" pitchFamily="-72" charset="0"/>
                <a:ea typeface="MS PGothic" charset="0"/>
                <a:cs typeface="+mn-cs"/>
              </a:rPr>
              <a:t>ORR: 42%</a:t>
            </a:r>
          </a:p>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212121"/>
                </a:solidFill>
                <a:effectLst/>
                <a:uLnTx/>
                <a:uFillTx/>
                <a:latin typeface="Arial" pitchFamily="-72" charset="0"/>
                <a:ea typeface="MS PGothic" charset="0"/>
                <a:cs typeface="+mn-cs"/>
              </a:rPr>
              <a:t>Median duration of response: 9.7 months</a:t>
            </a:r>
          </a:p>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212121"/>
                </a:solidFill>
                <a:effectLst/>
                <a:uLnTx/>
                <a:uFillTx/>
                <a:latin typeface="Arial" pitchFamily="-72" charset="0"/>
                <a:ea typeface="MS PGothic" charset="0"/>
                <a:cs typeface="+mn-cs"/>
              </a:rPr>
              <a:t>PFS: 9.0 months</a:t>
            </a:r>
          </a:p>
        </p:txBody>
      </p:sp>
    </p:spTree>
    <p:extLst>
      <p:ext uri="{BB962C8B-B14F-4D97-AF65-F5344CB8AC3E}">
        <p14:creationId xmlns:p14="http://schemas.microsoft.com/office/powerpoint/2010/main" val="2869920240"/>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C7C154-887B-49DF-B06A-CCEC1D000EDC}"/>
              </a:ext>
            </a:extLst>
          </p:cNvPr>
          <p:cNvSpPr>
            <a:spLocks noGrp="1"/>
          </p:cNvSpPr>
          <p:nvPr>
            <p:ph type="title"/>
          </p:nvPr>
        </p:nvSpPr>
        <p:spPr>
          <a:xfrm>
            <a:off x="607485" y="170337"/>
            <a:ext cx="10974916" cy="977211"/>
          </a:xfrm>
        </p:spPr>
        <p:txBody>
          <a:bodyPr/>
          <a:lstStyle/>
          <a:p>
            <a:r>
              <a:rPr lang="en-US" altLang="en-US" dirty="0"/>
              <a:t>RLY-4008, FGFR2-specific inhibitor,</a:t>
            </a:r>
            <a:br>
              <a:rPr lang="en-US" altLang="en-US" dirty="0"/>
            </a:br>
            <a:r>
              <a:rPr lang="en-US" altLang="en-US" dirty="0"/>
              <a:t> in FGFR2-fusion or Rearrangement+ Cholangiocarcinoma</a:t>
            </a:r>
            <a:endParaRPr lang="en-GB" dirty="0"/>
          </a:p>
        </p:txBody>
      </p:sp>
      <p:sp>
        <p:nvSpPr>
          <p:cNvPr id="9" name="Text Placeholder 4">
            <a:extLst>
              <a:ext uri="{FF2B5EF4-FFF2-40B4-BE49-F238E27FC236}">
                <a16:creationId xmlns:a16="http://schemas.microsoft.com/office/drawing/2014/main" id="{91500F70-8D5A-42F7-9583-61BE3FE7161B}"/>
              </a:ext>
            </a:extLst>
          </p:cNvPr>
          <p:cNvSpPr txBox="1">
            <a:spLocks/>
          </p:cNvSpPr>
          <p:nvPr/>
        </p:nvSpPr>
        <p:spPr>
          <a:xfrm>
            <a:off x="607485" y="6067649"/>
            <a:ext cx="10974916" cy="620014"/>
          </a:xfrm>
          <a:prstGeom prst="rect">
            <a:avLst/>
          </a:prstGeom>
        </p:spPr>
        <p:txBody>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2400" b="1"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Clr>
                <a:schemeClr val="accent2"/>
              </a:buClr>
              <a:buFont typeface="Arial" panose="020B0604020202020204" pitchFamily="34" charset="0"/>
              <a:buChar char="•"/>
              <a:defRPr sz="2000" b="1"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Clr>
                <a:schemeClr val="accent2"/>
              </a:buClr>
              <a:buFont typeface="Courier New" panose="02070309020205020404" pitchFamily="49" charset="0"/>
              <a:buChar char="o"/>
              <a:defRPr sz="1600" b="1"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Clr>
                <a:schemeClr val="accent2"/>
              </a:buClr>
              <a:buFont typeface="Courier New" panose="02070309020205020404" pitchFamily="49" charset="0"/>
              <a:buChar char="o"/>
              <a:defRPr sz="1000" b="1"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
                <a:srgbClr val="43921E"/>
              </a:buClr>
              <a:buSzTx/>
              <a:buFont typeface="Arial" panose="020B0604020202020204" pitchFamily="34" charset="0"/>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a:ea typeface="+mn-ea"/>
                <a:cs typeface="+mn-cs"/>
              </a:rPr>
              <a:t>BID, twice daily; BOR, best overall response; CCA, cholangiocarcinoma; DoR, duration of response; FGFR, </a:t>
            </a:r>
            <a:r>
              <a:rPr kumimoji="0" lang="en-GB" sz="1000" b="0" i="0" u="none" strike="noStrike" kern="1200" cap="none" spc="0" normalizeH="0" baseline="0" noProof="0" dirty="0">
                <a:ln>
                  <a:noFill/>
                </a:ln>
                <a:solidFill>
                  <a:srgbClr val="000000"/>
                </a:solidFill>
                <a:effectLst/>
                <a:uLnTx/>
                <a:uFillTx/>
                <a:latin typeface="Arial" panose="020B0604020202020204"/>
                <a:ea typeface="+mn-ea"/>
                <a:cs typeface="+mn-cs"/>
              </a:rPr>
              <a:t>fibroblast growth factor receptors</a:t>
            </a:r>
            <a:r>
              <a:rPr kumimoji="0" lang="en-US" sz="1000" b="0" i="0" u="none" strike="noStrike" kern="1200" cap="none" spc="0" normalizeH="0" baseline="0" noProof="0" dirty="0">
                <a:ln>
                  <a:noFill/>
                </a:ln>
                <a:solidFill>
                  <a:srgbClr val="000000"/>
                </a:solidFill>
                <a:effectLst/>
                <a:uLnTx/>
                <a:uFillTx/>
                <a:latin typeface="Arial" panose="020B0604020202020204"/>
                <a:ea typeface="+mn-ea"/>
                <a:cs typeface="+mn-cs"/>
              </a:rPr>
              <a:t>; FGFRi, </a:t>
            </a:r>
            <a:r>
              <a:rPr kumimoji="0" lang="en-GB" sz="1000" b="0" i="0" u="none" strike="noStrike" kern="1200" cap="none" spc="0" normalizeH="0" baseline="0" noProof="0" dirty="0">
                <a:ln>
                  <a:noFill/>
                </a:ln>
                <a:solidFill>
                  <a:srgbClr val="000000"/>
                </a:solidFill>
                <a:effectLst/>
                <a:uLnTx/>
                <a:uFillTx/>
                <a:latin typeface="Arial" panose="020B0604020202020204"/>
                <a:ea typeface="+mn-ea"/>
                <a:cs typeface="+mn-cs"/>
              </a:rPr>
              <a:t>fibroblast growth factor receptor</a:t>
            </a:r>
            <a:r>
              <a:rPr kumimoji="0" lang="en-US" sz="1000" b="0" i="0" u="none" strike="noStrike" kern="1200" cap="none" spc="0" normalizeH="0" baseline="0" noProof="0" dirty="0">
                <a:ln>
                  <a:noFill/>
                </a:ln>
                <a:solidFill>
                  <a:srgbClr val="000000"/>
                </a:solidFill>
                <a:effectLst/>
                <a:uLnTx/>
                <a:uFillTx/>
                <a:latin typeface="Arial" panose="020B0604020202020204"/>
                <a:ea typeface="+mn-ea"/>
                <a:cs typeface="+mn-cs"/>
              </a:rPr>
              <a:t> inhibitor; ORR, objective response rate; PD, progressive disease; PR, partial response; QD, once daily; QDi once daily on an intermittent schedule; RP2D, recommended phase 2 dose; SD, stable disease; uPR, unconfirmed partial response.</a:t>
            </a:r>
          </a:p>
          <a:p>
            <a:pPr marL="0" marR="0" lvl="0" indent="0" algn="l" defTabSz="914400" rtl="0" eaLnBrk="1" fontAlgn="auto" latinLnBrk="0" hangingPunct="1">
              <a:lnSpc>
                <a:spcPct val="90000"/>
              </a:lnSpc>
              <a:spcBef>
                <a:spcPts val="0"/>
              </a:spcBef>
              <a:spcAft>
                <a:spcPts val="0"/>
              </a:spcAft>
              <a:buClr>
                <a:srgbClr val="43921E"/>
              </a:buClr>
              <a:buSzTx/>
              <a:buFont typeface="Arial" panose="020B0604020202020204" pitchFamily="34" charset="0"/>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a:ea typeface="+mn-ea"/>
                <a:cs typeface="+mn-cs"/>
              </a:rPr>
              <a:t>Hollebecque A, et al. </a:t>
            </a:r>
            <a:r>
              <a:rPr kumimoji="0" lang="en-GB" sz="1000" b="0" i="0" u="none" strike="noStrike" kern="1200" cap="none" spc="0" normalizeH="0" baseline="0" noProof="0" dirty="0">
                <a:ln>
                  <a:noFill/>
                </a:ln>
                <a:solidFill>
                  <a:srgbClr val="000000"/>
                </a:solidFill>
                <a:effectLst/>
                <a:uLnTx/>
                <a:uFillTx/>
                <a:latin typeface="Arial" panose="020B0604020202020204"/>
                <a:ea typeface="+mn-ea"/>
                <a:cs typeface="+mn-cs"/>
              </a:rPr>
              <a:t>Ann Onc 2022;33(suppl_7):S808-S869. </a:t>
            </a:r>
            <a:endParaRPr kumimoji="0" lang="en-US" sz="10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pic>
        <p:nvPicPr>
          <p:cNvPr id="6" name="Picture 5">
            <a:extLst>
              <a:ext uri="{FF2B5EF4-FFF2-40B4-BE49-F238E27FC236}">
                <a16:creationId xmlns:a16="http://schemas.microsoft.com/office/drawing/2014/main" id="{A8BC0386-E739-48D8-BDC6-01E4DCC3ED0F}"/>
              </a:ext>
            </a:extLst>
          </p:cNvPr>
          <p:cNvPicPr>
            <a:picLocks noChangeAspect="1"/>
          </p:cNvPicPr>
          <p:nvPr/>
        </p:nvPicPr>
        <p:blipFill rotWithShape="1">
          <a:blip r:embed="rId2"/>
          <a:srcRect t="15013" b="15738"/>
          <a:stretch/>
        </p:blipFill>
        <p:spPr>
          <a:xfrm>
            <a:off x="785617" y="1815380"/>
            <a:ext cx="10338805" cy="4072294"/>
          </a:xfrm>
          <a:prstGeom prst="rect">
            <a:avLst/>
          </a:prstGeom>
        </p:spPr>
      </p:pic>
      <p:sp>
        <p:nvSpPr>
          <p:cNvPr id="4" name="TextBox 3">
            <a:extLst>
              <a:ext uri="{FF2B5EF4-FFF2-40B4-BE49-F238E27FC236}">
                <a16:creationId xmlns:a16="http://schemas.microsoft.com/office/drawing/2014/main" id="{34DFB7FD-F8B8-EE4F-722B-0731EFAD7827}"/>
              </a:ext>
            </a:extLst>
          </p:cNvPr>
          <p:cNvSpPr txBox="1"/>
          <p:nvPr/>
        </p:nvSpPr>
        <p:spPr>
          <a:xfrm>
            <a:off x="607485" y="1296798"/>
            <a:ext cx="876393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212121"/>
                </a:solidFill>
                <a:effectLst/>
                <a:uLnTx/>
                <a:uFillTx/>
                <a:latin typeface="Arial" panose="020B0604020202020204"/>
                <a:ea typeface="MS PGothic" charset="0"/>
                <a:cs typeface="+mn-cs"/>
              </a:rPr>
              <a:t>Radiographic tumor regression and response per RECIST 1.1 across all doses</a:t>
            </a:r>
          </a:p>
        </p:txBody>
      </p:sp>
      <p:sp>
        <p:nvSpPr>
          <p:cNvPr id="5" name="Star: 5 Points 4">
            <a:extLst>
              <a:ext uri="{FF2B5EF4-FFF2-40B4-BE49-F238E27FC236}">
                <a16:creationId xmlns:a16="http://schemas.microsoft.com/office/drawing/2014/main" id="{042C8D6A-FCC4-A821-1B54-6497CA597BC1}"/>
              </a:ext>
            </a:extLst>
          </p:cNvPr>
          <p:cNvSpPr/>
          <p:nvPr/>
        </p:nvSpPr>
        <p:spPr>
          <a:xfrm>
            <a:off x="8664857" y="2518257"/>
            <a:ext cx="180876" cy="180876"/>
          </a:xfrm>
          <a:prstGeom prst="star5">
            <a:avLst/>
          </a:prstGeom>
          <a:noFill/>
          <a:ln w="19050">
            <a:solidFill>
              <a:schemeClr val="accent3">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7" name="TextBox 6">
            <a:extLst>
              <a:ext uri="{FF2B5EF4-FFF2-40B4-BE49-F238E27FC236}">
                <a16:creationId xmlns:a16="http://schemas.microsoft.com/office/drawing/2014/main" id="{4532F2ED-336F-22C3-C225-93608322952A}"/>
              </a:ext>
            </a:extLst>
          </p:cNvPr>
          <p:cNvSpPr txBox="1"/>
          <p:nvPr/>
        </p:nvSpPr>
        <p:spPr>
          <a:xfrm>
            <a:off x="8812682" y="2475353"/>
            <a:ext cx="1282264" cy="4154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212121"/>
                </a:solidFill>
                <a:effectLst/>
                <a:uLnTx/>
                <a:uFillTx/>
                <a:latin typeface="Arial" panose="020B0604020202020204"/>
                <a:ea typeface="MS PGothic" charset="0"/>
                <a:cs typeface="+mn-cs"/>
              </a:rPr>
              <a:t>Resection with curative intent</a:t>
            </a:r>
          </a:p>
        </p:txBody>
      </p:sp>
      <p:sp>
        <p:nvSpPr>
          <p:cNvPr id="3" name="TextBox 2">
            <a:extLst>
              <a:ext uri="{FF2B5EF4-FFF2-40B4-BE49-F238E27FC236}">
                <a16:creationId xmlns:a16="http://schemas.microsoft.com/office/drawing/2014/main" id="{E34907E3-A036-A773-B7AC-D82A6B41E2C9}"/>
              </a:ext>
            </a:extLst>
          </p:cNvPr>
          <p:cNvSpPr txBox="1"/>
          <p:nvPr/>
        </p:nvSpPr>
        <p:spPr>
          <a:xfrm>
            <a:off x="2965861" y="2555361"/>
            <a:ext cx="5846821" cy="3539430"/>
          </a:xfrm>
          <a:prstGeom prst="rect">
            <a:avLst/>
          </a:prstGeom>
          <a:solidFill>
            <a:schemeClr val="accent1">
              <a:lumMod val="60000"/>
              <a:lumOff val="40000"/>
            </a:schemeClr>
          </a:solidFill>
          <a:ln w="53975">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212121"/>
              </a:solidFill>
              <a:effectLst/>
              <a:uLnTx/>
              <a:uFillTx/>
              <a:latin typeface="Arial" panose="020B0604020202020204"/>
              <a:ea typeface="MS PGothic" charset="0"/>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212121"/>
                </a:solidFill>
                <a:effectLst/>
                <a:uLnTx/>
                <a:uFillTx/>
                <a:latin typeface="Arial" panose="020B0604020202020204"/>
                <a:ea typeface="MS PGothic" charset="0"/>
                <a:cs typeface="+mn-cs"/>
              </a:rPr>
              <a:t>RLY-400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212121"/>
                </a:solidFill>
                <a:effectLst/>
                <a:uLnTx/>
                <a:uFillTx/>
                <a:latin typeface="Arial" panose="020B0604020202020204"/>
                <a:ea typeface="MS PGothic" charset="0"/>
                <a:cs typeface="+mn-cs"/>
              </a:rPr>
              <a:t>ORR 82.4% @ 70mg QD (RP2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212121"/>
                </a:solidFill>
                <a:effectLst/>
                <a:uLnTx/>
                <a:uFillTx/>
                <a:latin typeface="Arial" panose="020B0604020202020204"/>
                <a:ea typeface="MS PGothic" charset="0"/>
                <a:cs typeface="+mn-cs"/>
              </a:rPr>
              <a:t>in FGFR2 fusion+ </a:t>
            </a:r>
            <a:r>
              <a:rPr kumimoji="0" lang="en-US" sz="3200" b="0" i="0" u="none" strike="noStrike" kern="1200" cap="none" spc="0" normalizeH="0" baseline="0" noProof="0" dirty="0" err="1">
                <a:ln>
                  <a:noFill/>
                </a:ln>
                <a:solidFill>
                  <a:srgbClr val="212121"/>
                </a:solidFill>
                <a:effectLst/>
                <a:uLnTx/>
                <a:uFillTx/>
                <a:latin typeface="Arial" panose="020B0604020202020204"/>
                <a:ea typeface="MS PGothic" charset="0"/>
                <a:cs typeface="+mn-cs"/>
              </a:rPr>
              <a:t>cholangio</a:t>
            </a:r>
            <a:endParaRPr kumimoji="0" lang="en-US" sz="3200" b="0" i="0" u="none" strike="noStrike" kern="1200" cap="none" spc="0" normalizeH="0" baseline="0" noProof="0" dirty="0">
              <a:ln>
                <a:noFill/>
              </a:ln>
              <a:solidFill>
                <a:srgbClr val="212121"/>
              </a:solidFill>
              <a:effectLst/>
              <a:uLnTx/>
              <a:uFillTx/>
              <a:latin typeface="Arial" panose="020B0604020202020204"/>
              <a:ea typeface="MS PGothic" charset="0"/>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212121"/>
                </a:solidFill>
                <a:effectLst/>
                <a:uLnTx/>
                <a:uFillTx/>
                <a:latin typeface="Arial" panose="020B0604020202020204"/>
                <a:ea typeface="MS PGothic" charset="0"/>
                <a:cs typeface="+mn-cs"/>
              </a:rPr>
              <a:t>(preliminary result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212121"/>
              </a:solidFill>
              <a:effectLst/>
              <a:uLnTx/>
              <a:uFillTx/>
              <a:latin typeface="Arial" panose="020B0604020202020204"/>
              <a:ea typeface="MS PGothic" charset="0"/>
              <a:cs typeface="+mn-cs"/>
            </a:endParaRPr>
          </a:p>
        </p:txBody>
      </p:sp>
    </p:spTree>
    <p:extLst>
      <p:ext uri="{BB962C8B-B14F-4D97-AF65-F5344CB8AC3E}">
        <p14:creationId xmlns:p14="http://schemas.microsoft.com/office/powerpoint/2010/main" val="21685294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文本框 5">
            <a:extLst>
              <a:ext uri="{FF2B5EF4-FFF2-40B4-BE49-F238E27FC236}">
                <a16:creationId xmlns:a16="http://schemas.microsoft.com/office/drawing/2014/main" id="{27F83909-46EA-4888-318B-A43D394A05C1}"/>
              </a:ext>
            </a:extLst>
          </p:cNvPr>
          <p:cNvSpPr txBox="1"/>
          <p:nvPr/>
        </p:nvSpPr>
        <p:spPr>
          <a:xfrm>
            <a:off x="6721173" y="5815163"/>
            <a:ext cx="5470827" cy="738664"/>
          </a:xfrm>
          <a:prstGeom prst="rect">
            <a:avLst/>
          </a:prstGeom>
          <a:solidFill>
            <a:sysClr val="window" lastClr="FFFFFF"/>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400" b="0" i="0" u="none" strike="noStrike" kern="0" cap="none" spc="0" normalizeH="0" baseline="0" noProof="0" dirty="0">
                <a:ln>
                  <a:noFill/>
                </a:ln>
                <a:solidFill>
                  <a:srgbClr val="000000"/>
                </a:solidFill>
                <a:effectLst/>
                <a:uLnTx/>
                <a:uFillTx/>
                <a:latin typeface="Arial" panose="020B0604020202020204" pitchFamily="34" charset="0"/>
                <a:ea typeface="等线" panose="02010600030101010101" pitchFamily="2" charset="-122"/>
                <a:cs typeface="Arial" panose="020B0604020202020204" pitchFamily="34" charset="0"/>
              </a:rPr>
              <a:t>F/R: FGFR2 fusion or rearrange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400" b="0" i="0" u="none" strike="noStrike" kern="0" cap="none" spc="0" normalizeH="0" baseline="0" noProof="0" dirty="0">
                <a:ln>
                  <a:noFill/>
                </a:ln>
                <a:solidFill>
                  <a:srgbClr val="000000"/>
                </a:solidFill>
                <a:effectLst/>
                <a:uLnTx/>
                <a:uFillTx/>
                <a:latin typeface="Arial" panose="020B0604020202020204" pitchFamily="34" charset="0"/>
                <a:ea typeface="等线" panose="02010600030101010101" pitchFamily="2" charset="-122"/>
                <a:cs typeface="Arial" panose="020B0604020202020204" pitchFamily="34" charset="0"/>
              </a:rPr>
              <a:t>Subject 02-040, 01-037, 01-044 no baseline </a:t>
            </a:r>
            <a:r>
              <a:rPr kumimoji="0" lang="en-US" altLang="zh-CN" sz="1400" b="0" i="0" u="none" strike="noStrike" kern="0" cap="none" spc="0" normalizeH="0" baseline="0" noProof="0" dirty="0" err="1">
                <a:ln>
                  <a:noFill/>
                </a:ln>
                <a:solidFill>
                  <a:srgbClr val="000000"/>
                </a:solidFill>
                <a:effectLst/>
                <a:uLnTx/>
                <a:uFillTx/>
                <a:latin typeface="Arial" panose="020B0604020202020204" pitchFamily="34" charset="0"/>
                <a:ea typeface="等线" panose="02010600030101010101" pitchFamily="2" charset="-122"/>
                <a:cs typeface="Arial" panose="020B0604020202020204" pitchFamily="34" charset="0"/>
              </a:rPr>
              <a:t>cfDNA</a:t>
            </a:r>
            <a:r>
              <a:rPr kumimoji="0" lang="en-US" altLang="zh-CN" sz="1400" b="0" i="0" u="none" strike="noStrike" kern="0" cap="none" spc="0" normalizeH="0" baseline="0" noProof="0" dirty="0">
                <a:ln>
                  <a:noFill/>
                </a:ln>
                <a:solidFill>
                  <a:srgbClr val="000000"/>
                </a:solidFill>
                <a:effectLst/>
                <a:uLnTx/>
                <a:uFillTx/>
                <a:latin typeface="Arial" panose="020B0604020202020204" pitchFamily="34" charset="0"/>
                <a:ea typeface="等线" panose="02010600030101010101" pitchFamily="2" charset="-122"/>
                <a:cs typeface="Arial" panose="020B0604020202020204" pitchFamily="34" charset="0"/>
              </a:rPr>
              <a:t> NGS data was detected, only historical FGFR  data available.</a:t>
            </a:r>
            <a:endParaRPr kumimoji="0" lang="zh-CN" altLang="en-US" sz="1400" b="0" i="0" u="none" strike="noStrike" kern="0" cap="none" spc="0" normalizeH="0" baseline="0" noProof="0" dirty="0">
              <a:ln>
                <a:noFill/>
              </a:ln>
              <a:solidFill>
                <a:prstClr val="black"/>
              </a:solidFill>
              <a:effectLst/>
              <a:uLnTx/>
              <a:uFillTx/>
              <a:latin typeface="Arial" panose="020B0604020202020204" pitchFamily="34" charset="0"/>
              <a:ea typeface="黑体" panose="02010609060101010101" pitchFamily="49" charset="-122"/>
              <a:cs typeface="Arial" panose="020B0604020202020204" pitchFamily="34" charset="0"/>
            </a:endParaRPr>
          </a:p>
        </p:txBody>
      </p:sp>
      <p:pic>
        <p:nvPicPr>
          <p:cNvPr id="3" name="Picture 2">
            <a:extLst>
              <a:ext uri="{FF2B5EF4-FFF2-40B4-BE49-F238E27FC236}">
                <a16:creationId xmlns:a16="http://schemas.microsoft.com/office/drawing/2014/main" id="{E61A6539-FCA3-05AA-DAA5-EB416CFE590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67156" y="327048"/>
            <a:ext cx="4821108" cy="53428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7">
            <a:extLst>
              <a:ext uri="{FF2B5EF4-FFF2-40B4-BE49-F238E27FC236}">
                <a16:creationId xmlns:a16="http://schemas.microsoft.com/office/drawing/2014/main" id="{CA1BC7CA-DE23-F12A-6239-9CCC7CFFFF88}"/>
              </a:ext>
            </a:extLst>
          </p:cNvPr>
          <p:cNvPicPr>
            <a:picLocks noChangeAspect="1"/>
          </p:cNvPicPr>
          <p:nvPr/>
        </p:nvPicPr>
        <p:blipFill>
          <a:blip r:embed="rId4"/>
          <a:stretch>
            <a:fillRect/>
          </a:stretch>
        </p:blipFill>
        <p:spPr>
          <a:xfrm>
            <a:off x="172569" y="1735620"/>
            <a:ext cx="6455162" cy="2782151"/>
          </a:xfrm>
          <a:prstGeom prst="rect">
            <a:avLst/>
          </a:prstGeom>
        </p:spPr>
      </p:pic>
      <p:sp>
        <p:nvSpPr>
          <p:cNvPr id="9" name="矩形: 圆角 16">
            <a:extLst>
              <a:ext uri="{FF2B5EF4-FFF2-40B4-BE49-F238E27FC236}">
                <a16:creationId xmlns:a16="http://schemas.microsoft.com/office/drawing/2014/main" id="{BED04994-8AFB-4691-96F8-548771186B11}"/>
              </a:ext>
            </a:extLst>
          </p:cNvPr>
          <p:cNvSpPr/>
          <p:nvPr/>
        </p:nvSpPr>
        <p:spPr>
          <a:xfrm>
            <a:off x="1542847" y="4655544"/>
            <a:ext cx="3098997" cy="1319283"/>
          </a:xfrm>
          <a:prstGeom prst="roundRect">
            <a:avLst/>
          </a:prstGeom>
          <a:solidFill>
            <a:schemeClr val="bg1"/>
          </a:solid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600" b="1" i="0" u="none" strike="noStrike" kern="1200" cap="none" spc="0" normalizeH="0" baseline="0" noProof="0" dirty="0">
                <a:ln>
                  <a:noFill/>
                </a:ln>
                <a:solidFill>
                  <a:srgbClr val="212121"/>
                </a:solidFill>
                <a:effectLst/>
                <a:uLnTx/>
                <a:uFillTx/>
                <a:latin typeface="Arial" panose="020B0604020202020204" pitchFamily="34" charset="0"/>
                <a:ea typeface="黑体" panose="02010609060101010101" pitchFamily="49" charset="-122"/>
                <a:cs typeface="Arial" panose="020B0604020202020204" pitchFamily="34" charset="0"/>
              </a:rPr>
              <a:t>Oral </a:t>
            </a:r>
            <a:r>
              <a:rPr kumimoji="0" lang="en-US" altLang="zh-CN" sz="1600" b="1" i="0" u="none" strike="noStrike" kern="1200" cap="none" spc="0" normalizeH="0" baseline="0" noProof="0" dirty="0" err="1">
                <a:ln>
                  <a:noFill/>
                </a:ln>
                <a:solidFill>
                  <a:srgbClr val="212121"/>
                </a:solidFill>
                <a:effectLst/>
                <a:uLnTx/>
                <a:uFillTx/>
                <a:latin typeface="Arial" panose="020B0604020202020204" pitchFamily="34" charset="0"/>
                <a:ea typeface="黑体" panose="02010609060101010101" pitchFamily="49" charset="-122"/>
                <a:cs typeface="Arial" panose="020B0604020202020204" pitchFamily="34" charset="0"/>
              </a:rPr>
              <a:t>tinengotinib</a:t>
            </a:r>
            <a:r>
              <a:rPr kumimoji="0" lang="en-US" altLang="zh-CN" sz="1600" b="1" i="0" u="none" strike="noStrike" kern="1200" cap="none" spc="0" normalizeH="0" baseline="0" noProof="0" dirty="0">
                <a:ln>
                  <a:noFill/>
                </a:ln>
                <a:solidFill>
                  <a:srgbClr val="212121"/>
                </a:solidFill>
                <a:effectLst/>
                <a:uLnTx/>
                <a:uFillTx/>
                <a:latin typeface="Arial" panose="020B0604020202020204" pitchFamily="34" charset="0"/>
                <a:ea typeface="黑体" panose="02010609060101010101" pitchFamily="49" charset="-122"/>
                <a:cs typeface="Arial" panose="020B0604020202020204" pitchFamily="34" charset="0"/>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600" b="1" i="0" u="none" strike="noStrike" kern="1200" cap="none" spc="0" normalizeH="0" baseline="0" noProof="0" dirty="0">
                <a:ln>
                  <a:noFill/>
                </a:ln>
                <a:solidFill>
                  <a:srgbClr val="212121"/>
                </a:solidFill>
                <a:effectLst/>
                <a:uLnTx/>
                <a:uFillTx/>
                <a:latin typeface="Arial" panose="020B0604020202020204" pitchFamily="34" charset="0"/>
                <a:ea typeface="黑体" panose="02010609060101010101" pitchFamily="49" charset="-122"/>
                <a:cs typeface="Arial" panose="020B0604020202020204" pitchFamily="34" charset="0"/>
              </a:rPr>
              <a:t>10 mg once dail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600" b="1" i="0" u="none" strike="noStrike" kern="1200" cap="none" spc="0" normalizeH="0" baseline="0" noProof="0" dirty="0">
                <a:ln>
                  <a:noFill/>
                </a:ln>
                <a:solidFill>
                  <a:srgbClr val="212121"/>
                </a:solidFill>
                <a:effectLst/>
                <a:uLnTx/>
                <a:uFillTx/>
                <a:latin typeface="Arial" panose="020B0604020202020204" pitchFamily="34" charset="0"/>
                <a:ea typeface="黑体" panose="02010609060101010101" pitchFamily="49" charset="-122"/>
                <a:cs typeface="Arial" panose="020B0604020202020204" pitchFamily="34" charset="0"/>
              </a:rPr>
              <a:t>28-day cycl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600" b="1" i="0" u="none" strike="noStrike" kern="1200" cap="none" spc="0" normalizeH="0" baseline="0" noProof="0" dirty="0">
                <a:ln>
                  <a:noFill/>
                </a:ln>
                <a:solidFill>
                  <a:srgbClr val="212121"/>
                </a:solidFill>
                <a:effectLst/>
                <a:uLnTx/>
                <a:uFillTx/>
                <a:latin typeface="Arial" panose="020B0604020202020204" pitchFamily="34" charset="0"/>
                <a:ea typeface="黑体" panose="02010609060101010101" pitchFamily="49" charset="-122"/>
                <a:cs typeface="Arial" panose="020B0604020202020204" pitchFamily="34" charset="0"/>
              </a:rPr>
              <a:t>Until progression or toxicity</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zh-CN" sz="1800" b="1" i="0" u="none" strike="noStrike" kern="1200" cap="none" spc="0" normalizeH="0" baseline="0" noProof="0" dirty="0">
              <a:ln>
                <a:noFill/>
              </a:ln>
              <a:solidFill>
                <a:srgbClr val="212121"/>
              </a:solidFill>
              <a:effectLst/>
              <a:uLnTx/>
              <a:uFillTx/>
              <a:latin typeface="Arial" panose="020B0604020202020204"/>
              <a:ea typeface="黑体" panose="02010609060101010101" pitchFamily="49" charset="-122"/>
              <a:cs typeface="+mn-cs"/>
            </a:endParaRPr>
          </a:p>
        </p:txBody>
      </p:sp>
      <p:sp>
        <p:nvSpPr>
          <p:cNvPr id="10" name="TextBox 9">
            <a:extLst>
              <a:ext uri="{FF2B5EF4-FFF2-40B4-BE49-F238E27FC236}">
                <a16:creationId xmlns:a16="http://schemas.microsoft.com/office/drawing/2014/main" id="{C70C764A-C026-3110-2299-145CC18A6552}"/>
              </a:ext>
            </a:extLst>
          </p:cNvPr>
          <p:cNvSpPr txBox="1"/>
          <p:nvPr/>
        </p:nvSpPr>
        <p:spPr>
          <a:xfrm>
            <a:off x="510390" y="500192"/>
            <a:ext cx="5779519" cy="9233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800" b="1" i="0" u="none" strike="noStrike" kern="1200" cap="none" spc="0" normalizeH="0" baseline="0" noProof="0" dirty="0">
                <a:ln>
                  <a:noFill/>
                </a:ln>
                <a:solidFill>
                  <a:srgbClr val="212121"/>
                </a:solidFill>
                <a:effectLst/>
                <a:uLnTx/>
                <a:uFillTx/>
                <a:latin typeface="Arial" panose="020B0604020202020204" pitchFamily="34" charset="0"/>
                <a:ea typeface="FZSuXinShiLiuKaiT-R-GB" panose="02000000000000000000" pitchFamily="2" charset="-122"/>
                <a:cs typeface="Arial" panose="020B0604020202020204" pitchFamily="34" charset="0"/>
              </a:rPr>
              <a:t>A Phase II Study Of FGFR1-3 Inhibitor </a:t>
            </a:r>
            <a:r>
              <a:rPr kumimoji="0" lang="en-US" altLang="zh-CN" sz="1800" b="1" i="0" u="none" strike="noStrike" kern="1200" cap="none" spc="0" normalizeH="0" baseline="0" noProof="0" dirty="0" err="1">
                <a:ln>
                  <a:noFill/>
                </a:ln>
                <a:solidFill>
                  <a:srgbClr val="212121"/>
                </a:solidFill>
                <a:effectLst/>
                <a:uLnTx/>
                <a:uFillTx/>
                <a:latin typeface="Arial" panose="020B0604020202020204" pitchFamily="34" charset="0"/>
                <a:ea typeface="FZSuXinShiLiuKaiT-R-GB" panose="02000000000000000000" pitchFamily="2" charset="-122"/>
                <a:cs typeface="Arial" panose="020B0604020202020204" pitchFamily="34" charset="0"/>
              </a:rPr>
              <a:t>Tinengotinib</a:t>
            </a:r>
            <a:r>
              <a:rPr kumimoji="0" lang="en-US" altLang="zh-CN" sz="1800" b="1" i="0" u="none" strike="noStrike" kern="1200" cap="none" spc="0" normalizeH="0" baseline="0" noProof="0" dirty="0">
                <a:ln>
                  <a:noFill/>
                </a:ln>
                <a:solidFill>
                  <a:srgbClr val="212121"/>
                </a:solidFill>
                <a:effectLst/>
                <a:uLnTx/>
                <a:uFillTx/>
                <a:latin typeface="Arial" panose="020B0604020202020204" pitchFamily="34" charset="0"/>
                <a:ea typeface="FZSuXinShiLiuKaiT-R-GB" panose="02000000000000000000" pitchFamily="2" charset="-122"/>
                <a:cs typeface="Arial" panose="020B0604020202020204" pitchFamily="34" charset="0"/>
              </a:rPr>
              <a:t> As Monotherapy In Patients With Advanced Or Metastatic Cholangiocarcinoma :Interim Analysis</a:t>
            </a:r>
            <a:endParaRPr kumimoji="0" lang="en-US" sz="1800" b="1" i="0" u="none" strike="noStrike" kern="1200" cap="none" spc="0" normalizeH="0" baseline="0" noProof="0" dirty="0">
              <a:ln>
                <a:noFill/>
              </a:ln>
              <a:solidFill>
                <a:srgbClr val="212121"/>
              </a:solidFill>
              <a:effectLst/>
              <a:uLnTx/>
              <a:uFillTx/>
              <a:latin typeface="Arial" panose="020B0604020202020204" pitchFamily="34" charset="0"/>
              <a:ea typeface="FZSuXinShiLiuKaiT-R-GB" panose="02000000000000000000" pitchFamily="2" charset="-122"/>
              <a:cs typeface="Arial" panose="020B0604020202020204" pitchFamily="34" charset="0"/>
            </a:endParaRPr>
          </a:p>
        </p:txBody>
      </p:sp>
    </p:spTree>
    <p:extLst>
      <p:ext uri="{BB962C8B-B14F-4D97-AF65-F5344CB8AC3E}">
        <p14:creationId xmlns:p14="http://schemas.microsoft.com/office/powerpoint/2010/main" val="2765807234"/>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2F1576-AFEE-451D-BD8B-634B78081721}"/>
              </a:ext>
            </a:extLst>
          </p:cNvPr>
          <p:cNvSpPr>
            <a:spLocks noGrp="1"/>
          </p:cNvSpPr>
          <p:nvPr>
            <p:ph type="title"/>
          </p:nvPr>
        </p:nvSpPr>
        <p:spPr>
          <a:xfrm>
            <a:off x="1103243" y="118062"/>
            <a:ext cx="10479157" cy="977211"/>
          </a:xfrm>
        </p:spPr>
        <p:txBody>
          <a:bodyPr/>
          <a:lstStyle/>
          <a:p>
            <a:r>
              <a:rPr lang="en-US" dirty="0">
                <a:solidFill>
                  <a:schemeClr val="tx1"/>
                </a:solidFill>
                <a:effectLst/>
              </a:rPr>
              <a:t>RAGNAR Trial of Erdafitinib for Cholangiocarcinoma with Prespecified FGFR Alterations: Expansion Cohort Results</a:t>
            </a:r>
            <a:br>
              <a:rPr lang="en-US" dirty="0">
                <a:solidFill>
                  <a:schemeClr val="tx1"/>
                </a:solidFill>
                <a:effectLst/>
              </a:rPr>
            </a:br>
            <a:r>
              <a:rPr lang="en-GB" baseline="30000" dirty="0">
                <a:solidFill>
                  <a:schemeClr val="tx1"/>
                </a:solidFill>
              </a:rPr>
              <a:t> </a:t>
            </a:r>
          </a:p>
        </p:txBody>
      </p:sp>
      <p:sp>
        <p:nvSpPr>
          <p:cNvPr id="4" name="Text Placeholder 3">
            <a:extLst>
              <a:ext uri="{FF2B5EF4-FFF2-40B4-BE49-F238E27FC236}">
                <a16:creationId xmlns:a16="http://schemas.microsoft.com/office/drawing/2014/main" id="{15A60AC0-BAF0-4114-ABD3-875A2406272F}"/>
              </a:ext>
            </a:extLst>
          </p:cNvPr>
          <p:cNvSpPr>
            <a:spLocks noGrp="1"/>
          </p:cNvSpPr>
          <p:nvPr>
            <p:ph type="body" sz="quarter" idx="10"/>
          </p:nvPr>
        </p:nvSpPr>
        <p:spPr>
          <a:xfrm>
            <a:off x="0" y="6563237"/>
            <a:ext cx="10972800" cy="398673"/>
          </a:xfrm>
        </p:spPr>
        <p:txBody>
          <a:bodyPr/>
          <a:lstStyle/>
          <a:p>
            <a:r>
              <a:rPr lang="en-GB" dirty="0"/>
              <a:t>Pant S et al. Gastrointestinal Cancers Symposium 2023;Abstract 610. </a:t>
            </a:r>
          </a:p>
        </p:txBody>
      </p:sp>
      <p:pic>
        <p:nvPicPr>
          <p:cNvPr id="6" name="Picture 5" descr="Chart&#10;&#10;Description automatically generated">
            <a:extLst>
              <a:ext uri="{FF2B5EF4-FFF2-40B4-BE49-F238E27FC236}">
                <a16:creationId xmlns:a16="http://schemas.microsoft.com/office/drawing/2014/main" id="{78E744E2-142C-26FD-636A-1FB9BACA02CA}"/>
              </a:ext>
            </a:extLst>
          </p:cNvPr>
          <p:cNvPicPr>
            <a:picLocks noChangeAspect="1"/>
          </p:cNvPicPr>
          <p:nvPr/>
        </p:nvPicPr>
        <p:blipFill>
          <a:blip r:embed="rId2"/>
          <a:stretch>
            <a:fillRect/>
          </a:stretch>
        </p:blipFill>
        <p:spPr>
          <a:xfrm>
            <a:off x="2361048" y="1268619"/>
            <a:ext cx="6936503" cy="5121271"/>
          </a:xfrm>
          <a:prstGeom prst="rect">
            <a:avLst/>
          </a:prstGeom>
        </p:spPr>
      </p:pic>
    </p:spTree>
    <p:extLst>
      <p:ext uri="{BB962C8B-B14F-4D97-AF65-F5344CB8AC3E}">
        <p14:creationId xmlns:p14="http://schemas.microsoft.com/office/powerpoint/2010/main" val="1341778829"/>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C7C154-887B-49DF-B06A-CCEC1D000EDC}"/>
              </a:ext>
            </a:extLst>
          </p:cNvPr>
          <p:cNvSpPr>
            <a:spLocks noGrp="1"/>
          </p:cNvSpPr>
          <p:nvPr>
            <p:ph type="title"/>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n-US" altLang="en-US" dirty="0"/>
              <a:t>Ivosidenib in IDH-Mutant Cholangiocarcinoma</a:t>
            </a:r>
            <a:endParaRPr lang="en-GB" dirty="0"/>
          </a:p>
        </p:txBody>
      </p:sp>
      <p:sp>
        <p:nvSpPr>
          <p:cNvPr id="9" name="Text Placeholder 4">
            <a:extLst>
              <a:ext uri="{FF2B5EF4-FFF2-40B4-BE49-F238E27FC236}">
                <a16:creationId xmlns:a16="http://schemas.microsoft.com/office/drawing/2014/main" id="{91500F70-8D5A-42F7-9583-61BE3FE7161B}"/>
              </a:ext>
            </a:extLst>
          </p:cNvPr>
          <p:cNvSpPr txBox="1">
            <a:spLocks/>
          </p:cNvSpPr>
          <p:nvPr/>
        </p:nvSpPr>
        <p:spPr>
          <a:xfrm>
            <a:off x="607484" y="5983548"/>
            <a:ext cx="10974916" cy="549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indent="0">
              <a:lnSpc>
                <a:spcPct val="90000"/>
              </a:lnSpc>
              <a:spcBef>
                <a:spcPts val="1000"/>
              </a:spcBef>
              <a:buClr>
                <a:schemeClr val="accent1"/>
              </a:buClr>
              <a:buFontTx/>
              <a:buNone/>
              <a:defRPr sz="1000" b="0">
                <a:solidFill>
                  <a:schemeClr val="tx2">
                    <a:lumMod val="85000"/>
                    <a:lumOff val="15000"/>
                  </a:schemeClr>
                </a:solidFill>
              </a:defRPr>
            </a:lvl1pPr>
            <a:lvl2pPr indent="0">
              <a:lnSpc>
                <a:spcPct val="90000"/>
              </a:lnSpc>
              <a:spcBef>
                <a:spcPts val="500"/>
              </a:spcBef>
              <a:buClr>
                <a:schemeClr val="accent2"/>
              </a:buClr>
              <a:buFontTx/>
              <a:buNone/>
              <a:defRPr sz="1050" b="0">
                <a:solidFill>
                  <a:schemeClr val="tx2"/>
                </a:solidFill>
              </a:defRPr>
            </a:lvl2pPr>
            <a:lvl3pPr indent="0">
              <a:lnSpc>
                <a:spcPct val="90000"/>
              </a:lnSpc>
              <a:spcBef>
                <a:spcPts val="500"/>
              </a:spcBef>
              <a:buClr>
                <a:schemeClr val="accent2"/>
              </a:buClr>
              <a:buFontTx/>
              <a:buNone/>
              <a:defRPr sz="900" b="0">
                <a:solidFill>
                  <a:schemeClr val="tx2"/>
                </a:solidFill>
              </a:defRPr>
            </a:lvl3pPr>
            <a:lvl4pPr indent="0">
              <a:lnSpc>
                <a:spcPct val="90000"/>
              </a:lnSpc>
              <a:spcBef>
                <a:spcPts val="500"/>
              </a:spcBef>
              <a:buClr>
                <a:schemeClr val="accent2"/>
              </a:buClr>
              <a:buFontTx/>
              <a:buNone/>
              <a:defRPr sz="400" b="0">
                <a:solidFill>
                  <a:schemeClr val="tx2"/>
                </a:solidFill>
              </a:defRPr>
            </a:lvl4pPr>
            <a:lvl5pPr indent="0">
              <a:lnSpc>
                <a:spcPct val="90000"/>
              </a:lnSpc>
              <a:spcBef>
                <a:spcPts val="500"/>
              </a:spcBef>
              <a:buFontTx/>
              <a:buNone/>
              <a:defRPr sz="10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0"/>
              </a:spcBef>
              <a:spcAft>
                <a:spcPts val="0"/>
              </a:spcAft>
              <a:buClr>
                <a:srgbClr val="43921E"/>
              </a:buClr>
              <a:buSzTx/>
              <a:buFontTx/>
              <a:buNone/>
              <a:tabLst/>
              <a:defRPr/>
            </a:pPr>
            <a:r>
              <a:rPr kumimoji="0" lang="en-US" sz="1050" b="0" i="0" u="none" strike="noStrike" kern="1200" cap="none" spc="0" normalizeH="0" baseline="0" noProof="0" dirty="0">
                <a:ln>
                  <a:noFill/>
                </a:ln>
                <a:solidFill>
                  <a:srgbClr val="000000">
                    <a:lumMod val="85000"/>
                    <a:lumOff val="15000"/>
                  </a:srgbClr>
                </a:solidFill>
                <a:effectLst/>
                <a:uLnTx/>
                <a:uFillTx/>
                <a:latin typeface="Arial" panose="020B0604020202020204"/>
                <a:ea typeface="MS PGothic" charset="0"/>
                <a:cs typeface="+mn-cs"/>
              </a:rPr>
              <a:t>ECOG, Eastern Cooperative Oncology Group; IDH, isocitrate dehydrogenase; ORR, objective response rate; OS, overall survival; PFS, progression-free survival; QD, once daily; QOL, quality of life; RECIST, Response Evaluation Criteria in Solid Tumors.</a:t>
            </a:r>
          </a:p>
          <a:p>
            <a:pPr marL="0" marR="0" lvl="0" indent="0" algn="l" defTabSz="914400" rtl="0" eaLnBrk="1" fontAlgn="auto" latinLnBrk="0" hangingPunct="1">
              <a:lnSpc>
                <a:spcPct val="90000"/>
              </a:lnSpc>
              <a:spcBef>
                <a:spcPts val="0"/>
              </a:spcBef>
              <a:spcAft>
                <a:spcPts val="0"/>
              </a:spcAft>
              <a:buClr>
                <a:srgbClr val="43921E"/>
              </a:buClr>
              <a:buSzTx/>
              <a:buFontTx/>
              <a:buNone/>
              <a:tabLst/>
              <a:defRPr/>
            </a:pPr>
            <a:r>
              <a:rPr kumimoji="0" lang="en-US" sz="1050" b="0" i="0" u="none" strike="noStrike" kern="1200" cap="none" spc="0" normalizeH="0" baseline="0" noProof="0" dirty="0">
                <a:ln>
                  <a:noFill/>
                </a:ln>
                <a:solidFill>
                  <a:srgbClr val="000000">
                    <a:lumMod val="85000"/>
                    <a:lumOff val="15000"/>
                  </a:srgbClr>
                </a:solidFill>
                <a:effectLst/>
                <a:uLnTx/>
                <a:uFillTx/>
                <a:latin typeface="Arial" panose="020B0604020202020204"/>
                <a:ea typeface="MS PGothic" charset="0"/>
                <a:cs typeface="+mn-cs"/>
              </a:rPr>
              <a:t>Abou-Alfa GK, et al. </a:t>
            </a:r>
            <a:r>
              <a:rPr kumimoji="0" lang="fr-FR" sz="1050" b="0" i="0" u="none" strike="noStrike" kern="1200" cap="none" spc="0" normalizeH="0" baseline="0" noProof="0" dirty="0">
                <a:ln>
                  <a:noFill/>
                </a:ln>
                <a:solidFill>
                  <a:srgbClr val="000000">
                    <a:lumMod val="85000"/>
                    <a:lumOff val="15000"/>
                  </a:srgbClr>
                </a:solidFill>
                <a:effectLst/>
                <a:uLnTx/>
                <a:uFillTx/>
                <a:latin typeface="Arial" panose="020B0604020202020204"/>
                <a:ea typeface="MS PGothic" charset="0"/>
                <a:cs typeface="+mn-cs"/>
              </a:rPr>
              <a:t>Lancet Oncol 2020;21:796–807</a:t>
            </a:r>
            <a:r>
              <a:rPr kumimoji="0" lang="en-US" sz="1050" b="0" i="0" u="none" strike="noStrike" kern="1200" cap="none" spc="0" normalizeH="0" baseline="0" noProof="0" dirty="0">
                <a:ln>
                  <a:noFill/>
                </a:ln>
                <a:solidFill>
                  <a:srgbClr val="000000">
                    <a:lumMod val="85000"/>
                    <a:lumOff val="15000"/>
                  </a:srgbClr>
                </a:solidFill>
                <a:effectLst/>
                <a:uLnTx/>
                <a:uFillTx/>
                <a:latin typeface="Arial" panose="020B0604020202020204"/>
                <a:ea typeface="MS PGothic" charset="0"/>
                <a:cs typeface="+mn-cs"/>
              </a:rPr>
              <a:t>; NCT02989857.</a:t>
            </a:r>
          </a:p>
        </p:txBody>
      </p:sp>
      <p:sp>
        <p:nvSpPr>
          <p:cNvPr id="10" name="Text Placeholder 6">
            <a:extLst>
              <a:ext uri="{FF2B5EF4-FFF2-40B4-BE49-F238E27FC236}">
                <a16:creationId xmlns:a16="http://schemas.microsoft.com/office/drawing/2014/main" id="{AD8B2F2C-662A-4DCC-ACD9-6586AD20E9DD}"/>
              </a:ext>
            </a:extLst>
          </p:cNvPr>
          <p:cNvSpPr txBox="1">
            <a:spLocks/>
          </p:cNvSpPr>
          <p:nvPr/>
        </p:nvSpPr>
        <p:spPr bwMode="auto">
          <a:xfrm>
            <a:off x="607484" y="1202600"/>
            <a:ext cx="10974916" cy="667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2400" b="1"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Clr>
                <a:schemeClr val="accent2"/>
              </a:buClr>
              <a:buFont typeface="Arial" panose="020B0604020202020204" pitchFamily="34" charset="0"/>
              <a:buChar char="•"/>
              <a:defRPr sz="2000" b="1"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Clr>
                <a:schemeClr val="accent2"/>
              </a:buClr>
              <a:buFont typeface="Courier New" panose="02070309020205020404" pitchFamily="49" charset="0"/>
              <a:buChar char="o"/>
              <a:defRPr sz="1600" b="1"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Clr>
                <a:schemeClr val="accent2"/>
              </a:buClr>
              <a:buFont typeface="Courier New" panose="02070309020205020404" pitchFamily="49" charset="0"/>
              <a:buChar char="o"/>
              <a:defRPr sz="1000" b="1"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43921E"/>
              </a:buClr>
              <a:buSzTx/>
              <a:buFont typeface="Arial" panose="020B0604020202020204" pitchFamily="34" charset="0"/>
              <a:buNone/>
              <a:tabLst/>
              <a:defRPr/>
            </a:pPr>
            <a:r>
              <a:rPr kumimoji="0" lang="en-US" sz="2400" b="1" i="0" u="none" strike="noStrike" kern="1200" cap="none" spc="0" normalizeH="0" baseline="0" noProof="0" dirty="0">
                <a:ln>
                  <a:noFill/>
                </a:ln>
                <a:solidFill>
                  <a:srgbClr val="000000"/>
                </a:solidFill>
                <a:effectLst/>
                <a:uLnTx/>
                <a:uFillTx/>
                <a:latin typeface="Arial" panose="020B0604020202020204"/>
                <a:ea typeface="+mn-ea"/>
                <a:cs typeface="+mn-cs"/>
              </a:rPr>
              <a:t>Randomized, double-blind, placebo-controlled, multicenter phase 3 trial</a:t>
            </a:r>
          </a:p>
        </p:txBody>
      </p:sp>
      <p:sp>
        <p:nvSpPr>
          <p:cNvPr id="11" name="TextBox 10">
            <a:extLst>
              <a:ext uri="{FF2B5EF4-FFF2-40B4-BE49-F238E27FC236}">
                <a16:creationId xmlns:a16="http://schemas.microsoft.com/office/drawing/2014/main" id="{3B8D1359-8629-43E0-B22A-A9474FD4507E}"/>
              </a:ext>
            </a:extLst>
          </p:cNvPr>
          <p:cNvSpPr txBox="1"/>
          <p:nvPr/>
        </p:nvSpPr>
        <p:spPr>
          <a:xfrm>
            <a:off x="607484" y="5217833"/>
            <a:ext cx="5070088"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panose="020B0604020202020204"/>
                <a:ea typeface="MS PGothic" charset="0"/>
                <a:cs typeface="+mn-cs"/>
              </a:rPr>
              <a:t>Primary end point:</a:t>
            </a:r>
            <a:r>
              <a:rPr kumimoji="0" lang="en-US" sz="1400" b="0" i="0" u="none" strike="noStrike" kern="1200" cap="none" spc="0" normalizeH="0" baseline="0" noProof="0" dirty="0">
                <a:ln>
                  <a:noFill/>
                </a:ln>
                <a:solidFill>
                  <a:prstClr val="black"/>
                </a:solidFill>
                <a:effectLst/>
                <a:uLnTx/>
                <a:uFillTx/>
                <a:latin typeface="Arial" panose="020B0604020202020204"/>
                <a:ea typeface="MS PGothic" charset="0"/>
                <a:cs typeface="+mn-cs"/>
              </a:rPr>
              <a:t> PF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panose="020B0604020202020204"/>
                <a:ea typeface="MS PGothic" charset="0"/>
                <a:cs typeface="+mn-cs"/>
              </a:rPr>
              <a:t>Secondary end points: </a:t>
            </a:r>
            <a:r>
              <a:rPr kumimoji="0" lang="en-US" altLang="en-US" sz="1400" b="0" i="0" u="none" strike="noStrike" kern="0" cap="none" spc="0" normalizeH="0" baseline="0" noProof="0" dirty="0">
                <a:ln>
                  <a:noFill/>
                </a:ln>
                <a:solidFill>
                  <a:prstClr val="black"/>
                </a:solidFill>
                <a:effectLst/>
                <a:uLnTx/>
                <a:uFillTx/>
                <a:latin typeface="Arial" panose="020B0604020202020204"/>
                <a:ea typeface="MS PGothic" charset="0"/>
                <a:cs typeface="+mn-cs"/>
              </a:rPr>
              <a:t>OS, ORR, safety, QOL</a:t>
            </a:r>
          </a:p>
        </p:txBody>
      </p:sp>
      <p:sp>
        <p:nvSpPr>
          <p:cNvPr id="3" name="Rectangle: Rounded Corners 2">
            <a:extLst>
              <a:ext uri="{FF2B5EF4-FFF2-40B4-BE49-F238E27FC236}">
                <a16:creationId xmlns:a16="http://schemas.microsoft.com/office/drawing/2014/main" id="{C64DCCC0-CA2E-339C-4364-EA544584F80C}"/>
              </a:ext>
            </a:extLst>
          </p:cNvPr>
          <p:cNvSpPr/>
          <p:nvPr/>
        </p:nvSpPr>
        <p:spPr>
          <a:xfrm>
            <a:off x="607484" y="1920341"/>
            <a:ext cx="3981827" cy="3194393"/>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panose="020B0604020202020204"/>
                <a:ea typeface="+mn-ea"/>
                <a:cs typeface="+mn-cs"/>
              </a:rPr>
              <a:t>Key eligibility criteria</a:t>
            </a:r>
          </a:p>
          <a:p>
            <a:pPr marL="171450" marR="0" lvl="0" indent="-171450" algn="l" defTabSz="914400" rtl="0" eaLnBrk="1" fontAlgn="auto" latinLnBrk="0" hangingPunct="1">
              <a:lnSpc>
                <a:spcPct val="100000"/>
              </a:lnSpc>
              <a:spcBef>
                <a:spcPts val="0"/>
              </a:spcBef>
              <a:spcAft>
                <a:spcPts val="0"/>
              </a:spcAft>
              <a:buClr>
                <a:srgbClr val="FFFFFF"/>
              </a:buClr>
              <a:buSzTx/>
              <a:buFont typeface="Arial" panose="020B0604020202020204" pitchFamily="34" charset="0"/>
              <a:buChar char="•"/>
              <a:tabLst/>
              <a:defRPr/>
            </a:pPr>
            <a:r>
              <a:rPr kumimoji="0" lang="en-GB" sz="1400" b="0" i="0" u="none" strike="noStrike" kern="1200" cap="none" spc="0" normalizeH="0" baseline="0" noProof="0" dirty="0">
                <a:ln>
                  <a:noFill/>
                </a:ln>
                <a:solidFill>
                  <a:srgbClr val="FFFFFF"/>
                </a:solidFill>
                <a:effectLst/>
                <a:uLnTx/>
                <a:uFillTx/>
                <a:latin typeface="Arial" panose="020B0604020202020204"/>
                <a:ea typeface="+mn-ea"/>
                <a:cs typeface="+mn-cs"/>
              </a:rPr>
              <a:t>≥18 years of age</a:t>
            </a:r>
          </a:p>
          <a:p>
            <a:pPr marL="171450" marR="0" lvl="0" indent="-171450" algn="l" defTabSz="914400" rtl="0" eaLnBrk="1" fontAlgn="auto" latinLnBrk="0" hangingPunct="1">
              <a:lnSpc>
                <a:spcPct val="100000"/>
              </a:lnSpc>
              <a:spcBef>
                <a:spcPts val="0"/>
              </a:spcBef>
              <a:spcAft>
                <a:spcPts val="0"/>
              </a:spcAft>
              <a:buClr>
                <a:srgbClr val="FFFFFF"/>
              </a:buClr>
              <a:buSzTx/>
              <a:buFont typeface="Arial" panose="020B0604020202020204" pitchFamily="34" charset="0"/>
              <a:buChar char="•"/>
              <a:tabLst/>
              <a:defRPr/>
            </a:pPr>
            <a:r>
              <a:rPr kumimoji="0" lang="en-GB" sz="1400" b="0" i="0" u="none" strike="noStrike" kern="1200" cap="none" spc="0" normalizeH="0" baseline="0" noProof="0" dirty="0">
                <a:ln>
                  <a:noFill/>
                </a:ln>
                <a:solidFill>
                  <a:srgbClr val="FFFFFF"/>
                </a:solidFill>
                <a:effectLst/>
                <a:uLnTx/>
                <a:uFillTx/>
                <a:latin typeface="Arial" panose="020B0604020202020204"/>
                <a:ea typeface="+mn-ea"/>
                <a:cs typeface="+mn-cs"/>
              </a:rPr>
              <a:t>Histologically confirmed diagnosis of cholangiocarcinoma</a:t>
            </a:r>
          </a:p>
          <a:p>
            <a:pPr marL="171450" marR="0" lvl="0" indent="-171450" algn="l" defTabSz="914400" rtl="0" eaLnBrk="1" fontAlgn="auto" latinLnBrk="0" hangingPunct="1">
              <a:lnSpc>
                <a:spcPct val="100000"/>
              </a:lnSpc>
              <a:spcBef>
                <a:spcPts val="0"/>
              </a:spcBef>
              <a:spcAft>
                <a:spcPts val="0"/>
              </a:spcAft>
              <a:buClr>
                <a:srgbClr val="FFFFFF"/>
              </a:buClr>
              <a:buSzTx/>
              <a:buFont typeface="Arial" panose="020B0604020202020204" pitchFamily="34" charset="0"/>
              <a:buChar char="•"/>
              <a:tabLst/>
              <a:defRPr/>
            </a:pPr>
            <a:r>
              <a:rPr kumimoji="0" lang="en-GB" sz="1400" b="0" i="0" u="none" strike="noStrike" kern="1200" cap="none" spc="0" normalizeH="0" baseline="0" noProof="0" dirty="0">
                <a:ln>
                  <a:noFill/>
                </a:ln>
                <a:solidFill>
                  <a:srgbClr val="FFFFFF"/>
                </a:solidFill>
                <a:effectLst/>
                <a:uLnTx/>
                <a:uFillTx/>
                <a:latin typeface="Arial" panose="020B0604020202020204"/>
                <a:ea typeface="+mn-ea"/>
                <a:cs typeface="+mn-cs"/>
              </a:rPr>
              <a:t>Centrally confirmed IDH1 mutation status by next-generation sequencing</a:t>
            </a:r>
          </a:p>
          <a:p>
            <a:pPr marL="171450" marR="0" lvl="0" indent="-171450" algn="l" defTabSz="914400" rtl="0" eaLnBrk="1" fontAlgn="auto" latinLnBrk="0" hangingPunct="1">
              <a:lnSpc>
                <a:spcPct val="100000"/>
              </a:lnSpc>
              <a:spcBef>
                <a:spcPts val="0"/>
              </a:spcBef>
              <a:spcAft>
                <a:spcPts val="0"/>
              </a:spcAft>
              <a:buClr>
                <a:srgbClr val="FFFFFF"/>
              </a:buClr>
              <a:buSzTx/>
              <a:buFont typeface="Arial" panose="020B0604020202020204" pitchFamily="34" charset="0"/>
              <a:buChar char="•"/>
              <a:tabLst/>
              <a:defRPr/>
            </a:pPr>
            <a:r>
              <a:rPr kumimoji="0" lang="en-GB" sz="1400" b="0" i="0" u="none" strike="noStrike" kern="1200" cap="none" spc="0" normalizeH="0" baseline="0" noProof="0" dirty="0">
                <a:ln>
                  <a:noFill/>
                </a:ln>
                <a:solidFill>
                  <a:srgbClr val="FFFFFF"/>
                </a:solidFill>
                <a:effectLst/>
                <a:uLnTx/>
                <a:uFillTx/>
                <a:latin typeface="Arial" panose="020B0604020202020204"/>
                <a:ea typeface="+mn-ea"/>
                <a:cs typeface="+mn-cs"/>
              </a:rPr>
              <a:t>ECOG performance status score 0 or 1</a:t>
            </a:r>
          </a:p>
          <a:p>
            <a:pPr marL="171450" marR="0" lvl="0" indent="-171450" algn="l" defTabSz="914400" rtl="0" eaLnBrk="1" fontAlgn="auto" latinLnBrk="0" hangingPunct="1">
              <a:lnSpc>
                <a:spcPct val="100000"/>
              </a:lnSpc>
              <a:spcBef>
                <a:spcPts val="0"/>
              </a:spcBef>
              <a:spcAft>
                <a:spcPts val="0"/>
              </a:spcAft>
              <a:buClr>
                <a:srgbClr val="FFFFFF"/>
              </a:buClr>
              <a:buSzTx/>
              <a:buFont typeface="Arial" panose="020B0604020202020204" pitchFamily="34" charset="0"/>
              <a:buChar char="•"/>
              <a:tabLst/>
              <a:defRPr/>
            </a:pPr>
            <a:r>
              <a:rPr kumimoji="0" lang="en-GB" sz="1400" b="0" i="0" u="none" strike="noStrike" kern="1200" cap="none" spc="0" normalizeH="0" baseline="0" noProof="0" dirty="0">
                <a:ln>
                  <a:noFill/>
                </a:ln>
                <a:solidFill>
                  <a:srgbClr val="FFFFFF"/>
                </a:solidFill>
                <a:effectLst/>
                <a:uLnTx/>
                <a:uFillTx/>
                <a:latin typeface="Arial" panose="020B0604020202020204"/>
                <a:ea typeface="+mn-ea"/>
                <a:cs typeface="+mn-cs"/>
              </a:rPr>
              <a:t>1–2 prior therapies (at least 1 gemcitabine- or 5-fluorouracil-containing regimen)</a:t>
            </a:r>
          </a:p>
          <a:p>
            <a:pPr marL="171450" marR="0" lvl="0" indent="-171450" algn="l" defTabSz="914400" rtl="0" eaLnBrk="1" fontAlgn="auto" latinLnBrk="0" hangingPunct="1">
              <a:lnSpc>
                <a:spcPct val="100000"/>
              </a:lnSpc>
              <a:spcBef>
                <a:spcPts val="0"/>
              </a:spcBef>
              <a:spcAft>
                <a:spcPts val="0"/>
              </a:spcAft>
              <a:buClr>
                <a:srgbClr val="FFFFFF"/>
              </a:buClr>
              <a:buSzTx/>
              <a:buFont typeface="Arial" panose="020B0604020202020204" pitchFamily="34" charset="0"/>
              <a:buChar char="•"/>
              <a:tabLst/>
              <a:defRPr/>
            </a:pPr>
            <a:r>
              <a:rPr kumimoji="0" lang="en-GB" sz="1400" b="0" i="0" u="none" strike="noStrike" kern="1200" cap="none" spc="0" normalizeH="0" baseline="0" noProof="0" dirty="0">
                <a:ln>
                  <a:noFill/>
                </a:ln>
                <a:solidFill>
                  <a:srgbClr val="FFFFFF"/>
                </a:solidFill>
                <a:effectLst/>
                <a:uLnTx/>
                <a:uFillTx/>
                <a:latin typeface="Arial" panose="020B0604020202020204"/>
                <a:ea typeface="+mn-ea"/>
                <a:cs typeface="+mn-cs"/>
              </a:rPr>
              <a:t>Measurable lesion as defined by RECIST v1.1</a:t>
            </a:r>
          </a:p>
          <a:p>
            <a:pPr marL="171450" marR="0" lvl="0" indent="-171450" algn="l" defTabSz="914400" rtl="0" eaLnBrk="1" fontAlgn="auto" latinLnBrk="0" hangingPunct="1">
              <a:lnSpc>
                <a:spcPct val="100000"/>
              </a:lnSpc>
              <a:spcBef>
                <a:spcPts val="0"/>
              </a:spcBef>
              <a:spcAft>
                <a:spcPts val="0"/>
              </a:spcAft>
              <a:buClr>
                <a:srgbClr val="FFFFFF"/>
              </a:buClr>
              <a:buSzTx/>
              <a:buFont typeface="Arial" panose="020B0604020202020204" pitchFamily="34" charset="0"/>
              <a:buChar char="•"/>
              <a:tabLst/>
              <a:defRPr/>
            </a:pPr>
            <a:r>
              <a:rPr kumimoji="0" lang="en-GB" sz="1400" b="0" i="0" u="none" strike="noStrike" kern="1200" cap="none" spc="0" normalizeH="0" baseline="0" noProof="0" dirty="0">
                <a:ln>
                  <a:noFill/>
                </a:ln>
                <a:solidFill>
                  <a:srgbClr val="FFFFFF"/>
                </a:solidFill>
                <a:effectLst/>
                <a:uLnTx/>
                <a:uFillTx/>
                <a:latin typeface="Arial" panose="020B0604020202020204"/>
                <a:ea typeface="+mn-ea"/>
                <a:cs typeface="+mn-cs"/>
              </a:rPr>
              <a:t>Adequate hematologic, hepatic and renal function</a:t>
            </a:r>
          </a:p>
        </p:txBody>
      </p:sp>
      <p:sp>
        <p:nvSpPr>
          <p:cNvPr id="4" name="Rectangle: Rounded Corners 3">
            <a:extLst>
              <a:ext uri="{FF2B5EF4-FFF2-40B4-BE49-F238E27FC236}">
                <a16:creationId xmlns:a16="http://schemas.microsoft.com/office/drawing/2014/main" id="{1C2DB2F6-2E41-8137-C5B0-0D3796B14DC4}"/>
              </a:ext>
            </a:extLst>
          </p:cNvPr>
          <p:cNvSpPr/>
          <p:nvPr/>
        </p:nvSpPr>
        <p:spPr>
          <a:xfrm rot="16200000">
            <a:off x="3974656" y="3269366"/>
            <a:ext cx="2155986" cy="495035"/>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panose="020B0604020202020204"/>
                <a:ea typeface="+mn-ea"/>
                <a:cs typeface="+mn-cs"/>
              </a:rPr>
              <a:t>Pre-screening for IDH1 mutation</a:t>
            </a:r>
          </a:p>
        </p:txBody>
      </p:sp>
      <p:sp>
        <p:nvSpPr>
          <p:cNvPr id="5" name="Rectangle: Rounded Corners 4">
            <a:extLst>
              <a:ext uri="{FF2B5EF4-FFF2-40B4-BE49-F238E27FC236}">
                <a16:creationId xmlns:a16="http://schemas.microsoft.com/office/drawing/2014/main" id="{22C027BF-7371-4EB0-1A80-4FED0FE52F62}"/>
              </a:ext>
            </a:extLst>
          </p:cNvPr>
          <p:cNvSpPr/>
          <p:nvPr/>
        </p:nvSpPr>
        <p:spPr>
          <a:xfrm rot="16200000">
            <a:off x="4826754" y="3269365"/>
            <a:ext cx="2155987" cy="495035"/>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panose="020B0604020202020204"/>
                <a:ea typeface="+mn-ea"/>
                <a:cs typeface="+mn-cs"/>
              </a:rPr>
              <a:t>2:1 double-blind randomization (n=185)</a:t>
            </a:r>
          </a:p>
        </p:txBody>
      </p:sp>
      <p:sp>
        <p:nvSpPr>
          <p:cNvPr id="6" name="Rectangle: Rounded Corners 5">
            <a:extLst>
              <a:ext uri="{FF2B5EF4-FFF2-40B4-BE49-F238E27FC236}">
                <a16:creationId xmlns:a16="http://schemas.microsoft.com/office/drawing/2014/main" id="{42B42A46-8E0D-24E2-3458-FFD4AA0AA0D9}"/>
              </a:ext>
            </a:extLst>
          </p:cNvPr>
          <p:cNvSpPr/>
          <p:nvPr/>
        </p:nvSpPr>
        <p:spPr>
          <a:xfrm>
            <a:off x="7181633" y="2152006"/>
            <a:ext cx="2519151" cy="1072083"/>
          </a:xfrm>
          <a:prstGeom prst="round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panose="020B0604020202020204"/>
                <a:ea typeface="+mn-ea"/>
                <a:cs typeface="+mn-cs"/>
              </a:rPr>
              <a:t>Ivosidenib 500 mg QD orally in continuous 28-day (±2 days) cycles (n=124)</a:t>
            </a:r>
          </a:p>
        </p:txBody>
      </p:sp>
      <p:sp>
        <p:nvSpPr>
          <p:cNvPr id="7" name="Rectangle: Rounded Corners 6">
            <a:extLst>
              <a:ext uri="{FF2B5EF4-FFF2-40B4-BE49-F238E27FC236}">
                <a16:creationId xmlns:a16="http://schemas.microsoft.com/office/drawing/2014/main" id="{6A2693EE-D777-7990-3223-CBEFDDB177BB}"/>
              </a:ext>
            </a:extLst>
          </p:cNvPr>
          <p:cNvSpPr/>
          <p:nvPr/>
        </p:nvSpPr>
        <p:spPr>
          <a:xfrm>
            <a:off x="7181632" y="3809677"/>
            <a:ext cx="2519151" cy="1072083"/>
          </a:xfrm>
          <a:prstGeom prst="round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panose="020B0604020202020204"/>
                <a:ea typeface="+mn-ea"/>
                <a:cs typeface="+mn-cs"/>
              </a:rPr>
              <a:t>Placebo (n=61)</a:t>
            </a:r>
          </a:p>
        </p:txBody>
      </p:sp>
      <p:sp>
        <p:nvSpPr>
          <p:cNvPr id="8" name="TextBox 7">
            <a:extLst>
              <a:ext uri="{FF2B5EF4-FFF2-40B4-BE49-F238E27FC236}">
                <a16:creationId xmlns:a16="http://schemas.microsoft.com/office/drawing/2014/main" id="{9D6BC4B1-B540-3433-173C-1B8FA7BDADF4}"/>
              </a:ext>
            </a:extLst>
          </p:cNvPr>
          <p:cNvSpPr txBox="1"/>
          <p:nvPr/>
        </p:nvSpPr>
        <p:spPr>
          <a:xfrm flipH="1">
            <a:off x="9893913" y="3263487"/>
            <a:ext cx="1688487"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212121"/>
                </a:solidFill>
                <a:effectLst/>
                <a:uLnTx/>
                <a:uFillTx/>
                <a:latin typeface="Arial" panose="020B0604020202020204"/>
                <a:ea typeface="MS PGothic" charset="0"/>
                <a:cs typeface="+mn-cs"/>
              </a:rPr>
              <a:t>Crossover permitted at radiographic disease progression </a:t>
            </a:r>
          </a:p>
        </p:txBody>
      </p:sp>
      <p:sp>
        <p:nvSpPr>
          <p:cNvPr id="14" name="TextBox 13">
            <a:extLst>
              <a:ext uri="{FF2B5EF4-FFF2-40B4-BE49-F238E27FC236}">
                <a16:creationId xmlns:a16="http://schemas.microsoft.com/office/drawing/2014/main" id="{C41CAF24-DF29-C751-3FE9-9348C850D023}"/>
              </a:ext>
            </a:extLst>
          </p:cNvPr>
          <p:cNvSpPr txBox="1"/>
          <p:nvPr/>
        </p:nvSpPr>
        <p:spPr>
          <a:xfrm>
            <a:off x="7114586" y="4969622"/>
            <a:ext cx="2660035"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212121"/>
                </a:solidFill>
                <a:effectLst/>
                <a:uLnTx/>
                <a:uFillTx/>
                <a:latin typeface="Arial" panose="020B0604020202020204"/>
                <a:ea typeface="MS PGothic" charset="0"/>
                <a:cs typeface="+mn-cs"/>
              </a:rPr>
              <a:t>An independent data monitoring committee monitored the safety data throughout the study</a:t>
            </a:r>
          </a:p>
        </p:txBody>
      </p:sp>
      <p:sp>
        <p:nvSpPr>
          <p:cNvPr id="15" name="TextBox 14">
            <a:extLst>
              <a:ext uri="{FF2B5EF4-FFF2-40B4-BE49-F238E27FC236}">
                <a16:creationId xmlns:a16="http://schemas.microsoft.com/office/drawing/2014/main" id="{B71AD069-A4B9-5EE1-5001-45FD6A96B116}"/>
              </a:ext>
            </a:extLst>
          </p:cNvPr>
          <p:cNvSpPr txBox="1"/>
          <p:nvPr/>
        </p:nvSpPr>
        <p:spPr>
          <a:xfrm rot="16200000">
            <a:off x="5831500" y="3286048"/>
            <a:ext cx="1757575"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212121"/>
                </a:solidFill>
                <a:effectLst/>
                <a:uLnTx/>
                <a:uFillTx/>
                <a:latin typeface="Arial" panose="020B0604020202020204"/>
                <a:ea typeface="MS PGothic" charset="0"/>
                <a:cs typeface="+mn-cs"/>
              </a:rPr>
              <a:t>Stratified by number of prior therapies</a:t>
            </a:r>
          </a:p>
        </p:txBody>
      </p:sp>
      <p:cxnSp>
        <p:nvCxnSpPr>
          <p:cNvPr id="17" name="Straight Arrow Connector 16">
            <a:extLst>
              <a:ext uri="{FF2B5EF4-FFF2-40B4-BE49-F238E27FC236}">
                <a16:creationId xmlns:a16="http://schemas.microsoft.com/office/drawing/2014/main" id="{44289422-C5CD-BEF9-169E-C772294CFD62}"/>
              </a:ext>
            </a:extLst>
          </p:cNvPr>
          <p:cNvCxnSpPr>
            <a:cxnSpLocks/>
            <a:stCxn id="4" idx="2"/>
            <a:endCxn id="5" idx="0"/>
          </p:cNvCxnSpPr>
          <p:nvPr/>
        </p:nvCxnSpPr>
        <p:spPr>
          <a:xfrm flipV="1">
            <a:off x="5300167" y="3516882"/>
            <a:ext cx="357063" cy="2"/>
          </a:xfrm>
          <a:prstGeom prst="straightConnector1">
            <a:avLst/>
          </a:prstGeom>
          <a:ln w="2857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20" name="Connector: Elbow 19">
            <a:extLst>
              <a:ext uri="{FF2B5EF4-FFF2-40B4-BE49-F238E27FC236}">
                <a16:creationId xmlns:a16="http://schemas.microsoft.com/office/drawing/2014/main" id="{B68B3540-DF2F-1AEE-6690-079280C4AD36}"/>
              </a:ext>
            </a:extLst>
          </p:cNvPr>
          <p:cNvCxnSpPr>
            <a:cxnSpLocks/>
            <a:stCxn id="5" idx="2"/>
          </p:cNvCxnSpPr>
          <p:nvPr/>
        </p:nvCxnSpPr>
        <p:spPr>
          <a:xfrm flipV="1">
            <a:off x="6152265" y="2638095"/>
            <a:ext cx="962321" cy="878787"/>
          </a:xfrm>
          <a:prstGeom prst="bentConnector3">
            <a:avLst>
              <a:gd name="adj1" fmla="val 30341"/>
            </a:avLst>
          </a:prstGeom>
          <a:ln w="2857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24" name="Connector: Elbow 23">
            <a:extLst>
              <a:ext uri="{FF2B5EF4-FFF2-40B4-BE49-F238E27FC236}">
                <a16:creationId xmlns:a16="http://schemas.microsoft.com/office/drawing/2014/main" id="{C5081B8C-FB48-55F1-6615-5253995E0952}"/>
              </a:ext>
            </a:extLst>
          </p:cNvPr>
          <p:cNvCxnSpPr>
            <a:cxnSpLocks/>
            <a:stCxn id="5" idx="2"/>
          </p:cNvCxnSpPr>
          <p:nvPr/>
        </p:nvCxnSpPr>
        <p:spPr>
          <a:xfrm>
            <a:off x="6152265" y="3516882"/>
            <a:ext cx="1023243" cy="878787"/>
          </a:xfrm>
          <a:prstGeom prst="bentConnector3">
            <a:avLst>
              <a:gd name="adj1" fmla="val 28430"/>
            </a:avLst>
          </a:prstGeom>
          <a:ln w="2857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26" name="Connector: Elbow 25">
            <a:extLst>
              <a:ext uri="{FF2B5EF4-FFF2-40B4-BE49-F238E27FC236}">
                <a16:creationId xmlns:a16="http://schemas.microsoft.com/office/drawing/2014/main" id="{E820C887-8A5E-7557-AD12-101B79FE62E8}"/>
              </a:ext>
            </a:extLst>
          </p:cNvPr>
          <p:cNvCxnSpPr>
            <a:cxnSpLocks/>
            <a:stCxn id="6" idx="3"/>
            <a:endCxn id="7" idx="3"/>
          </p:cNvCxnSpPr>
          <p:nvPr/>
        </p:nvCxnSpPr>
        <p:spPr>
          <a:xfrm flipH="1">
            <a:off x="9700783" y="2688048"/>
            <a:ext cx="1" cy="1657671"/>
          </a:xfrm>
          <a:prstGeom prst="bentConnector3">
            <a:avLst>
              <a:gd name="adj1" fmla="val -22860000000"/>
            </a:avLst>
          </a:prstGeom>
          <a:ln w="28575">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71695660"/>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C7C154-887B-49DF-B06A-CCEC1D000EDC}"/>
              </a:ext>
            </a:extLst>
          </p:cNvPr>
          <p:cNvSpPr>
            <a:spLocks noGrp="1"/>
          </p:cNvSpPr>
          <p:nvPr>
            <p:ph type="title"/>
          </p:nvPr>
        </p:nvSpPr>
        <p:spPr>
          <a:xfrm>
            <a:off x="1103243" y="150948"/>
            <a:ext cx="10479157" cy="977211"/>
          </a:xfrm>
        </p:spPr>
        <p:txBody>
          <a:bodyPr/>
          <a:lstStyle/>
          <a:p>
            <a:r>
              <a:rPr lang="en-US" altLang="en-US" dirty="0"/>
              <a:t>Ivosidenib in IDH-Mutant Cholangiocarcinoma (Contd.)</a:t>
            </a:r>
            <a:endParaRPr lang="en-GB" dirty="0"/>
          </a:p>
        </p:txBody>
      </p:sp>
      <p:pic>
        <p:nvPicPr>
          <p:cNvPr id="7" name="Picture 6">
            <a:extLst>
              <a:ext uri="{FF2B5EF4-FFF2-40B4-BE49-F238E27FC236}">
                <a16:creationId xmlns:a16="http://schemas.microsoft.com/office/drawing/2014/main" id="{6D7377BD-2983-41B5-928E-27A870C67124}"/>
              </a:ext>
            </a:extLst>
          </p:cNvPr>
          <p:cNvPicPr>
            <a:picLocks noChangeAspect="1"/>
          </p:cNvPicPr>
          <p:nvPr/>
        </p:nvPicPr>
        <p:blipFill>
          <a:blip r:embed="rId2"/>
          <a:stretch>
            <a:fillRect/>
          </a:stretch>
        </p:blipFill>
        <p:spPr>
          <a:xfrm>
            <a:off x="597191" y="1206023"/>
            <a:ext cx="8639175" cy="4467225"/>
          </a:xfrm>
          <a:prstGeom prst="rect">
            <a:avLst/>
          </a:prstGeom>
          <a:noFill/>
          <a:ln>
            <a:noFill/>
          </a:ln>
        </p:spPr>
      </p:pic>
      <p:sp>
        <p:nvSpPr>
          <p:cNvPr id="4" name="Text Placeholder 4">
            <a:extLst>
              <a:ext uri="{FF2B5EF4-FFF2-40B4-BE49-F238E27FC236}">
                <a16:creationId xmlns:a16="http://schemas.microsoft.com/office/drawing/2014/main" id="{553A810C-9CE9-B035-A9DA-89F45BD890FD}"/>
              </a:ext>
            </a:extLst>
          </p:cNvPr>
          <p:cNvSpPr txBox="1">
            <a:spLocks/>
          </p:cNvSpPr>
          <p:nvPr/>
        </p:nvSpPr>
        <p:spPr>
          <a:xfrm>
            <a:off x="828674" y="6174768"/>
            <a:ext cx="10753725" cy="358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indent="0">
              <a:lnSpc>
                <a:spcPct val="90000"/>
              </a:lnSpc>
              <a:spcBef>
                <a:spcPts val="1000"/>
              </a:spcBef>
              <a:buClr>
                <a:schemeClr val="accent1"/>
              </a:buClr>
              <a:buFontTx/>
              <a:buNone/>
              <a:defRPr sz="1000" b="0">
                <a:solidFill>
                  <a:schemeClr val="tx2">
                    <a:lumMod val="85000"/>
                    <a:lumOff val="15000"/>
                  </a:schemeClr>
                </a:solidFill>
              </a:defRPr>
            </a:lvl1pPr>
            <a:lvl2pPr indent="0">
              <a:lnSpc>
                <a:spcPct val="90000"/>
              </a:lnSpc>
              <a:spcBef>
                <a:spcPts val="500"/>
              </a:spcBef>
              <a:buClr>
                <a:schemeClr val="accent2"/>
              </a:buClr>
              <a:buFontTx/>
              <a:buNone/>
              <a:defRPr sz="1050" b="0">
                <a:solidFill>
                  <a:schemeClr val="tx2"/>
                </a:solidFill>
              </a:defRPr>
            </a:lvl2pPr>
            <a:lvl3pPr indent="0">
              <a:lnSpc>
                <a:spcPct val="90000"/>
              </a:lnSpc>
              <a:spcBef>
                <a:spcPts val="500"/>
              </a:spcBef>
              <a:buClr>
                <a:schemeClr val="accent2"/>
              </a:buClr>
              <a:buFontTx/>
              <a:buNone/>
              <a:defRPr sz="900" b="0">
                <a:solidFill>
                  <a:schemeClr val="tx2"/>
                </a:solidFill>
              </a:defRPr>
            </a:lvl3pPr>
            <a:lvl4pPr indent="0">
              <a:lnSpc>
                <a:spcPct val="90000"/>
              </a:lnSpc>
              <a:spcBef>
                <a:spcPts val="500"/>
              </a:spcBef>
              <a:buClr>
                <a:schemeClr val="accent2"/>
              </a:buClr>
              <a:buFontTx/>
              <a:buNone/>
              <a:defRPr sz="400" b="0">
                <a:solidFill>
                  <a:schemeClr val="tx2"/>
                </a:solidFill>
              </a:defRPr>
            </a:lvl4pPr>
            <a:lvl5pPr indent="0">
              <a:lnSpc>
                <a:spcPct val="90000"/>
              </a:lnSpc>
              <a:spcBef>
                <a:spcPts val="500"/>
              </a:spcBef>
              <a:buFontTx/>
              <a:buNone/>
              <a:defRPr sz="1000" b="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0"/>
              </a:spcBef>
              <a:spcAft>
                <a:spcPts val="0"/>
              </a:spcAft>
              <a:buClr>
                <a:srgbClr val="43921E"/>
              </a:buClr>
              <a:buSzTx/>
              <a:buFontTx/>
              <a:buNone/>
              <a:tabLst/>
              <a:defRPr/>
            </a:pPr>
            <a:r>
              <a:rPr kumimoji="0" lang="en-US" sz="1050" b="0" i="0" u="none" strike="noStrike" kern="1200" cap="none" spc="0" normalizeH="0" baseline="0" noProof="0" dirty="0">
                <a:ln>
                  <a:noFill/>
                </a:ln>
                <a:solidFill>
                  <a:srgbClr val="000000">
                    <a:lumMod val="85000"/>
                    <a:lumOff val="15000"/>
                  </a:srgbClr>
                </a:solidFill>
                <a:effectLst/>
                <a:uLnTx/>
                <a:uFillTx/>
                <a:latin typeface="Arial" panose="020B0604020202020204"/>
                <a:ea typeface="MS PGothic" charset="0"/>
                <a:cs typeface="+mn-cs"/>
              </a:rPr>
              <a:t>CI, confidence interval; HR, hazard ratio; IDH1, isocitrate dehydrogenase 1; PFS, progression-free survival. </a:t>
            </a:r>
          </a:p>
          <a:p>
            <a:pPr marL="0" marR="0" lvl="0" indent="0" algn="l" defTabSz="914400" rtl="0" eaLnBrk="1" fontAlgn="auto" latinLnBrk="0" hangingPunct="1">
              <a:lnSpc>
                <a:spcPct val="90000"/>
              </a:lnSpc>
              <a:spcBef>
                <a:spcPts val="0"/>
              </a:spcBef>
              <a:spcAft>
                <a:spcPts val="0"/>
              </a:spcAft>
              <a:buClr>
                <a:srgbClr val="43921E"/>
              </a:buClr>
              <a:buSzTx/>
              <a:buFontTx/>
              <a:buNone/>
              <a:tabLst/>
              <a:defRPr/>
            </a:pPr>
            <a:r>
              <a:rPr kumimoji="0" lang="en-US" sz="1050" b="0" i="0" u="none" strike="noStrike" kern="1200" cap="none" spc="0" normalizeH="0" baseline="0" noProof="0" dirty="0">
                <a:ln>
                  <a:noFill/>
                </a:ln>
                <a:solidFill>
                  <a:srgbClr val="000000">
                    <a:lumMod val="85000"/>
                    <a:lumOff val="15000"/>
                  </a:srgbClr>
                </a:solidFill>
                <a:effectLst/>
                <a:uLnTx/>
                <a:uFillTx/>
                <a:latin typeface="Arial" panose="020B0604020202020204"/>
                <a:ea typeface="MS PGothic" charset="0"/>
                <a:cs typeface="+mn-cs"/>
              </a:rPr>
              <a:t>Abou-Alfa GK, et al. </a:t>
            </a:r>
            <a:r>
              <a:rPr kumimoji="0" lang="fr-FR" sz="1050" b="0" i="0" u="none" strike="noStrike" kern="1200" cap="none" spc="0" normalizeH="0" baseline="0" noProof="0" dirty="0">
                <a:ln>
                  <a:noFill/>
                </a:ln>
                <a:solidFill>
                  <a:srgbClr val="000000">
                    <a:lumMod val="85000"/>
                    <a:lumOff val="15000"/>
                  </a:srgbClr>
                </a:solidFill>
                <a:effectLst/>
                <a:uLnTx/>
                <a:uFillTx/>
                <a:latin typeface="Arial" panose="020B0604020202020204"/>
                <a:ea typeface="MS PGothic" charset="0"/>
                <a:cs typeface="+mn-cs"/>
              </a:rPr>
              <a:t>Lancet Oncol 2020;21:796–807</a:t>
            </a:r>
            <a:r>
              <a:rPr kumimoji="0" lang="en-US" sz="1050" b="0" i="0" u="none" strike="noStrike" kern="1200" cap="none" spc="0" normalizeH="0" baseline="0" noProof="0" dirty="0">
                <a:ln>
                  <a:noFill/>
                </a:ln>
                <a:solidFill>
                  <a:srgbClr val="000000">
                    <a:lumMod val="85000"/>
                    <a:lumOff val="15000"/>
                  </a:srgbClr>
                </a:solidFill>
                <a:effectLst/>
                <a:uLnTx/>
                <a:uFillTx/>
                <a:latin typeface="Arial" panose="020B0604020202020204"/>
                <a:ea typeface="MS PGothic" charset="0"/>
                <a:cs typeface="+mn-cs"/>
              </a:rPr>
              <a:t>.</a:t>
            </a:r>
          </a:p>
        </p:txBody>
      </p:sp>
      <p:graphicFrame>
        <p:nvGraphicFramePr>
          <p:cNvPr id="5" name="Table 5">
            <a:extLst>
              <a:ext uri="{FF2B5EF4-FFF2-40B4-BE49-F238E27FC236}">
                <a16:creationId xmlns:a16="http://schemas.microsoft.com/office/drawing/2014/main" id="{328EAEC7-E01F-8BDA-295C-C0AE527AB86C}"/>
              </a:ext>
            </a:extLst>
          </p:cNvPr>
          <p:cNvGraphicFramePr>
            <a:graphicFrameLocks noGrp="1"/>
          </p:cNvGraphicFramePr>
          <p:nvPr/>
        </p:nvGraphicFramePr>
        <p:xfrm>
          <a:off x="6947338" y="2095352"/>
          <a:ext cx="4635061" cy="1676400"/>
        </p:xfrm>
        <a:graphic>
          <a:graphicData uri="http://schemas.openxmlformats.org/drawingml/2006/table">
            <a:tbl>
              <a:tblPr firstRow="1" bandRow="1">
                <a:tableStyleId>{5C22544A-7EE6-4342-B048-85BDC9FD1C3A}</a:tableStyleId>
              </a:tblPr>
              <a:tblGrid>
                <a:gridCol w="1870841">
                  <a:extLst>
                    <a:ext uri="{9D8B030D-6E8A-4147-A177-3AD203B41FA5}">
                      <a16:colId xmlns:a16="http://schemas.microsoft.com/office/drawing/2014/main" val="3338441293"/>
                    </a:ext>
                  </a:extLst>
                </a:gridCol>
                <a:gridCol w="1471097">
                  <a:extLst>
                    <a:ext uri="{9D8B030D-6E8A-4147-A177-3AD203B41FA5}">
                      <a16:colId xmlns:a16="http://schemas.microsoft.com/office/drawing/2014/main" val="3133149909"/>
                    </a:ext>
                  </a:extLst>
                </a:gridCol>
                <a:gridCol w="1293123">
                  <a:extLst>
                    <a:ext uri="{9D8B030D-6E8A-4147-A177-3AD203B41FA5}">
                      <a16:colId xmlns:a16="http://schemas.microsoft.com/office/drawing/2014/main" val="2598715155"/>
                    </a:ext>
                  </a:extLst>
                </a:gridCol>
              </a:tblGrid>
              <a:tr h="310348">
                <a:tc>
                  <a:txBody>
                    <a:bodyPr/>
                    <a:lstStyle/>
                    <a:p>
                      <a:endParaRPr lang="en-GB" sz="1600" dirty="0"/>
                    </a:p>
                  </a:txBody>
                  <a:tcPr/>
                </a:tc>
                <a:tc>
                  <a:txBody>
                    <a:bodyPr/>
                    <a:lstStyle/>
                    <a:p>
                      <a:pPr algn="ctr"/>
                      <a:r>
                        <a:rPr lang="en-GB" sz="1600" dirty="0"/>
                        <a:t>Ivosidenib</a:t>
                      </a:r>
                    </a:p>
                  </a:txBody>
                  <a:tcPr/>
                </a:tc>
                <a:tc>
                  <a:txBody>
                    <a:bodyPr/>
                    <a:lstStyle/>
                    <a:p>
                      <a:pPr algn="ctr"/>
                      <a:r>
                        <a:rPr lang="en-GB" sz="1600" dirty="0"/>
                        <a:t>Placebo</a:t>
                      </a:r>
                    </a:p>
                  </a:txBody>
                  <a:tcPr/>
                </a:tc>
                <a:extLst>
                  <a:ext uri="{0D108BD9-81ED-4DB2-BD59-A6C34878D82A}">
                    <a16:rowId xmlns:a16="http://schemas.microsoft.com/office/drawing/2014/main" val="652951784"/>
                  </a:ext>
                </a:extLst>
              </a:tr>
              <a:tr h="310348">
                <a:tc>
                  <a:txBody>
                    <a:bodyPr/>
                    <a:lstStyle/>
                    <a:p>
                      <a:r>
                        <a:rPr lang="en-GB" sz="1600" b="1" dirty="0"/>
                        <a:t>PFS</a:t>
                      </a:r>
                    </a:p>
                  </a:txBody>
                  <a:tcPr/>
                </a:tc>
                <a:tc>
                  <a:txBody>
                    <a:bodyPr/>
                    <a:lstStyle/>
                    <a:p>
                      <a:pPr algn="ctr"/>
                      <a:endParaRPr lang="en-GB" sz="1600" dirty="0"/>
                    </a:p>
                  </a:txBody>
                  <a:tcPr/>
                </a:tc>
                <a:tc>
                  <a:txBody>
                    <a:bodyPr/>
                    <a:lstStyle/>
                    <a:p>
                      <a:pPr algn="ctr"/>
                      <a:endParaRPr lang="en-GB" sz="1600" dirty="0"/>
                    </a:p>
                  </a:txBody>
                  <a:tcPr/>
                </a:tc>
                <a:extLst>
                  <a:ext uri="{0D108BD9-81ED-4DB2-BD59-A6C34878D82A}">
                    <a16:rowId xmlns:a16="http://schemas.microsoft.com/office/drawing/2014/main" val="2039016437"/>
                  </a:ext>
                </a:extLst>
              </a:tr>
              <a:tr h="310348">
                <a:tc>
                  <a:txBody>
                    <a:bodyPr/>
                    <a:lstStyle/>
                    <a:p>
                      <a:r>
                        <a:rPr lang="en-GB" sz="1600" dirty="0"/>
                        <a:t>Median, months</a:t>
                      </a:r>
                    </a:p>
                  </a:txBody>
                  <a:tcPr/>
                </a:tc>
                <a:tc>
                  <a:txBody>
                    <a:bodyPr/>
                    <a:lstStyle/>
                    <a:p>
                      <a:pPr algn="ctr"/>
                      <a:r>
                        <a:rPr lang="en-GB" sz="1600" dirty="0"/>
                        <a:t>2.7</a:t>
                      </a:r>
                    </a:p>
                  </a:txBody>
                  <a:tcPr/>
                </a:tc>
                <a:tc>
                  <a:txBody>
                    <a:bodyPr/>
                    <a:lstStyle/>
                    <a:p>
                      <a:pPr algn="ctr"/>
                      <a:r>
                        <a:rPr lang="en-GB" sz="1600" dirty="0"/>
                        <a:t>1.4</a:t>
                      </a:r>
                    </a:p>
                  </a:txBody>
                  <a:tcPr/>
                </a:tc>
                <a:extLst>
                  <a:ext uri="{0D108BD9-81ED-4DB2-BD59-A6C34878D82A}">
                    <a16:rowId xmlns:a16="http://schemas.microsoft.com/office/drawing/2014/main" val="1242469991"/>
                  </a:ext>
                </a:extLst>
              </a:tr>
              <a:tr h="310348">
                <a:tc>
                  <a:txBody>
                    <a:bodyPr/>
                    <a:lstStyle/>
                    <a:p>
                      <a:r>
                        <a:rPr lang="en-GB" sz="1600" dirty="0"/>
                        <a:t>6-month rate</a:t>
                      </a:r>
                    </a:p>
                  </a:txBody>
                  <a:tcPr/>
                </a:tc>
                <a:tc>
                  <a:txBody>
                    <a:bodyPr/>
                    <a:lstStyle/>
                    <a:p>
                      <a:pPr algn="ctr"/>
                      <a:r>
                        <a:rPr lang="en-GB" sz="1600" dirty="0"/>
                        <a:t>32%</a:t>
                      </a:r>
                    </a:p>
                  </a:txBody>
                  <a:tcPr/>
                </a:tc>
                <a:tc>
                  <a:txBody>
                    <a:bodyPr/>
                    <a:lstStyle/>
                    <a:p>
                      <a:pPr algn="ctr"/>
                      <a:r>
                        <a:rPr lang="en-GB" sz="1600" dirty="0"/>
                        <a:t>NE</a:t>
                      </a:r>
                    </a:p>
                  </a:txBody>
                  <a:tcPr/>
                </a:tc>
                <a:extLst>
                  <a:ext uri="{0D108BD9-81ED-4DB2-BD59-A6C34878D82A}">
                    <a16:rowId xmlns:a16="http://schemas.microsoft.com/office/drawing/2014/main" val="1537644702"/>
                  </a:ext>
                </a:extLst>
              </a:tr>
              <a:tr h="310348">
                <a:tc>
                  <a:txBody>
                    <a:bodyPr/>
                    <a:lstStyle/>
                    <a:p>
                      <a:r>
                        <a:rPr lang="en-GB" sz="1600" dirty="0"/>
                        <a:t>12-month rate</a:t>
                      </a:r>
                    </a:p>
                  </a:txBody>
                  <a:tcPr/>
                </a:tc>
                <a:tc>
                  <a:txBody>
                    <a:bodyPr/>
                    <a:lstStyle/>
                    <a:p>
                      <a:pPr algn="ctr"/>
                      <a:r>
                        <a:rPr lang="en-GB" sz="1600" dirty="0"/>
                        <a:t>22%</a:t>
                      </a:r>
                    </a:p>
                  </a:txBody>
                  <a:tcPr/>
                </a:tc>
                <a:tc>
                  <a:txBody>
                    <a:bodyPr/>
                    <a:lstStyle/>
                    <a:p>
                      <a:pPr algn="ctr"/>
                      <a:r>
                        <a:rPr lang="en-GB" sz="1600" dirty="0"/>
                        <a:t>NE</a:t>
                      </a:r>
                    </a:p>
                  </a:txBody>
                  <a:tcPr/>
                </a:tc>
                <a:extLst>
                  <a:ext uri="{0D108BD9-81ED-4DB2-BD59-A6C34878D82A}">
                    <a16:rowId xmlns:a16="http://schemas.microsoft.com/office/drawing/2014/main" val="3111701368"/>
                  </a:ext>
                </a:extLst>
              </a:tr>
            </a:tbl>
          </a:graphicData>
        </a:graphic>
      </p:graphicFrame>
      <p:sp>
        <p:nvSpPr>
          <p:cNvPr id="11" name="TextBox 10">
            <a:extLst>
              <a:ext uri="{FF2B5EF4-FFF2-40B4-BE49-F238E27FC236}">
                <a16:creationId xmlns:a16="http://schemas.microsoft.com/office/drawing/2014/main" id="{3B8D1359-8629-43E0-B22A-A9474FD4507E}"/>
              </a:ext>
            </a:extLst>
          </p:cNvPr>
          <p:cNvSpPr txBox="1"/>
          <p:nvPr/>
        </p:nvSpPr>
        <p:spPr>
          <a:xfrm>
            <a:off x="9136517" y="4846790"/>
            <a:ext cx="2545731" cy="10772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panose="020B0604020202020204"/>
                <a:ea typeface="MS PGothic" charset="0"/>
                <a:cs typeface="+mn-cs"/>
              </a:rPr>
              <a:t>Primary end point</a:t>
            </a:r>
            <a:r>
              <a:rPr kumimoji="0" lang="en-US" sz="1600" b="0" i="0" u="none" strike="noStrike" kern="1200" cap="none" spc="0" normalizeH="0" baseline="0" noProof="0" dirty="0">
                <a:ln>
                  <a:noFill/>
                </a:ln>
                <a:solidFill>
                  <a:prstClr val="black"/>
                </a:solidFill>
                <a:effectLst/>
                <a:uLnTx/>
                <a:uFillTx/>
                <a:latin typeface="Arial" panose="020B0604020202020204"/>
                <a:ea typeface="MS PGothic" charset="0"/>
                <a:cs typeface="+mn-cs"/>
              </a:rPr>
              <a:t>: PF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panose="020B0604020202020204"/>
                <a:ea typeface="MS PGothic" charset="0"/>
                <a:cs typeface="+mn-cs"/>
              </a:rPr>
              <a:t>Secondary end points: </a:t>
            </a:r>
            <a:r>
              <a:rPr kumimoji="0" lang="en-US" altLang="en-US" sz="1600" b="0" i="0" u="none" strike="noStrike" kern="0" cap="none" spc="0" normalizeH="0" baseline="0" noProof="0" dirty="0">
                <a:ln>
                  <a:noFill/>
                </a:ln>
                <a:solidFill>
                  <a:prstClr val="black"/>
                </a:solidFill>
                <a:effectLst/>
                <a:uLnTx/>
                <a:uFillTx/>
                <a:latin typeface="Arial" panose="020B0604020202020204"/>
                <a:ea typeface="MS PGothic" charset="0"/>
                <a:cs typeface="+mn-cs"/>
              </a:rPr>
              <a:t>OS, ORR, safety, QOL</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rial" panose="020B0604020202020204"/>
              <a:ea typeface="MS PGothic" charset="0"/>
              <a:cs typeface="+mn-cs"/>
            </a:endParaRPr>
          </a:p>
        </p:txBody>
      </p:sp>
    </p:spTree>
    <p:extLst>
      <p:ext uri="{BB962C8B-B14F-4D97-AF65-F5344CB8AC3E}">
        <p14:creationId xmlns:p14="http://schemas.microsoft.com/office/powerpoint/2010/main" val="1588515587"/>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86ADDD-0821-4FCB-89C7-5BDD3937DC3B}"/>
              </a:ext>
            </a:extLst>
          </p:cNvPr>
          <p:cNvSpPr>
            <a:spLocks noGrp="1"/>
          </p:cNvSpPr>
          <p:nvPr>
            <p:ph type="title"/>
          </p:nvPr>
        </p:nvSpPr>
        <p:spPr/>
        <p:txBody>
          <a:bodyPr/>
          <a:lstStyle/>
          <a:p>
            <a:r>
              <a:rPr lang="en-US" sz="2800" dirty="0">
                <a:latin typeface="+mn-lt"/>
              </a:rPr>
              <a:t>Evaluating Targeted Therapy in an </a:t>
            </a:r>
            <a:br>
              <a:rPr lang="en-US" sz="2800" dirty="0">
                <a:latin typeface="+mn-lt"/>
              </a:rPr>
            </a:br>
            <a:r>
              <a:rPr lang="en-US" sz="2800" dirty="0">
                <a:latin typeface="+mn-lt"/>
              </a:rPr>
              <a:t>Uncommon Cancer: Approaches</a:t>
            </a:r>
            <a:endParaRPr lang="en-GB" dirty="0">
              <a:latin typeface="+mn-lt"/>
            </a:endParaRPr>
          </a:p>
        </p:txBody>
      </p:sp>
      <p:sp>
        <p:nvSpPr>
          <p:cNvPr id="4" name="Text Placeholder 3">
            <a:extLst>
              <a:ext uri="{FF2B5EF4-FFF2-40B4-BE49-F238E27FC236}">
                <a16:creationId xmlns:a16="http://schemas.microsoft.com/office/drawing/2014/main" id="{C7449E38-7799-45BB-A56B-4829F4EAE22B}"/>
              </a:ext>
            </a:extLst>
          </p:cNvPr>
          <p:cNvSpPr>
            <a:spLocks noGrp="1"/>
          </p:cNvSpPr>
          <p:nvPr>
            <p:ph type="body" sz="quarter" idx="10"/>
          </p:nvPr>
        </p:nvSpPr>
        <p:spPr>
          <a:xfrm>
            <a:off x="609600" y="5984529"/>
            <a:ext cx="10972800" cy="505723"/>
          </a:xfrm>
        </p:spPr>
        <p:txBody>
          <a:bodyPr/>
          <a:lstStyle/>
          <a:p>
            <a:r>
              <a:rPr lang="en-US" dirty="0"/>
              <a:t>ABC10, ABC transporter 10; BRAF, v-raf murine sarcoma viral oncogene homolog B; FGFR2, fibroblast growth factor receptor 2; HER2, human epidermal growth factor 2; </a:t>
            </a:r>
            <a:br>
              <a:rPr lang="en-US" dirty="0"/>
            </a:br>
            <a:r>
              <a:rPr lang="en-US" dirty="0"/>
              <a:t>IDH, isocitrate dehydrogenase; </a:t>
            </a:r>
            <a:r>
              <a:rPr lang="it-IT" dirty="0"/>
              <a:t>MSI, microsatellite instability; NTRK, neurotrophic tyrosine receptor kinase; </a:t>
            </a:r>
            <a:r>
              <a:rPr lang="en-GB" dirty="0"/>
              <a:t>RET, rearranged during transfection</a:t>
            </a:r>
            <a:r>
              <a:rPr lang="en-US" dirty="0"/>
              <a:t>.</a:t>
            </a:r>
            <a:br>
              <a:rPr lang="it-IT" dirty="0"/>
            </a:br>
            <a:r>
              <a:rPr lang="en-GB" dirty="0"/>
              <a:t>Valle JW, et al. Cancer Discov 2017;7(9):943–962.</a:t>
            </a:r>
          </a:p>
          <a:p>
            <a:endParaRPr lang="en-GB" dirty="0"/>
          </a:p>
        </p:txBody>
      </p:sp>
      <p:grpSp>
        <p:nvGrpSpPr>
          <p:cNvPr id="28" name="Group 27">
            <a:extLst>
              <a:ext uri="{FF2B5EF4-FFF2-40B4-BE49-F238E27FC236}">
                <a16:creationId xmlns:a16="http://schemas.microsoft.com/office/drawing/2014/main" id="{90F3D2D5-18DC-44FB-9049-A4528B28D876}"/>
              </a:ext>
            </a:extLst>
          </p:cNvPr>
          <p:cNvGrpSpPr/>
          <p:nvPr/>
        </p:nvGrpSpPr>
        <p:grpSpPr>
          <a:xfrm>
            <a:off x="8992052" y="1298078"/>
            <a:ext cx="3177855" cy="3979083"/>
            <a:chOff x="8609369" y="1421366"/>
            <a:chExt cx="3177855" cy="3979083"/>
          </a:xfrm>
        </p:grpSpPr>
        <p:pic>
          <p:nvPicPr>
            <p:cNvPr id="12" name="Picture 11">
              <a:extLst>
                <a:ext uri="{FF2B5EF4-FFF2-40B4-BE49-F238E27FC236}">
                  <a16:creationId xmlns:a16="http://schemas.microsoft.com/office/drawing/2014/main" id="{801630B0-47E4-4B65-BF04-AB116358E540}"/>
                </a:ext>
              </a:extLst>
            </p:cNvPr>
            <p:cNvPicPr>
              <a:picLocks noChangeAspect="1"/>
            </p:cNvPicPr>
            <p:nvPr/>
          </p:nvPicPr>
          <p:blipFill>
            <a:blip r:embed="rId3" cstate="email">
              <a:extLst>
                <a:ext uri="{BEBA8EAE-BF5A-486C-A8C5-ECC9F3942E4B}">
                  <a14:imgProps xmlns:a14="http://schemas.microsoft.com/office/drawing/2010/main">
                    <a14:imgLayer r:embed="rId4">
                      <a14:imgEffect>
                        <a14:saturation sat="33000"/>
                      </a14:imgEffect>
                    </a14:imgLayer>
                  </a14:imgProps>
                </a:ext>
                <a:ext uri="{28A0092B-C50C-407E-A947-70E740481C1C}">
                  <a14:useLocalDpi xmlns:a14="http://schemas.microsoft.com/office/drawing/2010/main"/>
                </a:ext>
              </a:extLst>
            </a:blip>
            <a:stretch>
              <a:fillRect/>
            </a:stretch>
          </p:blipFill>
          <p:spPr>
            <a:xfrm rot="1452218">
              <a:off x="9218149" y="2604882"/>
              <a:ext cx="1584819" cy="1884858"/>
            </a:xfrm>
            <a:prstGeom prst="rect">
              <a:avLst/>
            </a:prstGeom>
          </p:spPr>
        </p:pic>
        <p:sp>
          <p:nvSpPr>
            <p:cNvPr id="13" name="Arrow: Right 12">
              <a:extLst>
                <a:ext uri="{FF2B5EF4-FFF2-40B4-BE49-F238E27FC236}">
                  <a16:creationId xmlns:a16="http://schemas.microsoft.com/office/drawing/2014/main" id="{8D7EA8C8-FCBB-413E-BBB6-A95470CA6190}"/>
                </a:ext>
              </a:extLst>
            </p:cNvPr>
            <p:cNvSpPr/>
            <p:nvPr/>
          </p:nvSpPr>
          <p:spPr>
            <a:xfrm rot="5400000">
              <a:off x="9730966" y="4601250"/>
              <a:ext cx="551632" cy="301840"/>
            </a:xfrm>
            <a:prstGeom prst="rightArrow">
              <a:avLst/>
            </a:prstGeom>
            <a:solidFill>
              <a:srgbClr val="710135"/>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News Gothic MT" panose="020B0503020103020203" pitchFamily="34" charset="0"/>
                <a:ea typeface="MS PGothic" charset="0"/>
                <a:cs typeface="+mn-cs"/>
              </a:endParaRPr>
            </a:p>
          </p:txBody>
        </p:sp>
        <p:sp>
          <p:nvSpPr>
            <p:cNvPr id="14" name="TextBox 13">
              <a:extLst>
                <a:ext uri="{FF2B5EF4-FFF2-40B4-BE49-F238E27FC236}">
                  <a16:creationId xmlns:a16="http://schemas.microsoft.com/office/drawing/2014/main" id="{C2D418A8-0FD4-4D51-9B08-B7F9D6E0E18B}"/>
                </a:ext>
              </a:extLst>
            </p:cNvPr>
            <p:cNvSpPr txBox="1"/>
            <p:nvPr/>
          </p:nvSpPr>
          <p:spPr>
            <a:xfrm>
              <a:off x="9562299" y="5061895"/>
              <a:ext cx="86914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panose="020B0604020202020204"/>
                  <a:ea typeface="MS PGothic" charset="0"/>
                  <a:cs typeface="+mn-cs"/>
                </a:rPr>
                <a:t>ABC10</a:t>
              </a:r>
            </a:p>
          </p:txBody>
        </p:sp>
        <p:sp>
          <p:nvSpPr>
            <p:cNvPr id="15" name="Rectangle 14">
              <a:extLst>
                <a:ext uri="{FF2B5EF4-FFF2-40B4-BE49-F238E27FC236}">
                  <a16:creationId xmlns:a16="http://schemas.microsoft.com/office/drawing/2014/main" id="{EED11401-54D7-493F-BC49-2010AB9CEAAD}"/>
                </a:ext>
              </a:extLst>
            </p:cNvPr>
            <p:cNvSpPr/>
            <p:nvPr/>
          </p:nvSpPr>
          <p:spPr>
            <a:xfrm>
              <a:off x="8609369" y="1421366"/>
              <a:ext cx="3177855" cy="533943"/>
            </a:xfrm>
            <a:prstGeom prst="rect">
              <a:avLst/>
            </a:prstGeom>
            <a:noFill/>
            <a:ln w="25400" cap="flat" cmpd="sng" algn="ctr">
              <a:noFill/>
              <a:prstDash val="solid"/>
            </a:ln>
            <a:effectLst/>
          </p:spPr>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prstClr val="black"/>
                  </a:solidFill>
                  <a:effectLst/>
                  <a:uLnTx/>
                  <a:uFillTx/>
                  <a:latin typeface="Arial" panose="020B0604020202020204"/>
                  <a:ea typeface="MS PGothic" charset="0"/>
                  <a:cs typeface="+mn-cs"/>
                </a:rPr>
                <a:t>Biliary Umbrella Trial With Target-Specific Arms</a:t>
              </a:r>
            </a:p>
          </p:txBody>
        </p:sp>
        <p:sp>
          <p:nvSpPr>
            <p:cNvPr id="16" name="TextBox 15">
              <a:extLst>
                <a:ext uri="{FF2B5EF4-FFF2-40B4-BE49-F238E27FC236}">
                  <a16:creationId xmlns:a16="http://schemas.microsoft.com/office/drawing/2014/main" id="{B722EE41-58FD-4797-BD6C-849635BE0D08}"/>
                </a:ext>
              </a:extLst>
            </p:cNvPr>
            <p:cNvSpPr txBox="1"/>
            <p:nvPr/>
          </p:nvSpPr>
          <p:spPr>
            <a:xfrm rot="17568609">
              <a:off x="9176509" y="2893763"/>
              <a:ext cx="731290"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News Gothic MT" panose="020B0503020103020203" pitchFamily="34" charset="0"/>
                  <a:ea typeface="MS PGothic" charset="0"/>
                  <a:cs typeface="+mn-cs"/>
                </a:rPr>
                <a:t>IDH1</a:t>
              </a:r>
            </a:p>
          </p:txBody>
        </p:sp>
        <p:sp>
          <p:nvSpPr>
            <p:cNvPr id="17" name="TextBox 16">
              <a:extLst>
                <a:ext uri="{FF2B5EF4-FFF2-40B4-BE49-F238E27FC236}">
                  <a16:creationId xmlns:a16="http://schemas.microsoft.com/office/drawing/2014/main" id="{670FF921-B0C0-4FE7-A946-86657303EB75}"/>
                </a:ext>
              </a:extLst>
            </p:cNvPr>
            <p:cNvSpPr txBox="1"/>
            <p:nvPr/>
          </p:nvSpPr>
          <p:spPr>
            <a:xfrm rot="16985016">
              <a:off x="9522298" y="2924878"/>
              <a:ext cx="745910"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News Gothic MT" panose="020B0503020103020203" pitchFamily="34" charset="0"/>
                  <a:ea typeface="MS PGothic" charset="0"/>
                  <a:cs typeface="+mn-cs"/>
                </a:rPr>
                <a:t>FGF2</a:t>
              </a:r>
            </a:p>
          </p:txBody>
        </p:sp>
        <p:sp>
          <p:nvSpPr>
            <p:cNvPr id="18" name="TextBox 17">
              <a:extLst>
                <a:ext uri="{FF2B5EF4-FFF2-40B4-BE49-F238E27FC236}">
                  <a16:creationId xmlns:a16="http://schemas.microsoft.com/office/drawing/2014/main" id="{4D83DB42-184B-44C7-9457-84CC0006772C}"/>
                </a:ext>
              </a:extLst>
            </p:cNvPr>
            <p:cNvSpPr txBox="1"/>
            <p:nvPr/>
          </p:nvSpPr>
          <p:spPr>
            <a:xfrm rot="15309312">
              <a:off x="9888861" y="2913843"/>
              <a:ext cx="772969"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News Gothic MT" panose="020B0503020103020203" pitchFamily="34" charset="0"/>
                  <a:ea typeface="MS PGothic" charset="0"/>
                  <a:cs typeface="+mn-cs"/>
                </a:rPr>
                <a:t>BRAF</a:t>
              </a:r>
            </a:p>
          </p:txBody>
        </p:sp>
        <p:sp>
          <p:nvSpPr>
            <p:cNvPr id="19" name="TextBox 18">
              <a:extLst>
                <a:ext uri="{FF2B5EF4-FFF2-40B4-BE49-F238E27FC236}">
                  <a16:creationId xmlns:a16="http://schemas.microsoft.com/office/drawing/2014/main" id="{F0A453B1-CDB1-4304-BCDF-DEE455A0E3DC}"/>
                </a:ext>
              </a:extLst>
            </p:cNvPr>
            <p:cNvSpPr txBox="1"/>
            <p:nvPr/>
          </p:nvSpPr>
          <p:spPr>
            <a:xfrm rot="3250531">
              <a:off x="10296447" y="2887494"/>
              <a:ext cx="724878"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News Gothic MT" panose="020B0503020103020203" pitchFamily="34" charset="0"/>
                  <a:ea typeface="MS PGothic" charset="0"/>
                  <a:cs typeface="+mn-cs"/>
                </a:rPr>
                <a:t>HER2</a:t>
              </a:r>
            </a:p>
          </p:txBody>
        </p:sp>
      </p:grpSp>
      <p:pic>
        <p:nvPicPr>
          <p:cNvPr id="5" name="Picture 4">
            <a:extLst>
              <a:ext uri="{FF2B5EF4-FFF2-40B4-BE49-F238E27FC236}">
                <a16:creationId xmlns:a16="http://schemas.microsoft.com/office/drawing/2014/main" id="{539CD32C-11C5-4ECC-B3C1-FBA549630CF7}"/>
              </a:ext>
            </a:extLst>
          </p:cNvPr>
          <p:cNvPicPr>
            <a:picLocks noChangeAspect="1"/>
          </p:cNvPicPr>
          <p:nvPr/>
        </p:nvPicPr>
        <p:blipFill rotWithShape="1">
          <a:blip r:embed="rId5" cstate="email">
            <a:duotone>
              <a:schemeClr val="accent1">
                <a:shade val="45000"/>
                <a:satMod val="135000"/>
              </a:schemeClr>
              <a:prstClr val="white"/>
            </a:duotone>
            <a:extLst>
              <a:ext uri="{28A0092B-C50C-407E-A947-70E740481C1C}">
                <a14:useLocalDpi xmlns:a14="http://schemas.microsoft.com/office/drawing/2010/main"/>
              </a:ext>
            </a:extLst>
          </a:blip>
          <a:srcRect/>
          <a:stretch/>
        </p:blipFill>
        <p:spPr>
          <a:xfrm>
            <a:off x="1441647" y="2071720"/>
            <a:ext cx="2174393" cy="2114758"/>
          </a:xfrm>
          <a:prstGeom prst="rect">
            <a:avLst/>
          </a:prstGeom>
        </p:spPr>
      </p:pic>
      <p:sp>
        <p:nvSpPr>
          <p:cNvPr id="6" name="Arrow: Right 5">
            <a:extLst>
              <a:ext uri="{FF2B5EF4-FFF2-40B4-BE49-F238E27FC236}">
                <a16:creationId xmlns:a16="http://schemas.microsoft.com/office/drawing/2014/main" id="{58B0EC84-914E-419D-B534-AEBD5580693C}"/>
              </a:ext>
            </a:extLst>
          </p:cNvPr>
          <p:cNvSpPr/>
          <p:nvPr/>
        </p:nvSpPr>
        <p:spPr>
          <a:xfrm rot="7870035">
            <a:off x="1474435" y="4364142"/>
            <a:ext cx="852256" cy="301841"/>
          </a:xfrm>
          <a:prstGeom prst="rightArrow">
            <a:avLst/>
          </a:prstGeom>
          <a:solidFill>
            <a:srgbClr val="710135"/>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News Gothic MT" panose="020B0503020103020203" pitchFamily="34" charset="0"/>
              <a:ea typeface="MS PGothic" charset="0"/>
              <a:cs typeface="+mn-cs"/>
            </a:endParaRPr>
          </a:p>
        </p:txBody>
      </p:sp>
      <p:sp>
        <p:nvSpPr>
          <p:cNvPr id="7" name="Arrow: Right 6">
            <a:extLst>
              <a:ext uri="{FF2B5EF4-FFF2-40B4-BE49-F238E27FC236}">
                <a16:creationId xmlns:a16="http://schemas.microsoft.com/office/drawing/2014/main" id="{57568DC7-BD59-45DF-BDEE-6E07566A6577}"/>
              </a:ext>
            </a:extLst>
          </p:cNvPr>
          <p:cNvSpPr/>
          <p:nvPr/>
        </p:nvSpPr>
        <p:spPr>
          <a:xfrm rot="2700000">
            <a:off x="2950280" y="4352047"/>
            <a:ext cx="852256" cy="301841"/>
          </a:xfrm>
          <a:prstGeom prst="rightArrow">
            <a:avLst/>
          </a:prstGeom>
          <a:solidFill>
            <a:srgbClr val="710135"/>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News Gothic MT" panose="020B0503020103020203" pitchFamily="34" charset="0"/>
              <a:ea typeface="MS PGothic" charset="0"/>
              <a:cs typeface="+mn-cs"/>
            </a:endParaRPr>
          </a:p>
        </p:txBody>
      </p:sp>
      <p:sp>
        <p:nvSpPr>
          <p:cNvPr id="8" name="Rectangle 7">
            <a:extLst>
              <a:ext uri="{FF2B5EF4-FFF2-40B4-BE49-F238E27FC236}">
                <a16:creationId xmlns:a16="http://schemas.microsoft.com/office/drawing/2014/main" id="{86CA47EA-A761-4FF8-AB77-DBCF79EC2304}"/>
              </a:ext>
            </a:extLst>
          </p:cNvPr>
          <p:cNvSpPr/>
          <p:nvPr/>
        </p:nvSpPr>
        <p:spPr>
          <a:xfrm>
            <a:off x="952483" y="1367463"/>
            <a:ext cx="3587374" cy="533943"/>
          </a:xfrm>
          <a:prstGeom prst="rect">
            <a:avLst/>
          </a:prstGeom>
          <a:noFill/>
          <a:ln w="25400" cap="flat" cmpd="sng" algn="ctr">
            <a:noFill/>
            <a:prstDash val="solid"/>
          </a:ln>
          <a:effectLst/>
        </p:spPr>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prstClr val="black"/>
                </a:solidFill>
                <a:effectLst/>
                <a:uLnTx/>
                <a:uFillTx/>
                <a:latin typeface="Arial" panose="020B0604020202020204"/>
                <a:ea typeface="MS PGothic" charset="0"/>
                <a:cs typeface="+mn-cs"/>
              </a:rPr>
              <a:t>Target-Specific Cholangiocarcinoma Trial</a:t>
            </a:r>
          </a:p>
        </p:txBody>
      </p:sp>
      <p:sp>
        <p:nvSpPr>
          <p:cNvPr id="10" name="TextBox 9">
            <a:extLst>
              <a:ext uri="{FF2B5EF4-FFF2-40B4-BE49-F238E27FC236}">
                <a16:creationId xmlns:a16="http://schemas.microsoft.com/office/drawing/2014/main" id="{25593A9F-FE72-49F7-9481-852DC077F724}"/>
              </a:ext>
            </a:extLst>
          </p:cNvPr>
          <p:cNvSpPr txBox="1"/>
          <p:nvPr/>
        </p:nvSpPr>
        <p:spPr>
          <a:xfrm>
            <a:off x="2893436" y="4938607"/>
            <a:ext cx="1171731" cy="83099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panose="020B0604020202020204"/>
                <a:ea typeface="MS PGothic" charset="0"/>
                <a:cs typeface="+mn-cs"/>
              </a:rPr>
              <a:t>IDH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panose="020B0604020202020204"/>
                <a:ea typeface="MS PGothic" charset="0"/>
                <a:cs typeface="+mn-cs"/>
              </a:rPr>
              <a:t>mutation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a:ea typeface="MS PGothic" charset="0"/>
                <a:cs typeface="+mn-cs"/>
              </a:rPr>
              <a:t>15%–20%</a:t>
            </a:r>
          </a:p>
        </p:txBody>
      </p:sp>
      <p:sp>
        <p:nvSpPr>
          <p:cNvPr id="11" name="TextBox 10">
            <a:extLst>
              <a:ext uri="{FF2B5EF4-FFF2-40B4-BE49-F238E27FC236}">
                <a16:creationId xmlns:a16="http://schemas.microsoft.com/office/drawing/2014/main" id="{F0A4213D-7B6D-4149-86E4-E1A8AA31710B}"/>
              </a:ext>
            </a:extLst>
          </p:cNvPr>
          <p:cNvSpPr txBox="1"/>
          <p:nvPr/>
        </p:nvSpPr>
        <p:spPr>
          <a:xfrm>
            <a:off x="1229370" y="4938607"/>
            <a:ext cx="1119217" cy="83099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panose="020B0604020202020204"/>
                <a:ea typeface="MS PGothic" charset="0"/>
                <a:cs typeface="+mn-cs"/>
              </a:rPr>
              <a:t>FGFR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panose="020B0604020202020204"/>
                <a:ea typeface="MS PGothic" charset="0"/>
                <a:cs typeface="+mn-cs"/>
              </a:rPr>
              <a:t>fusion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a:ea typeface="MS PGothic" charset="0"/>
                <a:cs typeface="+mn-cs"/>
              </a:rPr>
              <a:t>10%–15%</a:t>
            </a:r>
          </a:p>
        </p:txBody>
      </p:sp>
      <p:sp>
        <p:nvSpPr>
          <p:cNvPr id="21" name="Rectangle 20">
            <a:extLst>
              <a:ext uri="{FF2B5EF4-FFF2-40B4-BE49-F238E27FC236}">
                <a16:creationId xmlns:a16="http://schemas.microsoft.com/office/drawing/2014/main" id="{AAF70077-5199-48E5-AA4A-07DF038D84D6}"/>
              </a:ext>
            </a:extLst>
          </p:cNvPr>
          <p:cNvSpPr/>
          <p:nvPr/>
        </p:nvSpPr>
        <p:spPr>
          <a:xfrm>
            <a:off x="4490129" y="1282467"/>
            <a:ext cx="4628635" cy="4594599"/>
          </a:xfrm>
          <a:prstGeom prst="rect">
            <a:avLst/>
          </a:prstGeom>
          <a:noFill/>
          <a:ln w="28575" cap="flat" cmpd="sng" algn="ctr">
            <a:solidFill>
              <a:srgbClr val="E29E2B"/>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S PGothic" charset="0"/>
              <a:cs typeface="+mn-cs"/>
            </a:endParaRPr>
          </a:p>
        </p:txBody>
      </p:sp>
      <p:grpSp>
        <p:nvGrpSpPr>
          <p:cNvPr id="27" name="Group 26">
            <a:extLst>
              <a:ext uri="{FF2B5EF4-FFF2-40B4-BE49-F238E27FC236}">
                <a16:creationId xmlns:a16="http://schemas.microsoft.com/office/drawing/2014/main" id="{B3AA91C3-0704-4FB0-B16B-A15930B5358F}"/>
              </a:ext>
            </a:extLst>
          </p:cNvPr>
          <p:cNvGrpSpPr/>
          <p:nvPr/>
        </p:nvGrpSpPr>
        <p:grpSpPr>
          <a:xfrm>
            <a:off x="4518332" y="1367463"/>
            <a:ext cx="3786382" cy="4325196"/>
            <a:chOff x="4590918" y="1490751"/>
            <a:chExt cx="3786382" cy="4325196"/>
          </a:xfrm>
        </p:grpSpPr>
        <p:sp>
          <p:nvSpPr>
            <p:cNvPr id="9" name="Rectangle 8">
              <a:extLst>
                <a:ext uri="{FF2B5EF4-FFF2-40B4-BE49-F238E27FC236}">
                  <a16:creationId xmlns:a16="http://schemas.microsoft.com/office/drawing/2014/main" id="{376796B4-668A-47BC-9DAE-4A2927D39739}"/>
                </a:ext>
              </a:extLst>
            </p:cNvPr>
            <p:cNvSpPr/>
            <p:nvPr/>
          </p:nvSpPr>
          <p:spPr>
            <a:xfrm>
              <a:off x="4862737" y="1490751"/>
              <a:ext cx="3514563" cy="533943"/>
            </a:xfrm>
            <a:prstGeom prst="rect">
              <a:avLst/>
            </a:prstGeom>
            <a:noFill/>
            <a:ln w="25400" cap="flat" cmpd="sng" algn="ctr">
              <a:noFill/>
              <a:prstDash val="solid"/>
            </a:ln>
            <a:effectLst/>
          </p:spPr>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prstClr val="black"/>
                  </a:solidFill>
                  <a:effectLst/>
                  <a:uLnTx/>
                  <a:uFillTx/>
                  <a:latin typeface="Arial" panose="020B0604020202020204"/>
                  <a:ea typeface="MS PGothic" charset="0"/>
                  <a:cs typeface="+mn-cs"/>
                </a:rPr>
                <a:t>Target-Specific All Comer Basket Trial</a:t>
              </a:r>
            </a:p>
          </p:txBody>
        </p:sp>
        <p:pic>
          <p:nvPicPr>
            <p:cNvPr id="20" name="Picture 19">
              <a:extLst>
                <a:ext uri="{FF2B5EF4-FFF2-40B4-BE49-F238E27FC236}">
                  <a16:creationId xmlns:a16="http://schemas.microsoft.com/office/drawing/2014/main" id="{C034AE45-6C17-45B7-BCE3-0D71B79EABD9}"/>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5614014" y="2443051"/>
              <a:ext cx="2036391" cy="1863081"/>
            </a:xfrm>
            <a:prstGeom prst="rect">
              <a:avLst/>
            </a:prstGeom>
          </p:spPr>
        </p:pic>
        <p:sp>
          <p:nvSpPr>
            <p:cNvPr id="22" name="Arrow: Right 21">
              <a:extLst>
                <a:ext uri="{FF2B5EF4-FFF2-40B4-BE49-F238E27FC236}">
                  <a16:creationId xmlns:a16="http://schemas.microsoft.com/office/drawing/2014/main" id="{D3CC121B-3C5D-485D-BFA6-0D96BB1AA55B}"/>
                </a:ext>
              </a:extLst>
            </p:cNvPr>
            <p:cNvSpPr/>
            <p:nvPr/>
          </p:nvSpPr>
          <p:spPr>
            <a:xfrm rot="7870035">
              <a:off x="5126566" y="3941960"/>
              <a:ext cx="852256" cy="301841"/>
            </a:xfrm>
            <a:prstGeom prst="rightArrow">
              <a:avLst/>
            </a:prstGeom>
            <a:solidFill>
              <a:srgbClr val="710135"/>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News Gothic MT" panose="020B0503020103020203" pitchFamily="34" charset="0"/>
                <a:ea typeface="MS PGothic" charset="0"/>
                <a:cs typeface="+mn-cs"/>
              </a:endParaRPr>
            </a:p>
          </p:txBody>
        </p:sp>
        <p:sp>
          <p:nvSpPr>
            <p:cNvPr id="23" name="Arrow: Right 22">
              <a:extLst>
                <a:ext uri="{FF2B5EF4-FFF2-40B4-BE49-F238E27FC236}">
                  <a16:creationId xmlns:a16="http://schemas.microsoft.com/office/drawing/2014/main" id="{57E01C00-DD55-4F8F-B2C9-4E55C3E41E6E}"/>
                </a:ext>
              </a:extLst>
            </p:cNvPr>
            <p:cNvSpPr/>
            <p:nvPr/>
          </p:nvSpPr>
          <p:spPr>
            <a:xfrm rot="2117969">
              <a:off x="7395028" y="3874451"/>
              <a:ext cx="852256" cy="301841"/>
            </a:xfrm>
            <a:prstGeom prst="rightArrow">
              <a:avLst/>
            </a:prstGeom>
            <a:solidFill>
              <a:srgbClr val="710135"/>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News Gothic MT" panose="020B0503020103020203" pitchFamily="34" charset="0"/>
                <a:ea typeface="MS PGothic" charset="0"/>
                <a:cs typeface="+mn-cs"/>
              </a:endParaRPr>
            </a:p>
          </p:txBody>
        </p:sp>
        <p:sp>
          <p:nvSpPr>
            <p:cNvPr id="24" name="TextBox 23">
              <a:extLst>
                <a:ext uri="{FF2B5EF4-FFF2-40B4-BE49-F238E27FC236}">
                  <a16:creationId xmlns:a16="http://schemas.microsoft.com/office/drawing/2014/main" id="{89EF8AC1-D480-44C2-9F34-EF4DEB9B7686}"/>
                </a:ext>
              </a:extLst>
            </p:cNvPr>
            <p:cNvSpPr txBox="1"/>
            <p:nvPr/>
          </p:nvSpPr>
          <p:spPr>
            <a:xfrm>
              <a:off x="4590918" y="4400175"/>
              <a:ext cx="1441420" cy="83099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panose="020B0604020202020204"/>
                  <a:ea typeface="MS PGothic" charset="0"/>
                  <a:cs typeface="+mn-cs"/>
                </a:rPr>
                <a:t>BRAF V600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panose="020B0604020202020204"/>
                  <a:ea typeface="MS PGothic" charset="0"/>
                  <a:cs typeface="+mn-cs"/>
                </a:rPr>
                <a:t>mutation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a:ea typeface="MS PGothic" charset="0"/>
                  <a:cs typeface="+mn-cs"/>
                </a:rPr>
                <a:t>4%–5%</a:t>
              </a:r>
            </a:p>
          </p:txBody>
        </p:sp>
        <p:sp>
          <p:nvSpPr>
            <p:cNvPr id="25" name="TextBox 24">
              <a:extLst>
                <a:ext uri="{FF2B5EF4-FFF2-40B4-BE49-F238E27FC236}">
                  <a16:creationId xmlns:a16="http://schemas.microsoft.com/office/drawing/2014/main" id="{C7340D65-7F11-415B-8831-1925683F7A41}"/>
                </a:ext>
              </a:extLst>
            </p:cNvPr>
            <p:cNvSpPr txBox="1"/>
            <p:nvPr/>
          </p:nvSpPr>
          <p:spPr>
            <a:xfrm>
              <a:off x="6257120" y="5231172"/>
              <a:ext cx="1732685"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panose="020B0604020202020204"/>
                  <a:ea typeface="MS PGothic" charset="0"/>
                  <a:cs typeface="+mn-cs"/>
                </a:rPr>
                <a:t>MSI-high</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a:ea typeface="MS PGothic" charset="0"/>
                  <a:cs typeface="+mn-cs"/>
                </a:rPr>
                <a:t>1%–2%</a:t>
              </a:r>
            </a:p>
          </p:txBody>
        </p:sp>
      </p:grpSp>
      <p:sp>
        <p:nvSpPr>
          <p:cNvPr id="29" name="TextBox 28">
            <a:extLst>
              <a:ext uri="{FF2B5EF4-FFF2-40B4-BE49-F238E27FC236}">
                <a16:creationId xmlns:a16="http://schemas.microsoft.com/office/drawing/2014/main" id="{0BFBC4DE-97CF-4DA2-9FEA-781F219C4FD2}"/>
              </a:ext>
            </a:extLst>
          </p:cNvPr>
          <p:cNvSpPr txBox="1"/>
          <p:nvPr/>
        </p:nvSpPr>
        <p:spPr>
          <a:xfrm>
            <a:off x="7621076" y="4194032"/>
            <a:ext cx="1732685"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panose="020B0604020202020204"/>
                <a:ea typeface="MS PGothic" charset="0"/>
                <a:cs typeface="+mn-cs"/>
              </a:rPr>
              <a:t>RET-fus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a:ea typeface="MS PGothic" charset="0"/>
                <a:cs typeface="+mn-cs"/>
              </a:rPr>
              <a:t>&lt;1%</a:t>
            </a:r>
          </a:p>
        </p:txBody>
      </p:sp>
      <p:sp>
        <p:nvSpPr>
          <p:cNvPr id="30" name="TextBox 29">
            <a:extLst>
              <a:ext uri="{FF2B5EF4-FFF2-40B4-BE49-F238E27FC236}">
                <a16:creationId xmlns:a16="http://schemas.microsoft.com/office/drawing/2014/main" id="{EB3F3735-F966-4841-9DBE-F727701478EB}"/>
              </a:ext>
            </a:extLst>
          </p:cNvPr>
          <p:cNvSpPr txBox="1"/>
          <p:nvPr/>
        </p:nvSpPr>
        <p:spPr>
          <a:xfrm>
            <a:off x="4982333" y="5014741"/>
            <a:ext cx="1732685"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panose="020B0604020202020204"/>
                <a:ea typeface="MS PGothic" charset="0"/>
                <a:cs typeface="+mn-cs"/>
              </a:rPr>
              <a:t>HER2 amplific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a:ea typeface="MS PGothic" charset="0"/>
                <a:cs typeface="+mn-cs"/>
              </a:rPr>
              <a:t>5-15%</a:t>
            </a:r>
          </a:p>
        </p:txBody>
      </p:sp>
      <p:sp>
        <p:nvSpPr>
          <p:cNvPr id="31" name="TextBox 30">
            <a:extLst>
              <a:ext uri="{FF2B5EF4-FFF2-40B4-BE49-F238E27FC236}">
                <a16:creationId xmlns:a16="http://schemas.microsoft.com/office/drawing/2014/main" id="{D1C2A129-81EB-402D-9266-BAFA0C8E309A}"/>
              </a:ext>
            </a:extLst>
          </p:cNvPr>
          <p:cNvSpPr txBox="1"/>
          <p:nvPr/>
        </p:nvSpPr>
        <p:spPr>
          <a:xfrm>
            <a:off x="7438371" y="4802149"/>
            <a:ext cx="1732685"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panose="020B0604020202020204"/>
                <a:ea typeface="MS PGothic" charset="0"/>
                <a:cs typeface="+mn-cs"/>
              </a:rPr>
              <a:t>NTRK-fus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a:ea typeface="MS PGothic" charset="0"/>
                <a:cs typeface="+mn-cs"/>
              </a:rPr>
              <a:t>&lt;1%</a:t>
            </a:r>
          </a:p>
        </p:txBody>
      </p:sp>
      <p:sp>
        <p:nvSpPr>
          <p:cNvPr id="32" name="Arrow: Right 31">
            <a:extLst>
              <a:ext uri="{FF2B5EF4-FFF2-40B4-BE49-F238E27FC236}">
                <a16:creationId xmlns:a16="http://schemas.microsoft.com/office/drawing/2014/main" id="{B40E9E0F-BA95-4D13-837D-689BE309476F}"/>
              </a:ext>
            </a:extLst>
          </p:cNvPr>
          <p:cNvSpPr/>
          <p:nvPr/>
        </p:nvSpPr>
        <p:spPr>
          <a:xfrm rot="3212004">
            <a:off x="6965830" y="4262901"/>
            <a:ext cx="852256" cy="301841"/>
          </a:xfrm>
          <a:prstGeom prst="rightArrow">
            <a:avLst/>
          </a:prstGeom>
          <a:solidFill>
            <a:srgbClr val="710135"/>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News Gothic MT" panose="020B0503020103020203" pitchFamily="34" charset="0"/>
              <a:ea typeface="MS PGothic" charset="0"/>
              <a:cs typeface="+mn-cs"/>
            </a:endParaRPr>
          </a:p>
        </p:txBody>
      </p:sp>
      <p:sp>
        <p:nvSpPr>
          <p:cNvPr id="33" name="Arrow: Right 32">
            <a:extLst>
              <a:ext uri="{FF2B5EF4-FFF2-40B4-BE49-F238E27FC236}">
                <a16:creationId xmlns:a16="http://schemas.microsoft.com/office/drawing/2014/main" id="{7392815E-A8D0-4D0B-A56F-671C8F08716E}"/>
              </a:ext>
            </a:extLst>
          </p:cNvPr>
          <p:cNvSpPr/>
          <p:nvPr/>
        </p:nvSpPr>
        <p:spPr>
          <a:xfrm rot="5191703">
            <a:off x="6418441" y="4430747"/>
            <a:ext cx="852256" cy="301841"/>
          </a:xfrm>
          <a:prstGeom prst="rightArrow">
            <a:avLst/>
          </a:prstGeom>
          <a:solidFill>
            <a:srgbClr val="710135"/>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News Gothic MT" panose="020B0503020103020203" pitchFamily="34" charset="0"/>
              <a:ea typeface="MS PGothic" charset="0"/>
              <a:cs typeface="+mn-cs"/>
            </a:endParaRPr>
          </a:p>
        </p:txBody>
      </p:sp>
      <p:sp>
        <p:nvSpPr>
          <p:cNvPr id="34" name="Arrow: Right 33">
            <a:extLst>
              <a:ext uri="{FF2B5EF4-FFF2-40B4-BE49-F238E27FC236}">
                <a16:creationId xmlns:a16="http://schemas.microsoft.com/office/drawing/2014/main" id="{3AA1045B-E265-4CD7-85EF-CA6EFB6568CF}"/>
              </a:ext>
            </a:extLst>
          </p:cNvPr>
          <p:cNvSpPr/>
          <p:nvPr/>
        </p:nvSpPr>
        <p:spPr>
          <a:xfrm rot="6680943">
            <a:off x="5771978" y="4361744"/>
            <a:ext cx="852256" cy="301841"/>
          </a:xfrm>
          <a:prstGeom prst="rightArrow">
            <a:avLst/>
          </a:prstGeom>
          <a:solidFill>
            <a:srgbClr val="710135"/>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News Gothic MT" panose="020B0503020103020203" pitchFamily="34" charset="0"/>
              <a:ea typeface="MS PGothic" charset="0"/>
              <a:cs typeface="+mn-cs"/>
            </a:endParaRPr>
          </a:p>
        </p:txBody>
      </p:sp>
    </p:spTree>
    <p:extLst>
      <p:ext uri="{BB962C8B-B14F-4D97-AF65-F5344CB8AC3E}">
        <p14:creationId xmlns:p14="http://schemas.microsoft.com/office/powerpoint/2010/main" val="2387636413"/>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7D578D19-99FF-465A-A5E0-FBBF64A2F34A}"/>
              </a:ext>
            </a:extLst>
          </p:cNvPr>
          <p:cNvSpPr/>
          <p:nvPr/>
        </p:nvSpPr>
        <p:spPr>
          <a:xfrm>
            <a:off x="5583935" y="2939706"/>
            <a:ext cx="6128988" cy="2159069"/>
          </a:xfrm>
          <a:prstGeom prst="roundRect">
            <a:avLst>
              <a:gd name="adj" fmla="val 10669"/>
            </a:avLst>
          </a:prstGeom>
          <a:ln/>
        </p:spPr>
        <p:style>
          <a:lnRef idx="2">
            <a:schemeClr val="accent5"/>
          </a:lnRef>
          <a:fillRef idx="1">
            <a:schemeClr val="lt1"/>
          </a:fillRef>
          <a:effectRef idx="0">
            <a:schemeClr val="accent5"/>
          </a:effectRef>
          <a:fontRef idx="minor">
            <a:schemeClr val="dk1"/>
          </a:fontRef>
        </p:style>
        <p:txBody>
          <a:bodyPr rtlCol="0" anchor="ct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193209"/>
              </a:solidFill>
              <a:effectLst/>
              <a:uLnTx/>
              <a:uFillTx/>
              <a:latin typeface="Arial" panose="020B0604020202020204"/>
              <a:ea typeface="+mn-ea"/>
              <a:cs typeface="+mn-cs"/>
            </a:endParaRPr>
          </a:p>
        </p:txBody>
      </p:sp>
      <p:sp>
        <p:nvSpPr>
          <p:cNvPr id="7" name="Title 6">
            <a:extLst>
              <a:ext uri="{FF2B5EF4-FFF2-40B4-BE49-F238E27FC236}">
                <a16:creationId xmlns:a16="http://schemas.microsoft.com/office/drawing/2014/main" id="{7BBD4BA7-A544-854E-8821-CB023EDB7E6C}"/>
              </a:ext>
            </a:extLst>
          </p:cNvPr>
          <p:cNvSpPr>
            <a:spLocks noGrp="1"/>
          </p:cNvSpPr>
          <p:nvPr>
            <p:ph type="title"/>
          </p:nvPr>
        </p:nvSpPr>
        <p:spPr/>
        <p:txBody>
          <a:bodyPr>
            <a:normAutofit/>
          </a:bodyPr>
          <a:lstStyle/>
          <a:p>
            <a:r>
              <a:rPr lang="en-US" dirty="0"/>
              <a:t>Dabrafenib/Trametinib: ROAR</a:t>
            </a:r>
          </a:p>
        </p:txBody>
      </p:sp>
      <p:sp>
        <p:nvSpPr>
          <p:cNvPr id="6" name="Text Placeholder 5">
            <a:extLst>
              <a:ext uri="{FF2B5EF4-FFF2-40B4-BE49-F238E27FC236}">
                <a16:creationId xmlns:a16="http://schemas.microsoft.com/office/drawing/2014/main" id="{57CC7C62-FB51-204D-94FE-125ACD376167}"/>
              </a:ext>
            </a:extLst>
          </p:cNvPr>
          <p:cNvSpPr>
            <a:spLocks noGrp="1"/>
          </p:cNvSpPr>
          <p:nvPr>
            <p:ph idx="1"/>
          </p:nvPr>
        </p:nvSpPr>
        <p:spPr/>
        <p:txBody>
          <a:bodyPr/>
          <a:lstStyle/>
          <a:p>
            <a:pPr marL="0" indent="0">
              <a:buNone/>
            </a:pPr>
            <a:r>
              <a:rPr lang="en-US" sz="2900" dirty="0"/>
              <a:t>Phase 2 Study: BRAF V600E–Mutant Advanced Solid Tumors</a:t>
            </a:r>
          </a:p>
        </p:txBody>
      </p:sp>
      <p:sp>
        <p:nvSpPr>
          <p:cNvPr id="9" name="Text Placeholder 8">
            <a:extLst>
              <a:ext uri="{FF2B5EF4-FFF2-40B4-BE49-F238E27FC236}">
                <a16:creationId xmlns:a16="http://schemas.microsoft.com/office/drawing/2014/main" id="{AA35B0A9-9C46-7844-A782-42DD93B55D02}"/>
              </a:ext>
            </a:extLst>
          </p:cNvPr>
          <p:cNvSpPr>
            <a:spLocks noGrp="1"/>
          </p:cNvSpPr>
          <p:nvPr>
            <p:ph type="body" sz="quarter" idx="10"/>
          </p:nvPr>
        </p:nvSpPr>
        <p:spPr>
          <a:xfrm>
            <a:off x="609600" y="6011097"/>
            <a:ext cx="10972800" cy="479156"/>
          </a:xfrm>
        </p:spPr>
        <p:txBody>
          <a:bodyPr/>
          <a:lstStyle/>
          <a:p>
            <a:pPr>
              <a:spcBef>
                <a:spcPts val="0"/>
              </a:spcBef>
            </a:pPr>
            <a:r>
              <a:rPr lang="en-US" dirty="0"/>
              <a:t>BID, twice daily; BRAF, v-raf murine sarcoma viral oncogene homolog B; BTC, biliary tract cancer; BID, twice daily; DOR, duration of response; </a:t>
            </a:r>
            <a:r>
              <a:rPr lang="en-US" b="0" dirty="0"/>
              <a:t>ORR, objective response rate; OS, overall survival; PFS, progression-free </a:t>
            </a:r>
            <a:r>
              <a:rPr lang="en-US" dirty="0"/>
              <a:t>survival; QD, once daily; RECIST, Response Evaluation Criteria in Solid Tumors; WHO, World Health Organization.</a:t>
            </a:r>
          </a:p>
          <a:p>
            <a:pPr>
              <a:spcBef>
                <a:spcPts val="0"/>
              </a:spcBef>
            </a:pPr>
            <a:r>
              <a:rPr lang="en-US" dirty="0"/>
              <a:t>Wainberg ZA, et al,. </a:t>
            </a:r>
            <a:r>
              <a:rPr lang="en-GB" dirty="0"/>
              <a:t>J Clin Onc 2019 37:4(Suppl):187–187.</a:t>
            </a:r>
            <a:endParaRPr lang="en-US" dirty="0"/>
          </a:p>
        </p:txBody>
      </p:sp>
      <p:sp>
        <p:nvSpPr>
          <p:cNvPr id="40" name="AutoShape 20">
            <a:extLst>
              <a:ext uri="{FF2B5EF4-FFF2-40B4-BE49-F238E27FC236}">
                <a16:creationId xmlns:a16="http://schemas.microsoft.com/office/drawing/2014/main" id="{759A22A5-7B67-4EF4-99E1-54B14D7C97E5}"/>
              </a:ext>
            </a:extLst>
          </p:cNvPr>
          <p:cNvSpPr>
            <a:spLocks noChangeArrowheads="1"/>
          </p:cNvSpPr>
          <p:nvPr/>
        </p:nvSpPr>
        <p:spPr bwMode="auto">
          <a:xfrm>
            <a:off x="2678256" y="5534416"/>
            <a:ext cx="2414087" cy="365760"/>
          </a:xfrm>
          <a:prstGeom prst="roundRect">
            <a:avLst>
              <a:gd name="adj" fmla="val 16667"/>
            </a:avLst>
          </a:prstGeom>
          <a:ln>
            <a:headEnd/>
            <a:tailEnd/>
          </a:ln>
        </p:spPr>
        <p:style>
          <a:lnRef idx="2">
            <a:schemeClr val="accent5"/>
          </a:lnRef>
          <a:fillRef idx="1">
            <a:schemeClr val="lt1"/>
          </a:fillRef>
          <a:effectRef idx="0">
            <a:schemeClr val="accent5"/>
          </a:effectRef>
          <a:fontRef idx="minor">
            <a:schemeClr val="dk1"/>
          </a:fontRef>
        </p:style>
        <p:txBody>
          <a:bodyPr wrap="square" lIns="0" rIns="0" anchor="ctr"/>
          <a:lstStyle/>
          <a:p>
            <a:pPr marL="0" marR="0" lvl="0" indent="0" algn="ctr" defTabSz="1219170" rtl="0" eaLnBrk="1" fontAlgn="base" latinLnBrk="0" hangingPunct="1">
              <a:lnSpc>
                <a:spcPct val="85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193209"/>
                </a:solidFill>
                <a:effectLst/>
                <a:uLnTx/>
                <a:uFillTx/>
                <a:latin typeface="Arial" panose="020B0604020202020204"/>
                <a:ea typeface="+mn-ea"/>
                <a:cs typeface="Arial" panose="020B0604020202020204" pitchFamily="34" charset="0"/>
              </a:rPr>
              <a:t>Adenocarcinoma of the small intestine</a:t>
            </a:r>
            <a:endParaRPr kumimoji="0" lang="en-US" sz="1200" b="1" i="0" u="none" strike="noStrike" kern="0" cap="none" spc="0" normalizeH="0" baseline="0" noProof="0" dirty="0">
              <a:ln>
                <a:noFill/>
              </a:ln>
              <a:solidFill>
                <a:srgbClr val="193209"/>
              </a:solidFill>
              <a:effectLst/>
              <a:uLnTx/>
              <a:uFillTx/>
              <a:latin typeface="Arial" panose="020B0604020202020204"/>
              <a:ea typeface="+mn-ea"/>
              <a:cs typeface="Arial" panose="020B0604020202020204" pitchFamily="34" charset="0"/>
            </a:endParaRPr>
          </a:p>
        </p:txBody>
      </p:sp>
      <p:cxnSp>
        <p:nvCxnSpPr>
          <p:cNvPr id="42" name="Straight Arrow Connector 41">
            <a:extLst>
              <a:ext uri="{FF2B5EF4-FFF2-40B4-BE49-F238E27FC236}">
                <a16:creationId xmlns:a16="http://schemas.microsoft.com/office/drawing/2014/main" id="{ACF95037-145E-43F1-985C-6C10620926FA}"/>
              </a:ext>
            </a:extLst>
          </p:cNvPr>
          <p:cNvCxnSpPr>
            <a:cxnSpLocks/>
          </p:cNvCxnSpPr>
          <p:nvPr/>
        </p:nvCxnSpPr>
        <p:spPr>
          <a:xfrm flipV="1">
            <a:off x="8055945" y="3720522"/>
            <a:ext cx="757263" cy="10299"/>
          </a:xfrm>
          <a:prstGeom prst="straightConnector1">
            <a:avLst/>
          </a:prstGeom>
          <a:solidFill>
            <a:srgbClr val="007BC3"/>
          </a:solidFill>
          <a:ln w="38100">
            <a:solidFill>
              <a:schemeClr val="tx1"/>
            </a:solidFill>
            <a:round/>
            <a:headEnd type="none" w="med" len="med"/>
            <a:tailEnd type="stealth" w="lg" len="lg"/>
          </a:ln>
          <a:effectLst/>
        </p:spPr>
      </p:cxnSp>
      <p:sp>
        <p:nvSpPr>
          <p:cNvPr id="17" name="AutoShape 20">
            <a:extLst>
              <a:ext uri="{FF2B5EF4-FFF2-40B4-BE49-F238E27FC236}">
                <a16:creationId xmlns:a16="http://schemas.microsoft.com/office/drawing/2014/main" id="{71871583-7C8F-473C-A334-434E1B802059}"/>
              </a:ext>
            </a:extLst>
          </p:cNvPr>
          <p:cNvSpPr>
            <a:spLocks noChangeArrowheads="1"/>
          </p:cNvSpPr>
          <p:nvPr/>
        </p:nvSpPr>
        <p:spPr bwMode="auto">
          <a:xfrm>
            <a:off x="2678256" y="2299455"/>
            <a:ext cx="2414087" cy="365760"/>
          </a:xfrm>
          <a:prstGeom prst="roundRect">
            <a:avLst>
              <a:gd name="adj" fmla="val 16667"/>
            </a:avLst>
          </a:prstGeom>
          <a:ln>
            <a:headEnd/>
            <a:tailEnd/>
          </a:ln>
        </p:spPr>
        <p:style>
          <a:lnRef idx="0">
            <a:schemeClr val="accent5"/>
          </a:lnRef>
          <a:fillRef idx="3">
            <a:schemeClr val="accent5"/>
          </a:fillRef>
          <a:effectRef idx="3">
            <a:schemeClr val="accent5"/>
          </a:effectRef>
          <a:fontRef idx="minor">
            <a:schemeClr val="lt1"/>
          </a:fontRef>
        </p:style>
        <p:txBody>
          <a:bodyPr wrap="square" lIns="0" rIns="0" anchor="ct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Arial" panose="020B0604020202020204"/>
                <a:ea typeface="+mn-ea"/>
                <a:cs typeface="Arial" panose="020B0604020202020204" pitchFamily="34" charset="0"/>
              </a:rPr>
              <a:t>BTC</a:t>
            </a:r>
          </a:p>
        </p:txBody>
      </p:sp>
      <p:sp>
        <p:nvSpPr>
          <p:cNvPr id="18" name="AutoShape 20">
            <a:extLst>
              <a:ext uri="{FF2B5EF4-FFF2-40B4-BE49-F238E27FC236}">
                <a16:creationId xmlns:a16="http://schemas.microsoft.com/office/drawing/2014/main" id="{9099EBF7-CAFD-4D81-9040-35A641166355}"/>
              </a:ext>
            </a:extLst>
          </p:cNvPr>
          <p:cNvSpPr>
            <a:spLocks noChangeArrowheads="1"/>
          </p:cNvSpPr>
          <p:nvPr/>
        </p:nvSpPr>
        <p:spPr bwMode="auto">
          <a:xfrm>
            <a:off x="2678256" y="1837317"/>
            <a:ext cx="2414087" cy="365760"/>
          </a:xfrm>
          <a:prstGeom prst="roundRect">
            <a:avLst>
              <a:gd name="adj" fmla="val 16667"/>
            </a:avLst>
          </a:prstGeom>
          <a:ln>
            <a:headEnd/>
            <a:tailEnd/>
          </a:ln>
        </p:spPr>
        <p:style>
          <a:lnRef idx="2">
            <a:schemeClr val="accent5"/>
          </a:lnRef>
          <a:fillRef idx="1">
            <a:schemeClr val="lt1"/>
          </a:fillRef>
          <a:effectRef idx="0">
            <a:schemeClr val="accent5"/>
          </a:effectRef>
          <a:fontRef idx="minor">
            <a:schemeClr val="dk1"/>
          </a:fontRef>
        </p:style>
        <p:txBody>
          <a:bodyPr wrap="square" lIns="0" tIns="91440" rIns="0" anchor="ctr"/>
          <a:lstStyle/>
          <a:p>
            <a:pPr marL="0" marR="0" lvl="0" indent="0" algn="ctr" defTabSz="1219170" rtl="0" eaLnBrk="1" fontAlgn="base" latinLnBrk="0" hangingPunct="1">
              <a:lnSpc>
                <a:spcPct val="85000"/>
              </a:lnSpc>
              <a:spcBef>
                <a:spcPct val="0"/>
              </a:spcBef>
              <a:spcAft>
                <a:spcPct val="0"/>
              </a:spcAft>
              <a:buClrTx/>
              <a:buSzTx/>
              <a:buFontTx/>
              <a:buNone/>
              <a:tabLst/>
              <a:defRPr/>
            </a:pPr>
            <a:r>
              <a:rPr kumimoji="0" lang="en-US" sz="1200" b="1" i="0" u="none" strike="noStrike" kern="0" cap="none" spc="0" normalizeH="0" baseline="0" noProof="0" dirty="0">
                <a:ln>
                  <a:noFill/>
                </a:ln>
                <a:solidFill>
                  <a:srgbClr val="193209"/>
                </a:solidFill>
                <a:effectLst/>
                <a:uLnTx/>
                <a:uFillTx/>
                <a:latin typeface="Arial" panose="020B0604020202020204"/>
                <a:ea typeface="+mn-ea"/>
                <a:cs typeface="Arial" panose="020B0604020202020204" pitchFamily="34" charset="0"/>
              </a:rPr>
              <a:t>Anaplastic thyroid cancer</a:t>
            </a:r>
          </a:p>
        </p:txBody>
      </p:sp>
      <p:sp>
        <p:nvSpPr>
          <p:cNvPr id="19" name="AutoShape 20">
            <a:extLst>
              <a:ext uri="{FF2B5EF4-FFF2-40B4-BE49-F238E27FC236}">
                <a16:creationId xmlns:a16="http://schemas.microsoft.com/office/drawing/2014/main" id="{1013B217-F2FF-408D-9C4C-7E5D6D95B467}"/>
              </a:ext>
            </a:extLst>
          </p:cNvPr>
          <p:cNvSpPr>
            <a:spLocks noChangeArrowheads="1"/>
          </p:cNvSpPr>
          <p:nvPr/>
        </p:nvSpPr>
        <p:spPr bwMode="auto">
          <a:xfrm>
            <a:off x="2678256" y="3223729"/>
            <a:ext cx="2414087" cy="365760"/>
          </a:xfrm>
          <a:prstGeom prst="roundRect">
            <a:avLst>
              <a:gd name="adj" fmla="val 16667"/>
            </a:avLst>
          </a:prstGeom>
          <a:ln>
            <a:headEnd/>
            <a:tailEnd/>
          </a:ln>
        </p:spPr>
        <p:style>
          <a:lnRef idx="2">
            <a:schemeClr val="accent5"/>
          </a:lnRef>
          <a:fillRef idx="1">
            <a:schemeClr val="lt1"/>
          </a:fillRef>
          <a:effectRef idx="0">
            <a:schemeClr val="accent5"/>
          </a:effectRef>
          <a:fontRef idx="minor">
            <a:schemeClr val="dk1"/>
          </a:fontRef>
        </p:style>
        <p:txBody>
          <a:bodyPr wrap="square" lIns="0" rIns="0" anchor="ctr"/>
          <a:lstStyle/>
          <a:p>
            <a:pPr marL="0" marR="0" lvl="0" indent="0" algn="ctr" defTabSz="1219170" rtl="0" eaLnBrk="1" fontAlgn="base" latinLnBrk="0" hangingPunct="1">
              <a:lnSpc>
                <a:spcPct val="85000"/>
              </a:lnSpc>
              <a:spcBef>
                <a:spcPct val="0"/>
              </a:spcBef>
              <a:spcAft>
                <a:spcPct val="0"/>
              </a:spcAft>
              <a:buClrTx/>
              <a:buSzTx/>
              <a:buFontTx/>
              <a:buNone/>
              <a:tabLst/>
              <a:defRPr/>
            </a:pPr>
            <a:r>
              <a:rPr kumimoji="0" lang="en-US" sz="1200" b="1" i="0" u="none" strike="noStrike" kern="0" cap="none" spc="0" normalizeH="0" baseline="0" noProof="0" dirty="0">
                <a:ln>
                  <a:noFill/>
                </a:ln>
                <a:solidFill>
                  <a:srgbClr val="193209"/>
                </a:solidFill>
                <a:effectLst/>
                <a:uLnTx/>
                <a:uFillTx/>
                <a:latin typeface="Arial" panose="020B0604020202020204"/>
                <a:ea typeface="+mn-ea"/>
                <a:cs typeface="Arial" panose="020B0604020202020204" pitchFamily="34" charset="0"/>
              </a:rPr>
              <a:t>Germ cell tumor</a:t>
            </a:r>
          </a:p>
        </p:txBody>
      </p:sp>
      <p:sp>
        <p:nvSpPr>
          <p:cNvPr id="32" name="AutoShape 20">
            <a:extLst>
              <a:ext uri="{FF2B5EF4-FFF2-40B4-BE49-F238E27FC236}">
                <a16:creationId xmlns:a16="http://schemas.microsoft.com/office/drawing/2014/main" id="{3CFE0FBF-ABA6-4908-9854-C5D556C56853}"/>
              </a:ext>
            </a:extLst>
          </p:cNvPr>
          <p:cNvSpPr>
            <a:spLocks noChangeArrowheads="1"/>
          </p:cNvSpPr>
          <p:nvPr/>
        </p:nvSpPr>
        <p:spPr bwMode="auto">
          <a:xfrm>
            <a:off x="2678256" y="2761592"/>
            <a:ext cx="2414087" cy="365760"/>
          </a:xfrm>
          <a:prstGeom prst="roundRect">
            <a:avLst>
              <a:gd name="adj" fmla="val 16667"/>
            </a:avLst>
          </a:prstGeom>
          <a:ln>
            <a:headEnd/>
            <a:tailEnd/>
          </a:ln>
        </p:spPr>
        <p:style>
          <a:lnRef idx="2">
            <a:schemeClr val="accent5"/>
          </a:lnRef>
          <a:fillRef idx="1">
            <a:schemeClr val="lt1"/>
          </a:fillRef>
          <a:effectRef idx="0">
            <a:schemeClr val="accent5"/>
          </a:effectRef>
          <a:fontRef idx="minor">
            <a:schemeClr val="dk1"/>
          </a:fontRef>
        </p:style>
        <p:txBody>
          <a:bodyPr wrap="square" lIns="0" rIns="0" anchor="ct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dirty="0">
                <a:ln>
                  <a:noFill/>
                </a:ln>
                <a:solidFill>
                  <a:srgbClr val="193209"/>
                </a:solidFill>
                <a:effectLst/>
                <a:uLnTx/>
                <a:uFillTx/>
                <a:latin typeface="Arial" panose="020B0604020202020204"/>
                <a:ea typeface="+mn-ea"/>
                <a:cs typeface="Arial" panose="020B0604020202020204" pitchFamily="34" charset="0"/>
              </a:rPr>
              <a:t>Gastrointestinal stromal tumor</a:t>
            </a:r>
          </a:p>
        </p:txBody>
      </p:sp>
      <p:sp>
        <p:nvSpPr>
          <p:cNvPr id="37" name="AutoShape 20">
            <a:extLst>
              <a:ext uri="{FF2B5EF4-FFF2-40B4-BE49-F238E27FC236}">
                <a16:creationId xmlns:a16="http://schemas.microsoft.com/office/drawing/2014/main" id="{4103EEB1-3149-4382-BE68-918E890CBAF4}"/>
              </a:ext>
            </a:extLst>
          </p:cNvPr>
          <p:cNvSpPr>
            <a:spLocks noChangeArrowheads="1"/>
          </p:cNvSpPr>
          <p:nvPr/>
        </p:nvSpPr>
        <p:spPr bwMode="auto">
          <a:xfrm>
            <a:off x="2678256" y="4148004"/>
            <a:ext cx="2414087" cy="365760"/>
          </a:xfrm>
          <a:prstGeom prst="roundRect">
            <a:avLst>
              <a:gd name="adj" fmla="val 16667"/>
            </a:avLst>
          </a:prstGeom>
          <a:ln>
            <a:headEnd/>
            <a:tailEnd/>
          </a:ln>
        </p:spPr>
        <p:style>
          <a:lnRef idx="2">
            <a:schemeClr val="accent5"/>
          </a:lnRef>
          <a:fillRef idx="1">
            <a:schemeClr val="lt1"/>
          </a:fillRef>
          <a:effectRef idx="0">
            <a:schemeClr val="accent5"/>
          </a:effectRef>
          <a:fontRef idx="minor">
            <a:schemeClr val="dk1"/>
          </a:fontRef>
        </p:style>
        <p:txBody>
          <a:bodyPr wrap="square" lIns="0" rIns="0" anchor="ctr"/>
          <a:lstStyle/>
          <a:p>
            <a:pPr marL="0" marR="0" lvl="0" indent="0" algn="ctr" defTabSz="1219170" rtl="0" eaLnBrk="1" fontAlgn="base" latinLnBrk="0" hangingPunct="1">
              <a:lnSpc>
                <a:spcPct val="85000"/>
              </a:lnSpc>
              <a:spcBef>
                <a:spcPct val="0"/>
              </a:spcBef>
              <a:spcAft>
                <a:spcPct val="0"/>
              </a:spcAft>
              <a:buClrTx/>
              <a:buSzTx/>
              <a:buFontTx/>
              <a:buNone/>
              <a:tabLst/>
              <a:defRPr/>
            </a:pPr>
            <a:r>
              <a:rPr kumimoji="0" lang="en-US" sz="1200" b="1" i="0" u="none" strike="noStrike" kern="0" cap="none" spc="0" normalizeH="0" baseline="0" noProof="0" dirty="0">
                <a:ln>
                  <a:noFill/>
                </a:ln>
                <a:solidFill>
                  <a:srgbClr val="193209"/>
                </a:solidFill>
                <a:effectLst/>
                <a:uLnTx/>
                <a:uFillTx/>
                <a:latin typeface="Arial" panose="020B0604020202020204"/>
                <a:ea typeface="+mn-ea"/>
                <a:cs typeface="Arial" panose="020B0604020202020204" pitchFamily="34" charset="0"/>
              </a:rPr>
              <a:t>WHO grade III or IV glioma</a:t>
            </a:r>
          </a:p>
        </p:txBody>
      </p:sp>
      <p:sp>
        <p:nvSpPr>
          <p:cNvPr id="38" name="AutoShape 20">
            <a:extLst>
              <a:ext uri="{FF2B5EF4-FFF2-40B4-BE49-F238E27FC236}">
                <a16:creationId xmlns:a16="http://schemas.microsoft.com/office/drawing/2014/main" id="{4901DEC1-B029-4DFF-9E27-8745106CFE31}"/>
              </a:ext>
            </a:extLst>
          </p:cNvPr>
          <p:cNvSpPr>
            <a:spLocks noChangeArrowheads="1"/>
          </p:cNvSpPr>
          <p:nvPr/>
        </p:nvSpPr>
        <p:spPr bwMode="auto">
          <a:xfrm>
            <a:off x="2678256" y="4610141"/>
            <a:ext cx="2414087" cy="365760"/>
          </a:xfrm>
          <a:prstGeom prst="roundRect">
            <a:avLst>
              <a:gd name="adj" fmla="val 16667"/>
            </a:avLst>
          </a:prstGeom>
          <a:ln>
            <a:headEnd/>
            <a:tailEnd/>
          </a:ln>
        </p:spPr>
        <p:style>
          <a:lnRef idx="2">
            <a:schemeClr val="accent5"/>
          </a:lnRef>
          <a:fillRef idx="1">
            <a:schemeClr val="lt1"/>
          </a:fillRef>
          <a:effectRef idx="0">
            <a:schemeClr val="accent5"/>
          </a:effectRef>
          <a:fontRef idx="minor">
            <a:schemeClr val="dk1"/>
          </a:fontRef>
        </p:style>
        <p:txBody>
          <a:bodyPr wrap="square" lIns="0" rIns="0" anchor="ctr"/>
          <a:lstStyle/>
          <a:p>
            <a:pPr marL="0" marR="0" lvl="0" indent="0" algn="ctr" defTabSz="1219170" rtl="0" eaLnBrk="1" fontAlgn="base" latinLnBrk="0" hangingPunct="1">
              <a:lnSpc>
                <a:spcPct val="85000"/>
              </a:lnSpc>
              <a:spcBef>
                <a:spcPct val="0"/>
              </a:spcBef>
              <a:spcAft>
                <a:spcPct val="0"/>
              </a:spcAft>
              <a:buClrTx/>
              <a:buSzTx/>
              <a:buFontTx/>
              <a:buNone/>
              <a:tabLst/>
              <a:defRPr/>
            </a:pPr>
            <a:r>
              <a:rPr kumimoji="0" lang="en-US" sz="1200" b="1" i="0" u="none" strike="noStrike" kern="0" cap="none" spc="0" normalizeH="0" baseline="0" noProof="0" dirty="0">
                <a:ln>
                  <a:noFill/>
                </a:ln>
                <a:solidFill>
                  <a:srgbClr val="193209"/>
                </a:solidFill>
                <a:effectLst/>
                <a:uLnTx/>
                <a:uFillTx/>
                <a:latin typeface="Arial" panose="020B0604020202020204"/>
                <a:ea typeface="+mn-ea"/>
                <a:cs typeface="Arial" panose="020B0604020202020204" pitchFamily="34" charset="0"/>
              </a:rPr>
              <a:t>Hairy cell leukemia</a:t>
            </a:r>
          </a:p>
        </p:txBody>
      </p:sp>
      <p:sp>
        <p:nvSpPr>
          <p:cNvPr id="39" name="AutoShape 20">
            <a:extLst>
              <a:ext uri="{FF2B5EF4-FFF2-40B4-BE49-F238E27FC236}">
                <a16:creationId xmlns:a16="http://schemas.microsoft.com/office/drawing/2014/main" id="{FB8FAC45-2ED2-4BE5-A378-32B09872DF3A}"/>
              </a:ext>
            </a:extLst>
          </p:cNvPr>
          <p:cNvSpPr>
            <a:spLocks noChangeArrowheads="1"/>
          </p:cNvSpPr>
          <p:nvPr/>
        </p:nvSpPr>
        <p:spPr bwMode="auto">
          <a:xfrm>
            <a:off x="2678256" y="5072279"/>
            <a:ext cx="2414087" cy="365760"/>
          </a:xfrm>
          <a:prstGeom prst="roundRect">
            <a:avLst>
              <a:gd name="adj" fmla="val 16667"/>
            </a:avLst>
          </a:prstGeom>
          <a:ln>
            <a:headEnd/>
            <a:tailEnd/>
          </a:ln>
        </p:spPr>
        <p:style>
          <a:lnRef idx="2">
            <a:schemeClr val="accent5"/>
          </a:lnRef>
          <a:fillRef idx="1">
            <a:schemeClr val="lt1"/>
          </a:fillRef>
          <a:effectRef idx="0">
            <a:schemeClr val="accent5"/>
          </a:effectRef>
          <a:fontRef idx="minor">
            <a:schemeClr val="dk1"/>
          </a:fontRef>
        </p:style>
        <p:txBody>
          <a:bodyPr wrap="square" lIns="0" rIns="0" anchor="ctr"/>
          <a:lstStyle/>
          <a:p>
            <a:pPr marL="0" marR="0" lvl="0" indent="0" algn="ctr" defTabSz="1219170" rtl="0" eaLnBrk="1" fontAlgn="base" latinLnBrk="0" hangingPunct="1">
              <a:lnSpc>
                <a:spcPct val="85000"/>
              </a:lnSpc>
              <a:spcBef>
                <a:spcPct val="0"/>
              </a:spcBef>
              <a:spcAft>
                <a:spcPct val="0"/>
              </a:spcAft>
              <a:buClrTx/>
              <a:buSzTx/>
              <a:buFontTx/>
              <a:buNone/>
              <a:tabLst/>
              <a:defRPr/>
            </a:pPr>
            <a:r>
              <a:rPr kumimoji="0" lang="en-US" sz="1200" b="1" i="0" u="none" strike="noStrike" kern="0" cap="none" spc="0" normalizeH="0" baseline="0" noProof="0" dirty="0">
                <a:ln>
                  <a:noFill/>
                </a:ln>
                <a:solidFill>
                  <a:srgbClr val="193209"/>
                </a:solidFill>
                <a:effectLst/>
                <a:uLnTx/>
                <a:uFillTx/>
                <a:latin typeface="Arial" panose="020B0604020202020204"/>
                <a:ea typeface="+mn-ea"/>
                <a:cs typeface="Arial" panose="020B0604020202020204" pitchFamily="34" charset="0"/>
              </a:rPr>
              <a:t>Multiple myeloma</a:t>
            </a:r>
          </a:p>
        </p:txBody>
      </p:sp>
      <p:grpSp>
        <p:nvGrpSpPr>
          <p:cNvPr id="51" name="Group 50">
            <a:extLst>
              <a:ext uri="{FF2B5EF4-FFF2-40B4-BE49-F238E27FC236}">
                <a16:creationId xmlns:a16="http://schemas.microsoft.com/office/drawing/2014/main" id="{938AF207-6844-411D-A207-59F8E8939300}"/>
              </a:ext>
            </a:extLst>
          </p:cNvPr>
          <p:cNvGrpSpPr/>
          <p:nvPr/>
        </p:nvGrpSpPr>
        <p:grpSpPr>
          <a:xfrm rot="10800000">
            <a:off x="2059942" y="1932844"/>
            <a:ext cx="616743" cy="3855200"/>
            <a:chOff x="3367075" y="2443679"/>
            <a:chExt cx="981152" cy="4087368"/>
          </a:xfrm>
        </p:grpSpPr>
        <p:cxnSp>
          <p:nvCxnSpPr>
            <p:cNvPr id="53" name="Straight Connector 52">
              <a:extLst>
                <a:ext uri="{FF2B5EF4-FFF2-40B4-BE49-F238E27FC236}">
                  <a16:creationId xmlns:a16="http://schemas.microsoft.com/office/drawing/2014/main" id="{89EA9918-C467-45FF-B2DE-69E5AD455F07}"/>
                </a:ext>
              </a:extLst>
            </p:cNvPr>
            <p:cNvCxnSpPr/>
            <p:nvPr/>
          </p:nvCxnSpPr>
          <p:spPr>
            <a:xfrm rot="10800000" flipH="1">
              <a:off x="3367898" y="2969994"/>
              <a:ext cx="431341" cy="0"/>
            </a:xfrm>
            <a:prstGeom prst="line">
              <a:avLst/>
            </a:prstGeom>
            <a:ln w="19050"/>
          </p:spPr>
          <p:style>
            <a:lnRef idx="1">
              <a:schemeClr val="accent5"/>
            </a:lnRef>
            <a:fillRef idx="0">
              <a:schemeClr val="accent5"/>
            </a:fillRef>
            <a:effectRef idx="0">
              <a:schemeClr val="accent5"/>
            </a:effectRef>
            <a:fontRef idx="minor">
              <a:schemeClr val="tx1"/>
            </a:fontRef>
          </p:style>
        </p:cxnSp>
        <p:cxnSp>
          <p:nvCxnSpPr>
            <p:cNvPr id="54" name="Straight Connector 53">
              <a:extLst>
                <a:ext uri="{FF2B5EF4-FFF2-40B4-BE49-F238E27FC236}">
                  <a16:creationId xmlns:a16="http://schemas.microsoft.com/office/drawing/2014/main" id="{D18F2C93-8083-46DC-9695-52CFAE78BB3E}"/>
                </a:ext>
              </a:extLst>
            </p:cNvPr>
            <p:cNvCxnSpPr/>
            <p:nvPr/>
          </p:nvCxnSpPr>
          <p:spPr>
            <a:xfrm rot="10800000" flipH="1">
              <a:off x="3367898" y="4997157"/>
              <a:ext cx="431341" cy="0"/>
            </a:xfrm>
            <a:prstGeom prst="line">
              <a:avLst/>
            </a:prstGeom>
            <a:ln w="19050"/>
          </p:spPr>
          <p:style>
            <a:lnRef idx="1">
              <a:schemeClr val="accent5"/>
            </a:lnRef>
            <a:fillRef idx="0">
              <a:schemeClr val="accent5"/>
            </a:fillRef>
            <a:effectRef idx="0">
              <a:schemeClr val="accent5"/>
            </a:effectRef>
            <a:fontRef idx="minor">
              <a:schemeClr val="tx1"/>
            </a:fontRef>
          </p:style>
        </p:cxnSp>
        <p:cxnSp>
          <p:nvCxnSpPr>
            <p:cNvPr id="55" name="Straight Connector 54">
              <a:extLst>
                <a:ext uri="{FF2B5EF4-FFF2-40B4-BE49-F238E27FC236}">
                  <a16:creationId xmlns:a16="http://schemas.microsoft.com/office/drawing/2014/main" id="{9087EC5A-6316-48B8-956B-14F360446739}"/>
                </a:ext>
              </a:extLst>
            </p:cNvPr>
            <p:cNvCxnSpPr/>
            <p:nvPr/>
          </p:nvCxnSpPr>
          <p:spPr>
            <a:xfrm rot="10800000" flipH="1">
              <a:off x="3367896" y="6508938"/>
              <a:ext cx="431342" cy="0"/>
            </a:xfrm>
            <a:prstGeom prst="line">
              <a:avLst/>
            </a:prstGeom>
            <a:ln w="19050"/>
          </p:spPr>
          <p:style>
            <a:lnRef idx="1">
              <a:schemeClr val="accent5"/>
            </a:lnRef>
            <a:fillRef idx="0">
              <a:schemeClr val="accent5"/>
            </a:fillRef>
            <a:effectRef idx="0">
              <a:schemeClr val="accent5"/>
            </a:effectRef>
            <a:fontRef idx="minor">
              <a:schemeClr val="tx1"/>
            </a:fontRef>
          </p:style>
        </p:cxnSp>
        <p:cxnSp>
          <p:nvCxnSpPr>
            <p:cNvPr id="56" name="Straight Connector 55">
              <a:extLst>
                <a:ext uri="{FF2B5EF4-FFF2-40B4-BE49-F238E27FC236}">
                  <a16:creationId xmlns:a16="http://schemas.microsoft.com/office/drawing/2014/main" id="{D6924A83-B972-46C9-9744-DC095F6399CA}"/>
                </a:ext>
              </a:extLst>
            </p:cNvPr>
            <p:cNvCxnSpPr/>
            <p:nvPr/>
          </p:nvCxnSpPr>
          <p:spPr>
            <a:xfrm rot="10800000" flipH="1">
              <a:off x="3367898" y="2463204"/>
              <a:ext cx="431341" cy="0"/>
            </a:xfrm>
            <a:prstGeom prst="line">
              <a:avLst/>
            </a:prstGeom>
            <a:ln w="19050"/>
          </p:spPr>
          <p:style>
            <a:lnRef idx="1">
              <a:schemeClr val="accent5"/>
            </a:lnRef>
            <a:fillRef idx="0">
              <a:schemeClr val="accent5"/>
            </a:fillRef>
            <a:effectRef idx="0">
              <a:schemeClr val="accent5"/>
            </a:effectRef>
            <a:fontRef idx="minor">
              <a:schemeClr val="tx1"/>
            </a:fontRef>
          </p:style>
        </p:cxnSp>
        <p:cxnSp>
          <p:nvCxnSpPr>
            <p:cNvPr id="57" name="Straight Connector 56">
              <a:extLst>
                <a:ext uri="{FF2B5EF4-FFF2-40B4-BE49-F238E27FC236}">
                  <a16:creationId xmlns:a16="http://schemas.microsoft.com/office/drawing/2014/main" id="{2A5A73A0-D172-495E-A61E-BBAFB5CF7744}"/>
                </a:ext>
              </a:extLst>
            </p:cNvPr>
            <p:cNvCxnSpPr>
              <a:cxnSpLocks/>
            </p:cNvCxnSpPr>
            <p:nvPr/>
          </p:nvCxnSpPr>
          <p:spPr>
            <a:xfrm rot="10800000" flipH="1">
              <a:off x="3791320" y="2443679"/>
              <a:ext cx="0" cy="4087368"/>
            </a:xfrm>
            <a:prstGeom prst="line">
              <a:avLst/>
            </a:prstGeom>
            <a:ln w="19050"/>
          </p:spPr>
          <p:style>
            <a:lnRef idx="1">
              <a:schemeClr val="accent5"/>
            </a:lnRef>
            <a:fillRef idx="0">
              <a:schemeClr val="accent5"/>
            </a:fillRef>
            <a:effectRef idx="0">
              <a:schemeClr val="accent5"/>
            </a:effectRef>
            <a:fontRef idx="minor">
              <a:schemeClr val="tx1"/>
            </a:fontRef>
          </p:style>
        </p:cxnSp>
        <p:cxnSp>
          <p:nvCxnSpPr>
            <p:cNvPr id="58" name="Straight Connector 57">
              <a:extLst>
                <a:ext uri="{FF2B5EF4-FFF2-40B4-BE49-F238E27FC236}">
                  <a16:creationId xmlns:a16="http://schemas.microsoft.com/office/drawing/2014/main" id="{95CD80A1-D15F-4CF2-97F2-128F70BAAFF6}"/>
                </a:ext>
              </a:extLst>
            </p:cNvPr>
            <p:cNvCxnSpPr/>
            <p:nvPr/>
          </p:nvCxnSpPr>
          <p:spPr>
            <a:xfrm rot="10800000" flipH="1">
              <a:off x="3367898" y="3476784"/>
              <a:ext cx="431341" cy="0"/>
            </a:xfrm>
            <a:prstGeom prst="line">
              <a:avLst/>
            </a:prstGeom>
            <a:ln w="19050"/>
          </p:spPr>
          <p:style>
            <a:lnRef idx="1">
              <a:schemeClr val="accent5"/>
            </a:lnRef>
            <a:fillRef idx="0">
              <a:schemeClr val="accent5"/>
            </a:fillRef>
            <a:effectRef idx="0">
              <a:schemeClr val="accent5"/>
            </a:effectRef>
            <a:fontRef idx="minor">
              <a:schemeClr val="tx1"/>
            </a:fontRef>
          </p:style>
        </p:cxnSp>
        <p:cxnSp>
          <p:nvCxnSpPr>
            <p:cNvPr id="59" name="Straight Connector 58">
              <a:extLst>
                <a:ext uri="{FF2B5EF4-FFF2-40B4-BE49-F238E27FC236}">
                  <a16:creationId xmlns:a16="http://schemas.microsoft.com/office/drawing/2014/main" id="{8B63F186-ED1A-416C-92A0-49A65DE4BE15}"/>
                </a:ext>
              </a:extLst>
            </p:cNvPr>
            <p:cNvCxnSpPr/>
            <p:nvPr/>
          </p:nvCxnSpPr>
          <p:spPr>
            <a:xfrm rot="10800000" flipH="1">
              <a:off x="3367898" y="3983575"/>
              <a:ext cx="431341" cy="0"/>
            </a:xfrm>
            <a:prstGeom prst="line">
              <a:avLst/>
            </a:prstGeom>
            <a:ln w="19050"/>
          </p:spPr>
          <p:style>
            <a:lnRef idx="1">
              <a:schemeClr val="accent5"/>
            </a:lnRef>
            <a:fillRef idx="0">
              <a:schemeClr val="accent5"/>
            </a:fillRef>
            <a:effectRef idx="0">
              <a:schemeClr val="accent5"/>
            </a:effectRef>
            <a:fontRef idx="minor">
              <a:schemeClr val="tx1"/>
            </a:fontRef>
          </p:style>
        </p:cxnSp>
        <p:cxnSp>
          <p:nvCxnSpPr>
            <p:cNvPr id="60" name="Straight Connector 59">
              <a:extLst>
                <a:ext uri="{FF2B5EF4-FFF2-40B4-BE49-F238E27FC236}">
                  <a16:creationId xmlns:a16="http://schemas.microsoft.com/office/drawing/2014/main" id="{C18733C6-35E1-495D-A8C7-E29BD4F9C9FF}"/>
                </a:ext>
              </a:extLst>
            </p:cNvPr>
            <p:cNvCxnSpPr/>
            <p:nvPr/>
          </p:nvCxnSpPr>
          <p:spPr>
            <a:xfrm rot="10800000" flipH="1">
              <a:off x="3367075" y="4486707"/>
              <a:ext cx="981152" cy="0"/>
            </a:xfrm>
            <a:prstGeom prst="line">
              <a:avLst/>
            </a:prstGeom>
            <a:ln w="19050"/>
          </p:spPr>
          <p:style>
            <a:lnRef idx="1">
              <a:schemeClr val="accent5"/>
            </a:lnRef>
            <a:fillRef idx="0">
              <a:schemeClr val="accent5"/>
            </a:fillRef>
            <a:effectRef idx="0">
              <a:schemeClr val="accent5"/>
            </a:effectRef>
            <a:fontRef idx="minor">
              <a:schemeClr val="tx1"/>
            </a:fontRef>
          </p:style>
        </p:cxnSp>
        <p:cxnSp>
          <p:nvCxnSpPr>
            <p:cNvPr id="61" name="Straight Connector 60">
              <a:extLst>
                <a:ext uri="{FF2B5EF4-FFF2-40B4-BE49-F238E27FC236}">
                  <a16:creationId xmlns:a16="http://schemas.microsoft.com/office/drawing/2014/main" id="{1F2DE456-448E-45C6-A78B-C45E9AFE784E}"/>
                </a:ext>
              </a:extLst>
            </p:cNvPr>
            <p:cNvCxnSpPr/>
            <p:nvPr/>
          </p:nvCxnSpPr>
          <p:spPr>
            <a:xfrm rot="10800000" flipH="1">
              <a:off x="3367898" y="5503948"/>
              <a:ext cx="431341" cy="0"/>
            </a:xfrm>
            <a:prstGeom prst="line">
              <a:avLst/>
            </a:prstGeom>
            <a:ln w="19050"/>
          </p:spPr>
          <p:style>
            <a:lnRef idx="1">
              <a:schemeClr val="accent5"/>
            </a:lnRef>
            <a:fillRef idx="0">
              <a:schemeClr val="accent5"/>
            </a:fillRef>
            <a:effectRef idx="0">
              <a:schemeClr val="accent5"/>
            </a:effectRef>
            <a:fontRef idx="minor">
              <a:schemeClr val="tx1"/>
            </a:fontRef>
          </p:style>
        </p:cxnSp>
        <p:cxnSp>
          <p:nvCxnSpPr>
            <p:cNvPr id="62" name="Straight Connector 61">
              <a:extLst>
                <a:ext uri="{FF2B5EF4-FFF2-40B4-BE49-F238E27FC236}">
                  <a16:creationId xmlns:a16="http://schemas.microsoft.com/office/drawing/2014/main" id="{0844A573-8BEE-4A1B-9928-5E418CB8D921}"/>
                </a:ext>
              </a:extLst>
            </p:cNvPr>
            <p:cNvCxnSpPr/>
            <p:nvPr/>
          </p:nvCxnSpPr>
          <p:spPr>
            <a:xfrm rot="10800000" flipH="1">
              <a:off x="3367897" y="6010739"/>
              <a:ext cx="431341" cy="0"/>
            </a:xfrm>
            <a:prstGeom prst="line">
              <a:avLst/>
            </a:prstGeom>
            <a:ln w="19050"/>
          </p:spPr>
          <p:style>
            <a:lnRef idx="1">
              <a:schemeClr val="accent5"/>
            </a:lnRef>
            <a:fillRef idx="0">
              <a:schemeClr val="accent5"/>
            </a:fillRef>
            <a:effectRef idx="0">
              <a:schemeClr val="accent5"/>
            </a:effectRef>
            <a:fontRef idx="minor">
              <a:schemeClr val="tx1"/>
            </a:fontRef>
          </p:style>
        </p:cxnSp>
      </p:grpSp>
      <p:sp>
        <p:nvSpPr>
          <p:cNvPr id="36" name="AutoShape 20">
            <a:extLst>
              <a:ext uri="{FF2B5EF4-FFF2-40B4-BE49-F238E27FC236}">
                <a16:creationId xmlns:a16="http://schemas.microsoft.com/office/drawing/2014/main" id="{F747C1BE-5FCE-41F5-B65D-128DC2789164}"/>
              </a:ext>
            </a:extLst>
          </p:cNvPr>
          <p:cNvSpPr>
            <a:spLocks noChangeArrowheads="1"/>
          </p:cNvSpPr>
          <p:nvPr/>
        </p:nvSpPr>
        <p:spPr bwMode="auto">
          <a:xfrm>
            <a:off x="2678256" y="3685867"/>
            <a:ext cx="2414087" cy="365760"/>
          </a:xfrm>
          <a:prstGeom prst="roundRect">
            <a:avLst>
              <a:gd name="adj" fmla="val 16667"/>
            </a:avLst>
          </a:prstGeom>
          <a:ln>
            <a:headEnd/>
            <a:tailEnd/>
          </a:ln>
        </p:spPr>
        <p:style>
          <a:lnRef idx="2">
            <a:schemeClr val="accent5"/>
          </a:lnRef>
          <a:fillRef idx="1">
            <a:schemeClr val="lt1"/>
          </a:fillRef>
          <a:effectRef idx="0">
            <a:schemeClr val="accent5"/>
          </a:effectRef>
          <a:fontRef idx="minor">
            <a:schemeClr val="dk1"/>
          </a:fontRef>
        </p:style>
        <p:txBody>
          <a:bodyPr wrap="square" lIns="0" rIns="0" anchor="ctr"/>
          <a:lstStyle/>
          <a:p>
            <a:pPr marL="0" marR="0" lvl="0" indent="0" algn="ctr" defTabSz="1219170" rtl="0" eaLnBrk="1" fontAlgn="base" latinLnBrk="0" hangingPunct="1">
              <a:lnSpc>
                <a:spcPct val="85000"/>
              </a:lnSpc>
              <a:spcBef>
                <a:spcPct val="0"/>
              </a:spcBef>
              <a:spcAft>
                <a:spcPct val="0"/>
              </a:spcAft>
              <a:buClrTx/>
              <a:buSzTx/>
              <a:buFontTx/>
              <a:buNone/>
              <a:tabLst/>
              <a:defRPr/>
            </a:pPr>
            <a:r>
              <a:rPr kumimoji="0" lang="en-US" sz="1200" b="1" i="0" u="none" strike="noStrike" kern="0" cap="none" spc="0" normalizeH="0" baseline="0" noProof="0" dirty="0">
                <a:ln>
                  <a:noFill/>
                </a:ln>
                <a:solidFill>
                  <a:srgbClr val="193209"/>
                </a:solidFill>
                <a:effectLst/>
                <a:uLnTx/>
                <a:uFillTx/>
                <a:latin typeface="Arial" panose="020B0604020202020204"/>
                <a:ea typeface="+mn-ea"/>
                <a:cs typeface="Arial" panose="020B0604020202020204" pitchFamily="34" charset="0"/>
              </a:rPr>
              <a:t>WHO grade I or II glioma</a:t>
            </a:r>
          </a:p>
        </p:txBody>
      </p:sp>
      <p:sp>
        <p:nvSpPr>
          <p:cNvPr id="50" name="Rounded Rectangle 249">
            <a:extLst>
              <a:ext uri="{FF2B5EF4-FFF2-40B4-BE49-F238E27FC236}">
                <a16:creationId xmlns:a16="http://schemas.microsoft.com/office/drawing/2014/main" id="{19FBBAC5-7CE5-4119-B737-71C3BAFA7918}"/>
              </a:ext>
            </a:extLst>
          </p:cNvPr>
          <p:cNvSpPr/>
          <p:nvPr/>
        </p:nvSpPr>
        <p:spPr>
          <a:xfrm>
            <a:off x="442458" y="3252419"/>
            <a:ext cx="1654156" cy="1328117"/>
          </a:xfrm>
          <a:prstGeom prst="roundRect">
            <a:avLst>
              <a:gd name="adj" fmla="val 10417"/>
            </a:avLst>
          </a:prstGeom>
          <a:ln/>
        </p:spPr>
        <p:style>
          <a:lnRef idx="2">
            <a:schemeClr val="accent5"/>
          </a:lnRef>
          <a:fillRef idx="1">
            <a:schemeClr val="lt1"/>
          </a:fillRef>
          <a:effectRef idx="0">
            <a:schemeClr val="accent5"/>
          </a:effectRef>
          <a:fontRef idx="minor">
            <a:schemeClr val="dk1"/>
          </a:fontRef>
        </p:style>
        <p:txBody>
          <a:bodyPr lIns="24384" tIns="48000" rIns="0" bIns="48000" anchor="ctr"/>
          <a:lstStyle>
            <a:defPPr>
              <a:defRPr lang="en-US"/>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marL="0" marR="0" lvl="0" indent="0" algn="ctr" defTabSz="1219170" rtl="0" eaLnBrk="1" fontAlgn="base" latinLnBrk="0" hangingPunct="1">
              <a:lnSpc>
                <a:spcPct val="100000"/>
              </a:lnSpc>
              <a:spcBef>
                <a:spcPts val="0"/>
              </a:spcBef>
              <a:spcAft>
                <a:spcPts val="800"/>
              </a:spcAft>
              <a:buClrTx/>
              <a:buSzTx/>
              <a:buFontTx/>
              <a:buNone/>
              <a:tabLst/>
              <a:defRPr/>
            </a:pPr>
            <a:r>
              <a:rPr kumimoji="0" lang="en-GB" sz="1200" b="1" i="0" u="none" strike="noStrike" kern="1200" cap="none" spc="0" normalizeH="0" baseline="0" noProof="0" dirty="0">
                <a:ln>
                  <a:noFill/>
                </a:ln>
                <a:solidFill>
                  <a:srgbClr val="193209"/>
                </a:solidFill>
                <a:effectLst/>
                <a:uLnTx/>
                <a:uFillTx/>
                <a:latin typeface="Arial" panose="020B0604020202020204"/>
                <a:ea typeface="+mn-ea"/>
                <a:cs typeface="Arial" panose="020B0604020202020204" pitchFamily="34" charset="0"/>
              </a:rPr>
              <a:t>Patients with </a:t>
            </a:r>
            <a:r>
              <a:rPr kumimoji="0" lang="en-GB" sz="1200" b="1" i="1" u="none" strike="noStrike" kern="1200" cap="none" spc="0" normalizeH="0" baseline="0" noProof="0" dirty="0">
                <a:ln>
                  <a:noFill/>
                </a:ln>
                <a:solidFill>
                  <a:srgbClr val="193209"/>
                </a:solidFill>
                <a:effectLst/>
                <a:uLnTx/>
                <a:uFillTx/>
                <a:latin typeface="Arial" panose="020B0604020202020204"/>
                <a:ea typeface="+mn-ea"/>
                <a:cs typeface="Arial" panose="020B0604020202020204" pitchFamily="34" charset="0"/>
              </a:rPr>
              <a:t>BRAF </a:t>
            </a:r>
            <a:r>
              <a:rPr kumimoji="0" lang="en-GB" sz="1200" b="1" i="0" u="none" strike="noStrike" kern="1200" cap="none" spc="0" normalizeH="0" baseline="0" noProof="0" dirty="0">
                <a:ln>
                  <a:noFill/>
                </a:ln>
                <a:solidFill>
                  <a:srgbClr val="193209"/>
                </a:solidFill>
                <a:effectLst/>
                <a:uLnTx/>
                <a:uFillTx/>
                <a:latin typeface="Arial" panose="020B0604020202020204"/>
                <a:ea typeface="+mn-ea"/>
                <a:cs typeface="Arial" panose="020B0604020202020204" pitchFamily="34" charset="0"/>
              </a:rPr>
              <a:t>V600E–mutated cancers</a:t>
            </a:r>
          </a:p>
        </p:txBody>
      </p:sp>
      <p:sp>
        <p:nvSpPr>
          <p:cNvPr id="75" name="TextBox 74">
            <a:extLst>
              <a:ext uri="{FF2B5EF4-FFF2-40B4-BE49-F238E27FC236}">
                <a16:creationId xmlns:a16="http://schemas.microsoft.com/office/drawing/2014/main" id="{1BBA090F-496E-4BD0-B3D0-C786FA924017}"/>
              </a:ext>
            </a:extLst>
          </p:cNvPr>
          <p:cNvSpPr txBox="1"/>
          <p:nvPr/>
        </p:nvSpPr>
        <p:spPr>
          <a:xfrm>
            <a:off x="5620550" y="4475756"/>
            <a:ext cx="6128992" cy="535531"/>
          </a:xfrm>
          <a:prstGeom prst="rect">
            <a:avLst/>
          </a:prstGeom>
          <a:noFill/>
        </p:spPr>
        <p:txBody>
          <a:bodyPr wrap="square" rtlCol="0">
            <a:spAutoFit/>
          </a:bodyPr>
          <a:lstStyle/>
          <a:p>
            <a:pPr marL="0" marR="0" lvl="0" indent="0" algn="l" defTabSz="1219170" rtl="0" eaLnBrk="1" fontAlgn="base" latinLnBrk="0" hangingPunct="1">
              <a:lnSpc>
                <a:spcPct val="90000"/>
              </a:lnSpc>
              <a:spcBef>
                <a:spcPct val="0"/>
              </a:spcBef>
              <a:spcAft>
                <a:spcPct val="0"/>
              </a:spcAft>
              <a:buClrTx/>
              <a:buSzTx/>
              <a:buFontTx/>
              <a:buNone/>
              <a:tabLst/>
              <a:defRPr/>
            </a:pPr>
            <a:r>
              <a:rPr kumimoji="0" lang="en-GB" sz="1600" b="1" i="0" u="none" strike="noStrike" kern="0" cap="none" spc="0" normalizeH="0" baseline="0" noProof="0" dirty="0">
                <a:ln>
                  <a:noFill/>
                </a:ln>
                <a:solidFill>
                  <a:srgbClr val="212121"/>
                </a:solidFill>
                <a:effectLst/>
                <a:uLnTx/>
                <a:uFillTx/>
                <a:latin typeface="Arial" panose="020B0604020202020204"/>
                <a:ea typeface="ＭＳ Ｐゴシック" charset="0"/>
                <a:cs typeface="Arial" panose="020B0604020202020204" pitchFamily="34" charset="0"/>
              </a:rPr>
              <a:t>Primary end point: </a:t>
            </a:r>
            <a:r>
              <a:rPr kumimoji="0" lang="en-GB" sz="1600" b="0" i="0" u="none" strike="noStrike" kern="0" cap="none" spc="0" normalizeH="0" baseline="0" noProof="0" dirty="0">
                <a:ln>
                  <a:noFill/>
                </a:ln>
                <a:solidFill>
                  <a:srgbClr val="193209"/>
                </a:solidFill>
                <a:effectLst/>
                <a:uLnTx/>
                <a:uFillTx/>
                <a:latin typeface="Arial" panose="020B0604020202020204"/>
                <a:ea typeface="ＭＳ Ｐゴシック" charset="0"/>
                <a:cs typeface="Arial" panose="020B0604020202020204" pitchFamily="34" charset="0"/>
              </a:rPr>
              <a:t>investigator-assessed ORR by RECIST v1.1</a:t>
            </a:r>
          </a:p>
          <a:p>
            <a:pPr marL="0" marR="0" lvl="0" indent="0" algn="l" defTabSz="1219170" rtl="0" eaLnBrk="1" fontAlgn="base" latinLnBrk="0" hangingPunct="1">
              <a:lnSpc>
                <a:spcPct val="90000"/>
              </a:lnSpc>
              <a:spcBef>
                <a:spcPct val="0"/>
              </a:spcBef>
              <a:spcAft>
                <a:spcPct val="0"/>
              </a:spcAft>
              <a:buClrTx/>
              <a:buSzTx/>
              <a:buFontTx/>
              <a:buNone/>
              <a:tabLst/>
              <a:defRPr/>
            </a:pPr>
            <a:r>
              <a:rPr kumimoji="0" lang="en-GB" sz="1600" b="1" i="0" u="none" strike="noStrike" kern="0" cap="none" spc="0" normalizeH="0" baseline="0" noProof="0" dirty="0">
                <a:ln>
                  <a:noFill/>
                </a:ln>
                <a:solidFill>
                  <a:srgbClr val="212121"/>
                </a:solidFill>
                <a:effectLst/>
                <a:uLnTx/>
                <a:uFillTx/>
                <a:latin typeface="Arial" panose="020B0604020202020204"/>
                <a:ea typeface="ＭＳ Ｐゴシック" charset="0"/>
                <a:cs typeface="Arial" panose="020B0604020202020204" pitchFamily="34" charset="0"/>
              </a:rPr>
              <a:t>Secondary end points</a:t>
            </a:r>
            <a:r>
              <a:rPr kumimoji="0" lang="en-GB" sz="1600" b="1" i="0" u="none" strike="noStrike" kern="0" cap="none" spc="0" normalizeH="0" baseline="0" noProof="0" dirty="0">
                <a:ln>
                  <a:noFill/>
                </a:ln>
                <a:solidFill>
                  <a:srgbClr val="003C64"/>
                </a:solidFill>
                <a:effectLst/>
                <a:uLnTx/>
                <a:uFillTx/>
                <a:latin typeface="Arial" panose="020B0604020202020204"/>
                <a:ea typeface="ＭＳ Ｐゴシック" charset="0"/>
                <a:cs typeface="Arial" panose="020B0604020202020204" pitchFamily="34" charset="0"/>
              </a:rPr>
              <a:t>:</a:t>
            </a:r>
            <a:r>
              <a:rPr kumimoji="0" lang="en-GB" sz="1600" b="0" i="0" u="none" strike="noStrike" kern="0" cap="none" spc="0" normalizeH="0" baseline="0" noProof="0" dirty="0">
                <a:ln>
                  <a:noFill/>
                </a:ln>
                <a:solidFill>
                  <a:srgbClr val="193209"/>
                </a:solidFill>
                <a:effectLst/>
                <a:uLnTx/>
                <a:uFillTx/>
                <a:latin typeface="Arial" panose="020B0604020202020204"/>
                <a:ea typeface="ＭＳ Ｐゴシック" charset="0"/>
                <a:cs typeface="Arial" panose="020B0604020202020204" pitchFamily="34" charset="0"/>
              </a:rPr>
              <a:t> PFS, DOR, OS, and safety</a:t>
            </a:r>
          </a:p>
        </p:txBody>
      </p:sp>
      <p:sp>
        <p:nvSpPr>
          <p:cNvPr id="46" name="AutoShape 20">
            <a:extLst>
              <a:ext uri="{FF2B5EF4-FFF2-40B4-BE49-F238E27FC236}">
                <a16:creationId xmlns:a16="http://schemas.microsoft.com/office/drawing/2014/main" id="{DC134B77-38E5-4C97-BF3F-3B10702515F7}"/>
              </a:ext>
            </a:extLst>
          </p:cNvPr>
          <p:cNvSpPr>
            <a:spLocks noChangeArrowheads="1"/>
          </p:cNvSpPr>
          <p:nvPr/>
        </p:nvSpPr>
        <p:spPr bwMode="auto">
          <a:xfrm>
            <a:off x="6685137" y="2080003"/>
            <a:ext cx="3923155" cy="731520"/>
          </a:xfrm>
          <a:prstGeom prst="roundRect">
            <a:avLst>
              <a:gd name="adj" fmla="val 16667"/>
            </a:avLst>
          </a:prstGeom>
          <a:ln>
            <a:headEnd/>
            <a:tailEnd/>
          </a:ln>
        </p:spPr>
        <p:style>
          <a:lnRef idx="2">
            <a:schemeClr val="accent5">
              <a:shade val="50000"/>
            </a:schemeClr>
          </a:lnRef>
          <a:fillRef idx="1">
            <a:schemeClr val="accent5"/>
          </a:fillRef>
          <a:effectRef idx="0">
            <a:schemeClr val="accent5"/>
          </a:effectRef>
          <a:fontRef idx="minor">
            <a:schemeClr val="lt1"/>
          </a:fontRef>
        </p:style>
        <p:txBody>
          <a:bodyPr wrap="square" lIns="0" tIns="91440" rIns="0" anchor="ctr"/>
          <a:lstStyle/>
          <a:p>
            <a:pPr marL="0" marR="0" lvl="0" indent="0" algn="ctr" defTabSz="1219170" rtl="0" eaLnBrk="1" fontAlgn="base" latinLnBrk="0" hangingPunct="1">
              <a:lnSpc>
                <a:spcPct val="90000"/>
              </a:lnSpc>
              <a:spcBef>
                <a:spcPct val="0"/>
              </a:spcBef>
              <a:spcAft>
                <a:spcPct val="0"/>
              </a:spcAft>
              <a:buClrTx/>
              <a:buSzTx/>
              <a:buFontTx/>
              <a:buNone/>
              <a:tabLst/>
              <a:defRPr/>
            </a:pPr>
            <a:r>
              <a:rPr kumimoji="0" lang="en-US" sz="1600" b="1" i="0" u="none" strike="noStrike" kern="0" cap="none" spc="0" normalizeH="0" baseline="0" noProof="0" dirty="0">
                <a:ln>
                  <a:noFill/>
                </a:ln>
                <a:solidFill>
                  <a:prstClr val="white"/>
                </a:solidFill>
                <a:effectLst/>
                <a:uLnTx/>
                <a:uFillTx/>
                <a:latin typeface="Arial" panose="020B0604020202020204"/>
                <a:ea typeface="+mn-ea"/>
                <a:cs typeface="Arial" panose="020B0604020202020204" pitchFamily="34" charset="0"/>
              </a:rPr>
              <a:t>Patients with BTC</a:t>
            </a:r>
          </a:p>
          <a:p>
            <a:pPr marL="0" marR="0" lvl="0" indent="0" algn="ctr" defTabSz="1219170" rtl="0" eaLnBrk="1" fontAlgn="base" latinLnBrk="0" hangingPunct="1">
              <a:lnSpc>
                <a:spcPct val="90000"/>
              </a:lnSpc>
              <a:spcBef>
                <a:spcPct val="0"/>
              </a:spcBef>
              <a:spcAft>
                <a:spcPct val="0"/>
              </a:spcAft>
              <a:buClrTx/>
              <a:buSzTx/>
              <a:buFontTx/>
              <a:buNone/>
              <a:tabLst/>
              <a:defRPr/>
            </a:pPr>
            <a:r>
              <a:rPr kumimoji="0" lang="en-US" sz="1600" b="1" i="0" u="none" strike="noStrike" kern="0" cap="none" spc="0" normalizeH="0" baseline="0" noProof="0" dirty="0">
                <a:ln>
                  <a:noFill/>
                </a:ln>
                <a:solidFill>
                  <a:prstClr val="white"/>
                </a:solidFill>
                <a:effectLst/>
                <a:uLnTx/>
                <a:uFillTx/>
                <a:latin typeface="Arial" panose="020B0604020202020204"/>
                <a:ea typeface="+mn-ea"/>
                <a:cs typeface="Arial" panose="020B0604020202020204" pitchFamily="34" charset="0"/>
              </a:rPr>
              <a:t>(N=33)</a:t>
            </a:r>
          </a:p>
        </p:txBody>
      </p:sp>
      <p:sp>
        <p:nvSpPr>
          <p:cNvPr id="35" name="AutoShape 20">
            <a:extLst>
              <a:ext uri="{FF2B5EF4-FFF2-40B4-BE49-F238E27FC236}">
                <a16:creationId xmlns:a16="http://schemas.microsoft.com/office/drawing/2014/main" id="{682194C3-F1ED-43A8-87F5-19FF0CD37F95}"/>
              </a:ext>
            </a:extLst>
          </p:cNvPr>
          <p:cNvSpPr>
            <a:spLocks noChangeArrowheads="1"/>
          </p:cNvSpPr>
          <p:nvPr/>
        </p:nvSpPr>
        <p:spPr bwMode="auto">
          <a:xfrm>
            <a:off x="5968005" y="3283732"/>
            <a:ext cx="2441124" cy="975360"/>
          </a:xfrm>
          <a:prstGeom prst="roundRect">
            <a:avLst>
              <a:gd name="adj" fmla="val 16667"/>
            </a:avLst>
          </a:prstGeom>
          <a:solidFill>
            <a:schemeClr val="accent6">
              <a:lumMod val="75000"/>
            </a:schemeClr>
          </a:solidFill>
          <a:ln>
            <a:noFill/>
            <a:headEnd/>
            <a:tailEnd/>
          </a:ln>
        </p:spPr>
        <p:style>
          <a:lnRef idx="2">
            <a:schemeClr val="accent1">
              <a:shade val="50000"/>
            </a:schemeClr>
          </a:lnRef>
          <a:fillRef idx="1">
            <a:schemeClr val="accent1"/>
          </a:fillRef>
          <a:effectRef idx="0">
            <a:schemeClr val="accent1"/>
          </a:effectRef>
          <a:fontRef idx="minor">
            <a:schemeClr val="lt1"/>
          </a:fontRef>
        </p:style>
        <p:txBody>
          <a:bodyPr wrap="square" lIns="0" tIns="91440" rIns="0" anchor="ctr"/>
          <a:lstStyle/>
          <a:p>
            <a:pPr marL="0" marR="0" lvl="0" indent="0" algn="ctr" defTabSz="1219170" rtl="0" eaLnBrk="1" fontAlgn="base" latinLnBrk="0" hangingPunct="1">
              <a:lnSpc>
                <a:spcPct val="85000"/>
              </a:lnSpc>
              <a:spcBef>
                <a:spcPct val="0"/>
              </a:spcBef>
              <a:spcAft>
                <a:spcPts val="60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Arial" panose="020B0604020202020204"/>
                <a:ea typeface="+mn-ea"/>
                <a:cs typeface="Arial" panose="020B0604020202020204" pitchFamily="34" charset="0"/>
              </a:rPr>
              <a:t>Dabrafenib (150 mg BID)</a:t>
            </a:r>
          </a:p>
          <a:p>
            <a:pPr marL="0" marR="0" lvl="0" indent="0" algn="ctr" defTabSz="1219170" rtl="0" eaLnBrk="1" fontAlgn="base" latinLnBrk="0" hangingPunct="1">
              <a:lnSpc>
                <a:spcPct val="85000"/>
              </a:lnSpc>
              <a:spcBef>
                <a:spcPct val="0"/>
              </a:spcBef>
              <a:spcAft>
                <a:spcPts val="60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Arial" panose="020B0604020202020204"/>
                <a:ea typeface="+mn-ea"/>
                <a:cs typeface="Arial" panose="020B0604020202020204" pitchFamily="34" charset="0"/>
              </a:rPr>
              <a:t>+</a:t>
            </a:r>
          </a:p>
          <a:p>
            <a:pPr marL="0" marR="0" lvl="0" indent="0" algn="ctr" defTabSz="1219170" rtl="0" eaLnBrk="1" fontAlgn="base" latinLnBrk="0" hangingPunct="1">
              <a:lnSpc>
                <a:spcPct val="85000"/>
              </a:lnSpc>
              <a:spcBef>
                <a:spcPct val="0"/>
              </a:spcBef>
              <a:spcAft>
                <a:spcPts val="60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Arial" panose="020B0604020202020204"/>
                <a:ea typeface="+mn-ea"/>
                <a:cs typeface="Arial" panose="020B0604020202020204" pitchFamily="34" charset="0"/>
              </a:rPr>
              <a:t>Trametinib (2 mg QD)</a:t>
            </a:r>
          </a:p>
        </p:txBody>
      </p:sp>
      <p:sp>
        <p:nvSpPr>
          <p:cNvPr id="41" name="AutoShape 20">
            <a:extLst>
              <a:ext uri="{FF2B5EF4-FFF2-40B4-BE49-F238E27FC236}">
                <a16:creationId xmlns:a16="http://schemas.microsoft.com/office/drawing/2014/main" id="{CD179091-7BED-4BFC-AB51-ECE22D33B54A}"/>
              </a:ext>
            </a:extLst>
          </p:cNvPr>
          <p:cNvSpPr>
            <a:spLocks noChangeArrowheads="1"/>
          </p:cNvSpPr>
          <p:nvPr/>
        </p:nvSpPr>
        <p:spPr bwMode="auto">
          <a:xfrm>
            <a:off x="8875772" y="3283732"/>
            <a:ext cx="2194560" cy="975360"/>
          </a:xfrm>
          <a:prstGeom prst="roundRect">
            <a:avLst>
              <a:gd name="adj" fmla="val 16667"/>
            </a:avLst>
          </a:prstGeom>
          <a:solidFill>
            <a:schemeClr val="accent6">
              <a:lumMod val="60000"/>
              <a:lumOff val="40000"/>
            </a:schemeClr>
          </a:solidFill>
          <a:ln>
            <a:solidFill>
              <a:schemeClr val="bg1"/>
            </a:solidFill>
            <a:headEnd/>
            <a:tailEnd/>
          </a:ln>
        </p:spPr>
        <p:style>
          <a:lnRef idx="2">
            <a:schemeClr val="accent2">
              <a:shade val="50000"/>
            </a:schemeClr>
          </a:lnRef>
          <a:fillRef idx="1">
            <a:schemeClr val="accent2"/>
          </a:fillRef>
          <a:effectRef idx="0">
            <a:schemeClr val="accent2"/>
          </a:effectRef>
          <a:fontRef idx="minor">
            <a:schemeClr val="lt1"/>
          </a:fontRef>
        </p:style>
        <p:txBody>
          <a:bodyPr wrap="square" lIns="0" tIns="91440" rIns="0" anchor="ctr"/>
          <a:lstStyle/>
          <a:p>
            <a:pPr marL="0" marR="0" lvl="0" indent="0" algn="ctr" defTabSz="1219170" rtl="0" eaLnBrk="1" fontAlgn="base" latinLnBrk="0" hangingPunct="1">
              <a:lnSpc>
                <a:spcPct val="85000"/>
              </a:lnSpc>
              <a:spcBef>
                <a:spcPct val="0"/>
              </a:spcBef>
              <a:spcAft>
                <a:spcPts val="600"/>
              </a:spcAft>
              <a:buClrTx/>
              <a:buSzTx/>
              <a:buFontTx/>
              <a:buNone/>
              <a:tabLst/>
              <a:defRPr/>
            </a:pPr>
            <a:r>
              <a:rPr kumimoji="0" lang="en-US" sz="1400" b="1" i="0" u="none" strike="noStrike" kern="0" cap="none" spc="0" normalizeH="0" baseline="0" noProof="0" dirty="0">
                <a:ln>
                  <a:noFill/>
                </a:ln>
                <a:solidFill>
                  <a:srgbClr val="193209"/>
                </a:solidFill>
                <a:effectLst/>
                <a:uLnTx/>
                <a:uFillTx/>
                <a:latin typeface="Arial" panose="020B0604020202020204"/>
                <a:ea typeface="+mn-ea"/>
                <a:cs typeface="Arial" panose="020B0604020202020204" pitchFamily="34" charset="0"/>
              </a:rPr>
              <a:t>Disease progression, death, or unacceptable toxicity</a:t>
            </a:r>
          </a:p>
        </p:txBody>
      </p:sp>
      <p:sp>
        <p:nvSpPr>
          <p:cNvPr id="3" name="TextBox 2">
            <a:extLst>
              <a:ext uri="{FF2B5EF4-FFF2-40B4-BE49-F238E27FC236}">
                <a16:creationId xmlns:a16="http://schemas.microsoft.com/office/drawing/2014/main" id="{A5957640-798E-4467-A4EE-08BA513E73D0}"/>
              </a:ext>
            </a:extLst>
          </p:cNvPr>
          <p:cNvSpPr txBox="1"/>
          <p:nvPr/>
        </p:nvSpPr>
        <p:spPr>
          <a:xfrm>
            <a:off x="6933537" y="2967370"/>
            <a:ext cx="622286" cy="307777"/>
          </a:xfrm>
          <a:prstGeom prst="rect">
            <a:avLst/>
          </a:prstGeom>
          <a:noFill/>
        </p:spPr>
        <p:txBody>
          <a:bodyPr wrap="none" rtlCol="0">
            <a:spAutoFit/>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193209"/>
                </a:solidFill>
                <a:effectLst/>
                <a:uLnTx/>
                <a:uFillTx/>
                <a:latin typeface="Arial" panose="020B0604020202020204"/>
                <a:ea typeface="ＭＳ Ｐゴシック" charset="0"/>
                <a:cs typeface="+mn-cs"/>
              </a:rPr>
              <a:t>Dose</a:t>
            </a:r>
          </a:p>
        </p:txBody>
      </p:sp>
      <p:sp>
        <p:nvSpPr>
          <p:cNvPr id="43" name="TextBox 42">
            <a:extLst>
              <a:ext uri="{FF2B5EF4-FFF2-40B4-BE49-F238E27FC236}">
                <a16:creationId xmlns:a16="http://schemas.microsoft.com/office/drawing/2014/main" id="{AF373725-8419-408F-BC6A-E9BCD77B0701}"/>
              </a:ext>
            </a:extLst>
          </p:cNvPr>
          <p:cNvSpPr txBox="1"/>
          <p:nvPr/>
        </p:nvSpPr>
        <p:spPr>
          <a:xfrm>
            <a:off x="9164424" y="2967370"/>
            <a:ext cx="1631601" cy="307777"/>
          </a:xfrm>
          <a:prstGeom prst="rect">
            <a:avLst/>
          </a:prstGeom>
          <a:noFill/>
        </p:spPr>
        <p:txBody>
          <a:bodyPr wrap="none" rtlCol="0">
            <a:spAutoFit/>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193209"/>
                </a:solidFill>
                <a:effectLst/>
                <a:uLnTx/>
                <a:uFillTx/>
                <a:latin typeface="Arial" panose="020B0604020202020204"/>
                <a:ea typeface="ＭＳ Ｐゴシック" charset="0"/>
                <a:cs typeface="+mn-cs"/>
              </a:rPr>
              <a:t>End of treatment</a:t>
            </a:r>
          </a:p>
        </p:txBody>
      </p:sp>
      <p:cxnSp>
        <p:nvCxnSpPr>
          <p:cNvPr id="63" name="Straight Arrow Connector 62">
            <a:extLst>
              <a:ext uri="{FF2B5EF4-FFF2-40B4-BE49-F238E27FC236}">
                <a16:creationId xmlns:a16="http://schemas.microsoft.com/office/drawing/2014/main" id="{6B6FB4A1-D668-4716-97DC-BF86780CACD0}"/>
              </a:ext>
            </a:extLst>
          </p:cNvPr>
          <p:cNvCxnSpPr>
            <a:cxnSpLocks/>
          </p:cNvCxnSpPr>
          <p:nvPr/>
        </p:nvCxnSpPr>
        <p:spPr>
          <a:xfrm>
            <a:off x="5142691" y="2452461"/>
            <a:ext cx="1463040" cy="0"/>
          </a:xfrm>
          <a:prstGeom prst="straightConnector1">
            <a:avLst/>
          </a:prstGeom>
          <a:ln w="3810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1DF9D742-F3D5-400E-A80B-DA7DA95C149F}"/>
              </a:ext>
            </a:extLst>
          </p:cNvPr>
          <p:cNvSpPr/>
          <p:nvPr/>
        </p:nvSpPr>
        <p:spPr>
          <a:xfrm>
            <a:off x="6586284" y="5082535"/>
            <a:ext cx="4116448" cy="379656"/>
          </a:xfrm>
          <a:prstGeom prst="rect">
            <a:avLst/>
          </a:prstGeom>
        </p:spPr>
        <p:txBody>
          <a:bodyPr wrap="none">
            <a:spAutoFit/>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1867" b="0" i="0" u="none" strike="noStrike" kern="1200" cap="none" spc="0" normalizeH="0" baseline="0" noProof="0" dirty="0">
                <a:ln>
                  <a:noFill/>
                </a:ln>
                <a:solidFill>
                  <a:prstClr val="white"/>
                </a:solidFill>
                <a:effectLst/>
                <a:uLnTx/>
                <a:uFillTx/>
                <a:latin typeface="Arial" panose="020B0604020202020204"/>
                <a:ea typeface="ＭＳ Ｐゴシック" charset="0"/>
                <a:cs typeface="+mn-cs"/>
              </a:rPr>
              <a:t>Enrollment: March 2014 to April 2018</a:t>
            </a:r>
          </a:p>
        </p:txBody>
      </p:sp>
    </p:spTree>
    <p:extLst>
      <p:ext uri="{BB962C8B-B14F-4D97-AF65-F5344CB8AC3E}">
        <p14:creationId xmlns:p14="http://schemas.microsoft.com/office/powerpoint/2010/main" val="2551420555"/>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DF3ADB9C-1D53-1A4D-BBA3-E443E92E42EF}"/>
              </a:ext>
            </a:extLst>
          </p:cNvPr>
          <p:cNvSpPr>
            <a:spLocks noGrp="1"/>
          </p:cNvSpPr>
          <p:nvPr>
            <p:ph type="title"/>
          </p:nvPr>
        </p:nvSpPr>
        <p:spPr/>
        <p:txBody>
          <a:bodyPr/>
          <a:lstStyle/>
          <a:p>
            <a:r>
              <a:rPr lang="en-US" dirty="0"/>
              <a:t>Dabrafenib/Trametinib: ROAR </a:t>
            </a:r>
          </a:p>
        </p:txBody>
      </p:sp>
      <p:pic>
        <p:nvPicPr>
          <p:cNvPr id="4" name="Content Placeholder 3">
            <a:extLst>
              <a:ext uri="{FF2B5EF4-FFF2-40B4-BE49-F238E27FC236}">
                <a16:creationId xmlns:a16="http://schemas.microsoft.com/office/drawing/2014/main" id="{6745191F-31F6-4F0F-A6EA-4521B7CCFE53}"/>
              </a:ext>
            </a:extLst>
          </p:cNvPr>
          <p:cNvPicPr>
            <a:picLocks noGrp="1" noChangeAspect="1"/>
          </p:cNvPicPr>
          <p:nvPr>
            <p:ph idx="1"/>
          </p:nvPr>
        </p:nvPicPr>
        <p:blipFill>
          <a:blip r:embed="rId2" cstate="email">
            <a:extLst>
              <a:ext uri="{28A0092B-C50C-407E-A947-70E740481C1C}">
                <a14:useLocalDpi xmlns:a14="http://schemas.microsoft.com/office/drawing/2010/main"/>
              </a:ext>
            </a:extLst>
          </a:blip>
          <a:stretch>
            <a:fillRect/>
          </a:stretch>
        </p:blipFill>
        <p:spPr>
          <a:xfrm>
            <a:off x="609600" y="1592303"/>
            <a:ext cx="7085714" cy="4380952"/>
          </a:xfrm>
          <a:prstGeom prst="rect">
            <a:avLst/>
          </a:prstGeom>
        </p:spPr>
      </p:pic>
      <p:sp>
        <p:nvSpPr>
          <p:cNvPr id="2" name="Text Placeholder 1">
            <a:extLst>
              <a:ext uri="{FF2B5EF4-FFF2-40B4-BE49-F238E27FC236}">
                <a16:creationId xmlns:a16="http://schemas.microsoft.com/office/drawing/2014/main" id="{61C066C1-1B75-5D43-B38C-4E02E133CB65}"/>
              </a:ext>
            </a:extLst>
          </p:cNvPr>
          <p:cNvSpPr>
            <a:spLocks noGrp="1"/>
          </p:cNvSpPr>
          <p:nvPr>
            <p:ph type="body" sz="quarter" idx="10"/>
          </p:nvPr>
        </p:nvSpPr>
        <p:spPr/>
        <p:txBody>
          <a:bodyPr/>
          <a:lstStyle/>
          <a:p>
            <a:pPr algn="l">
              <a:spcBef>
                <a:spcPts val="0"/>
              </a:spcBef>
            </a:pPr>
            <a:r>
              <a:rPr lang="en-US" dirty="0"/>
              <a:t>CI, confidence interval; DOR, </a:t>
            </a:r>
            <a:r>
              <a:rPr lang="en-US" sz="1050" dirty="0"/>
              <a:t>duration of response</a:t>
            </a:r>
            <a:r>
              <a:rPr lang="en-US" dirty="0"/>
              <a:t>; ORR, objective response rate; OS, overall survival; PFS, progression-free survival.</a:t>
            </a:r>
          </a:p>
          <a:p>
            <a:pPr algn="l">
              <a:spcBef>
                <a:spcPts val="0"/>
              </a:spcBef>
            </a:pPr>
            <a:r>
              <a:rPr lang="en-US" dirty="0"/>
              <a:t>Subbiah V, et al. </a:t>
            </a:r>
            <a:r>
              <a:rPr lang="fr-FR" dirty="0"/>
              <a:t>Lancet Oncol 2020; 21:1234–43.</a:t>
            </a:r>
            <a:endParaRPr lang="en-US" dirty="0"/>
          </a:p>
        </p:txBody>
      </p:sp>
      <p:sp>
        <p:nvSpPr>
          <p:cNvPr id="12" name="Text Placeholder 11">
            <a:extLst>
              <a:ext uri="{FF2B5EF4-FFF2-40B4-BE49-F238E27FC236}">
                <a16:creationId xmlns:a16="http://schemas.microsoft.com/office/drawing/2014/main" id="{933852E7-ECE9-3F4B-840E-65551CBCE33E}"/>
              </a:ext>
            </a:extLst>
          </p:cNvPr>
          <p:cNvSpPr>
            <a:spLocks noGrp="1"/>
          </p:cNvSpPr>
          <p:nvPr>
            <p:ph type="body" sz="quarter" idx="4294967295"/>
          </p:nvPr>
        </p:nvSpPr>
        <p:spPr>
          <a:xfrm>
            <a:off x="1217613" y="1209675"/>
            <a:ext cx="10974387" cy="482600"/>
          </a:xfrm>
        </p:spPr>
        <p:txBody>
          <a:bodyPr/>
          <a:lstStyle/>
          <a:p>
            <a:pPr marL="0" indent="0">
              <a:buNone/>
            </a:pPr>
            <a:r>
              <a:rPr lang="en-US" sz="1800" dirty="0"/>
              <a:t>Biliary Tract Cancer Cohort (n=43)</a:t>
            </a:r>
          </a:p>
        </p:txBody>
      </p:sp>
      <p:sp>
        <p:nvSpPr>
          <p:cNvPr id="5" name="TextBox 4">
            <a:extLst>
              <a:ext uri="{FF2B5EF4-FFF2-40B4-BE49-F238E27FC236}">
                <a16:creationId xmlns:a16="http://schemas.microsoft.com/office/drawing/2014/main" id="{67E7AA04-F309-4B65-ACA2-D8F6C7DCC242}"/>
              </a:ext>
            </a:extLst>
          </p:cNvPr>
          <p:cNvSpPr txBox="1"/>
          <p:nvPr/>
        </p:nvSpPr>
        <p:spPr>
          <a:xfrm>
            <a:off x="8165145" y="1348967"/>
            <a:ext cx="3672791" cy="4524315"/>
          </a:xfrm>
          <a:prstGeom prst="rect">
            <a:avLst/>
          </a:prstGeom>
          <a:noFill/>
          <a:ln w="22225">
            <a:solidFill>
              <a:schemeClr val="tx1"/>
            </a:solidFill>
          </a:ln>
        </p:spPr>
        <p:txBody>
          <a:bodyPr wrap="square" rtlCol="0">
            <a:spAutoFit/>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1600" b="1" i="0" u="sng" strike="noStrike" kern="1200" cap="none" spc="0" normalizeH="0" baseline="0" noProof="0" dirty="0">
                <a:ln>
                  <a:noFill/>
                </a:ln>
                <a:solidFill>
                  <a:srgbClr val="212121"/>
                </a:solidFill>
                <a:effectLst/>
                <a:uLnTx/>
                <a:uFillTx/>
                <a:latin typeface="Arial" panose="020B0604020202020204"/>
                <a:ea typeface="ＭＳ Ｐゴシック" charset="0"/>
                <a:cs typeface="Arial" panose="020B0604020202020204" pitchFamily="34" charset="0"/>
              </a:rPr>
              <a:t>Primary end point:</a:t>
            </a:r>
          </a:p>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212121"/>
                </a:solidFill>
                <a:effectLst/>
                <a:uLnTx/>
                <a:uFillTx/>
                <a:latin typeface="Arial" panose="020B0604020202020204"/>
                <a:ea typeface="ＭＳ Ｐゴシック" charset="0"/>
                <a:cs typeface="Arial" panose="020B0604020202020204" pitchFamily="34" charset="0"/>
              </a:rPr>
              <a:t>ORR: </a:t>
            </a:r>
            <a:r>
              <a:rPr kumimoji="0" lang="en-US" sz="1600" b="0" i="0" u="none" strike="noStrike" kern="1200" cap="none" spc="0" normalizeH="0" baseline="0" noProof="0" dirty="0">
                <a:ln>
                  <a:noFill/>
                </a:ln>
                <a:solidFill>
                  <a:srgbClr val="212121"/>
                </a:solidFill>
                <a:effectLst/>
                <a:uLnTx/>
                <a:uFillTx/>
                <a:latin typeface="Arial" panose="020B0604020202020204"/>
                <a:ea typeface="MS PGothic" charset="0"/>
                <a:cs typeface="+mn-cs"/>
              </a:rPr>
              <a:t>51% (95% CI: 36–67) </a:t>
            </a:r>
          </a:p>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1600" b="0" i="1" u="none" strike="noStrike" kern="1200" cap="none" spc="0" normalizeH="0" baseline="0" noProof="0" dirty="0">
                <a:ln>
                  <a:noFill/>
                </a:ln>
                <a:solidFill>
                  <a:srgbClr val="212121"/>
                </a:solidFill>
                <a:effectLst/>
                <a:uLnTx/>
                <a:uFillTx/>
                <a:latin typeface="Arial" panose="020B0604020202020204"/>
                <a:ea typeface="ＭＳ Ｐゴシック" charset="0"/>
                <a:cs typeface="Arial" panose="020B0604020202020204" pitchFamily="34" charset="0"/>
              </a:rPr>
              <a:t>by investigator assessment</a:t>
            </a:r>
          </a:p>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US" sz="1600" b="0" i="1" u="none" strike="noStrike" kern="1200" cap="none" spc="0" normalizeH="0" baseline="0" noProof="0" dirty="0">
              <a:ln>
                <a:noFill/>
              </a:ln>
              <a:solidFill>
                <a:srgbClr val="212121"/>
              </a:solidFill>
              <a:effectLst/>
              <a:uLnTx/>
              <a:uFillTx/>
              <a:latin typeface="Arial" panose="020B0604020202020204"/>
              <a:ea typeface="ＭＳ Ｐゴシック" charset="0"/>
              <a:cs typeface="Arial" panose="020B0604020202020204" pitchFamily="34" charset="0"/>
            </a:endParaRPr>
          </a:p>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212121"/>
                </a:solidFill>
                <a:effectLst/>
                <a:uLnTx/>
                <a:uFillTx/>
                <a:latin typeface="Arial" panose="020B0604020202020204"/>
                <a:ea typeface="ＭＳ Ｐゴシック" charset="0"/>
                <a:cs typeface="Arial" panose="020B0604020202020204" pitchFamily="34" charset="0"/>
              </a:rPr>
              <a:t>ORR: </a:t>
            </a:r>
            <a:r>
              <a:rPr kumimoji="0" lang="en-US" sz="1600" b="0" i="0" u="none" strike="noStrike" kern="1200" cap="none" spc="0" normalizeH="0" baseline="0" noProof="0" dirty="0">
                <a:ln>
                  <a:noFill/>
                </a:ln>
                <a:solidFill>
                  <a:srgbClr val="212121"/>
                </a:solidFill>
                <a:effectLst/>
                <a:uLnTx/>
                <a:uFillTx/>
                <a:latin typeface="Arial" panose="020B0604020202020204"/>
                <a:ea typeface="MS PGothic" charset="0"/>
                <a:cs typeface="+mn-cs"/>
              </a:rPr>
              <a:t>47% (95% CI: 31–62)</a:t>
            </a:r>
            <a:r>
              <a:rPr kumimoji="0" lang="en-US" sz="1600" b="0" i="0" u="none" strike="noStrike" kern="1200" cap="none" spc="0" normalizeH="0" baseline="0" noProof="0" dirty="0">
                <a:ln>
                  <a:noFill/>
                </a:ln>
                <a:solidFill>
                  <a:srgbClr val="212121"/>
                </a:solidFill>
                <a:effectLst/>
                <a:uLnTx/>
                <a:uFillTx/>
                <a:latin typeface="Arial" panose="020B0604020202020204"/>
                <a:ea typeface="ＭＳ Ｐゴシック" charset="0"/>
                <a:cs typeface="Arial" panose="020B0604020202020204" pitchFamily="34" charset="0"/>
              </a:rPr>
              <a:t> </a:t>
            </a:r>
          </a:p>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1600" b="0" i="1" u="none" strike="noStrike" kern="1200" cap="none" spc="0" normalizeH="0" baseline="0" noProof="0" dirty="0">
                <a:ln>
                  <a:noFill/>
                </a:ln>
                <a:solidFill>
                  <a:srgbClr val="212121"/>
                </a:solidFill>
                <a:effectLst/>
                <a:uLnTx/>
                <a:uFillTx/>
                <a:latin typeface="Arial" panose="020B0604020202020204"/>
                <a:ea typeface="ＭＳ Ｐゴシック" charset="0"/>
                <a:cs typeface="Arial" panose="020B0604020202020204" pitchFamily="34" charset="0"/>
              </a:rPr>
              <a:t>by independent review</a:t>
            </a:r>
          </a:p>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US" sz="1600" b="0" i="1" u="none" strike="noStrike" kern="1200" cap="none" spc="0" normalizeH="0" baseline="0" noProof="0" dirty="0">
              <a:ln>
                <a:noFill/>
              </a:ln>
              <a:solidFill>
                <a:srgbClr val="212121"/>
              </a:solidFill>
              <a:effectLst/>
              <a:uLnTx/>
              <a:uFillTx/>
              <a:latin typeface="Arial" panose="020B0604020202020204"/>
              <a:ea typeface="ＭＳ Ｐゴシック" charset="0"/>
              <a:cs typeface="Arial" panose="020B0604020202020204" pitchFamily="34" charset="0"/>
            </a:endParaRPr>
          </a:p>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1600" b="1" i="0" u="sng" strike="noStrike" kern="1200" cap="none" spc="0" normalizeH="0" baseline="0" noProof="0" dirty="0">
                <a:ln>
                  <a:noFill/>
                </a:ln>
                <a:solidFill>
                  <a:srgbClr val="212121"/>
                </a:solidFill>
                <a:effectLst/>
                <a:uLnTx/>
                <a:uFillTx/>
                <a:latin typeface="Arial" panose="020B0604020202020204"/>
                <a:ea typeface="ＭＳ Ｐゴシック" charset="0"/>
                <a:cs typeface="Arial" panose="020B0604020202020204" pitchFamily="34" charset="0"/>
              </a:rPr>
              <a:t>Secondary end points:</a:t>
            </a:r>
          </a:p>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212121"/>
                </a:solidFill>
                <a:effectLst/>
                <a:uLnTx/>
                <a:uFillTx/>
                <a:latin typeface="Arial" panose="020B0604020202020204"/>
                <a:ea typeface="ＭＳ Ｐゴシック" charset="0"/>
                <a:cs typeface="Arial" panose="020B0604020202020204" pitchFamily="34" charset="0"/>
              </a:rPr>
              <a:t>Median DOR: </a:t>
            </a:r>
          </a:p>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212121"/>
                </a:solidFill>
                <a:effectLst/>
                <a:uLnTx/>
                <a:uFillTx/>
                <a:latin typeface="Arial" panose="020B0604020202020204"/>
                <a:ea typeface="MS PGothic" charset="0"/>
                <a:cs typeface="+mn-cs"/>
              </a:rPr>
              <a:t>9 months (95% CI: 6–14) </a:t>
            </a:r>
          </a:p>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1600" b="0" i="1" u="none" strike="noStrike" kern="1200" cap="none" spc="0" normalizeH="0" baseline="0" noProof="0" dirty="0">
                <a:ln>
                  <a:noFill/>
                </a:ln>
                <a:solidFill>
                  <a:srgbClr val="212121"/>
                </a:solidFill>
                <a:effectLst/>
                <a:uLnTx/>
                <a:uFillTx/>
                <a:latin typeface="Arial" panose="020B0604020202020204"/>
                <a:ea typeface="MS PGothic" charset="0"/>
                <a:cs typeface="+mn-cs"/>
              </a:rPr>
              <a:t>by investigator assessment</a:t>
            </a:r>
            <a:endParaRPr kumimoji="0" lang="en-US" sz="1600" b="0" i="1" u="none" strike="noStrike" kern="1200" cap="none" spc="0" normalizeH="0" baseline="0" noProof="0" dirty="0">
              <a:ln>
                <a:noFill/>
              </a:ln>
              <a:solidFill>
                <a:srgbClr val="212121"/>
              </a:solidFill>
              <a:effectLst/>
              <a:uLnTx/>
              <a:uFillTx/>
              <a:latin typeface="Arial" panose="020B0604020202020204"/>
              <a:ea typeface="ＭＳ Ｐゴシック" charset="0"/>
              <a:cs typeface="Arial" panose="020B0604020202020204" pitchFamily="34" charset="0"/>
            </a:endParaRPr>
          </a:p>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US" sz="1600" b="0" i="1" u="none" strike="noStrike" kern="1200" cap="none" spc="0" normalizeH="0" baseline="0" noProof="0" dirty="0">
              <a:ln>
                <a:noFill/>
              </a:ln>
              <a:solidFill>
                <a:srgbClr val="212121"/>
              </a:solidFill>
              <a:effectLst/>
              <a:uLnTx/>
              <a:uFillTx/>
              <a:latin typeface="Arial" panose="020B0604020202020204"/>
              <a:ea typeface="ＭＳ Ｐゴシック" charset="0"/>
              <a:cs typeface="Arial" panose="020B0604020202020204" pitchFamily="34" charset="0"/>
            </a:endParaRPr>
          </a:p>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212121"/>
                </a:solidFill>
                <a:effectLst/>
                <a:uLnTx/>
                <a:uFillTx/>
                <a:latin typeface="Arial" panose="020B0604020202020204"/>
                <a:ea typeface="ＭＳ Ｐゴシック" charset="0"/>
                <a:cs typeface="Arial" panose="020B0604020202020204" pitchFamily="34" charset="0"/>
              </a:rPr>
              <a:t>Median PFS: </a:t>
            </a:r>
            <a:r>
              <a:rPr kumimoji="0" lang="en-US" sz="1600" b="0" i="0" u="none" strike="noStrike" kern="1200" cap="none" spc="0" normalizeH="0" baseline="0" noProof="0" dirty="0">
                <a:ln>
                  <a:noFill/>
                </a:ln>
                <a:solidFill>
                  <a:srgbClr val="212121"/>
                </a:solidFill>
                <a:effectLst/>
                <a:uLnTx/>
                <a:uFillTx/>
                <a:latin typeface="Arial" panose="020B0604020202020204"/>
                <a:ea typeface="MS PGothic" charset="0"/>
                <a:cs typeface="+mn-cs"/>
              </a:rPr>
              <a:t>9 months </a:t>
            </a:r>
          </a:p>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212121"/>
                </a:solidFill>
                <a:effectLst/>
                <a:uLnTx/>
                <a:uFillTx/>
                <a:latin typeface="Arial" panose="020B0604020202020204"/>
                <a:ea typeface="MS PGothic" charset="0"/>
                <a:cs typeface="+mn-cs"/>
              </a:rPr>
              <a:t>(95% CI: 5–10) </a:t>
            </a:r>
          </a:p>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1600" b="0" i="1" u="none" strike="noStrike" kern="1200" cap="none" spc="0" normalizeH="0" baseline="0" noProof="0" dirty="0">
                <a:ln>
                  <a:noFill/>
                </a:ln>
                <a:solidFill>
                  <a:srgbClr val="212121"/>
                </a:solidFill>
                <a:effectLst/>
                <a:uLnTx/>
                <a:uFillTx/>
                <a:latin typeface="Arial" panose="020B0604020202020204"/>
                <a:ea typeface="ＭＳ Ｐゴシック" charset="0"/>
                <a:cs typeface="Arial" panose="020B0604020202020204" pitchFamily="34" charset="0"/>
              </a:rPr>
              <a:t>by investigator assessment </a:t>
            </a:r>
          </a:p>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US" sz="1600" b="0" i="1" u="none" strike="noStrike" kern="1200" cap="none" spc="0" normalizeH="0" baseline="0" noProof="0" dirty="0">
              <a:ln>
                <a:noFill/>
              </a:ln>
              <a:solidFill>
                <a:srgbClr val="212121"/>
              </a:solidFill>
              <a:effectLst/>
              <a:uLnTx/>
              <a:uFillTx/>
              <a:latin typeface="Arial" panose="020B0604020202020204"/>
              <a:ea typeface="ＭＳ Ｐゴシック" charset="0"/>
              <a:cs typeface="Arial" panose="020B0604020202020204" pitchFamily="34" charset="0"/>
            </a:endParaRPr>
          </a:p>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212121"/>
                </a:solidFill>
                <a:effectLst/>
                <a:uLnTx/>
                <a:uFillTx/>
                <a:latin typeface="Arial" panose="020B0604020202020204"/>
                <a:ea typeface="ＭＳ Ｐゴシック" charset="0"/>
                <a:cs typeface="Arial" panose="020B0604020202020204" pitchFamily="34" charset="0"/>
              </a:rPr>
              <a:t>Median OS: </a:t>
            </a:r>
            <a:r>
              <a:rPr kumimoji="0" lang="en-US" sz="1600" b="0" i="0" u="none" strike="noStrike" kern="1200" cap="none" spc="0" normalizeH="0" baseline="0" noProof="0" dirty="0">
                <a:ln>
                  <a:noFill/>
                </a:ln>
                <a:solidFill>
                  <a:srgbClr val="212121"/>
                </a:solidFill>
                <a:effectLst/>
                <a:uLnTx/>
                <a:uFillTx/>
                <a:latin typeface="Arial" panose="020B0604020202020204"/>
                <a:ea typeface="MS PGothic" charset="0"/>
                <a:cs typeface="+mn-cs"/>
              </a:rPr>
              <a:t>14 months </a:t>
            </a:r>
          </a:p>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212121"/>
                </a:solidFill>
                <a:effectLst/>
                <a:uLnTx/>
                <a:uFillTx/>
                <a:latin typeface="Arial" panose="020B0604020202020204"/>
                <a:ea typeface="MS PGothic" charset="0"/>
                <a:cs typeface="+mn-cs"/>
              </a:rPr>
              <a:t>(95% CI: 10–33)</a:t>
            </a:r>
          </a:p>
        </p:txBody>
      </p:sp>
    </p:spTree>
    <p:extLst>
      <p:ext uri="{BB962C8B-B14F-4D97-AF65-F5344CB8AC3E}">
        <p14:creationId xmlns:p14="http://schemas.microsoft.com/office/powerpoint/2010/main" val="300901432"/>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C7C154-887B-49DF-B06A-CCEC1D000EDC}"/>
              </a:ext>
            </a:extLst>
          </p:cNvPr>
          <p:cNvSpPr>
            <a:spLocks noGrp="1"/>
          </p:cNvSpPr>
          <p:nvPr>
            <p:ph type="title"/>
          </p:nvPr>
        </p:nvSpPr>
        <p:spPr>
          <a:xfrm>
            <a:off x="1103243" y="184666"/>
            <a:ext cx="10479157" cy="977211"/>
          </a:xfrm>
        </p:spPr>
        <p:txBody>
          <a:bodyPr/>
          <a:lstStyle/>
          <a:p>
            <a:r>
              <a:rPr lang="en-US" altLang="en-US" dirty="0"/>
              <a:t>Targeting HER2 overexpression/amplification</a:t>
            </a:r>
            <a:endParaRPr lang="en-GB" dirty="0"/>
          </a:p>
        </p:txBody>
      </p:sp>
      <p:sp>
        <p:nvSpPr>
          <p:cNvPr id="9" name="Text Placeholder 4">
            <a:extLst>
              <a:ext uri="{FF2B5EF4-FFF2-40B4-BE49-F238E27FC236}">
                <a16:creationId xmlns:a16="http://schemas.microsoft.com/office/drawing/2014/main" id="{91500F70-8D5A-42F7-9583-61BE3FE7161B}"/>
              </a:ext>
            </a:extLst>
          </p:cNvPr>
          <p:cNvSpPr txBox="1">
            <a:spLocks/>
          </p:cNvSpPr>
          <p:nvPr/>
        </p:nvSpPr>
        <p:spPr>
          <a:xfrm>
            <a:off x="531318" y="6177321"/>
            <a:ext cx="11051082" cy="558800"/>
          </a:xfrm>
          <a:prstGeom prst="rect">
            <a:avLst/>
          </a:prstGeom>
        </p:spPr>
        <p:txBody>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2400" b="1"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Clr>
                <a:schemeClr val="accent2"/>
              </a:buClr>
              <a:buFont typeface="Arial" panose="020B0604020202020204" pitchFamily="34" charset="0"/>
              <a:buChar char="•"/>
              <a:defRPr sz="2000" b="1"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Clr>
                <a:schemeClr val="accent2"/>
              </a:buClr>
              <a:buFont typeface="Courier New" panose="02070309020205020404" pitchFamily="49" charset="0"/>
              <a:buChar char="o"/>
              <a:defRPr sz="1600" b="1"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Clr>
                <a:schemeClr val="accent2"/>
              </a:buClr>
              <a:buFont typeface="Courier New" panose="02070309020205020404" pitchFamily="49" charset="0"/>
              <a:buChar char="o"/>
              <a:defRPr sz="1000" b="1"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
                <a:srgbClr val="43921E"/>
              </a:buClr>
              <a:buSzTx/>
              <a:buFont typeface="Arial" panose="020B0604020202020204" pitchFamily="34" charset="0"/>
              <a:buNone/>
              <a:tabLst/>
              <a:defRPr/>
            </a:pPr>
            <a:r>
              <a:rPr kumimoji="0" lang="en-GB" sz="1050" b="0" i="0" u="none" strike="noStrike" kern="1200" cap="none" spc="0" normalizeH="0" baseline="0" noProof="0" dirty="0">
                <a:ln>
                  <a:noFill/>
                </a:ln>
                <a:solidFill>
                  <a:srgbClr val="212121"/>
                </a:solidFill>
                <a:effectLst/>
                <a:uLnTx/>
                <a:uFillTx/>
                <a:latin typeface="Arial" panose="020B0604020202020204"/>
                <a:ea typeface="+mn-ea"/>
                <a:cs typeface="+mn-cs"/>
              </a:rPr>
              <a:t>DOR, duration of response; HER2, human epidermal growth factor receptor 2; ORR, objective response rate</a:t>
            </a:r>
          </a:p>
          <a:p>
            <a:pPr marL="0" marR="0" lvl="0" indent="0" algn="l" defTabSz="914400" rtl="0" eaLnBrk="1" fontAlgn="auto" latinLnBrk="0" hangingPunct="1">
              <a:lnSpc>
                <a:spcPct val="90000"/>
              </a:lnSpc>
              <a:spcBef>
                <a:spcPts val="0"/>
              </a:spcBef>
              <a:spcAft>
                <a:spcPts val="0"/>
              </a:spcAft>
              <a:buClr>
                <a:srgbClr val="43921E"/>
              </a:buClr>
              <a:buSzTx/>
              <a:buFont typeface="Arial" panose="020B0604020202020204" pitchFamily="34" charset="0"/>
              <a:buNone/>
              <a:tabLst/>
              <a:defRPr/>
            </a:pPr>
            <a:endParaRPr kumimoji="0" lang="en-GB" sz="1050" b="0" i="0" u="none" strike="noStrike" kern="1200" cap="none" spc="0" normalizeH="0" baseline="0" noProof="0" dirty="0">
              <a:ln>
                <a:noFill/>
              </a:ln>
              <a:solidFill>
                <a:srgbClr val="212121"/>
              </a:solidFill>
              <a:effectLst/>
              <a:uLnTx/>
              <a:uFillTx/>
              <a:latin typeface="Arial" panose="020B0604020202020204"/>
              <a:ea typeface="+mn-ea"/>
              <a:cs typeface="+mn-cs"/>
            </a:endParaRPr>
          </a:p>
          <a:p>
            <a:pPr marL="0" marR="0" lvl="0" indent="0" algn="l" defTabSz="914400" rtl="0" eaLnBrk="1" fontAlgn="auto" latinLnBrk="0" hangingPunct="1">
              <a:lnSpc>
                <a:spcPct val="90000"/>
              </a:lnSpc>
              <a:spcBef>
                <a:spcPts val="0"/>
              </a:spcBef>
              <a:spcAft>
                <a:spcPts val="0"/>
              </a:spcAft>
              <a:buClr>
                <a:srgbClr val="43921E"/>
              </a:buClr>
              <a:buSzTx/>
              <a:buFont typeface="Arial" panose="020B0604020202020204" pitchFamily="34" charset="0"/>
              <a:buNone/>
              <a:tabLst/>
              <a:defRPr/>
            </a:pPr>
            <a:r>
              <a:rPr kumimoji="0" lang="en-US" sz="1050" b="0" i="0" u="none" strike="noStrike" kern="1200" cap="none" spc="0" normalizeH="0" baseline="0" noProof="0" dirty="0" err="1">
                <a:ln>
                  <a:noFill/>
                </a:ln>
                <a:solidFill>
                  <a:srgbClr val="212121"/>
                </a:solidFill>
                <a:effectLst/>
                <a:uLnTx/>
                <a:uFillTx/>
                <a:latin typeface="Arial" panose="020B0604020202020204"/>
                <a:ea typeface="+mn-ea"/>
                <a:cs typeface="+mn-cs"/>
              </a:rPr>
              <a:t>Javle</a:t>
            </a:r>
            <a:r>
              <a:rPr kumimoji="0" lang="en-US" sz="1050" b="0" i="0" u="none" strike="noStrike" kern="1200" cap="none" spc="0" normalizeH="0" baseline="0" noProof="0" dirty="0">
                <a:ln>
                  <a:noFill/>
                </a:ln>
                <a:solidFill>
                  <a:srgbClr val="212121"/>
                </a:solidFill>
                <a:effectLst/>
                <a:uLnTx/>
                <a:uFillTx/>
                <a:latin typeface="Arial" panose="020B0604020202020204"/>
                <a:ea typeface="+mn-ea"/>
                <a:cs typeface="+mn-cs"/>
              </a:rPr>
              <a:t> M et al. </a:t>
            </a:r>
            <a:r>
              <a:rPr kumimoji="0" lang="it-IT" sz="1050" b="0" i="0" u="none" strike="noStrike" kern="1200" cap="none" spc="0" normalizeH="0" baseline="0" noProof="0" dirty="0">
                <a:ln>
                  <a:noFill/>
                </a:ln>
                <a:solidFill>
                  <a:srgbClr val="212121"/>
                </a:solidFill>
                <a:effectLst/>
                <a:uLnTx/>
                <a:uFillTx/>
                <a:latin typeface="Arial" panose="020B0604020202020204"/>
                <a:ea typeface="+mn-ea"/>
                <a:cs typeface="+mn-cs"/>
              </a:rPr>
              <a:t>Lancet Oncol 2021;22(9):1290-1300; </a:t>
            </a:r>
            <a:r>
              <a:rPr kumimoji="0" lang="it-IT" sz="1050" b="0" i="0" u="none" strike="noStrike" kern="1200" cap="none" spc="0" normalizeH="0" baseline="0" noProof="0" dirty="0" err="1">
                <a:ln>
                  <a:noFill/>
                </a:ln>
                <a:solidFill>
                  <a:srgbClr val="212121"/>
                </a:solidFill>
                <a:effectLst/>
                <a:uLnTx/>
                <a:uFillTx/>
                <a:latin typeface="Arial" panose="020B0604020202020204"/>
                <a:ea typeface="+mn-ea"/>
                <a:cs typeface="+mn-cs"/>
              </a:rPr>
              <a:t>Ohba</a:t>
            </a:r>
            <a:r>
              <a:rPr kumimoji="0" lang="it-IT" sz="1050" b="0" i="0" u="none" strike="noStrike" kern="1200" cap="none" spc="0" normalizeH="0" baseline="0" noProof="0" dirty="0">
                <a:ln>
                  <a:noFill/>
                </a:ln>
                <a:solidFill>
                  <a:srgbClr val="212121"/>
                </a:solidFill>
                <a:effectLst/>
                <a:uLnTx/>
                <a:uFillTx/>
                <a:latin typeface="Arial" panose="020B0604020202020204"/>
                <a:ea typeface="+mn-ea"/>
                <a:cs typeface="+mn-cs"/>
              </a:rPr>
              <a:t> A et al. ASCO 2022;Abstract 4006; </a:t>
            </a:r>
            <a:r>
              <a:rPr kumimoji="0" lang="it-IT" sz="1050" b="0" i="0" u="none" strike="noStrike" kern="1200" cap="none" spc="0" normalizeH="0" baseline="0" noProof="0" dirty="0" err="1">
                <a:ln>
                  <a:noFill/>
                </a:ln>
                <a:solidFill>
                  <a:srgbClr val="212121"/>
                </a:solidFill>
                <a:effectLst/>
                <a:uLnTx/>
                <a:uFillTx/>
                <a:latin typeface="Arial" panose="020B0604020202020204"/>
                <a:ea typeface="+mn-ea"/>
                <a:cs typeface="+mn-cs"/>
              </a:rPr>
              <a:t>Meric-Bernstam</a:t>
            </a:r>
            <a:r>
              <a:rPr kumimoji="0" lang="it-IT" sz="1050" b="0" i="0" u="none" strike="noStrike" kern="1200" cap="none" spc="0" normalizeH="0" baseline="0" noProof="0" dirty="0">
                <a:ln>
                  <a:noFill/>
                </a:ln>
                <a:solidFill>
                  <a:srgbClr val="212121"/>
                </a:solidFill>
                <a:effectLst/>
                <a:uLnTx/>
                <a:uFillTx/>
                <a:latin typeface="Arial" panose="020B0604020202020204"/>
                <a:ea typeface="+mn-ea"/>
                <a:cs typeface="+mn-cs"/>
              </a:rPr>
              <a:t> </a:t>
            </a:r>
            <a:r>
              <a:rPr kumimoji="0" lang="it-IT" sz="1050" b="0" i="0" u="none" strike="noStrike" kern="1200" cap="none" spc="0" normalizeH="0" baseline="0" noProof="0" dirty="0" err="1">
                <a:ln>
                  <a:noFill/>
                </a:ln>
                <a:solidFill>
                  <a:srgbClr val="212121"/>
                </a:solidFill>
                <a:effectLst/>
                <a:uLnTx/>
                <a:uFillTx/>
                <a:latin typeface="Arial" panose="020B0604020202020204"/>
                <a:ea typeface="+mn-ea"/>
                <a:cs typeface="+mn-cs"/>
              </a:rPr>
              <a:t>F</a:t>
            </a:r>
            <a:r>
              <a:rPr kumimoji="0" lang="it-IT" sz="1050" b="0" i="0" u="none" strike="noStrike" kern="1200" cap="none" spc="0" normalizeH="0" baseline="0" noProof="0" dirty="0">
                <a:ln>
                  <a:noFill/>
                </a:ln>
                <a:solidFill>
                  <a:srgbClr val="212121"/>
                </a:solidFill>
                <a:effectLst/>
                <a:uLnTx/>
                <a:uFillTx/>
                <a:latin typeface="Arial" panose="020B0604020202020204"/>
                <a:ea typeface="+mn-ea"/>
                <a:cs typeface="+mn-cs"/>
              </a:rPr>
              <a:t> et al. </a:t>
            </a:r>
            <a:r>
              <a:rPr kumimoji="0" lang="it-IT" sz="1050" b="0" i="0" u="none" strike="noStrike" kern="1200" cap="none" spc="0" normalizeH="0" baseline="0" noProof="0" dirty="0" err="1">
                <a:ln>
                  <a:noFill/>
                </a:ln>
                <a:solidFill>
                  <a:srgbClr val="212121"/>
                </a:solidFill>
                <a:effectLst/>
                <a:uLnTx/>
                <a:uFillTx/>
                <a:latin typeface="Arial" panose="020B0604020202020204"/>
                <a:ea typeface="+mn-ea"/>
                <a:cs typeface="+mn-cs"/>
              </a:rPr>
              <a:t>Gastrointestinal</a:t>
            </a:r>
            <a:r>
              <a:rPr kumimoji="0" lang="it-IT" sz="1050" b="0" i="0" u="none" strike="noStrike" kern="1200" cap="none" spc="0" normalizeH="0" baseline="0" noProof="0" dirty="0">
                <a:ln>
                  <a:noFill/>
                </a:ln>
                <a:solidFill>
                  <a:srgbClr val="212121"/>
                </a:solidFill>
                <a:effectLst/>
                <a:uLnTx/>
                <a:uFillTx/>
                <a:latin typeface="Arial" panose="020B0604020202020204"/>
                <a:ea typeface="+mn-ea"/>
                <a:cs typeface="+mn-cs"/>
              </a:rPr>
              <a:t> </a:t>
            </a:r>
            <a:r>
              <a:rPr kumimoji="0" lang="it-IT" sz="1050" b="0" i="0" u="none" strike="noStrike" kern="1200" cap="none" spc="0" normalizeH="0" baseline="0" noProof="0" dirty="0" err="1">
                <a:ln>
                  <a:noFill/>
                </a:ln>
                <a:solidFill>
                  <a:srgbClr val="212121"/>
                </a:solidFill>
                <a:effectLst/>
                <a:uLnTx/>
                <a:uFillTx/>
                <a:latin typeface="Arial" panose="020B0604020202020204"/>
                <a:ea typeface="+mn-ea"/>
                <a:cs typeface="+mn-cs"/>
              </a:rPr>
              <a:t>Cancers</a:t>
            </a:r>
            <a:r>
              <a:rPr kumimoji="0" lang="it-IT" sz="1050" b="0" i="0" u="none" strike="noStrike" kern="1200" cap="none" spc="0" normalizeH="0" baseline="0" noProof="0" dirty="0">
                <a:ln>
                  <a:noFill/>
                </a:ln>
                <a:solidFill>
                  <a:srgbClr val="212121"/>
                </a:solidFill>
                <a:effectLst/>
                <a:uLnTx/>
                <a:uFillTx/>
                <a:latin typeface="Arial" panose="020B0604020202020204"/>
                <a:ea typeface="+mn-ea"/>
                <a:cs typeface="+mn-cs"/>
              </a:rPr>
              <a:t> Symposium 2021;Abstract 299.</a:t>
            </a:r>
            <a:endParaRPr kumimoji="0" lang="en-US" sz="1050" b="0" i="0" u="none" strike="noStrike" kern="1200" cap="none" spc="0" normalizeH="0" baseline="0" noProof="0" dirty="0">
              <a:ln>
                <a:noFill/>
              </a:ln>
              <a:solidFill>
                <a:srgbClr val="212121"/>
              </a:solidFill>
              <a:effectLst/>
              <a:uLnTx/>
              <a:uFillTx/>
              <a:latin typeface="Arial" panose="020B0604020202020204"/>
              <a:ea typeface="+mn-ea"/>
              <a:cs typeface="+mn-cs"/>
            </a:endParaRPr>
          </a:p>
        </p:txBody>
      </p:sp>
      <p:sp>
        <p:nvSpPr>
          <p:cNvPr id="4" name="TextBox 3">
            <a:extLst>
              <a:ext uri="{FF2B5EF4-FFF2-40B4-BE49-F238E27FC236}">
                <a16:creationId xmlns:a16="http://schemas.microsoft.com/office/drawing/2014/main" id="{D69F0F38-1949-406C-8EC4-37AD71119678}"/>
              </a:ext>
            </a:extLst>
          </p:cNvPr>
          <p:cNvSpPr txBox="1"/>
          <p:nvPr/>
        </p:nvSpPr>
        <p:spPr>
          <a:xfrm>
            <a:off x="384033" y="1249476"/>
            <a:ext cx="3420854" cy="646331"/>
          </a:xfrm>
          <a:prstGeom prst="rect">
            <a:avLst/>
          </a:prstGeom>
          <a:noFill/>
        </p:spPr>
        <p:txBody>
          <a:bodyPr wrap="square" rtlCol="0">
            <a:spAutoFit/>
          </a:bodyPr>
          <a:lstStyle>
            <a:defPPr>
              <a:defRPr lang="en-US"/>
            </a:defPPr>
            <a:lvl1pPr algn="ctr">
              <a:defRPr b="1"/>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212121"/>
                </a:solidFill>
                <a:effectLst/>
                <a:uLnTx/>
                <a:uFillTx/>
                <a:latin typeface="Arial" panose="020B0604020202020204"/>
                <a:ea typeface="MS PGothic" charset="0"/>
                <a:cs typeface="+mn-cs"/>
              </a:rPr>
              <a:t>Trastuzumab/</a:t>
            </a:r>
            <a:r>
              <a:rPr kumimoji="0" lang="en-US" sz="1800" b="1" i="0" u="none" strike="noStrike" kern="1200" cap="none" spc="0" normalizeH="0" baseline="0" noProof="0" dirty="0" err="1">
                <a:ln>
                  <a:noFill/>
                </a:ln>
                <a:solidFill>
                  <a:srgbClr val="212121"/>
                </a:solidFill>
                <a:effectLst/>
                <a:uLnTx/>
                <a:uFillTx/>
                <a:latin typeface="Arial" panose="020B0604020202020204"/>
                <a:ea typeface="MS PGothic" charset="0"/>
                <a:cs typeface="+mn-cs"/>
              </a:rPr>
              <a:t>Pertuzumab</a:t>
            </a:r>
            <a:endParaRPr kumimoji="0" lang="en-US" sz="1800" b="1" i="0" u="none" strike="noStrike" kern="1200" cap="none" spc="0" normalizeH="0" baseline="0" noProof="0" dirty="0">
              <a:ln>
                <a:noFill/>
              </a:ln>
              <a:solidFill>
                <a:srgbClr val="212121"/>
              </a:solidFill>
              <a:effectLst/>
              <a:uLnTx/>
              <a:uFillTx/>
              <a:latin typeface="Arial" panose="020B0604020202020204"/>
              <a:ea typeface="MS PGothic" charset="0"/>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err="1">
                <a:ln>
                  <a:noFill/>
                </a:ln>
                <a:solidFill>
                  <a:srgbClr val="212121"/>
                </a:solidFill>
                <a:effectLst/>
                <a:uLnTx/>
                <a:uFillTx/>
                <a:latin typeface="Arial" panose="020B0604020202020204"/>
                <a:ea typeface="MS PGothic" charset="0"/>
                <a:cs typeface="+mn-cs"/>
              </a:rPr>
              <a:t>MyPathway</a:t>
            </a:r>
            <a:r>
              <a:rPr kumimoji="0" lang="en-US" sz="1800" b="1" i="0" u="none" strike="noStrike" kern="1200" cap="none" spc="0" normalizeH="0" baseline="0" noProof="0" dirty="0">
                <a:ln>
                  <a:noFill/>
                </a:ln>
                <a:solidFill>
                  <a:srgbClr val="212121"/>
                </a:solidFill>
                <a:effectLst/>
                <a:uLnTx/>
                <a:uFillTx/>
                <a:latin typeface="Arial" panose="020B0604020202020204"/>
                <a:ea typeface="MS PGothic" charset="0"/>
                <a:cs typeface="+mn-cs"/>
              </a:rPr>
              <a:t> </a:t>
            </a:r>
          </a:p>
        </p:txBody>
      </p:sp>
      <p:pic>
        <p:nvPicPr>
          <p:cNvPr id="3" name="Picture 2">
            <a:extLst>
              <a:ext uri="{FF2B5EF4-FFF2-40B4-BE49-F238E27FC236}">
                <a16:creationId xmlns:a16="http://schemas.microsoft.com/office/drawing/2014/main" id="{8035147B-E241-4D2A-A714-3EAAE2DE6F9C}"/>
              </a:ext>
            </a:extLst>
          </p:cNvPr>
          <p:cNvPicPr>
            <a:picLocks noChangeAspect="1"/>
          </p:cNvPicPr>
          <p:nvPr/>
        </p:nvPicPr>
        <p:blipFill>
          <a:blip r:embed="rId3"/>
          <a:stretch>
            <a:fillRect/>
          </a:stretch>
        </p:blipFill>
        <p:spPr>
          <a:xfrm>
            <a:off x="531319" y="1983405"/>
            <a:ext cx="3699525" cy="1993314"/>
          </a:xfrm>
          <a:prstGeom prst="rect">
            <a:avLst/>
          </a:prstGeom>
        </p:spPr>
      </p:pic>
      <p:sp>
        <p:nvSpPr>
          <p:cNvPr id="5" name="TextBox 4">
            <a:extLst>
              <a:ext uri="{FF2B5EF4-FFF2-40B4-BE49-F238E27FC236}">
                <a16:creationId xmlns:a16="http://schemas.microsoft.com/office/drawing/2014/main" id="{E7F6966D-130F-4247-C514-C03103B208BA}"/>
              </a:ext>
            </a:extLst>
          </p:cNvPr>
          <p:cNvSpPr txBox="1"/>
          <p:nvPr/>
        </p:nvSpPr>
        <p:spPr>
          <a:xfrm>
            <a:off x="589619" y="4696572"/>
            <a:ext cx="3009681" cy="120032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12121"/>
                </a:solidFill>
                <a:effectLst/>
                <a:uLnTx/>
                <a:uFillTx/>
                <a:latin typeface="Arial" panose="020B0604020202020204"/>
                <a:ea typeface="+mn-ea"/>
                <a:cs typeface="+mn-cs"/>
              </a:rPr>
              <a:t>ORR 2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12121"/>
                </a:solidFill>
                <a:effectLst/>
                <a:uLnTx/>
                <a:uFillTx/>
                <a:latin typeface="Arial" panose="020B0604020202020204"/>
                <a:ea typeface="+mn-ea"/>
                <a:cs typeface="+mn-cs"/>
              </a:rPr>
              <a:t>Median DOR 10.8 months (0.7-25.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12121"/>
                </a:solidFill>
                <a:effectLst/>
                <a:uLnTx/>
                <a:uFillTx/>
                <a:latin typeface="Arial" panose="020B0604020202020204"/>
                <a:ea typeface="+mn-ea"/>
                <a:cs typeface="+mn-cs"/>
              </a:rPr>
              <a:t>N=39 patients</a:t>
            </a:r>
          </a:p>
        </p:txBody>
      </p:sp>
      <p:pic>
        <p:nvPicPr>
          <p:cNvPr id="6" name="Picture 5">
            <a:extLst>
              <a:ext uri="{FF2B5EF4-FFF2-40B4-BE49-F238E27FC236}">
                <a16:creationId xmlns:a16="http://schemas.microsoft.com/office/drawing/2014/main" id="{DAC14990-59D8-B404-7E70-9CFC40272F23}"/>
              </a:ext>
            </a:extLst>
          </p:cNvPr>
          <p:cNvPicPr>
            <a:picLocks noChangeAspect="1"/>
          </p:cNvPicPr>
          <p:nvPr/>
        </p:nvPicPr>
        <p:blipFill>
          <a:blip r:embed="rId4"/>
          <a:stretch>
            <a:fillRect/>
          </a:stretch>
        </p:blipFill>
        <p:spPr>
          <a:xfrm>
            <a:off x="4619737" y="1983405"/>
            <a:ext cx="3613920" cy="2669875"/>
          </a:xfrm>
          <a:prstGeom prst="rect">
            <a:avLst/>
          </a:prstGeom>
        </p:spPr>
      </p:pic>
      <p:sp>
        <p:nvSpPr>
          <p:cNvPr id="8" name="TextBox 7">
            <a:extLst>
              <a:ext uri="{FF2B5EF4-FFF2-40B4-BE49-F238E27FC236}">
                <a16:creationId xmlns:a16="http://schemas.microsoft.com/office/drawing/2014/main" id="{76998943-267C-CF14-FE2C-8AC05D067373}"/>
              </a:ext>
            </a:extLst>
          </p:cNvPr>
          <p:cNvSpPr txBox="1"/>
          <p:nvPr/>
        </p:nvSpPr>
        <p:spPr>
          <a:xfrm>
            <a:off x="4716270" y="1249476"/>
            <a:ext cx="3420854" cy="369332"/>
          </a:xfrm>
          <a:prstGeom prst="rect">
            <a:avLst/>
          </a:prstGeom>
          <a:noFill/>
        </p:spPr>
        <p:txBody>
          <a:bodyPr wrap="square" rtlCol="0">
            <a:spAutoFit/>
          </a:bodyPr>
          <a:lstStyle>
            <a:defPPr>
              <a:defRPr lang="en-US"/>
            </a:defPPr>
            <a:lvl1pPr algn="ctr">
              <a:defRPr b="1"/>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212121"/>
                </a:solidFill>
                <a:effectLst/>
                <a:uLnTx/>
                <a:uFillTx/>
                <a:latin typeface="Arial" panose="020B0604020202020204"/>
                <a:ea typeface="MS PGothic" charset="0"/>
                <a:cs typeface="+mn-cs"/>
              </a:rPr>
              <a:t>Trastuzumab deruxtecan</a:t>
            </a:r>
          </a:p>
        </p:txBody>
      </p:sp>
      <p:sp>
        <p:nvSpPr>
          <p:cNvPr id="10" name="TextBox 9">
            <a:extLst>
              <a:ext uri="{FF2B5EF4-FFF2-40B4-BE49-F238E27FC236}">
                <a16:creationId xmlns:a16="http://schemas.microsoft.com/office/drawing/2014/main" id="{D37276F1-07E6-20FD-0596-ED05F0A8D7E6}"/>
              </a:ext>
            </a:extLst>
          </p:cNvPr>
          <p:cNvSpPr txBox="1"/>
          <p:nvPr/>
        </p:nvSpPr>
        <p:spPr>
          <a:xfrm>
            <a:off x="8459187" y="1249476"/>
            <a:ext cx="3420854" cy="369332"/>
          </a:xfrm>
          <a:prstGeom prst="rect">
            <a:avLst/>
          </a:prstGeom>
          <a:noFill/>
        </p:spPr>
        <p:txBody>
          <a:bodyPr wrap="square" rtlCol="0">
            <a:spAutoFit/>
          </a:bodyPr>
          <a:lstStyle>
            <a:defPPr>
              <a:defRPr lang="en-US"/>
            </a:defPPr>
            <a:lvl1pPr algn="ctr">
              <a:defRPr b="1"/>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err="1">
                <a:ln>
                  <a:noFill/>
                </a:ln>
                <a:solidFill>
                  <a:srgbClr val="212121"/>
                </a:solidFill>
                <a:effectLst/>
                <a:uLnTx/>
                <a:uFillTx/>
                <a:latin typeface="Arial" panose="020B0604020202020204"/>
                <a:ea typeface="MS PGothic" charset="0"/>
                <a:cs typeface="+mn-cs"/>
              </a:rPr>
              <a:t>Zanidatamab</a:t>
            </a:r>
            <a:endParaRPr kumimoji="0" lang="en-US" sz="1800" b="1" i="0" u="none" strike="noStrike" kern="1200" cap="none" spc="0" normalizeH="0" baseline="0" noProof="0" dirty="0">
              <a:ln>
                <a:noFill/>
              </a:ln>
              <a:solidFill>
                <a:srgbClr val="212121"/>
              </a:solidFill>
              <a:effectLst/>
              <a:uLnTx/>
              <a:uFillTx/>
              <a:latin typeface="Arial" panose="020B0604020202020204"/>
              <a:ea typeface="MS PGothic" charset="0"/>
              <a:cs typeface="+mn-cs"/>
            </a:endParaRPr>
          </a:p>
        </p:txBody>
      </p:sp>
      <p:sp>
        <p:nvSpPr>
          <p:cNvPr id="11" name="TextBox 10">
            <a:extLst>
              <a:ext uri="{FF2B5EF4-FFF2-40B4-BE49-F238E27FC236}">
                <a16:creationId xmlns:a16="http://schemas.microsoft.com/office/drawing/2014/main" id="{889DBC7F-CB33-124F-EA8F-F7287800D133}"/>
              </a:ext>
            </a:extLst>
          </p:cNvPr>
          <p:cNvSpPr txBox="1"/>
          <p:nvPr/>
        </p:nvSpPr>
        <p:spPr>
          <a:xfrm>
            <a:off x="4962016" y="4794994"/>
            <a:ext cx="2761610" cy="9233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12121"/>
                </a:solidFill>
                <a:effectLst/>
                <a:uLnTx/>
                <a:uFillTx/>
                <a:latin typeface="Arial" panose="020B0604020202020204"/>
                <a:ea typeface="+mn-ea"/>
                <a:cs typeface="+mn-cs"/>
              </a:rPr>
              <a:t>ORR 36.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12121"/>
                </a:solidFill>
                <a:effectLst/>
                <a:uLnTx/>
                <a:uFillTx/>
                <a:latin typeface="Arial" panose="020B0604020202020204"/>
                <a:ea typeface="+mn-ea"/>
                <a:cs typeface="+mn-cs"/>
              </a:rPr>
              <a:t>Median DOR 7.4 months (n=22) </a:t>
            </a:r>
          </a:p>
        </p:txBody>
      </p:sp>
      <p:pic>
        <p:nvPicPr>
          <p:cNvPr id="12" name="Picture 11">
            <a:extLst>
              <a:ext uri="{FF2B5EF4-FFF2-40B4-BE49-F238E27FC236}">
                <a16:creationId xmlns:a16="http://schemas.microsoft.com/office/drawing/2014/main" id="{DA550B64-A5CC-A552-4236-A601E725B012}"/>
              </a:ext>
            </a:extLst>
          </p:cNvPr>
          <p:cNvPicPr>
            <a:picLocks noChangeAspect="1"/>
          </p:cNvPicPr>
          <p:nvPr/>
        </p:nvPicPr>
        <p:blipFill rotWithShape="1">
          <a:blip r:embed="rId5">
            <a:extLst>
              <a:ext uri="{BEBA8EAE-BF5A-486C-A8C5-ECC9F3942E4B}">
                <a14:imgProps xmlns:a14="http://schemas.microsoft.com/office/drawing/2010/main">
                  <a14:imgLayer r:embed="rId6">
                    <a14:imgEffect>
                      <a14:sharpenSoften amount="25000"/>
                    </a14:imgEffect>
                  </a14:imgLayer>
                </a14:imgProps>
              </a:ext>
            </a:extLst>
          </a:blip>
          <a:srcRect b="18605"/>
          <a:stretch/>
        </p:blipFill>
        <p:spPr>
          <a:xfrm>
            <a:off x="8407042" y="1952371"/>
            <a:ext cx="3525144" cy="2055381"/>
          </a:xfrm>
          <a:prstGeom prst="rect">
            <a:avLst/>
          </a:prstGeom>
        </p:spPr>
      </p:pic>
      <p:sp>
        <p:nvSpPr>
          <p:cNvPr id="13" name="TextBox 12">
            <a:extLst>
              <a:ext uri="{FF2B5EF4-FFF2-40B4-BE49-F238E27FC236}">
                <a16:creationId xmlns:a16="http://schemas.microsoft.com/office/drawing/2014/main" id="{1181EF83-65CC-6F72-D5E0-3CE13BC99B7D}"/>
              </a:ext>
            </a:extLst>
          </p:cNvPr>
          <p:cNvSpPr txBox="1"/>
          <p:nvPr/>
        </p:nvSpPr>
        <p:spPr>
          <a:xfrm>
            <a:off x="8651003" y="4696573"/>
            <a:ext cx="3103552" cy="120032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12121"/>
                </a:solidFill>
                <a:effectLst/>
                <a:uLnTx/>
                <a:uFillTx/>
                <a:latin typeface="Arial" panose="020B0604020202020204"/>
                <a:ea typeface="+mn-ea"/>
                <a:cs typeface="+mn-cs"/>
              </a:rPr>
              <a:t>ORR 4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12121"/>
                </a:solidFill>
                <a:effectLst/>
                <a:uLnTx/>
                <a:uFillTx/>
                <a:latin typeface="Arial" panose="020B0604020202020204"/>
                <a:ea typeface="+mn-ea"/>
                <a:cs typeface="+mn-cs"/>
              </a:rPr>
              <a:t>Median DOR 7.4 months (3.2-N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12121"/>
                </a:solidFill>
                <a:effectLst/>
                <a:uLnTx/>
                <a:uFillTx/>
                <a:latin typeface="Arial" panose="020B0604020202020204"/>
                <a:ea typeface="+mn-ea"/>
                <a:cs typeface="+mn-cs"/>
              </a:rPr>
              <a:t>(n=20)</a:t>
            </a:r>
          </a:p>
        </p:txBody>
      </p:sp>
    </p:spTree>
    <p:extLst>
      <p:ext uri="{BB962C8B-B14F-4D97-AF65-F5344CB8AC3E}">
        <p14:creationId xmlns:p14="http://schemas.microsoft.com/office/powerpoint/2010/main" val="360733312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6D99EA41-950A-FC4F-9049-A7DC9674DA45}"/>
              </a:ext>
            </a:extLst>
          </p:cNvPr>
          <p:cNvSpPr/>
          <p:nvPr/>
        </p:nvSpPr>
        <p:spPr bwMode="auto">
          <a:xfrm>
            <a:off x="1007220" y="460267"/>
            <a:ext cx="10177559" cy="1411719"/>
          </a:xfrm>
          <a:prstGeom prst="rect">
            <a:avLst/>
          </a:prstGeom>
          <a:solidFill>
            <a:srgbClr val="1599B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S PGothic" charset="0"/>
              <a:cs typeface="+mn-cs"/>
            </a:endParaRPr>
          </a:p>
        </p:txBody>
      </p:sp>
      <p:sp>
        <p:nvSpPr>
          <p:cNvPr id="14" name="Title 1">
            <a:extLst>
              <a:ext uri="{FF2B5EF4-FFF2-40B4-BE49-F238E27FC236}">
                <a16:creationId xmlns:a16="http://schemas.microsoft.com/office/drawing/2014/main" id="{95846D9E-D007-AA40-B7BA-36E748F96750}"/>
              </a:ext>
            </a:extLst>
          </p:cNvPr>
          <p:cNvSpPr>
            <a:spLocks noGrp="1"/>
          </p:cNvSpPr>
          <p:nvPr>
            <p:ph type="title"/>
          </p:nvPr>
        </p:nvSpPr>
        <p:spPr>
          <a:xfrm>
            <a:off x="1122024" y="677090"/>
            <a:ext cx="10062756" cy="1095726"/>
          </a:xfrm>
        </p:spPr>
        <p:txBody>
          <a:bodyPr lIns="91440" tIns="91440" rIns="91440" bIns="182880"/>
          <a:lstStyle/>
          <a:p>
            <a:pPr algn="l"/>
            <a:r>
              <a:rPr lang="en-US" dirty="0">
                <a:solidFill>
                  <a:schemeClr val="bg1"/>
                </a:solidFill>
              </a:rPr>
              <a:t>Case Presentation: 70-year-old man with newly diagnosed metastatic HCC receives atezolizumab/bevacizumab </a:t>
            </a:r>
          </a:p>
        </p:txBody>
      </p:sp>
      <p:sp>
        <p:nvSpPr>
          <p:cNvPr id="8" name="Title 1">
            <a:extLst>
              <a:ext uri="{FF2B5EF4-FFF2-40B4-BE49-F238E27FC236}">
                <a16:creationId xmlns:a16="http://schemas.microsoft.com/office/drawing/2014/main" id="{1531812E-AB8F-744C-8E9F-5771D5F41B77}"/>
              </a:ext>
            </a:extLst>
          </p:cNvPr>
          <p:cNvSpPr txBox="1">
            <a:spLocks/>
          </p:cNvSpPr>
          <p:nvPr/>
        </p:nvSpPr>
        <p:spPr bwMode="auto">
          <a:xfrm>
            <a:off x="0" y="5770286"/>
            <a:ext cx="12192000" cy="6858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800" b="1" i="0" u="none" strike="noStrike" kern="1200" cap="none" spc="0" normalizeH="0" baseline="0" noProof="0" dirty="0">
                <a:ln>
                  <a:noFill/>
                </a:ln>
                <a:solidFill>
                  <a:srgbClr val="062060"/>
                </a:solidFill>
                <a:effectLst/>
                <a:uLnTx/>
                <a:uFillTx/>
                <a:latin typeface="Calibri"/>
                <a:ea typeface="MS PGothic" pitchFamily="34" charset="-128"/>
                <a:cs typeface="Calibri"/>
              </a:rPr>
              <a:t>Dr Warren Brenner (Boca Raton, Florida)</a:t>
            </a:r>
          </a:p>
        </p:txBody>
      </p:sp>
      <p:pic>
        <p:nvPicPr>
          <p:cNvPr id="3" name="Picture 2" descr="A person wearing headphones&#10;&#10;Description automatically generated with medium confidence">
            <a:extLst>
              <a:ext uri="{FF2B5EF4-FFF2-40B4-BE49-F238E27FC236}">
                <a16:creationId xmlns:a16="http://schemas.microsoft.com/office/drawing/2014/main" id="{AA856A75-7CA3-C0BF-9F43-709426F904C5}"/>
              </a:ext>
            </a:extLst>
          </p:cNvPr>
          <p:cNvPicPr>
            <a:picLocks noChangeAspect="1"/>
          </p:cNvPicPr>
          <p:nvPr/>
        </p:nvPicPr>
        <p:blipFill>
          <a:blip r:embed="rId2"/>
          <a:stretch>
            <a:fillRect/>
          </a:stretch>
        </p:blipFill>
        <p:spPr>
          <a:xfrm>
            <a:off x="2830286" y="2230673"/>
            <a:ext cx="6284030" cy="3534767"/>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406432977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C7C154-887B-49DF-B06A-CCEC1D000EDC}"/>
              </a:ext>
            </a:extLst>
          </p:cNvPr>
          <p:cNvSpPr>
            <a:spLocks noGrp="1"/>
          </p:cNvSpPr>
          <p:nvPr>
            <p:ph type="title"/>
          </p:nvPr>
        </p:nvSpPr>
        <p:spPr/>
        <p:txBody>
          <a:bodyPr/>
          <a:lstStyle/>
          <a:p>
            <a:r>
              <a:rPr lang="en-US" altLang="en-US" dirty="0"/>
              <a:t>Targeting NTRK and RET Fusions</a:t>
            </a:r>
            <a:endParaRPr lang="en-GB" dirty="0"/>
          </a:p>
        </p:txBody>
      </p:sp>
      <p:sp>
        <p:nvSpPr>
          <p:cNvPr id="9" name="Text Placeholder 4">
            <a:extLst>
              <a:ext uri="{FF2B5EF4-FFF2-40B4-BE49-F238E27FC236}">
                <a16:creationId xmlns:a16="http://schemas.microsoft.com/office/drawing/2014/main" id="{91500F70-8D5A-42F7-9583-61BE3FE7161B}"/>
              </a:ext>
            </a:extLst>
          </p:cNvPr>
          <p:cNvSpPr txBox="1">
            <a:spLocks/>
          </p:cNvSpPr>
          <p:nvPr/>
        </p:nvSpPr>
        <p:spPr>
          <a:xfrm>
            <a:off x="262444" y="6479626"/>
            <a:ext cx="10748032" cy="329496"/>
          </a:xfrm>
          <a:prstGeom prst="rect">
            <a:avLst/>
          </a:prstGeom>
        </p:spPr>
        <p:txBody>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2400" b="1"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Clr>
                <a:schemeClr val="accent2"/>
              </a:buClr>
              <a:buFont typeface="Arial" panose="020B0604020202020204" pitchFamily="34" charset="0"/>
              <a:buChar char="•"/>
              <a:defRPr sz="2000" b="1"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Clr>
                <a:schemeClr val="accent2"/>
              </a:buClr>
              <a:buFont typeface="Courier New" panose="02070309020205020404" pitchFamily="49" charset="0"/>
              <a:buChar char="o"/>
              <a:defRPr sz="1600" b="1"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Clr>
                <a:schemeClr val="accent2"/>
              </a:buClr>
              <a:buFont typeface="Courier New" panose="02070309020205020404" pitchFamily="49" charset="0"/>
              <a:buChar char="o"/>
              <a:defRPr sz="1000" b="1"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
                <a:srgbClr val="43921E"/>
              </a:buClr>
              <a:buSzTx/>
              <a:buFont typeface="Arial" panose="020B0604020202020204" pitchFamily="34" charset="0"/>
              <a:buNone/>
              <a:tabLst/>
              <a:defRPr/>
            </a:pPr>
            <a:r>
              <a:rPr kumimoji="0" lang="en-US" sz="1050" b="0" i="0" u="none" strike="noStrike" kern="1200" cap="none" spc="0" normalizeH="0" baseline="0" noProof="0" dirty="0">
                <a:ln>
                  <a:noFill/>
                </a:ln>
                <a:solidFill>
                  <a:srgbClr val="212121"/>
                </a:solidFill>
                <a:effectLst/>
                <a:uLnTx/>
                <a:uFillTx/>
                <a:latin typeface="Arial" panose="020B0604020202020204"/>
                <a:ea typeface="+mn-ea"/>
                <a:cs typeface="+mn-cs"/>
              </a:rPr>
              <a:t>Drilon A, et al, </a:t>
            </a:r>
            <a:r>
              <a:rPr kumimoji="0" lang="en-GB" sz="1050" b="0" i="0" u="none" strike="noStrike" kern="1200" cap="none" spc="0" normalizeH="0" baseline="0" noProof="0" dirty="0">
                <a:ln>
                  <a:noFill/>
                </a:ln>
                <a:solidFill>
                  <a:srgbClr val="212121"/>
                </a:solidFill>
                <a:effectLst/>
                <a:uLnTx/>
                <a:uFillTx/>
                <a:latin typeface="Arial" panose="020B0604020202020204"/>
                <a:ea typeface="+mn-ea"/>
                <a:cs typeface="+mn-cs"/>
              </a:rPr>
              <a:t>N Engl J Med 2018;378:731–9; </a:t>
            </a:r>
            <a:r>
              <a:rPr kumimoji="0" lang="en-US" sz="1050" b="0" i="0" u="none" strike="noStrike" kern="1200" cap="none" spc="0" normalizeH="0" baseline="0" noProof="0" dirty="0" err="1">
                <a:ln>
                  <a:noFill/>
                </a:ln>
                <a:solidFill>
                  <a:srgbClr val="212121"/>
                </a:solidFill>
                <a:effectLst/>
                <a:uLnTx/>
                <a:uFillTx/>
                <a:latin typeface="Arial" panose="020B0604020202020204"/>
                <a:ea typeface="+mn-ea"/>
                <a:cs typeface="+mn-cs"/>
              </a:rPr>
              <a:t>Doebele</a:t>
            </a:r>
            <a:r>
              <a:rPr kumimoji="0" lang="en-US" sz="1050" b="0" i="0" u="none" strike="noStrike" kern="1200" cap="none" spc="0" normalizeH="0" baseline="0" noProof="0" dirty="0">
                <a:ln>
                  <a:noFill/>
                </a:ln>
                <a:solidFill>
                  <a:srgbClr val="212121"/>
                </a:solidFill>
                <a:effectLst/>
                <a:uLnTx/>
                <a:uFillTx/>
                <a:latin typeface="Arial" panose="020B0604020202020204"/>
                <a:ea typeface="+mn-ea"/>
                <a:cs typeface="+mn-cs"/>
              </a:rPr>
              <a:t> RC, et al. </a:t>
            </a:r>
            <a:r>
              <a:rPr kumimoji="0" lang="en-GB" sz="1050" b="0" i="0" u="none" strike="noStrike" kern="1200" cap="none" spc="0" normalizeH="0" baseline="0" noProof="0" dirty="0">
                <a:ln>
                  <a:noFill/>
                </a:ln>
                <a:solidFill>
                  <a:srgbClr val="212121"/>
                </a:solidFill>
                <a:effectLst/>
                <a:uLnTx/>
                <a:uFillTx/>
                <a:latin typeface="Arial" panose="020B0604020202020204"/>
                <a:ea typeface="+mn-ea"/>
                <a:cs typeface="+mn-cs"/>
              </a:rPr>
              <a:t>Lancet Oncol. 2020;21(2):271–282; </a:t>
            </a:r>
            <a:r>
              <a:rPr kumimoji="0" lang="en-US" sz="1050" b="0" i="0" u="none" strike="noStrike" kern="1200" cap="none" spc="0" normalizeH="0" baseline="0" noProof="0" dirty="0">
                <a:ln>
                  <a:noFill/>
                </a:ln>
                <a:solidFill>
                  <a:srgbClr val="212121"/>
                </a:solidFill>
                <a:effectLst/>
                <a:uLnTx/>
                <a:uFillTx/>
                <a:latin typeface="Arial" panose="020B0604020202020204"/>
                <a:ea typeface="+mn-ea"/>
                <a:cs typeface="+mn-cs"/>
              </a:rPr>
              <a:t>Subbiah</a:t>
            </a:r>
            <a:r>
              <a:rPr kumimoji="0" lang="en-US" sz="1050" b="0" i="0" u="none" strike="noStrike" kern="1200" cap="none" spc="0" normalizeH="0" baseline="0" noProof="0" dirty="0">
                <a:ln>
                  <a:noFill/>
                </a:ln>
                <a:solidFill>
                  <a:srgbClr val="000000"/>
                </a:solidFill>
                <a:effectLst/>
                <a:uLnTx/>
                <a:uFillTx/>
                <a:latin typeface="Arial" panose="020B0604020202020204"/>
                <a:ea typeface="+mn-ea"/>
                <a:cs typeface="+mn-cs"/>
              </a:rPr>
              <a:t> V, et al, </a:t>
            </a:r>
            <a:r>
              <a:rPr kumimoji="0" lang="en-US" sz="1050" b="0" i="0" u="none" strike="noStrike" kern="1200" cap="none" spc="0" normalizeH="0" baseline="0" noProof="0" dirty="0">
                <a:ln>
                  <a:noFill/>
                </a:ln>
                <a:solidFill>
                  <a:srgbClr val="212121"/>
                </a:solidFill>
                <a:effectLst/>
                <a:uLnTx/>
                <a:uFillTx/>
                <a:latin typeface="Arial" panose="020B0604020202020204"/>
                <a:ea typeface="+mn-ea"/>
                <a:cs typeface="+mn-cs"/>
              </a:rPr>
              <a:t>2022</a:t>
            </a:r>
            <a:r>
              <a:rPr kumimoji="0" lang="en-GB" sz="1050" b="0" i="0" u="none" strike="noStrike" kern="1200" cap="none" spc="0" normalizeH="0" baseline="0" noProof="0" dirty="0">
                <a:ln>
                  <a:noFill/>
                </a:ln>
                <a:solidFill>
                  <a:srgbClr val="212121"/>
                </a:solidFill>
                <a:effectLst/>
                <a:uLnTx/>
                <a:uFillTx/>
                <a:latin typeface="Arial" panose="020B0604020202020204"/>
                <a:ea typeface="+mn-ea"/>
                <a:cs typeface="+mn-cs"/>
              </a:rPr>
              <a:t> Nat Med 2022;28:1640–1645; </a:t>
            </a:r>
            <a:r>
              <a:rPr kumimoji="0" lang="en-US" sz="1050" b="0" i="0" u="none" strike="noStrike" kern="1200" cap="none" spc="0" normalizeH="0" baseline="0" noProof="0" dirty="0">
                <a:ln>
                  <a:noFill/>
                </a:ln>
                <a:solidFill>
                  <a:srgbClr val="212121"/>
                </a:solidFill>
                <a:effectLst/>
                <a:uLnTx/>
                <a:uFillTx/>
                <a:latin typeface="Arial" panose="020B0604020202020204"/>
                <a:ea typeface="+mn-ea"/>
                <a:cs typeface="+mn-cs"/>
              </a:rPr>
              <a:t>Subbiah V, et al. </a:t>
            </a:r>
            <a:r>
              <a:rPr kumimoji="0" lang="en-GB" sz="1050" b="0" i="0" u="none" strike="noStrike" kern="1200" cap="none" spc="0" normalizeH="0" baseline="0" noProof="0" dirty="0">
                <a:ln>
                  <a:noFill/>
                </a:ln>
                <a:solidFill>
                  <a:srgbClr val="212121"/>
                </a:solidFill>
                <a:effectLst/>
                <a:uLnTx/>
                <a:uFillTx/>
                <a:latin typeface="Arial" panose="020B0604020202020204"/>
                <a:ea typeface="+mn-ea"/>
                <a:cs typeface="+mn-cs"/>
              </a:rPr>
              <a:t>Lancet Oncol 2022;12:S1470-2045(22)00541–1</a:t>
            </a:r>
            <a:endParaRPr kumimoji="0" lang="en-US" sz="1050" b="0" i="0" u="none" strike="noStrike" kern="1200" cap="none" spc="0" normalizeH="0" baseline="0" noProof="0" dirty="0">
              <a:ln>
                <a:noFill/>
              </a:ln>
              <a:solidFill>
                <a:srgbClr val="212121"/>
              </a:solidFill>
              <a:effectLst/>
              <a:uLnTx/>
              <a:uFillTx/>
              <a:latin typeface="Arial" panose="020B0604020202020204"/>
              <a:ea typeface="+mn-ea"/>
              <a:cs typeface="+mn-cs"/>
            </a:endParaRPr>
          </a:p>
          <a:p>
            <a:pPr marL="0" marR="0" lvl="0" indent="0" algn="l" defTabSz="914400" rtl="0" eaLnBrk="1" fontAlgn="auto" latinLnBrk="0" hangingPunct="1">
              <a:lnSpc>
                <a:spcPct val="90000"/>
              </a:lnSpc>
              <a:spcBef>
                <a:spcPts val="0"/>
              </a:spcBef>
              <a:spcAft>
                <a:spcPts val="0"/>
              </a:spcAft>
              <a:buClr>
                <a:srgbClr val="43921E"/>
              </a:buClr>
              <a:buSzTx/>
              <a:buFont typeface="Arial" panose="020B0604020202020204" pitchFamily="34" charset="0"/>
              <a:buNone/>
              <a:tabLst/>
              <a:defRPr/>
            </a:pPr>
            <a:r>
              <a:rPr kumimoji="0" lang="en-GB" sz="1050" b="0" i="0" u="none" strike="noStrike" kern="1200" cap="none" spc="0" normalizeH="0" baseline="0" noProof="0" dirty="0">
                <a:ln>
                  <a:noFill/>
                </a:ln>
                <a:solidFill>
                  <a:srgbClr val="212121"/>
                </a:solidFill>
                <a:effectLst/>
                <a:uLnTx/>
                <a:uFillTx/>
                <a:latin typeface="Arial" panose="020B0604020202020204"/>
                <a:ea typeface="+mn-ea"/>
                <a:cs typeface="+mn-cs"/>
              </a:rPr>
              <a:t> </a:t>
            </a:r>
            <a:endParaRPr kumimoji="0" lang="en-US" sz="1050" b="0" i="0" u="none" strike="noStrike" kern="1200" cap="none" spc="0" normalizeH="0" baseline="0" noProof="0" dirty="0">
              <a:ln>
                <a:noFill/>
              </a:ln>
              <a:solidFill>
                <a:srgbClr val="212121"/>
              </a:solidFill>
              <a:effectLst/>
              <a:uLnTx/>
              <a:uFillTx/>
              <a:latin typeface="Arial" panose="020B0604020202020204"/>
              <a:ea typeface="+mn-ea"/>
              <a:cs typeface="+mn-cs"/>
            </a:endParaRPr>
          </a:p>
        </p:txBody>
      </p:sp>
      <p:sp>
        <p:nvSpPr>
          <p:cNvPr id="4" name="TextBox 3">
            <a:extLst>
              <a:ext uri="{FF2B5EF4-FFF2-40B4-BE49-F238E27FC236}">
                <a16:creationId xmlns:a16="http://schemas.microsoft.com/office/drawing/2014/main" id="{D69F0F38-1949-406C-8EC4-37AD71119678}"/>
              </a:ext>
            </a:extLst>
          </p:cNvPr>
          <p:cNvSpPr txBox="1"/>
          <p:nvPr/>
        </p:nvSpPr>
        <p:spPr>
          <a:xfrm>
            <a:off x="606663" y="1113075"/>
            <a:ext cx="4632963" cy="3231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212121"/>
                </a:solidFill>
                <a:effectLst/>
                <a:uLnTx/>
                <a:uFillTx/>
                <a:latin typeface="Arial" panose="020B0604020202020204"/>
                <a:ea typeface="MS PGothic" charset="0"/>
                <a:cs typeface="+mn-cs"/>
              </a:rPr>
              <a:t>Larotrectinib in TRK Fusion–Positive Cancers</a:t>
            </a:r>
          </a:p>
        </p:txBody>
      </p:sp>
      <p:grpSp>
        <p:nvGrpSpPr>
          <p:cNvPr id="10" name="Group 9">
            <a:extLst>
              <a:ext uri="{FF2B5EF4-FFF2-40B4-BE49-F238E27FC236}">
                <a16:creationId xmlns:a16="http://schemas.microsoft.com/office/drawing/2014/main" id="{AF67EC22-9928-015B-8686-DCB908E9A66C}"/>
              </a:ext>
            </a:extLst>
          </p:cNvPr>
          <p:cNvGrpSpPr/>
          <p:nvPr/>
        </p:nvGrpSpPr>
        <p:grpSpPr>
          <a:xfrm>
            <a:off x="262444" y="1558719"/>
            <a:ext cx="5499115" cy="1994828"/>
            <a:chOff x="471249" y="2183295"/>
            <a:chExt cx="7430806" cy="3968920"/>
          </a:xfrm>
        </p:grpSpPr>
        <p:pic>
          <p:nvPicPr>
            <p:cNvPr id="6" name="Picture 5">
              <a:extLst>
                <a:ext uri="{FF2B5EF4-FFF2-40B4-BE49-F238E27FC236}">
                  <a16:creationId xmlns:a16="http://schemas.microsoft.com/office/drawing/2014/main" id="{889CD199-4D33-43AF-A8D9-3E65767FC7C7}"/>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25000"/>
                      </a14:imgEffect>
                    </a14:imgLayer>
                  </a14:imgProps>
                </a:ext>
              </a:extLst>
            </a:blip>
            <a:srcRect l="1260" t="1851"/>
            <a:stretch/>
          </p:blipFill>
          <p:spPr>
            <a:xfrm>
              <a:off x="471249" y="2183295"/>
              <a:ext cx="7430806" cy="3968920"/>
            </a:xfrm>
            <a:prstGeom prst="rect">
              <a:avLst/>
            </a:prstGeom>
          </p:spPr>
        </p:pic>
        <p:sp>
          <p:nvSpPr>
            <p:cNvPr id="8" name="TextBox 7">
              <a:extLst>
                <a:ext uri="{FF2B5EF4-FFF2-40B4-BE49-F238E27FC236}">
                  <a16:creationId xmlns:a16="http://schemas.microsoft.com/office/drawing/2014/main" id="{E580F340-A460-341B-C489-7A82B43B73CC}"/>
                </a:ext>
              </a:extLst>
            </p:cNvPr>
            <p:cNvSpPr txBox="1"/>
            <p:nvPr/>
          </p:nvSpPr>
          <p:spPr>
            <a:xfrm>
              <a:off x="1688636" y="4940564"/>
              <a:ext cx="1676221" cy="67466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12121"/>
                  </a:solidFill>
                  <a:effectLst/>
                  <a:uLnTx/>
                  <a:uFillTx/>
                  <a:latin typeface="Arial" panose="020B0604020202020204"/>
                  <a:ea typeface="MS PGothic" charset="0"/>
                  <a:cs typeface="+mn-cs"/>
                </a:rPr>
                <a:t>ORR 75%</a:t>
              </a:r>
            </a:p>
          </p:txBody>
        </p:sp>
      </p:grpSp>
      <p:grpSp>
        <p:nvGrpSpPr>
          <p:cNvPr id="11" name="Group 10">
            <a:extLst>
              <a:ext uri="{FF2B5EF4-FFF2-40B4-BE49-F238E27FC236}">
                <a16:creationId xmlns:a16="http://schemas.microsoft.com/office/drawing/2014/main" id="{AC73FF27-FE92-580C-9700-4F5AA5FF5E4A}"/>
              </a:ext>
            </a:extLst>
          </p:cNvPr>
          <p:cNvGrpSpPr/>
          <p:nvPr/>
        </p:nvGrpSpPr>
        <p:grpSpPr>
          <a:xfrm>
            <a:off x="262445" y="4136461"/>
            <a:ext cx="5321400" cy="2240263"/>
            <a:chOff x="283508" y="2141196"/>
            <a:chExt cx="6997252" cy="2670172"/>
          </a:xfrm>
        </p:grpSpPr>
        <p:pic>
          <p:nvPicPr>
            <p:cNvPr id="12" name="Picture 11">
              <a:extLst>
                <a:ext uri="{FF2B5EF4-FFF2-40B4-BE49-F238E27FC236}">
                  <a16:creationId xmlns:a16="http://schemas.microsoft.com/office/drawing/2014/main" id="{AC8897F4-8E86-A927-A78C-FE39BD25641E}"/>
                </a:ext>
              </a:extLst>
            </p:cNvPr>
            <p:cNvPicPr>
              <a:picLocks noChangeAspect="1"/>
            </p:cNvPicPr>
            <p:nvPr/>
          </p:nvPicPr>
          <p:blipFill>
            <a:blip r:embed="rId5"/>
            <a:stretch>
              <a:fillRect/>
            </a:stretch>
          </p:blipFill>
          <p:spPr>
            <a:xfrm>
              <a:off x="283508" y="2141196"/>
              <a:ext cx="6997252" cy="2670172"/>
            </a:xfrm>
            <a:prstGeom prst="rect">
              <a:avLst/>
            </a:prstGeom>
          </p:spPr>
        </p:pic>
        <p:sp>
          <p:nvSpPr>
            <p:cNvPr id="13" name="TextBox 12">
              <a:extLst>
                <a:ext uri="{FF2B5EF4-FFF2-40B4-BE49-F238E27FC236}">
                  <a16:creationId xmlns:a16="http://schemas.microsoft.com/office/drawing/2014/main" id="{04F833C9-7C5D-1DE4-1BA4-C210A2035C60}"/>
                </a:ext>
              </a:extLst>
            </p:cNvPr>
            <p:cNvSpPr txBox="1"/>
            <p:nvPr/>
          </p:nvSpPr>
          <p:spPr>
            <a:xfrm>
              <a:off x="4397442" y="2297570"/>
              <a:ext cx="1668614" cy="7602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12121"/>
                  </a:solidFill>
                  <a:effectLst/>
                  <a:uLnTx/>
                  <a:uFillTx/>
                  <a:latin typeface="Arial" panose="020B0604020202020204"/>
                  <a:ea typeface="MS PGothic" charset="0"/>
                  <a:cs typeface="+mn-cs"/>
                </a:rPr>
                <a:t>ORR 57%</a:t>
              </a:r>
            </a:p>
          </p:txBody>
        </p:sp>
      </p:grpSp>
      <p:sp>
        <p:nvSpPr>
          <p:cNvPr id="14" name="TextBox 13">
            <a:extLst>
              <a:ext uri="{FF2B5EF4-FFF2-40B4-BE49-F238E27FC236}">
                <a16:creationId xmlns:a16="http://schemas.microsoft.com/office/drawing/2014/main" id="{ECEDB893-2072-D738-0660-E35BFFF1B27D}"/>
              </a:ext>
            </a:extLst>
          </p:cNvPr>
          <p:cNvSpPr txBox="1"/>
          <p:nvPr/>
        </p:nvSpPr>
        <p:spPr>
          <a:xfrm>
            <a:off x="659334" y="3909770"/>
            <a:ext cx="4726064" cy="3231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err="1">
                <a:ln>
                  <a:noFill/>
                </a:ln>
                <a:solidFill>
                  <a:srgbClr val="212121"/>
                </a:solidFill>
                <a:effectLst/>
                <a:uLnTx/>
                <a:uFillTx/>
                <a:latin typeface="Arial" panose="020B0604020202020204"/>
                <a:ea typeface="MS PGothic" charset="0"/>
                <a:cs typeface="+mn-cs"/>
              </a:rPr>
              <a:t>Entrectinib</a:t>
            </a:r>
            <a:r>
              <a:rPr kumimoji="0" lang="en-US" sz="1500" b="1" i="0" u="none" strike="noStrike" kern="1200" cap="none" spc="0" normalizeH="0" baseline="0" noProof="0" dirty="0">
                <a:ln>
                  <a:noFill/>
                </a:ln>
                <a:solidFill>
                  <a:srgbClr val="212121"/>
                </a:solidFill>
                <a:effectLst/>
                <a:uLnTx/>
                <a:uFillTx/>
                <a:latin typeface="Arial" panose="020B0604020202020204"/>
                <a:ea typeface="MS PGothic" charset="0"/>
                <a:cs typeface="+mn-cs"/>
              </a:rPr>
              <a:t> in NTRK Fusion-positive Solid Tumors</a:t>
            </a:r>
          </a:p>
        </p:txBody>
      </p:sp>
      <p:grpSp>
        <p:nvGrpSpPr>
          <p:cNvPr id="15" name="Group 14">
            <a:extLst>
              <a:ext uri="{FF2B5EF4-FFF2-40B4-BE49-F238E27FC236}">
                <a16:creationId xmlns:a16="http://schemas.microsoft.com/office/drawing/2014/main" id="{E3F93CE7-19FF-3AFF-7785-DE82FAF980BA}"/>
              </a:ext>
            </a:extLst>
          </p:cNvPr>
          <p:cNvGrpSpPr/>
          <p:nvPr/>
        </p:nvGrpSpPr>
        <p:grpSpPr>
          <a:xfrm>
            <a:off x="7575178" y="1480121"/>
            <a:ext cx="3538045" cy="2497840"/>
            <a:chOff x="578623" y="1568882"/>
            <a:chExt cx="6037442" cy="4241602"/>
          </a:xfrm>
        </p:grpSpPr>
        <p:pic>
          <p:nvPicPr>
            <p:cNvPr id="16" name="Picture 15">
              <a:extLst>
                <a:ext uri="{FF2B5EF4-FFF2-40B4-BE49-F238E27FC236}">
                  <a16:creationId xmlns:a16="http://schemas.microsoft.com/office/drawing/2014/main" id="{DC041AE3-6DC1-B03D-1712-B2047FC94C02}"/>
                </a:ext>
              </a:extLst>
            </p:cNvPr>
            <p:cNvPicPr>
              <a:picLocks noChangeAspect="1"/>
            </p:cNvPicPr>
            <p:nvPr/>
          </p:nvPicPr>
          <p:blipFill>
            <a:blip r:embed="rId6">
              <a:extLst>
                <a:ext uri="{BEBA8EAE-BF5A-486C-A8C5-ECC9F3942E4B}">
                  <a14:imgProps xmlns:a14="http://schemas.microsoft.com/office/drawing/2010/main">
                    <a14:imgLayer r:embed="rId7">
                      <a14:imgEffect>
                        <a14:sharpenSoften amount="25000"/>
                      </a14:imgEffect>
                    </a14:imgLayer>
                  </a14:imgProps>
                </a:ext>
              </a:extLst>
            </a:blip>
            <a:stretch>
              <a:fillRect/>
            </a:stretch>
          </p:blipFill>
          <p:spPr>
            <a:xfrm>
              <a:off x="578623" y="1568882"/>
              <a:ext cx="6037442" cy="4241602"/>
            </a:xfrm>
            <a:prstGeom prst="rect">
              <a:avLst/>
            </a:prstGeom>
          </p:spPr>
        </p:pic>
        <p:sp>
          <p:nvSpPr>
            <p:cNvPr id="17" name="TextBox 16">
              <a:extLst>
                <a:ext uri="{FF2B5EF4-FFF2-40B4-BE49-F238E27FC236}">
                  <a16:creationId xmlns:a16="http://schemas.microsoft.com/office/drawing/2014/main" id="{116BDABC-5E5E-D985-4061-33402BDC8928}"/>
                </a:ext>
              </a:extLst>
            </p:cNvPr>
            <p:cNvSpPr txBox="1"/>
            <p:nvPr/>
          </p:nvSpPr>
          <p:spPr>
            <a:xfrm>
              <a:off x="1688635" y="4298348"/>
              <a:ext cx="1941568" cy="52263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12121"/>
                  </a:solidFill>
                  <a:effectLst/>
                  <a:uLnTx/>
                  <a:uFillTx/>
                  <a:latin typeface="Arial" panose="020B0604020202020204"/>
                  <a:ea typeface="MS PGothic" charset="0"/>
                  <a:cs typeface="+mn-cs"/>
                </a:rPr>
                <a:t>ORR 57%</a:t>
              </a:r>
            </a:p>
          </p:txBody>
        </p:sp>
      </p:grpSp>
      <p:sp>
        <p:nvSpPr>
          <p:cNvPr id="18" name="TextBox 17">
            <a:extLst>
              <a:ext uri="{FF2B5EF4-FFF2-40B4-BE49-F238E27FC236}">
                <a16:creationId xmlns:a16="http://schemas.microsoft.com/office/drawing/2014/main" id="{73F0A80C-FA70-677D-19DB-C0C7BD691C18}"/>
              </a:ext>
            </a:extLst>
          </p:cNvPr>
          <p:cNvSpPr txBox="1"/>
          <p:nvPr/>
        </p:nvSpPr>
        <p:spPr>
          <a:xfrm>
            <a:off x="7027720" y="1079144"/>
            <a:ext cx="4632963" cy="3231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err="1">
                <a:ln>
                  <a:noFill/>
                </a:ln>
                <a:solidFill>
                  <a:srgbClr val="212121"/>
                </a:solidFill>
                <a:effectLst/>
                <a:uLnTx/>
                <a:uFillTx/>
                <a:latin typeface="Arial" panose="020B0604020202020204"/>
                <a:ea typeface="MS PGothic" charset="0"/>
                <a:cs typeface="+mn-cs"/>
              </a:rPr>
              <a:t>Pralsetinib</a:t>
            </a:r>
            <a:r>
              <a:rPr kumimoji="0" lang="en-US" sz="1500" b="1" i="0" u="none" strike="noStrike" kern="1200" cap="none" spc="0" normalizeH="0" baseline="0" noProof="0" dirty="0">
                <a:ln>
                  <a:noFill/>
                </a:ln>
                <a:solidFill>
                  <a:srgbClr val="212121"/>
                </a:solidFill>
                <a:effectLst/>
                <a:uLnTx/>
                <a:uFillTx/>
                <a:latin typeface="Arial" panose="020B0604020202020204"/>
                <a:ea typeface="MS PGothic" charset="0"/>
                <a:cs typeface="+mn-cs"/>
              </a:rPr>
              <a:t> in RET Fusion–positive Solid Tumors</a:t>
            </a:r>
          </a:p>
        </p:txBody>
      </p:sp>
      <p:grpSp>
        <p:nvGrpSpPr>
          <p:cNvPr id="19" name="Group 18">
            <a:extLst>
              <a:ext uri="{FF2B5EF4-FFF2-40B4-BE49-F238E27FC236}">
                <a16:creationId xmlns:a16="http://schemas.microsoft.com/office/drawing/2014/main" id="{BD7E651D-1435-72BA-3443-E021A289C39E}"/>
              </a:ext>
            </a:extLst>
          </p:cNvPr>
          <p:cNvGrpSpPr/>
          <p:nvPr/>
        </p:nvGrpSpPr>
        <p:grpSpPr>
          <a:xfrm>
            <a:off x="6397306" y="4486680"/>
            <a:ext cx="5532250" cy="2041824"/>
            <a:chOff x="206893" y="2505789"/>
            <a:chExt cx="7220526" cy="3063737"/>
          </a:xfrm>
        </p:grpSpPr>
        <p:pic>
          <p:nvPicPr>
            <p:cNvPr id="20" name="Picture 19">
              <a:extLst>
                <a:ext uri="{FF2B5EF4-FFF2-40B4-BE49-F238E27FC236}">
                  <a16:creationId xmlns:a16="http://schemas.microsoft.com/office/drawing/2014/main" id="{90B120B6-0D3E-1E5D-8BE2-1A795B683F8E}"/>
                </a:ext>
              </a:extLst>
            </p:cNvPr>
            <p:cNvPicPr>
              <a:picLocks noChangeAspect="1"/>
            </p:cNvPicPr>
            <p:nvPr/>
          </p:nvPicPr>
          <p:blipFill>
            <a:blip r:embed="rId8">
              <a:extLst>
                <a:ext uri="{BEBA8EAE-BF5A-486C-A8C5-ECC9F3942E4B}">
                  <a14:imgProps xmlns:a14="http://schemas.microsoft.com/office/drawing/2010/main">
                    <a14:imgLayer r:embed="rId9">
                      <a14:imgEffect>
                        <a14:sharpenSoften amount="25000"/>
                      </a14:imgEffect>
                    </a14:imgLayer>
                  </a14:imgProps>
                </a:ext>
              </a:extLst>
            </a:blip>
            <a:stretch>
              <a:fillRect/>
            </a:stretch>
          </p:blipFill>
          <p:spPr>
            <a:xfrm>
              <a:off x="206893" y="2505789"/>
              <a:ext cx="7220526" cy="3063737"/>
            </a:xfrm>
            <a:prstGeom prst="rect">
              <a:avLst/>
            </a:prstGeom>
          </p:spPr>
        </p:pic>
        <p:sp>
          <p:nvSpPr>
            <p:cNvPr id="21" name="TextBox 20">
              <a:extLst>
                <a:ext uri="{FF2B5EF4-FFF2-40B4-BE49-F238E27FC236}">
                  <a16:creationId xmlns:a16="http://schemas.microsoft.com/office/drawing/2014/main" id="{4D2B68E6-EF50-481C-F0CA-5A30D9833007}"/>
                </a:ext>
              </a:extLst>
            </p:cNvPr>
            <p:cNvSpPr txBox="1"/>
            <p:nvPr/>
          </p:nvSpPr>
          <p:spPr>
            <a:xfrm>
              <a:off x="1688635" y="4569763"/>
              <a:ext cx="1668614" cy="4618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12121"/>
                  </a:solidFill>
                  <a:effectLst/>
                  <a:uLnTx/>
                  <a:uFillTx/>
                  <a:latin typeface="Arial" panose="020B0604020202020204"/>
                  <a:ea typeface="MS PGothic" charset="0"/>
                  <a:cs typeface="+mn-cs"/>
                </a:rPr>
                <a:t>ORR 44%</a:t>
              </a:r>
            </a:p>
          </p:txBody>
        </p:sp>
      </p:grpSp>
      <p:sp>
        <p:nvSpPr>
          <p:cNvPr id="22" name="TextBox 21">
            <a:extLst>
              <a:ext uri="{FF2B5EF4-FFF2-40B4-BE49-F238E27FC236}">
                <a16:creationId xmlns:a16="http://schemas.microsoft.com/office/drawing/2014/main" id="{51FC5C5D-DBF1-94B8-441F-90ADA14B271A}"/>
              </a:ext>
            </a:extLst>
          </p:cNvPr>
          <p:cNvSpPr txBox="1"/>
          <p:nvPr/>
        </p:nvSpPr>
        <p:spPr>
          <a:xfrm>
            <a:off x="7046974" y="4136461"/>
            <a:ext cx="4882582" cy="3231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err="1">
                <a:ln>
                  <a:noFill/>
                </a:ln>
                <a:solidFill>
                  <a:srgbClr val="212121"/>
                </a:solidFill>
                <a:effectLst/>
                <a:uLnTx/>
                <a:uFillTx/>
                <a:latin typeface="Arial" panose="020B0604020202020204"/>
                <a:ea typeface="MS PGothic" charset="0"/>
                <a:cs typeface="+mn-cs"/>
              </a:rPr>
              <a:t>Selpercatinib</a:t>
            </a:r>
            <a:r>
              <a:rPr kumimoji="0" lang="en-US" sz="1500" b="1" i="0" u="none" strike="noStrike" kern="1200" cap="none" spc="0" normalizeH="0" baseline="0" noProof="0" dirty="0">
                <a:ln>
                  <a:noFill/>
                </a:ln>
                <a:solidFill>
                  <a:srgbClr val="212121"/>
                </a:solidFill>
                <a:effectLst/>
                <a:uLnTx/>
                <a:uFillTx/>
                <a:latin typeface="Arial" panose="020B0604020202020204"/>
                <a:ea typeface="MS PGothic" charset="0"/>
                <a:cs typeface="+mn-cs"/>
              </a:rPr>
              <a:t> in RET Fusion–positive Solid Tumors</a:t>
            </a:r>
          </a:p>
        </p:txBody>
      </p:sp>
    </p:spTree>
    <p:extLst>
      <p:ext uri="{BB962C8B-B14F-4D97-AF65-F5344CB8AC3E}">
        <p14:creationId xmlns:p14="http://schemas.microsoft.com/office/powerpoint/2010/main" val="2431499055"/>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C7C154-887B-49DF-B06A-CCEC1D000EDC}"/>
              </a:ext>
            </a:extLst>
          </p:cNvPr>
          <p:cNvSpPr>
            <a:spLocks noGrp="1"/>
          </p:cNvSpPr>
          <p:nvPr>
            <p:ph type="title"/>
          </p:nvPr>
        </p:nvSpPr>
        <p:spPr/>
        <p:txBody>
          <a:bodyPr/>
          <a:lstStyle/>
          <a:p>
            <a:r>
              <a:rPr lang="en-GB" dirty="0"/>
              <a:t>Other Actionable Signatures in Cholangiocarcinoma</a:t>
            </a:r>
            <a:r>
              <a:rPr lang="en-GB" baseline="30000" dirty="0"/>
              <a:t>1,2</a:t>
            </a:r>
          </a:p>
        </p:txBody>
      </p:sp>
      <p:sp>
        <p:nvSpPr>
          <p:cNvPr id="4" name="Text Placeholder 3">
            <a:extLst>
              <a:ext uri="{FF2B5EF4-FFF2-40B4-BE49-F238E27FC236}">
                <a16:creationId xmlns:a16="http://schemas.microsoft.com/office/drawing/2014/main" id="{2BF8907E-DDE6-47E7-A1C9-C4D4F58C9CA5}"/>
              </a:ext>
            </a:extLst>
          </p:cNvPr>
          <p:cNvSpPr>
            <a:spLocks noGrp="1"/>
          </p:cNvSpPr>
          <p:nvPr>
            <p:ph type="body" sz="quarter" idx="10"/>
          </p:nvPr>
        </p:nvSpPr>
        <p:spPr>
          <a:xfrm>
            <a:off x="609600" y="6074161"/>
            <a:ext cx="10972800" cy="550381"/>
          </a:xfrm>
        </p:spPr>
        <p:txBody>
          <a:bodyPr/>
          <a:lstStyle/>
          <a:p>
            <a:r>
              <a:rPr lang="fr-FR" sz="1000" dirty="0">
                <a:solidFill>
                  <a:schemeClr val="tx1"/>
                </a:solidFill>
              </a:rPr>
              <a:t>BRCA, breast cancer gene; DNA, </a:t>
            </a:r>
            <a:r>
              <a:rPr lang="en-GB" sz="1000" dirty="0">
                <a:solidFill>
                  <a:schemeClr val="tx1"/>
                </a:solidFill>
              </a:rPr>
              <a:t>d</a:t>
            </a:r>
            <a:r>
              <a:rPr lang="en-GB" sz="1000" i="0" dirty="0">
                <a:solidFill>
                  <a:schemeClr val="tx1"/>
                </a:solidFill>
                <a:effectLst/>
              </a:rPr>
              <a:t>eoxyribonucleic acid; KRAS, Kirsten rat sarcoma viral oncogene homolog; </a:t>
            </a:r>
            <a:r>
              <a:rPr lang="fr-FR" sz="1000" dirty="0">
                <a:solidFill>
                  <a:schemeClr val="tx1"/>
                </a:solidFill>
              </a:rPr>
              <a:t>PIK3CA, phosphatidylinositol-4,5-biphosphate 3-kinase catalyic alpha polypeptide; RNF43, ring finger protein 43; RSPO, recurrent R-spondin.</a:t>
            </a:r>
            <a:br>
              <a:rPr lang="fr-FR" sz="1000" dirty="0">
                <a:solidFill>
                  <a:schemeClr val="tx1"/>
                </a:solidFill>
              </a:rPr>
            </a:br>
            <a:r>
              <a:rPr lang="fr-FR" sz="1000" dirty="0">
                <a:solidFill>
                  <a:schemeClr val="tx1"/>
                </a:solidFill>
              </a:rPr>
              <a:t>1. </a:t>
            </a:r>
            <a:r>
              <a:rPr lang="en-US" sz="1000" dirty="0">
                <a:solidFill>
                  <a:schemeClr val="tx1"/>
                </a:solidFill>
              </a:rPr>
              <a:t>Valle JW, et al. Cancer Discov 2017;7(9):943–962; 2. Le DT, et al. Science 2017;357(6349):409–413. </a:t>
            </a:r>
          </a:p>
          <a:p>
            <a:endParaRPr lang="en-GB" sz="1000" dirty="0">
              <a:solidFill>
                <a:srgbClr val="FF0000"/>
              </a:solidFill>
              <a:highlight>
                <a:srgbClr val="FFFF00"/>
              </a:highlight>
            </a:endParaRPr>
          </a:p>
        </p:txBody>
      </p:sp>
      <p:sp>
        <p:nvSpPr>
          <p:cNvPr id="6" name="Hexagon 5">
            <a:extLst>
              <a:ext uri="{FF2B5EF4-FFF2-40B4-BE49-F238E27FC236}">
                <a16:creationId xmlns:a16="http://schemas.microsoft.com/office/drawing/2014/main" id="{D6F30914-C63F-E025-303F-FC0A4D80F62C}"/>
              </a:ext>
            </a:extLst>
          </p:cNvPr>
          <p:cNvSpPr/>
          <p:nvPr/>
        </p:nvSpPr>
        <p:spPr>
          <a:xfrm>
            <a:off x="609600" y="2468617"/>
            <a:ext cx="2306334" cy="1920766"/>
          </a:xfrm>
          <a:prstGeom prst="hexago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FFFFF"/>
                </a:solidFill>
                <a:effectLst/>
                <a:uLnTx/>
                <a:uFillTx/>
                <a:latin typeface="Arial" panose="020B0604020202020204"/>
                <a:ea typeface="+mn-ea"/>
                <a:cs typeface="+mn-cs"/>
              </a:rPr>
              <a:t>KRAS G12C mutations</a:t>
            </a:r>
          </a:p>
        </p:txBody>
      </p:sp>
      <p:sp>
        <p:nvSpPr>
          <p:cNvPr id="7" name="Hexagon 6">
            <a:extLst>
              <a:ext uri="{FF2B5EF4-FFF2-40B4-BE49-F238E27FC236}">
                <a16:creationId xmlns:a16="http://schemas.microsoft.com/office/drawing/2014/main" id="{4AEA37FC-B303-6C3B-696B-39F18A776871}"/>
              </a:ext>
            </a:extLst>
          </p:cNvPr>
          <p:cNvSpPr/>
          <p:nvPr/>
        </p:nvSpPr>
        <p:spPr>
          <a:xfrm>
            <a:off x="6387244" y="2468617"/>
            <a:ext cx="2306334" cy="1920766"/>
          </a:xfrm>
          <a:prstGeom prst="hexag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FFFFF"/>
                </a:solidFill>
                <a:effectLst/>
                <a:uLnTx/>
                <a:uFillTx/>
                <a:latin typeface="Arial" panose="020B0604020202020204"/>
                <a:ea typeface="+mn-ea"/>
                <a:cs typeface="+mn-cs"/>
              </a:rPr>
              <a:t>PIK3CA/Akt mutations</a:t>
            </a:r>
          </a:p>
        </p:txBody>
      </p:sp>
      <p:sp>
        <p:nvSpPr>
          <p:cNvPr id="8" name="Hexagon 7">
            <a:extLst>
              <a:ext uri="{FF2B5EF4-FFF2-40B4-BE49-F238E27FC236}">
                <a16:creationId xmlns:a16="http://schemas.microsoft.com/office/drawing/2014/main" id="{D3B3D2E4-7088-131E-79EA-A8E9D6D980E1}"/>
              </a:ext>
            </a:extLst>
          </p:cNvPr>
          <p:cNvSpPr/>
          <p:nvPr/>
        </p:nvSpPr>
        <p:spPr>
          <a:xfrm>
            <a:off x="3498422" y="2468617"/>
            <a:ext cx="2306334" cy="1920766"/>
          </a:xfrm>
          <a:prstGeom prst="hex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FFFFF"/>
                </a:solidFill>
                <a:effectLst/>
                <a:uLnTx/>
                <a:uFillTx/>
                <a:latin typeface="Arial" panose="020B0604020202020204"/>
                <a:ea typeface="+mn-ea"/>
                <a:cs typeface="+mn-cs"/>
              </a:rPr>
              <a:t>BRCA 1/2 and DNA damage repair mutations</a:t>
            </a:r>
          </a:p>
        </p:txBody>
      </p:sp>
      <p:sp>
        <p:nvSpPr>
          <p:cNvPr id="9" name="Hexagon 8">
            <a:extLst>
              <a:ext uri="{FF2B5EF4-FFF2-40B4-BE49-F238E27FC236}">
                <a16:creationId xmlns:a16="http://schemas.microsoft.com/office/drawing/2014/main" id="{A7B3F551-3929-2D37-FA48-7B16FA84AD32}"/>
              </a:ext>
            </a:extLst>
          </p:cNvPr>
          <p:cNvSpPr/>
          <p:nvPr/>
        </p:nvSpPr>
        <p:spPr>
          <a:xfrm>
            <a:off x="9276066" y="2468617"/>
            <a:ext cx="2306334" cy="1920766"/>
          </a:xfrm>
          <a:prstGeom prst="hexag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FFFFF"/>
                </a:solidFill>
                <a:effectLst/>
                <a:uLnTx/>
                <a:uFillTx/>
                <a:latin typeface="Arial" panose="020B0604020202020204"/>
                <a:ea typeface="+mn-ea"/>
                <a:cs typeface="+mn-cs"/>
              </a:rPr>
              <a:t>RSPO fusions and RNF43 mutations</a:t>
            </a:r>
          </a:p>
        </p:txBody>
      </p:sp>
    </p:spTree>
    <p:extLst>
      <p:ext uri="{BB962C8B-B14F-4D97-AF65-F5344CB8AC3E}">
        <p14:creationId xmlns:p14="http://schemas.microsoft.com/office/powerpoint/2010/main" val="127450553"/>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2CFCD7-C8B4-4FE5-AC77-08FFFBA81773}"/>
              </a:ext>
            </a:extLst>
          </p:cNvPr>
          <p:cNvSpPr>
            <a:spLocks noGrp="1"/>
          </p:cNvSpPr>
          <p:nvPr>
            <p:ph type="title"/>
          </p:nvPr>
        </p:nvSpPr>
        <p:spPr/>
        <p:txBody>
          <a:bodyPr/>
          <a:lstStyle/>
          <a:p>
            <a:endParaRPr lang="en-GB" dirty="0"/>
          </a:p>
        </p:txBody>
      </p:sp>
      <p:pic>
        <p:nvPicPr>
          <p:cNvPr id="5" name="Picture 4" descr="Table&#10;&#10;Description automatically generated">
            <a:extLst>
              <a:ext uri="{FF2B5EF4-FFF2-40B4-BE49-F238E27FC236}">
                <a16:creationId xmlns:a16="http://schemas.microsoft.com/office/drawing/2014/main" id="{53EF49D5-7822-404F-9790-3E20739EA658}"/>
              </a:ext>
            </a:extLst>
          </p:cNvPr>
          <p:cNvPicPr>
            <a:picLocks noChangeAspect="1"/>
          </p:cNvPicPr>
          <p:nvPr/>
        </p:nvPicPr>
        <p:blipFill>
          <a:blip r:embed="rId2"/>
          <a:stretch>
            <a:fillRect/>
          </a:stretch>
        </p:blipFill>
        <p:spPr>
          <a:xfrm>
            <a:off x="1017663" y="-1"/>
            <a:ext cx="10071094" cy="6800216"/>
          </a:xfrm>
          <a:prstGeom prst="rect">
            <a:avLst/>
          </a:prstGeom>
        </p:spPr>
      </p:pic>
      <p:sp>
        <p:nvSpPr>
          <p:cNvPr id="13" name="Oval 12">
            <a:extLst>
              <a:ext uri="{FF2B5EF4-FFF2-40B4-BE49-F238E27FC236}">
                <a16:creationId xmlns:a16="http://schemas.microsoft.com/office/drawing/2014/main" id="{D1A86F5B-D8F6-3708-1E18-A2E0571E8888}"/>
              </a:ext>
            </a:extLst>
          </p:cNvPr>
          <p:cNvSpPr/>
          <p:nvPr/>
        </p:nvSpPr>
        <p:spPr>
          <a:xfrm>
            <a:off x="7706586" y="1181287"/>
            <a:ext cx="3233451" cy="1922444"/>
          </a:xfrm>
          <a:prstGeom prst="ellipse">
            <a:avLst/>
          </a:prstGeom>
          <a:noFill/>
          <a:ln w="698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 name="Oval 13">
            <a:extLst>
              <a:ext uri="{FF2B5EF4-FFF2-40B4-BE49-F238E27FC236}">
                <a16:creationId xmlns:a16="http://schemas.microsoft.com/office/drawing/2014/main" id="{8F322C28-16BD-AE38-7685-0B2FB52B6F17}"/>
              </a:ext>
            </a:extLst>
          </p:cNvPr>
          <p:cNvSpPr/>
          <p:nvPr/>
        </p:nvSpPr>
        <p:spPr>
          <a:xfrm>
            <a:off x="6474828" y="3294422"/>
            <a:ext cx="4465209" cy="3505793"/>
          </a:xfrm>
          <a:prstGeom prst="ellipse">
            <a:avLst/>
          </a:prstGeom>
          <a:noFill/>
          <a:ln w="698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2603805369"/>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9818CB59-ECE2-4CA3-8BE7-AAF4407C9D1C}"/>
              </a:ext>
            </a:extLst>
          </p:cNvPr>
          <p:cNvSpPr txBox="1"/>
          <p:nvPr/>
        </p:nvSpPr>
        <p:spPr>
          <a:xfrm>
            <a:off x="5147283" y="3939185"/>
            <a:ext cx="1562949" cy="307777"/>
          </a:xfrm>
          <a:prstGeom prst="rect">
            <a:avLst/>
          </a:prstGeom>
          <a:noFill/>
          <a:effectLst/>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panose="020B0604020202020204"/>
                <a:ea typeface="ＭＳ Ｐゴシック" pitchFamily="34" charset="-128"/>
                <a:cs typeface="+mn-cs"/>
              </a:rPr>
              <a:t>Tissue agnostic</a:t>
            </a:r>
          </a:p>
        </p:txBody>
      </p:sp>
      <p:graphicFrame>
        <p:nvGraphicFramePr>
          <p:cNvPr id="5" name="Diagram 4">
            <a:extLst>
              <a:ext uri="{FF2B5EF4-FFF2-40B4-BE49-F238E27FC236}">
                <a16:creationId xmlns:a16="http://schemas.microsoft.com/office/drawing/2014/main" id="{F636704F-CE03-4F5E-9673-A032B2628106}"/>
              </a:ext>
            </a:extLst>
          </p:cNvPr>
          <p:cNvGraphicFramePr/>
          <p:nvPr/>
        </p:nvGraphicFramePr>
        <p:xfrm>
          <a:off x="1665837" y="3437398"/>
          <a:ext cx="8993605" cy="63165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Title 1">
            <a:extLst>
              <a:ext uri="{FF2B5EF4-FFF2-40B4-BE49-F238E27FC236}">
                <a16:creationId xmlns:a16="http://schemas.microsoft.com/office/drawing/2014/main" id="{74359787-3D70-48E1-BAA8-3244B4A0D1CA}"/>
              </a:ext>
            </a:extLst>
          </p:cNvPr>
          <p:cNvSpPr>
            <a:spLocks noGrp="1"/>
          </p:cNvSpPr>
          <p:nvPr>
            <p:ph type="title"/>
          </p:nvPr>
        </p:nvSpPr>
        <p:spPr/>
        <p:txBody>
          <a:bodyPr/>
          <a:lstStyle/>
          <a:p>
            <a:r>
              <a:rPr lang="en-GB" dirty="0"/>
              <a:t>Conclusions</a:t>
            </a:r>
          </a:p>
        </p:txBody>
      </p:sp>
      <p:sp>
        <p:nvSpPr>
          <p:cNvPr id="4" name="Text Placeholder 3">
            <a:extLst>
              <a:ext uri="{FF2B5EF4-FFF2-40B4-BE49-F238E27FC236}">
                <a16:creationId xmlns:a16="http://schemas.microsoft.com/office/drawing/2014/main" id="{F68CEC61-5E16-41B4-9501-09E05259C49B}"/>
              </a:ext>
            </a:extLst>
          </p:cNvPr>
          <p:cNvSpPr>
            <a:spLocks noGrp="1"/>
          </p:cNvSpPr>
          <p:nvPr>
            <p:ph type="body" sz="quarter" idx="10"/>
          </p:nvPr>
        </p:nvSpPr>
        <p:spPr>
          <a:xfrm>
            <a:off x="609600" y="5797796"/>
            <a:ext cx="10972800" cy="926024"/>
          </a:xfrm>
        </p:spPr>
        <p:txBody>
          <a:bodyPr/>
          <a:lstStyle/>
          <a:p>
            <a:r>
              <a:rPr lang="da-DK" dirty="0">
                <a:solidFill>
                  <a:schemeClr val="tx1"/>
                </a:solidFill>
              </a:rPr>
              <a:t>2L, second line; </a:t>
            </a:r>
            <a:r>
              <a:rPr lang="en-US" dirty="0">
                <a:solidFill>
                  <a:schemeClr val="tx1"/>
                </a:solidFill>
              </a:rPr>
              <a:t>BRAF, v-raf murine sarcoma viral oncogene homolog B; </a:t>
            </a:r>
            <a:r>
              <a:rPr lang="da-DK" dirty="0">
                <a:solidFill>
                  <a:schemeClr val="tx1"/>
                </a:solidFill>
              </a:rPr>
              <a:t>FDA, US Food and Drug Administration; FGFR, fibroblast growth factor receptor; FOLFOX, </a:t>
            </a:r>
            <a:r>
              <a:rPr lang="en-US" dirty="0">
                <a:solidFill>
                  <a:schemeClr val="tx1"/>
                </a:solidFill>
              </a:rPr>
              <a:t>folinic acid, fluorouracil and oxaliplatin; Gem/Cis, </a:t>
            </a:r>
            <a:r>
              <a:rPr lang="en-GB" dirty="0">
                <a:solidFill>
                  <a:schemeClr val="tx1"/>
                </a:solidFill>
              </a:rPr>
              <a:t>gemcitabine/ cisplatin; </a:t>
            </a:r>
            <a:r>
              <a:rPr lang="en-US" dirty="0">
                <a:solidFill>
                  <a:schemeClr val="tx1"/>
                </a:solidFill>
              </a:rPr>
              <a:t>IDH, isocitrate dehydrogenase; </a:t>
            </a:r>
            <a:r>
              <a:rPr lang="da-DK" dirty="0">
                <a:solidFill>
                  <a:schemeClr val="tx1"/>
                </a:solidFill>
              </a:rPr>
              <a:t>MEK, mitogen-activated protein kinase kinase; </a:t>
            </a:r>
            <a:r>
              <a:rPr lang="it-IT" dirty="0">
                <a:solidFill>
                  <a:schemeClr val="tx1"/>
                </a:solidFill>
              </a:rPr>
              <a:t>MSI, microsatellite instability; </a:t>
            </a:r>
            <a:r>
              <a:rPr lang="da-DK" dirty="0">
                <a:solidFill>
                  <a:schemeClr val="tx1"/>
                </a:solidFill>
              </a:rPr>
              <a:t>NTRK, </a:t>
            </a:r>
            <a:r>
              <a:rPr lang="en-US" dirty="0">
                <a:solidFill>
                  <a:schemeClr val="tx1"/>
                </a:solidFill>
              </a:rPr>
              <a:t>neurotrophic tyrosine kinase</a:t>
            </a:r>
            <a:r>
              <a:rPr lang="da-DK" dirty="0">
                <a:solidFill>
                  <a:schemeClr val="tx1"/>
                </a:solidFill>
              </a:rPr>
              <a:t>.</a:t>
            </a:r>
            <a:br>
              <a:rPr lang="da-DK" dirty="0">
                <a:solidFill>
                  <a:schemeClr val="tx1"/>
                </a:solidFill>
              </a:rPr>
            </a:br>
            <a:r>
              <a:rPr lang="en-GB" dirty="0">
                <a:solidFill>
                  <a:schemeClr val="tx1"/>
                </a:solidFill>
              </a:rPr>
              <a:t>Valle JW, et al. Cancer Discov 2017;7(9):943–962; </a:t>
            </a:r>
            <a:r>
              <a:rPr lang="en-US" dirty="0">
                <a:solidFill>
                  <a:schemeClr val="tx1"/>
                </a:solidFill>
              </a:rPr>
              <a:t>Goyal L, et al. Cancer Treat Rev 2021;95:102170; National Comprehensive Cancer Network (2021). Hepatobiliary cancers: NCCN evidence blocks. Version 1.2021. Available at: https://www.nccn.org/professionals/physician_gls/pdf/hepatobiliary_blocks.pdf; Abou-Alfa GK, et al (2019). Ann Oncol (ESMO Congress Abstracts), 30(suppl_5). Abstract 1867; </a:t>
            </a:r>
            <a:r>
              <a:rPr lang="en-GB" dirty="0">
                <a:solidFill>
                  <a:schemeClr val="tx1"/>
                </a:solidFill>
              </a:rPr>
              <a:t>Subbiah V, et al. Lancet 2020;21(9):1234–1243.</a:t>
            </a:r>
            <a:endParaRPr lang="da-DK" dirty="0">
              <a:solidFill>
                <a:schemeClr val="tx1"/>
              </a:solidFill>
            </a:endParaRPr>
          </a:p>
          <a:p>
            <a:endParaRPr lang="en-GB" dirty="0">
              <a:solidFill>
                <a:schemeClr val="tx1"/>
              </a:solidFill>
              <a:highlight>
                <a:srgbClr val="FFFF00"/>
              </a:highlight>
            </a:endParaRPr>
          </a:p>
        </p:txBody>
      </p:sp>
      <p:cxnSp>
        <p:nvCxnSpPr>
          <p:cNvPr id="27" name="Straight Connector 26">
            <a:extLst>
              <a:ext uri="{FF2B5EF4-FFF2-40B4-BE49-F238E27FC236}">
                <a16:creationId xmlns:a16="http://schemas.microsoft.com/office/drawing/2014/main" id="{F063D45E-8908-4A27-B21E-FB236DD133ED}"/>
              </a:ext>
            </a:extLst>
          </p:cNvPr>
          <p:cNvCxnSpPr>
            <a:cxnSpLocks/>
          </p:cNvCxnSpPr>
          <p:nvPr/>
        </p:nvCxnSpPr>
        <p:spPr>
          <a:xfrm>
            <a:off x="8553700" y="3437398"/>
            <a:ext cx="0" cy="180974"/>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C62311AD-9410-42BF-9A54-FC700D75244B}"/>
              </a:ext>
            </a:extLst>
          </p:cNvPr>
          <p:cNvCxnSpPr>
            <a:cxnSpLocks/>
          </p:cNvCxnSpPr>
          <p:nvPr/>
        </p:nvCxnSpPr>
        <p:spPr>
          <a:xfrm>
            <a:off x="9186010" y="3437398"/>
            <a:ext cx="0" cy="180974"/>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FB263966-4313-4A90-9A97-75F31D1750E4}"/>
              </a:ext>
            </a:extLst>
          </p:cNvPr>
          <p:cNvCxnSpPr>
            <a:cxnSpLocks/>
          </p:cNvCxnSpPr>
          <p:nvPr/>
        </p:nvCxnSpPr>
        <p:spPr>
          <a:xfrm>
            <a:off x="7809243" y="2758205"/>
            <a:ext cx="0" cy="846058"/>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7" name="Rectangle: Rounded Corners 6">
            <a:extLst>
              <a:ext uri="{FF2B5EF4-FFF2-40B4-BE49-F238E27FC236}">
                <a16:creationId xmlns:a16="http://schemas.microsoft.com/office/drawing/2014/main" id="{B8864A55-4C61-44A6-A544-B62CF5BE8524}"/>
              </a:ext>
            </a:extLst>
          </p:cNvPr>
          <p:cNvSpPr/>
          <p:nvPr/>
        </p:nvSpPr>
        <p:spPr>
          <a:xfrm>
            <a:off x="5310153" y="4245418"/>
            <a:ext cx="2046109" cy="648971"/>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prstClr val="white"/>
                </a:solidFill>
                <a:effectLst/>
                <a:uLnTx/>
                <a:uFillTx/>
                <a:latin typeface="Arial" panose="020B0604020202020204"/>
                <a:ea typeface="+mn-ea"/>
                <a:cs typeface="Times" panose="02020603050405020304" pitchFamily="18" charset="0"/>
              </a:rPr>
              <a:t>Pembrolizumab for MSI-high advanced solid tumors</a:t>
            </a:r>
          </a:p>
        </p:txBody>
      </p:sp>
      <p:cxnSp>
        <p:nvCxnSpPr>
          <p:cNvPr id="8" name="Straight Connector 7">
            <a:extLst>
              <a:ext uri="{FF2B5EF4-FFF2-40B4-BE49-F238E27FC236}">
                <a16:creationId xmlns:a16="http://schemas.microsoft.com/office/drawing/2014/main" id="{BA149711-5A04-49C3-ACC7-6651B0B04ECB}"/>
              </a:ext>
            </a:extLst>
          </p:cNvPr>
          <p:cNvCxnSpPr>
            <a:cxnSpLocks/>
          </p:cNvCxnSpPr>
          <p:nvPr/>
        </p:nvCxnSpPr>
        <p:spPr>
          <a:xfrm flipV="1">
            <a:off x="6743663" y="3880311"/>
            <a:ext cx="0" cy="430422"/>
          </a:xfrm>
          <a:prstGeom prst="line">
            <a:avLst/>
          </a:prstGeom>
          <a:ln w="19050">
            <a:solidFill>
              <a:schemeClr val="accent1"/>
            </a:solidFill>
          </a:ln>
          <a:effectLst/>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5AF21363-1F3D-46DE-B0A4-6BD438E03569}"/>
              </a:ext>
            </a:extLst>
          </p:cNvPr>
          <p:cNvCxnSpPr>
            <a:cxnSpLocks/>
          </p:cNvCxnSpPr>
          <p:nvPr/>
        </p:nvCxnSpPr>
        <p:spPr>
          <a:xfrm>
            <a:off x="7427708" y="3880312"/>
            <a:ext cx="0" cy="1582561"/>
          </a:xfrm>
          <a:prstGeom prst="line">
            <a:avLst/>
          </a:prstGeom>
          <a:ln w="19050">
            <a:solidFill>
              <a:schemeClr val="accent6"/>
            </a:solidFill>
          </a:ln>
          <a:effectLst/>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782B84CB-4D50-43E6-A425-122AF45DC5E1}"/>
              </a:ext>
            </a:extLst>
          </p:cNvPr>
          <p:cNvCxnSpPr>
            <a:cxnSpLocks/>
          </p:cNvCxnSpPr>
          <p:nvPr/>
        </p:nvCxnSpPr>
        <p:spPr>
          <a:xfrm>
            <a:off x="2005982" y="3211808"/>
            <a:ext cx="0" cy="406564"/>
          </a:xfrm>
          <a:prstGeom prst="line">
            <a:avLst/>
          </a:prstGeom>
          <a:ln>
            <a:noFill/>
          </a:ln>
          <a:effectLst/>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787A7F2-E429-464F-A4D0-08F03EE83D65}"/>
              </a:ext>
            </a:extLst>
          </p:cNvPr>
          <p:cNvCxnSpPr>
            <a:cxnSpLocks/>
          </p:cNvCxnSpPr>
          <p:nvPr/>
        </p:nvCxnSpPr>
        <p:spPr>
          <a:xfrm>
            <a:off x="7920751" y="2546749"/>
            <a:ext cx="1" cy="1091077"/>
          </a:xfrm>
          <a:prstGeom prst="line">
            <a:avLst/>
          </a:prstGeom>
          <a:ln>
            <a:noFill/>
          </a:ln>
          <a:effectLst/>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25B8DA8E-AEAA-410D-8DB5-D9B43F4F7AF5}"/>
              </a:ext>
            </a:extLst>
          </p:cNvPr>
          <p:cNvSpPr txBox="1"/>
          <p:nvPr/>
        </p:nvSpPr>
        <p:spPr>
          <a:xfrm>
            <a:off x="4805256" y="3265709"/>
            <a:ext cx="2247002" cy="338554"/>
          </a:xfrm>
          <a:prstGeom prst="rect">
            <a:avLst/>
          </a:prstGeom>
          <a:noFill/>
          <a:ln>
            <a:noFill/>
          </a:ln>
          <a:effectLst/>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panose="020B0604020202020204"/>
                <a:ea typeface="ＭＳ Ｐゴシック" pitchFamily="34" charset="-128"/>
                <a:cs typeface="+mn-cs"/>
              </a:rPr>
              <a:t>Biliary Tract Cancer</a:t>
            </a:r>
          </a:p>
        </p:txBody>
      </p:sp>
      <p:cxnSp>
        <p:nvCxnSpPr>
          <p:cNvPr id="15" name="Straight Connector 14">
            <a:extLst>
              <a:ext uri="{FF2B5EF4-FFF2-40B4-BE49-F238E27FC236}">
                <a16:creationId xmlns:a16="http://schemas.microsoft.com/office/drawing/2014/main" id="{263B101A-973A-48BF-A8B4-6C201183379C}"/>
              </a:ext>
            </a:extLst>
          </p:cNvPr>
          <p:cNvCxnSpPr>
            <a:cxnSpLocks/>
          </p:cNvCxnSpPr>
          <p:nvPr/>
        </p:nvCxnSpPr>
        <p:spPr>
          <a:xfrm>
            <a:off x="8118106" y="2514040"/>
            <a:ext cx="0" cy="1123786"/>
          </a:xfrm>
          <a:prstGeom prst="line">
            <a:avLst/>
          </a:prstGeom>
          <a:ln>
            <a:noFill/>
          </a:ln>
          <a:effectLst/>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0B8FA214-79A8-49F6-B91D-3BA33A423232}"/>
              </a:ext>
            </a:extLst>
          </p:cNvPr>
          <p:cNvSpPr txBox="1"/>
          <p:nvPr/>
        </p:nvSpPr>
        <p:spPr>
          <a:xfrm>
            <a:off x="826832" y="4188316"/>
            <a:ext cx="4318442" cy="1323439"/>
          </a:xfrm>
          <a:prstGeom prst="rect">
            <a:avLst/>
          </a:prstGeom>
          <a:noFill/>
          <a:ln w="12700">
            <a:solidFill>
              <a:schemeClr val="tx1"/>
            </a:solidFill>
          </a:ln>
          <a:effectLst/>
        </p:spPr>
        <p:txBody>
          <a:bodyPr wrap="square" rtlCol="0">
            <a:spAutoFit/>
          </a:bodyPr>
          <a:lstStyle/>
          <a:p>
            <a:pPr marL="457200" marR="0" lvl="0" indent="-457200" algn="l" defTabSz="914400" rtl="0" eaLnBrk="1" fontAlgn="auto" latinLnBrk="0" hangingPunct="1">
              <a:lnSpc>
                <a:spcPct val="100000"/>
              </a:lnSpc>
              <a:spcBef>
                <a:spcPts val="0"/>
              </a:spcBef>
              <a:spcAft>
                <a:spcPts val="0"/>
              </a:spcAft>
              <a:buClrTx/>
              <a:buSzTx/>
              <a:buFontTx/>
              <a:buAutoNum type="arabicPeriod"/>
              <a:tabLst/>
              <a:defRPr/>
            </a:pPr>
            <a:r>
              <a:rPr kumimoji="0" lang="en-US" sz="1600" b="0" i="0" u="none" strike="noStrike" kern="1200" cap="none" spc="0" normalizeH="0" baseline="0" noProof="0" dirty="0">
                <a:ln>
                  <a:noFill/>
                </a:ln>
                <a:solidFill>
                  <a:srgbClr val="000000"/>
                </a:solidFill>
                <a:effectLst/>
                <a:uLnTx/>
                <a:uFillTx/>
                <a:latin typeface="Arial" panose="020B0604020202020204"/>
                <a:ea typeface="MS PGothic" charset="0"/>
                <a:cs typeface="+mn-cs"/>
              </a:rPr>
              <a:t>Tumor molecular profiling is now the standard of care in cholangiocarcinoma</a:t>
            </a:r>
          </a:p>
          <a:p>
            <a:pPr marL="457200" marR="0" lvl="0" indent="-457200" algn="l" defTabSz="914400" rtl="0" eaLnBrk="1" fontAlgn="auto" latinLnBrk="0" hangingPunct="1">
              <a:lnSpc>
                <a:spcPct val="100000"/>
              </a:lnSpc>
              <a:spcBef>
                <a:spcPts val="0"/>
              </a:spcBef>
              <a:spcAft>
                <a:spcPts val="0"/>
              </a:spcAft>
              <a:buClrTx/>
              <a:buSzTx/>
              <a:buFontTx/>
              <a:buAutoNum type="arabicPeriod"/>
              <a:tabLst/>
              <a:defRPr/>
            </a:pPr>
            <a:r>
              <a:rPr kumimoji="0" lang="en-US" sz="1600" b="0" i="0" u="none" strike="noStrike" kern="1200" cap="none" spc="0" normalizeH="0" baseline="0" noProof="0" dirty="0">
                <a:ln>
                  <a:noFill/>
                </a:ln>
                <a:solidFill>
                  <a:srgbClr val="000000"/>
                </a:solidFill>
                <a:effectLst/>
                <a:uLnTx/>
                <a:uFillTx/>
                <a:latin typeface="Arial" panose="020B0604020202020204"/>
                <a:ea typeface="MS PGothic" charset="0"/>
                <a:cs typeface="+mn-cs"/>
              </a:rPr>
              <a:t>Consider referral for clinical trials to hasten the path to FDA approval for effective drugs</a:t>
            </a:r>
          </a:p>
        </p:txBody>
      </p:sp>
      <p:sp>
        <p:nvSpPr>
          <p:cNvPr id="19" name="Rectangle: Rounded Corners 18">
            <a:extLst>
              <a:ext uri="{FF2B5EF4-FFF2-40B4-BE49-F238E27FC236}">
                <a16:creationId xmlns:a16="http://schemas.microsoft.com/office/drawing/2014/main" id="{86AEB100-2F95-4563-B681-0175E7C642E3}"/>
              </a:ext>
            </a:extLst>
          </p:cNvPr>
          <p:cNvSpPr/>
          <p:nvPr/>
        </p:nvSpPr>
        <p:spPr>
          <a:xfrm>
            <a:off x="6218965" y="1858612"/>
            <a:ext cx="1697839" cy="925296"/>
          </a:xfrm>
          <a:prstGeom prst="round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prstClr val="white"/>
                </a:solidFill>
                <a:effectLst/>
                <a:uLnTx/>
                <a:uFillTx/>
                <a:latin typeface="Arial" panose="020B0604020202020204"/>
                <a:ea typeface="+mn-ea"/>
                <a:cs typeface="Times" panose="02020603050405020304" pitchFamily="18" charset="0"/>
              </a:rPr>
              <a:t>ABC-06: 2L FOLFOX becomes standard of care</a:t>
            </a:r>
          </a:p>
        </p:txBody>
      </p:sp>
      <p:cxnSp>
        <p:nvCxnSpPr>
          <p:cNvPr id="22" name="Straight Connector 21">
            <a:extLst>
              <a:ext uri="{FF2B5EF4-FFF2-40B4-BE49-F238E27FC236}">
                <a16:creationId xmlns:a16="http://schemas.microsoft.com/office/drawing/2014/main" id="{A4EB8118-83AB-42B6-8ED3-FD6F7547D137}"/>
              </a:ext>
            </a:extLst>
          </p:cNvPr>
          <p:cNvCxnSpPr>
            <a:cxnSpLocks/>
          </p:cNvCxnSpPr>
          <p:nvPr/>
        </p:nvCxnSpPr>
        <p:spPr>
          <a:xfrm>
            <a:off x="2005982" y="2791844"/>
            <a:ext cx="0" cy="846058"/>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AD194C7B-867F-47EF-B66E-A1E6AA9C6526}"/>
              </a:ext>
            </a:extLst>
          </p:cNvPr>
          <p:cNvSpPr txBox="1"/>
          <p:nvPr/>
        </p:nvSpPr>
        <p:spPr>
          <a:xfrm>
            <a:off x="301462" y="1154358"/>
            <a:ext cx="11589077"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rial" panose="020B0604020202020204"/>
                <a:ea typeface="MS PGothic" charset="0"/>
                <a:cs typeface="Times" panose="02020603050405020304" pitchFamily="18" charset="0"/>
              </a:rPr>
              <a:t>Precision Oncology is Key for Management of Advanced Cholangiocarcinoma</a:t>
            </a:r>
            <a:endParaRPr kumimoji="0" lang="en-US" sz="1800" b="0" i="0" u="none" strike="noStrike" kern="1200" cap="none" spc="0" normalizeH="0" baseline="0" noProof="0" dirty="0">
              <a:ln>
                <a:noFill/>
              </a:ln>
              <a:solidFill>
                <a:srgbClr val="212121"/>
              </a:solidFill>
              <a:effectLst/>
              <a:uLnTx/>
              <a:uFillTx/>
              <a:latin typeface="Arial" panose="020B0604020202020204"/>
              <a:ea typeface="MS PGothic" charset="0"/>
              <a:cs typeface="+mn-cs"/>
            </a:endParaRPr>
          </a:p>
        </p:txBody>
      </p:sp>
      <p:sp>
        <p:nvSpPr>
          <p:cNvPr id="25" name="Rectangle: Rounded Corners 24">
            <a:extLst>
              <a:ext uri="{FF2B5EF4-FFF2-40B4-BE49-F238E27FC236}">
                <a16:creationId xmlns:a16="http://schemas.microsoft.com/office/drawing/2014/main" id="{8B1A4D61-BED3-4A7B-45C8-186F5E9FFA46}"/>
              </a:ext>
            </a:extLst>
          </p:cNvPr>
          <p:cNvSpPr/>
          <p:nvPr/>
        </p:nvSpPr>
        <p:spPr>
          <a:xfrm>
            <a:off x="8912510" y="1523689"/>
            <a:ext cx="3078206" cy="690095"/>
          </a:xfrm>
          <a:prstGeom prst="roundRect">
            <a:avLst/>
          </a:prstGeom>
          <a:gradFill>
            <a:gsLst>
              <a:gs pos="100000">
                <a:srgbClr val="43921E"/>
              </a:gs>
              <a:gs pos="0">
                <a:schemeClr val="accent1">
                  <a:lumMod val="5000"/>
                  <a:lumOff val="95000"/>
                </a:schemeClr>
              </a:gs>
              <a:gs pos="0">
                <a:schemeClr val="accent2"/>
              </a:gs>
              <a:gs pos="100000">
                <a:srgbClr val="43921E"/>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prstClr val="white"/>
                </a:solidFill>
                <a:effectLst/>
                <a:uLnTx/>
                <a:uFillTx/>
                <a:latin typeface="Arial" panose="020B0604020202020204"/>
                <a:ea typeface="+mn-ea"/>
                <a:cs typeface="Times" panose="02020603050405020304" pitchFamily="18" charset="0"/>
              </a:rPr>
              <a:t>TOPAZ-1:</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prstClr val="white"/>
                </a:solidFill>
                <a:effectLst/>
                <a:uLnTx/>
                <a:uFillTx/>
                <a:latin typeface="Arial" panose="020B0604020202020204"/>
                <a:ea typeface="+mn-ea"/>
                <a:cs typeface="Times" panose="02020603050405020304" pitchFamily="18" charset="0"/>
              </a:rPr>
              <a:t>Gem/Cisplatin/Durvalumab now a first line preferred regimen</a:t>
            </a:r>
          </a:p>
        </p:txBody>
      </p:sp>
      <p:cxnSp>
        <p:nvCxnSpPr>
          <p:cNvPr id="26" name="Straight Connector 25">
            <a:extLst>
              <a:ext uri="{FF2B5EF4-FFF2-40B4-BE49-F238E27FC236}">
                <a16:creationId xmlns:a16="http://schemas.microsoft.com/office/drawing/2014/main" id="{3897DE7F-1AA6-E99F-AE51-FBBC4834F7C1}"/>
              </a:ext>
            </a:extLst>
          </p:cNvPr>
          <p:cNvCxnSpPr>
            <a:cxnSpLocks/>
          </p:cNvCxnSpPr>
          <p:nvPr/>
        </p:nvCxnSpPr>
        <p:spPr>
          <a:xfrm>
            <a:off x="9681930" y="2213784"/>
            <a:ext cx="0" cy="1390479"/>
          </a:xfrm>
          <a:prstGeom prst="line">
            <a:avLst/>
          </a:prstGeom>
          <a:ln w="19050">
            <a:solidFill>
              <a:srgbClr val="43921E"/>
            </a:solidFill>
          </a:ln>
        </p:spPr>
        <p:style>
          <a:lnRef idx="1">
            <a:schemeClr val="accent1"/>
          </a:lnRef>
          <a:fillRef idx="0">
            <a:schemeClr val="accent1"/>
          </a:fillRef>
          <a:effectRef idx="0">
            <a:schemeClr val="accent1"/>
          </a:effectRef>
          <a:fontRef idx="minor">
            <a:schemeClr val="tx1"/>
          </a:fontRef>
        </p:style>
      </p:cxnSp>
      <p:sp>
        <p:nvSpPr>
          <p:cNvPr id="17" name="Rectangle: Rounded Corners 16">
            <a:extLst>
              <a:ext uri="{FF2B5EF4-FFF2-40B4-BE49-F238E27FC236}">
                <a16:creationId xmlns:a16="http://schemas.microsoft.com/office/drawing/2014/main" id="{568A3814-F5A2-4455-A446-C72E5EABF196}"/>
              </a:ext>
            </a:extLst>
          </p:cNvPr>
          <p:cNvSpPr/>
          <p:nvPr/>
        </p:nvSpPr>
        <p:spPr>
          <a:xfrm>
            <a:off x="8043310" y="2391690"/>
            <a:ext cx="3049707" cy="1102858"/>
          </a:xfrm>
          <a:prstGeom prst="roundRect">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prstClr val="white"/>
                </a:solidFill>
                <a:effectLst/>
                <a:uLnTx/>
                <a:uFillTx/>
                <a:latin typeface="Arial" panose="020B0604020202020204"/>
                <a:ea typeface="+mn-ea"/>
                <a:cs typeface="Times" panose="02020603050405020304" pitchFamily="18" charset="0"/>
              </a:rPr>
              <a:t>FDA approval of </a:t>
            </a:r>
            <a:r>
              <a:rPr kumimoji="0" lang="en-US" sz="1300" b="1" i="0" u="none" strike="noStrike" kern="1200" cap="none" spc="0" normalizeH="0" baseline="0" noProof="0" dirty="0" err="1">
                <a:ln>
                  <a:noFill/>
                </a:ln>
                <a:solidFill>
                  <a:prstClr val="white"/>
                </a:solidFill>
                <a:effectLst/>
                <a:uLnTx/>
                <a:uFillTx/>
                <a:latin typeface="Arial" panose="020B0604020202020204"/>
                <a:ea typeface="+mn-ea"/>
                <a:cs typeface="Times" panose="02020603050405020304" pitchFamily="18" charset="0"/>
              </a:rPr>
              <a:t>pemigatinib</a:t>
            </a:r>
            <a:r>
              <a:rPr kumimoji="0" lang="en-US" sz="1300" b="1" i="0" u="none" strike="noStrike" kern="1200" cap="none" spc="0" normalizeH="0" baseline="0" noProof="0" dirty="0">
                <a:ln>
                  <a:noFill/>
                </a:ln>
                <a:solidFill>
                  <a:prstClr val="white"/>
                </a:solidFill>
                <a:effectLst/>
                <a:uLnTx/>
                <a:uFillTx/>
                <a:latin typeface="Arial" panose="020B0604020202020204"/>
                <a:ea typeface="+mn-ea"/>
                <a:cs typeface="Times" panose="02020603050405020304" pitchFamily="18" charset="0"/>
              </a:rPr>
              <a:t>, </a:t>
            </a:r>
            <a:r>
              <a:rPr kumimoji="0" lang="en-US" sz="1300" b="1" i="0" u="none" strike="noStrike" kern="1200" cap="none" spc="0" normalizeH="0" baseline="0" noProof="0" dirty="0" err="1">
                <a:ln>
                  <a:noFill/>
                </a:ln>
                <a:solidFill>
                  <a:prstClr val="white"/>
                </a:solidFill>
                <a:effectLst/>
                <a:uLnTx/>
                <a:uFillTx/>
                <a:latin typeface="Arial" panose="020B0604020202020204"/>
                <a:ea typeface="+mn-ea"/>
                <a:cs typeface="Times" panose="02020603050405020304" pitchFamily="18" charset="0"/>
              </a:rPr>
              <a:t>infigratinib</a:t>
            </a:r>
            <a:r>
              <a:rPr kumimoji="0" lang="en-US" sz="1300" b="1" i="0" u="none" strike="noStrike" kern="1200" cap="none" spc="0" normalizeH="0" baseline="0" noProof="0" dirty="0">
                <a:ln>
                  <a:noFill/>
                </a:ln>
                <a:solidFill>
                  <a:prstClr val="white"/>
                </a:solidFill>
                <a:effectLst/>
                <a:uLnTx/>
                <a:uFillTx/>
                <a:latin typeface="Arial" panose="020B0604020202020204"/>
                <a:ea typeface="+mn-ea"/>
                <a:cs typeface="Times" panose="02020603050405020304" pitchFamily="18" charset="0"/>
              </a:rPr>
              <a:t>, and </a:t>
            </a:r>
            <a:r>
              <a:rPr kumimoji="0" lang="en-US" sz="1300" b="1" i="0" u="none" strike="noStrike" kern="1200" cap="none" spc="0" normalizeH="0" baseline="0" noProof="0" dirty="0" err="1">
                <a:ln>
                  <a:noFill/>
                </a:ln>
                <a:solidFill>
                  <a:prstClr val="white"/>
                </a:solidFill>
                <a:effectLst/>
                <a:uLnTx/>
                <a:uFillTx/>
                <a:latin typeface="Arial" panose="020B0604020202020204"/>
                <a:ea typeface="+mn-ea"/>
                <a:cs typeface="Times" panose="02020603050405020304" pitchFamily="18" charset="0"/>
              </a:rPr>
              <a:t>futibatinib</a:t>
            </a:r>
            <a:r>
              <a:rPr kumimoji="0" lang="en-US" sz="1300" b="1" i="0" u="none" strike="noStrike" kern="1200" cap="none" spc="0" normalizeH="0" baseline="0" noProof="0" dirty="0">
                <a:ln>
                  <a:noFill/>
                </a:ln>
                <a:solidFill>
                  <a:prstClr val="white"/>
                </a:solidFill>
                <a:effectLst/>
                <a:uLnTx/>
                <a:uFillTx/>
                <a:latin typeface="Arial" panose="020B0604020202020204"/>
                <a:ea typeface="+mn-ea"/>
                <a:cs typeface="Times" panose="02020603050405020304" pitchFamily="18" charset="0"/>
              </a:rPr>
              <a:t> for FGFR2 fusion/rearrangement–positive and ivosidenib for IDH1-positive cholangiocarcinoma</a:t>
            </a:r>
          </a:p>
        </p:txBody>
      </p:sp>
      <p:sp>
        <p:nvSpPr>
          <p:cNvPr id="6" name="Rectangle: Rounded Corners 5">
            <a:extLst>
              <a:ext uri="{FF2B5EF4-FFF2-40B4-BE49-F238E27FC236}">
                <a16:creationId xmlns:a16="http://schemas.microsoft.com/office/drawing/2014/main" id="{F0E16E27-1220-42D5-82BF-A46099A704D8}"/>
              </a:ext>
            </a:extLst>
          </p:cNvPr>
          <p:cNvSpPr/>
          <p:nvPr/>
        </p:nvSpPr>
        <p:spPr>
          <a:xfrm>
            <a:off x="1665836" y="2368637"/>
            <a:ext cx="1697839" cy="839667"/>
          </a:xfrm>
          <a:prstGeom prst="round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prstClr val="white"/>
                </a:solidFill>
                <a:effectLst/>
                <a:uLnTx/>
                <a:uFillTx/>
                <a:latin typeface="Arial" panose="020B0604020202020204"/>
                <a:ea typeface="+mn-ea"/>
                <a:cs typeface="Times" panose="02020603050405020304" pitchFamily="18" charset="0"/>
              </a:rPr>
              <a:t>ABC-02: Gem/Cis becomes the standard of care</a:t>
            </a:r>
          </a:p>
        </p:txBody>
      </p:sp>
      <p:sp>
        <p:nvSpPr>
          <p:cNvPr id="20" name="Rectangle: Rounded Corners 19">
            <a:extLst>
              <a:ext uri="{FF2B5EF4-FFF2-40B4-BE49-F238E27FC236}">
                <a16:creationId xmlns:a16="http://schemas.microsoft.com/office/drawing/2014/main" id="{96EF068E-8517-471E-B9C4-DC8F3319B393}"/>
              </a:ext>
            </a:extLst>
          </p:cNvPr>
          <p:cNvSpPr/>
          <p:nvPr/>
        </p:nvSpPr>
        <p:spPr>
          <a:xfrm>
            <a:off x="7275305" y="4843269"/>
            <a:ext cx="2198512" cy="905645"/>
          </a:xfrm>
          <a:prstGeom prst="roundRect">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prstClr val="white"/>
                </a:solidFill>
                <a:effectLst/>
                <a:uLnTx/>
                <a:uFillTx/>
                <a:latin typeface="Arial" panose="020B0604020202020204"/>
                <a:ea typeface="+mn-ea"/>
                <a:cs typeface="Times" panose="02020603050405020304" pitchFamily="18" charset="0"/>
              </a:rPr>
              <a:t>Larotrectinib and entrectinib for NTRK fusion–positive advanced solid tumors</a:t>
            </a:r>
          </a:p>
        </p:txBody>
      </p:sp>
      <p:sp>
        <p:nvSpPr>
          <p:cNvPr id="30" name="Rectangle: Rounded Corners 29">
            <a:extLst>
              <a:ext uri="{FF2B5EF4-FFF2-40B4-BE49-F238E27FC236}">
                <a16:creationId xmlns:a16="http://schemas.microsoft.com/office/drawing/2014/main" id="{D0FC1A87-1AE9-49D3-BB5C-53ED1ECE43E8}"/>
              </a:ext>
            </a:extLst>
          </p:cNvPr>
          <p:cNvSpPr/>
          <p:nvPr/>
        </p:nvSpPr>
        <p:spPr>
          <a:xfrm>
            <a:off x="9605150" y="4053196"/>
            <a:ext cx="2385551" cy="1720056"/>
          </a:xfrm>
          <a:prstGeom prst="roundRect">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a-DK" sz="1300" b="1" i="0" u="none" strike="noStrike" kern="1200" cap="none" spc="0" normalizeH="0" baseline="0" noProof="0" dirty="0">
              <a:ln>
                <a:noFill/>
              </a:ln>
              <a:solidFill>
                <a:prstClr val="white"/>
              </a:solidFill>
              <a:effectLst/>
              <a:uLnTx/>
              <a:uFillTx/>
              <a:latin typeface="Arial" panose="020B0604020202020204"/>
              <a:ea typeface="+mn-ea"/>
              <a:cs typeface="Times" panose="02020603050405020304" pitchFamily="18" charset="0"/>
            </a:endParaRP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da-DK" sz="1300" b="1" i="0" u="none" strike="noStrike" kern="1200" cap="none" spc="0" normalizeH="0" baseline="0" noProof="0" dirty="0">
                <a:ln>
                  <a:noFill/>
                </a:ln>
                <a:solidFill>
                  <a:prstClr val="white"/>
                </a:solidFill>
                <a:effectLst/>
                <a:uLnTx/>
                <a:uFillTx/>
                <a:latin typeface="Arial" panose="020B0604020202020204"/>
                <a:ea typeface="+mn-ea"/>
                <a:cs typeface="Times" panose="02020603050405020304" pitchFamily="18" charset="0"/>
              </a:rPr>
              <a:t>FDA approval of dabrafenib/trametinib BRAF V600E mutation-positive</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da-DK" sz="1300" b="1" i="0" u="none" strike="noStrike" kern="1200" cap="none" spc="0" normalizeH="0" baseline="0" noProof="0" dirty="0">
                <a:ln>
                  <a:noFill/>
                </a:ln>
                <a:solidFill>
                  <a:prstClr val="white"/>
                </a:solidFill>
                <a:effectLst/>
                <a:uLnTx/>
                <a:uFillTx/>
                <a:latin typeface="Arial" panose="020B0604020202020204"/>
                <a:ea typeface="+mn-ea"/>
                <a:cs typeface="Times" panose="02020603050405020304" pitchFamily="18" charset="0"/>
              </a:rPr>
              <a:t>and</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da-DK" sz="1300" b="1" i="0" u="none" strike="noStrike" kern="1200" cap="none" spc="0" normalizeH="0" baseline="0" noProof="0" dirty="0">
                <a:ln>
                  <a:noFill/>
                </a:ln>
                <a:solidFill>
                  <a:prstClr val="white"/>
                </a:solidFill>
                <a:effectLst/>
                <a:uLnTx/>
                <a:uFillTx/>
                <a:latin typeface="Arial" panose="020B0604020202020204"/>
                <a:ea typeface="+mn-ea"/>
                <a:cs typeface="Times" panose="02020603050405020304" pitchFamily="18" charset="0"/>
              </a:rPr>
              <a:t> selpercatinib for </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da-DK" sz="1300" b="1" i="0" u="none" strike="noStrike" kern="1200" cap="none" spc="0" normalizeH="0" baseline="0" noProof="0" dirty="0">
                <a:ln>
                  <a:noFill/>
                </a:ln>
                <a:solidFill>
                  <a:prstClr val="white"/>
                </a:solidFill>
                <a:effectLst/>
                <a:uLnTx/>
                <a:uFillTx/>
                <a:latin typeface="Arial" panose="020B0604020202020204"/>
                <a:ea typeface="+mn-ea"/>
                <a:cs typeface="Times" panose="02020603050405020304" pitchFamily="18" charset="0"/>
              </a:rPr>
              <a:t>RET-positive</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da-DK" sz="1300" b="1" i="0" u="none" strike="noStrike" kern="1200" cap="none" spc="0" normalizeH="0" baseline="0" noProof="0" dirty="0">
                <a:ln>
                  <a:noFill/>
                </a:ln>
                <a:solidFill>
                  <a:prstClr val="white"/>
                </a:solidFill>
                <a:effectLst/>
                <a:uLnTx/>
                <a:uFillTx/>
                <a:latin typeface="Arial" panose="020B0604020202020204"/>
                <a:ea typeface="+mn-ea"/>
                <a:cs typeface="Times" panose="02020603050405020304" pitchFamily="18" charset="0"/>
              </a:rPr>
              <a:t> advanced solid tumors</a:t>
            </a: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a-DK" sz="1300" b="1" i="0" u="none" strike="noStrike" kern="1200" cap="none" spc="0" normalizeH="0" baseline="0" noProof="0" dirty="0">
              <a:ln>
                <a:noFill/>
              </a:ln>
              <a:solidFill>
                <a:prstClr val="white"/>
              </a:solidFill>
              <a:effectLst/>
              <a:uLnTx/>
              <a:uFillTx/>
              <a:latin typeface="Arial" panose="020B0604020202020204"/>
              <a:ea typeface="+mn-ea"/>
              <a:cs typeface="Times" panose="02020603050405020304" pitchFamily="18" charset="0"/>
            </a:endParaRPr>
          </a:p>
        </p:txBody>
      </p:sp>
      <p:cxnSp>
        <p:nvCxnSpPr>
          <p:cNvPr id="14" name="Straight Connector 13">
            <a:extLst>
              <a:ext uri="{FF2B5EF4-FFF2-40B4-BE49-F238E27FC236}">
                <a16:creationId xmlns:a16="http://schemas.microsoft.com/office/drawing/2014/main" id="{E6186AC0-7D7F-E9C0-92E2-FCA1F81FBF9F}"/>
              </a:ext>
            </a:extLst>
          </p:cNvPr>
          <p:cNvCxnSpPr>
            <a:cxnSpLocks/>
          </p:cNvCxnSpPr>
          <p:nvPr/>
        </p:nvCxnSpPr>
        <p:spPr>
          <a:xfrm>
            <a:off x="9758050" y="3880311"/>
            <a:ext cx="0" cy="188745"/>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987255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0"/>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7"/>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7"/>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9"/>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0"/>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4"/>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5"/>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6"/>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6" grpId="0" animBg="1"/>
      <p:bldP spid="25" grpId="0" animBg="1"/>
      <p:bldP spid="17" grpId="0" animBg="1"/>
      <p:bldP spid="20" grpId="0" animBg="1"/>
      <p:bldP spid="30"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77CC42-B382-094E-87BE-7E42C0D145BA}"/>
              </a:ext>
            </a:extLst>
          </p:cNvPr>
          <p:cNvSpPr>
            <a:spLocks noGrp="1"/>
          </p:cNvSpPr>
          <p:nvPr>
            <p:ph type="title"/>
          </p:nvPr>
        </p:nvSpPr>
        <p:spPr>
          <a:xfrm>
            <a:off x="912286" y="0"/>
            <a:ext cx="10358967" cy="1143000"/>
          </a:xfrm>
        </p:spPr>
        <p:txBody>
          <a:bodyPr/>
          <a:lstStyle/>
          <a:p>
            <a:r>
              <a:rPr lang="en-US" dirty="0"/>
              <a:t>QUESTIONS FOR THE FACULTY </a:t>
            </a:r>
          </a:p>
        </p:txBody>
      </p:sp>
      <p:sp>
        <p:nvSpPr>
          <p:cNvPr id="3" name="Content Placeholder 2">
            <a:extLst>
              <a:ext uri="{FF2B5EF4-FFF2-40B4-BE49-F238E27FC236}">
                <a16:creationId xmlns:a16="http://schemas.microsoft.com/office/drawing/2014/main" id="{7EEFB5D1-2903-E84B-AAAB-8403A4D065E2}"/>
              </a:ext>
            </a:extLst>
          </p:cNvPr>
          <p:cNvSpPr>
            <a:spLocks noGrp="1"/>
          </p:cNvSpPr>
          <p:nvPr>
            <p:ph idx="1"/>
          </p:nvPr>
        </p:nvSpPr>
        <p:spPr>
          <a:xfrm>
            <a:off x="912286" y="3299381"/>
            <a:ext cx="10358967" cy="2915685"/>
          </a:xfrm>
        </p:spPr>
        <p:txBody>
          <a:bodyPr/>
          <a:lstStyle/>
          <a:p>
            <a:pPr marL="98425" indent="0">
              <a:buNone/>
            </a:pPr>
            <a:r>
              <a:rPr lang="en-US" sz="2200" i="1" dirty="0">
                <a:solidFill>
                  <a:schemeClr val="accent2"/>
                </a:solidFill>
              </a:rPr>
              <a:t>How are the investigators choosing between atezolizumab and bevacizumab and dual checkpoint inhibitor therapy based on the HIMALAYA trial?</a:t>
            </a:r>
          </a:p>
          <a:p>
            <a:pPr marL="98425" indent="0">
              <a:buNone/>
            </a:pPr>
            <a:r>
              <a:rPr lang="en-US" sz="2200" i="1" dirty="0">
                <a:solidFill>
                  <a:schemeClr val="accent2"/>
                </a:solidFill>
              </a:rPr>
              <a:t>Are there any clinical parameters to decide between the two regimens? Are patients with hepatitis-associated HCC more likely to respond to one regimen versus another? </a:t>
            </a:r>
          </a:p>
          <a:p>
            <a:pPr marL="98425" indent="0">
              <a:buNone/>
            </a:pPr>
            <a:r>
              <a:rPr lang="en-US" sz="2200" i="1" dirty="0">
                <a:solidFill>
                  <a:schemeClr val="accent2"/>
                </a:solidFill>
              </a:rPr>
              <a:t>Do all patients with HCC receiving bevacizumab require upper endoscopy prior to initiating therapy?”</a:t>
            </a:r>
          </a:p>
        </p:txBody>
      </p:sp>
      <p:sp>
        <p:nvSpPr>
          <p:cNvPr id="4" name="Content Placeholder 2">
            <a:extLst>
              <a:ext uri="{FF2B5EF4-FFF2-40B4-BE49-F238E27FC236}">
                <a16:creationId xmlns:a16="http://schemas.microsoft.com/office/drawing/2014/main" id="{31DB941D-D5E9-D7BE-776C-374E7A37BA5B}"/>
              </a:ext>
            </a:extLst>
          </p:cNvPr>
          <p:cNvSpPr txBox="1">
            <a:spLocks/>
          </p:cNvSpPr>
          <p:nvPr/>
        </p:nvSpPr>
        <p:spPr bwMode="auto">
          <a:xfrm>
            <a:off x="3571556" y="1221832"/>
            <a:ext cx="7812172" cy="1828730"/>
          </a:xfrm>
          <a:prstGeom prst="rect">
            <a:avLst/>
          </a:prstGeom>
          <a:noFill/>
          <a:ln w="9525">
            <a:noFill/>
            <a:miter lim="800000"/>
            <a:headEnd/>
            <a:tailEnd/>
          </a:ln>
        </p:spPr>
        <p:txBody>
          <a:bodyPr vert="horz" wrap="square" lIns="137160" tIns="0" rIns="137160" bIns="0" numCol="1" anchor="t" anchorCtr="0" compatLnSpc="1">
            <a:prstTxWarp prst="textNoShape">
              <a:avLst/>
            </a:prstTxWarp>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l"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kumimoji="0" lang="en-US" sz="2200" b="1" i="1" u="none" strike="noStrike" kern="1200" cap="none" spc="0" normalizeH="0" baseline="0" noProof="0" dirty="0">
                <a:ln>
                  <a:noFill/>
                </a:ln>
                <a:solidFill>
                  <a:srgbClr val="3333CC"/>
                </a:solidFill>
                <a:effectLst/>
                <a:uLnTx/>
                <a:uFillTx/>
                <a:latin typeface="Calibri" charset="0"/>
                <a:ea typeface="MS PGothic" pitchFamily="34" charset="-128"/>
              </a:rPr>
              <a:t>“My questions for the investigators are…</a:t>
            </a:r>
          </a:p>
          <a:p>
            <a:pPr marL="98425" marR="0" lvl="0" indent="0" algn="l"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kumimoji="0" lang="en-US" sz="2200" b="1" i="1" u="none" strike="noStrike" kern="1200" cap="none" spc="0" normalizeH="0" baseline="0" noProof="0" dirty="0">
                <a:ln>
                  <a:noFill/>
                </a:ln>
                <a:solidFill>
                  <a:srgbClr val="3333CC"/>
                </a:solidFill>
                <a:effectLst/>
                <a:uLnTx/>
                <a:uFillTx/>
                <a:latin typeface="Calibri" charset="0"/>
                <a:ea typeface="MS PGothic" pitchFamily="34" charset="-128"/>
              </a:rPr>
              <a:t>Is there a role for genetic profiling in patients with HCC? Is a biopsy really necessary in patients with clinical HCC and high alpha-fetoprotein (greater than 400)?</a:t>
            </a:r>
          </a:p>
        </p:txBody>
      </p:sp>
      <p:sp>
        <p:nvSpPr>
          <p:cNvPr id="9" name="TextBox 8">
            <a:extLst>
              <a:ext uri="{FF2B5EF4-FFF2-40B4-BE49-F238E27FC236}">
                <a16:creationId xmlns:a16="http://schemas.microsoft.com/office/drawing/2014/main" id="{C7B63D41-AF09-77DE-D866-A535957369BE}"/>
              </a:ext>
            </a:extLst>
          </p:cNvPr>
          <p:cNvSpPr txBox="1"/>
          <p:nvPr/>
        </p:nvSpPr>
        <p:spPr>
          <a:xfrm>
            <a:off x="912286" y="2808433"/>
            <a:ext cx="2660904"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Warren S Brenner, MD</a:t>
            </a:r>
          </a:p>
        </p:txBody>
      </p:sp>
      <p:pic>
        <p:nvPicPr>
          <p:cNvPr id="5" name="Picture 4" descr="A person wearing headphones&#10;&#10;Description automatically generated with medium confidence">
            <a:extLst>
              <a:ext uri="{FF2B5EF4-FFF2-40B4-BE49-F238E27FC236}">
                <a16:creationId xmlns:a16="http://schemas.microsoft.com/office/drawing/2014/main" id="{4BF50A67-7D5F-A364-67AD-6F1AA4F3A411}"/>
              </a:ext>
            </a:extLst>
          </p:cNvPr>
          <p:cNvPicPr>
            <a:picLocks noChangeAspect="1"/>
          </p:cNvPicPr>
          <p:nvPr/>
        </p:nvPicPr>
        <p:blipFill>
          <a:blip r:embed="rId2"/>
          <a:stretch>
            <a:fillRect/>
          </a:stretch>
        </p:blipFill>
        <p:spPr>
          <a:xfrm>
            <a:off x="912285" y="1233764"/>
            <a:ext cx="2659267" cy="1495838"/>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57711655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6D99EA41-950A-FC4F-9049-A7DC9674DA45}"/>
              </a:ext>
            </a:extLst>
          </p:cNvPr>
          <p:cNvSpPr/>
          <p:nvPr/>
        </p:nvSpPr>
        <p:spPr bwMode="auto">
          <a:xfrm>
            <a:off x="1007220" y="294006"/>
            <a:ext cx="10177559" cy="1862553"/>
          </a:xfrm>
          <a:prstGeom prst="rect">
            <a:avLst/>
          </a:prstGeom>
          <a:solidFill>
            <a:srgbClr val="1599B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S PGothic" charset="0"/>
              <a:cs typeface="+mn-cs"/>
            </a:endParaRPr>
          </a:p>
        </p:txBody>
      </p:sp>
      <p:sp>
        <p:nvSpPr>
          <p:cNvPr id="14" name="Title 1">
            <a:extLst>
              <a:ext uri="{FF2B5EF4-FFF2-40B4-BE49-F238E27FC236}">
                <a16:creationId xmlns:a16="http://schemas.microsoft.com/office/drawing/2014/main" id="{95846D9E-D007-AA40-B7BA-36E748F96750}"/>
              </a:ext>
            </a:extLst>
          </p:cNvPr>
          <p:cNvSpPr>
            <a:spLocks noGrp="1"/>
          </p:cNvSpPr>
          <p:nvPr>
            <p:ph type="title"/>
          </p:nvPr>
        </p:nvSpPr>
        <p:spPr>
          <a:xfrm>
            <a:off x="1122024" y="726556"/>
            <a:ext cx="9360446" cy="1095726"/>
          </a:xfrm>
        </p:spPr>
        <p:txBody>
          <a:bodyPr lIns="91440" tIns="91440" rIns="91440" bIns="182880"/>
          <a:lstStyle/>
          <a:p>
            <a:pPr algn="l"/>
            <a:r>
              <a:rPr lang="en-US" dirty="0">
                <a:solidFill>
                  <a:schemeClr val="bg1"/>
                </a:solidFill>
              </a:rPr>
              <a:t>Case Presentation: 59-year-old woman with a history of hepatitis C and chronic kidney disease on dialysis with localized HCC s/p surgical resection — the patient developed metastatic disease 10 months later </a:t>
            </a:r>
          </a:p>
        </p:txBody>
      </p:sp>
      <p:sp>
        <p:nvSpPr>
          <p:cNvPr id="8" name="Title 1">
            <a:extLst>
              <a:ext uri="{FF2B5EF4-FFF2-40B4-BE49-F238E27FC236}">
                <a16:creationId xmlns:a16="http://schemas.microsoft.com/office/drawing/2014/main" id="{1531812E-AB8F-744C-8E9F-5771D5F41B77}"/>
              </a:ext>
            </a:extLst>
          </p:cNvPr>
          <p:cNvSpPr txBox="1">
            <a:spLocks/>
          </p:cNvSpPr>
          <p:nvPr/>
        </p:nvSpPr>
        <p:spPr bwMode="auto">
          <a:xfrm>
            <a:off x="0" y="5819722"/>
            <a:ext cx="12192000" cy="722376"/>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800" b="1" i="0" u="none" strike="noStrike" kern="1200" cap="none" spc="0" normalizeH="0" baseline="0" noProof="0" dirty="0">
                <a:ln>
                  <a:noFill/>
                </a:ln>
                <a:solidFill>
                  <a:srgbClr val="062060"/>
                </a:solidFill>
                <a:effectLst/>
                <a:uLnTx/>
                <a:uFillTx/>
                <a:latin typeface="Calibri"/>
                <a:ea typeface="MS PGothic" pitchFamily="34" charset="-128"/>
                <a:cs typeface="Calibri"/>
              </a:rPr>
              <a:t>Dr </a:t>
            </a:r>
            <a:r>
              <a:rPr kumimoji="0" lang="en-US" sz="2800" b="1" i="0" u="none" strike="noStrike" kern="1200" cap="none" spc="0" normalizeH="0" baseline="0" noProof="0" dirty="0" err="1">
                <a:ln>
                  <a:noFill/>
                </a:ln>
                <a:solidFill>
                  <a:srgbClr val="062060"/>
                </a:solidFill>
                <a:effectLst/>
                <a:uLnTx/>
                <a:uFillTx/>
                <a:latin typeface="Calibri"/>
                <a:ea typeface="MS PGothic" pitchFamily="34" charset="-128"/>
                <a:cs typeface="Calibri"/>
              </a:rPr>
              <a:t>Liudmila</a:t>
            </a:r>
            <a:r>
              <a:rPr kumimoji="0" lang="en-US" sz="2800" b="1" i="0" u="none" strike="noStrike" kern="1200" cap="none" spc="0" normalizeH="0" baseline="0" noProof="0" dirty="0">
                <a:ln>
                  <a:noFill/>
                </a:ln>
                <a:solidFill>
                  <a:srgbClr val="062060"/>
                </a:solidFill>
                <a:effectLst/>
                <a:uLnTx/>
                <a:uFillTx/>
                <a:latin typeface="Calibri"/>
                <a:ea typeface="MS PGothic" pitchFamily="34" charset="-128"/>
                <a:cs typeface="Calibri"/>
              </a:rPr>
              <a:t> Schafer (</a:t>
            </a:r>
            <a:r>
              <a:rPr kumimoji="0" lang="en-US" sz="2800" b="1" i="0" u="none" strike="noStrike" kern="1200" cap="none" spc="0" normalizeH="0" baseline="0" noProof="0" dirty="0">
                <a:ln>
                  <a:noFill/>
                </a:ln>
                <a:solidFill>
                  <a:srgbClr val="000000"/>
                </a:solidFill>
                <a:effectLst/>
                <a:uLnTx/>
                <a:uFillTx/>
                <a:latin typeface="Calibri"/>
                <a:ea typeface="Calibri" panose="020F0502020204030204" pitchFamily="34" charset="0"/>
                <a:cs typeface="Calibri"/>
              </a:rPr>
              <a:t>Kansas City, Missouri</a:t>
            </a:r>
            <a:r>
              <a:rPr kumimoji="0" lang="en-US" sz="2800" b="1" i="0" u="none" strike="noStrike" kern="1200" cap="none" spc="0" normalizeH="0" baseline="0" noProof="0" dirty="0">
                <a:ln>
                  <a:noFill/>
                </a:ln>
                <a:solidFill>
                  <a:srgbClr val="062060"/>
                </a:solidFill>
                <a:effectLst/>
                <a:uLnTx/>
                <a:uFillTx/>
                <a:latin typeface="Calibri"/>
                <a:ea typeface="MS PGothic" pitchFamily="34" charset="-128"/>
                <a:cs typeface="Calibri"/>
              </a:rPr>
              <a:t>)</a:t>
            </a:r>
          </a:p>
        </p:txBody>
      </p:sp>
      <p:pic>
        <p:nvPicPr>
          <p:cNvPr id="4" name="Picture 3" descr="A picture containing wall, indoor, person, posing&#10;&#10;Description automatically generated">
            <a:extLst>
              <a:ext uri="{FF2B5EF4-FFF2-40B4-BE49-F238E27FC236}">
                <a16:creationId xmlns:a16="http://schemas.microsoft.com/office/drawing/2014/main" id="{16D3BF45-A4D0-C1CD-1D98-DE1A3DD54AB3}"/>
              </a:ext>
            </a:extLst>
          </p:cNvPr>
          <p:cNvPicPr>
            <a:picLocks noChangeAspect="1"/>
          </p:cNvPicPr>
          <p:nvPr/>
        </p:nvPicPr>
        <p:blipFill>
          <a:blip r:embed="rId2"/>
          <a:stretch>
            <a:fillRect/>
          </a:stretch>
        </p:blipFill>
        <p:spPr>
          <a:xfrm>
            <a:off x="2950612" y="2410411"/>
            <a:ext cx="6060997" cy="3409311"/>
          </a:xfrm>
          <a:prstGeom prst="rect">
            <a:avLst/>
          </a:prstGeom>
        </p:spPr>
      </p:pic>
    </p:spTree>
    <p:extLst>
      <p:ext uri="{BB962C8B-B14F-4D97-AF65-F5344CB8AC3E}">
        <p14:creationId xmlns:p14="http://schemas.microsoft.com/office/powerpoint/2010/main" val="221731329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77CC42-B382-094E-87BE-7E42C0D145BA}"/>
              </a:ext>
            </a:extLst>
          </p:cNvPr>
          <p:cNvSpPr>
            <a:spLocks noGrp="1"/>
          </p:cNvSpPr>
          <p:nvPr>
            <p:ph type="title"/>
          </p:nvPr>
        </p:nvSpPr>
        <p:spPr>
          <a:xfrm>
            <a:off x="912286" y="0"/>
            <a:ext cx="10358967" cy="1143000"/>
          </a:xfrm>
        </p:spPr>
        <p:txBody>
          <a:bodyPr/>
          <a:lstStyle/>
          <a:p>
            <a:r>
              <a:rPr lang="en-US" dirty="0"/>
              <a:t>QUESTIONS FOR THE FACULTY </a:t>
            </a:r>
          </a:p>
        </p:txBody>
      </p:sp>
      <p:sp>
        <p:nvSpPr>
          <p:cNvPr id="4" name="Content Placeholder 2">
            <a:extLst>
              <a:ext uri="{FF2B5EF4-FFF2-40B4-BE49-F238E27FC236}">
                <a16:creationId xmlns:a16="http://schemas.microsoft.com/office/drawing/2014/main" id="{31DB941D-D5E9-D7BE-776C-374E7A37BA5B}"/>
              </a:ext>
            </a:extLst>
          </p:cNvPr>
          <p:cNvSpPr txBox="1">
            <a:spLocks/>
          </p:cNvSpPr>
          <p:nvPr/>
        </p:nvSpPr>
        <p:spPr bwMode="auto">
          <a:xfrm>
            <a:off x="3571556" y="1221832"/>
            <a:ext cx="7812172" cy="1828730"/>
          </a:xfrm>
          <a:prstGeom prst="rect">
            <a:avLst/>
          </a:prstGeom>
          <a:noFill/>
          <a:ln w="9525">
            <a:noFill/>
            <a:miter lim="800000"/>
            <a:headEnd/>
            <a:tailEnd/>
          </a:ln>
        </p:spPr>
        <p:txBody>
          <a:bodyPr vert="horz" wrap="square" lIns="137160" tIns="0" rIns="137160" bIns="0" numCol="1" anchor="t" anchorCtr="0" compatLnSpc="1">
            <a:prstTxWarp prst="textNoShape">
              <a:avLst/>
            </a:prstTxWarp>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l"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kumimoji="0" lang="en-US" sz="2200" b="1" i="1" u="none" strike="noStrike" kern="1200" cap="none" spc="0" normalizeH="0" baseline="0" noProof="0" dirty="0">
                <a:ln>
                  <a:noFill/>
                </a:ln>
                <a:solidFill>
                  <a:srgbClr val="3333CC"/>
                </a:solidFill>
                <a:effectLst/>
                <a:uLnTx/>
                <a:uFillTx/>
                <a:latin typeface="Calibri" charset="0"/>
                <a:ea typeface="MS PGothic" pitchFamily="34" charset="-128"/>
              </a:rPr>
              <a:t>“For most of the patients we see after primary surgery we follow up with surveillance, but is there a role for adjuvant systemic therapy, including immunotherapy?</a:t>
            </a:r>
          </a:p>
          <a:p>
            <a:pPr marL="98425" marR="0" lvl="0" indent="0" algn="l"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kumimoji="0" lang="en-US" sz="2200" b="1" i="1" u="none" strike="noStrike" kern="1200" cap="none" spc="0" normalizeH="0" baseline="0" noProof="0" dirty="0">
                <a:ln>
                  <a:noFill/>
                </a:ln>
                <a:solidFill>
                  <a:srgbClr val="3333CC"/>
                </a:solidFill>
                <a:effectLst/>
                <a:uLnTx/>
                <a:uFillTx/>
                <a:latin typeface="Calibri" charset="0"/>
                <a:ea typeface="MS PGothic" pitchFamily="34" charset="-128"/>
              </a:rPr>
              <a:t>This patient developed metastatic disease to the liver and nodes within 10 months of surgery but otherwise has a good performance status, although she is on dialysis. What treatment would you recommend?”</a:t>
            </a:r>
          </a:p>
        </p:txBody>
      </p:sp>
      <p:sp>
        <p:nvSpPr>
          <p:cNvPr id="9" name="TextBox 8">
            <a:extLst>
              <a:ext uri="{FF2B5EF4-FFF2-40B4-BE49-F238E27FC236}">
                <a16:creationId xmlns:a16="http://schemas.microsoft.com/office/drawing/2014/main" id="{C7B63D41-AF09-77DE-D866-A535957369BE}"/>
              </a:ext>
            </a:extLst>
          </p:cNvPr>
          <p:cNvSpPr txBox="1"/>
          <p:nvPr/>
        </p:nvSpPr>
        <p:spPr>
          <a:xfrm>
            <a:off x="912286" y="2808433"/>
            <a:ext cx="2660904"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Liudmila</a:t>
            </a: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N Schafer, MD</a:t>
            </a:r>
          </a:p>
        </p:txBody>
      </p:sp>
      <p:pic>
        <p:nvPicPr>
          <p:cNvPr id="6" name="Picture 5" descr="A picture containing wall, indoor, person, posing&#10;&#10;Description automatically generated">
            <a:extLst>
              <a:ext uri="{FF2B5EF4-FFF2-40B4-BE49-F238E27FC236}">
                <a16:creationId xmlns:a16="http://schemas.microsoft.com/office/drawing/2014/main" id="{2302055D-E0A9-1BB6-5B6A-562A1FB823AA}"/>
              </a:ext>
            </a:extLst>
          </p:cNvPr>
          <p:cNvPicPr>
            <a:picLocks noChangeAspect="1"/>
          </p:cNvPicPr>
          <p:nvPr/>
        </p:nvPicPr>
        <p:blipFill>
          <a:blip r:embed="rId2"/>
          <a:stretch>
            <a:fillRect/>
          </a:stretch>
        </p:blipFill>
        <p:spPr>
          <a:xfrm>
            <a:off x="912286" y="1221830"/>
            <a:ext cx="2659269" cy="1495839"/>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8850791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a:extLst>
              <a:ext uri="{FF2B5EF4-FFF2-40B4-BE49-F238E27FC236}">
                <a16:creationId xmlns:a16="http://schemas.microsoft.com/office/drawing/2014/main" id="{1908614D-4281-489B-8CE2-AC63BA4359B8}"/>
              </a:ext>
            </a:extLst>
          </p:cNvPr>
          <p:cNvSpPr txBox="1">
            <a:spLocks noChangeArrowheads="1"/>
          </p:cNvSpPr>
          <p:nvPr/>
        </p:nvSpPr>
        <p:spPr bwMode="auto">
          <a:xfrm>
            <a:off x="381000" y="1196975"/>
            <a:ext cx="11506200" cy="14700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Times New Roman" pitchFamily="18" charset="0"/>
              </a:defRPr>
            </a:lvl2pPr>
            <a:lvl3pPr algn="ctr" rtl="0" eaLnBrk="0" fontAlgn="base" hangingPunct="0">
              <a:spcBef>
                <a:spcPct val="0"/>
              </a:spcBef>
              <a:spcAft>
                <a:spcPct val="0"/>
              </a:spcAft>
              <a:defRPr sz="4400">
                <a:solidFill>
                  <a:schemeClr val="tx2"/>
                </a:solidFill>
                <a:latin typeface="Times New Roman" pitchFamily="18" charset="0"/>
              </a:defRPr>
            </a:lvl3pPr>
            <a:lvl4pPr algn="ctr" rtl="0" eaLnBrk="0" fontAlgn="base" hangingPunct="0">
              <a:spcBef>
                <a:spcPct val="0"/>
              </a:spcBef>
              <a:spcAft>
                <a:spcPct val="0"/>
              </a:spcAft>
              <a:defRPr sz="4400">
                <a:solidFill>
                  <a:schemeClr val="tx2"/>
                </a:solidFill>
                <a:latin typeface="Times New Roman" pitchFamily="18" charset="0"/>
              </a:defRPr>
            </a:lvl4pPr>
            <a:lvl5pPr algn="ctr" rtl="0" eaLnBrk="0" fontAlgn="base" hangingPunct="0">
              <a:spcBef>
                <a:spcPct val="0"/>
              </a:spcBef>
              <a:spcAft>
                <a:spcPct val="0"/>
              </a:spcAft>
              <a:defRPr sz="4400">
                <a:solidFill>
                  <a:schemeClr val="tx2"/>
                </a:solidFill>
                <a:latin typeface="Times New Roman" pitchFamily="18" charset="0"/>
              </a:defRPr>
            </a:lvl5pPr>
            <a:lvl6pPr marL="457200" algn="ctr" rtl="0" eaLnBrk="0" fontAlgn="base" hangingPunct="0">
              <a:spcBef>
                <a:spcPct val="0"/>
              </a:spcBef>
              <a:spcAft>
                <a:spcPct val="0"/>
              </a:spcAft>
              <a:defRPr sz="4400">
                <a:solidFill>
                  <a:schemeClr val="tx2"/>
                </a:solidFill>
                <a:latin typeface="Times New Roman" pitchFamily="18" charset="0"/>
              </a:defRPr>
            </a:lvl6pPr>
            <a:lvl7pPr marL="914400" algn="ctr" rtl="0" eaLnBrk="0" fontAlgn="base" hangingPunct="0">
              <a:spcBef>
                <a:spcPct val="0"/>
              </a:spcBef>
              <a:spcAft>
                <a:spcPct val="0"/>
              </a:spcAft>
              <a:defRPr sz="4400">
                <a:solidFill>
                  <a:schemeClr val="tx2"/>
                </a:solidFill>
                <a:latin typeface="Times New Roman" pitchFamily="18" charset="0"/>
              </a:defRPr>
            </a:lvl7pPr>
            <a:lvl8pPr marL="1371600" algn="ctr" rtl="0" eaLnBrk="0" fontAlgn="base" hangingPunct="0">
              <a:spcBef>
                <a:spcPct val="0"/>
              </a:spcBef>
              <a:spcAft>
                <a:spcPct val="0"/>
              </a:spcAft>
              <a:defRPr sz="4400">
                <a:solidFill>
                  <a:schemeClr val="tx2"/>
                </a:solidFill>
                <a:latin typeface="Times New Roman" pitchFamily="18" charset="0"/>
              </a:defRPr>
            </a:lvl8pPr>
            <a:lvl9pPr marL="1828800" algn="ctr" rtl="0" eaLnBrk="0" fontAlgn="base" hangingPunct="0">
              <a:spcBef>
                <a:spcPct val="0"/>
              </a:spcBef>
              <a:spcAft>
                <a:spcPct val="0"/>
              </a:spcAft>
              <a:defRPr sz="4400">
                <a:solidFill>
                  <a:schemeClr val="tx2"/>
                </a:solidFill>
                <a:latin typeface="Times New Roman" pitchFamily="18"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4400" b="0" i="0" u="none" strike="noStrike" kern="0" cap="none" spc="0" normalizeH="0" baseline="0" noProof="0" dirty="0">
                <a:ln>
                  <a:noFill/>
                </a:ln>
                <a:solidFill>
                  <a:srgbClr val="4472C4">
                    <a:lumMod val="50000"/>
                  </a:srgbClr>
                </a:solidFill>
                <a:effectLst/>
                <a:uLnTx/>
                <a:uFillTx/>
                <a:latin typeface="Times New Roman"/>
                <a:ea typeface="+mj-ea"/>
                <a:cs typeface="+mj-cs"/>
              </a:rPr>
              <a:t>Current Role of Systemic Therapy</a:t>
            </a:r>
            <a:br>
              <a:rPr kumimoji="0" lang="en-US" sz="4400" b="0" i="0" u="none" strike="noStrike" kern="0" cap="none" spc="0" normalizeH="0" baseline="0" noProof="0" dirty="0">
                <a:ln>
                  <a:noFill/>
                </a:ln>
                <a:solidFill>
                  <a:srgbClr val="4472C4">
                    <a:lumMod val="50000"/>
                  </a:srgbClr>
                </a:solidFill>
                <a:effectLst/>
                <a:uLnTx/>
                <a:uFillTx/>
                <a:latin typeface="Times New Roman"/>
                <a:ea typeface="+mj-ea"/>
                <a:cs typeface="+mj-cs"/>
              </a:rPr>
            </a:br>
            <a:r>
              <a:rPr kumimoji="0" lang="en-US" sz="4400" b="0" i="0" u="none" strike="noStrike" kern="0" cap="none" spc="0" normalizeH="0" baseline="0" noProof="0" dirty="0">
                <a:ln>
                  <a:noFill/>
                </a:ln>
                <a:solidFill>
                  <a:srgbClr val="4472C4">
                    <a:lumMod val="50000"/>
                  </a:srgbClr>
                </a:solidFill>
                <a:effectLst/>
                <a:uLnTx/>
                <a:uFillTx/>
                <a:latin typeface="Times New Roman"/>
                <a:ea typeface="+mj-ea"/>
                <a:cs typeface="+mj-cs"/>
              </a:rPr>
              <a:t> in Front-line HCC</a:t>
            </a:r>
            <a:br>
              <a:rPr kumimoji="0" lang="en-US" sz="4400" b="0" i="0" u="none" strike="noStrike" kern="0" cap="none" spc="0" normalizeH="0" baseline="0" noProof="0" dirty="0">
                <a:ln>
                  <a:noFill/>
                </a:ln>
                <a:solidFill>
                  <a:srgbClr val="FFFF00"/>
                </a:solidFill>
                <a:effectLst/>
                <a:uLnTx/>
                <a:uFillTx/>
                <a:latin typeface="Times New Roman"/>
                <a:ea typeface="+mj-ea"/>
                <a:cs typeface="+mj-cs"/>
              </a:rPr>
            </a:br>
            <a:r>
              <a:rPr kumimoji="0" lang="en-US" sz="4400" b="0" i="0" u="none" strike="noStrike" kern="0" cap="none" spc="0" normalizeH="0" baseline="0" noProof="0" dirty="0">
                <a:ln>
                  <a:noFill/>
                </a:ln>
                <a:solidFill>
                  <a:srgbClr val="FFFF00"/>
                </a:solidFill>
                <a:effectLst/>
                <a:uLnTx/>
                <a:uFillTx/>
                <a:latin typeface="Times New Roman"/>
                <a:ea typeface="+mj-ea"/>
                <a:cs typeface="+mj-cs"/>
              </a:rPr>
              <a:t> </a:t>
            </a:r>
            <a:br>
              <a:rPr kumimoji="0" lang="en-US" sz="4400" b="0" i="0" u="none" strike="noStrike" kern="0" cap="none" spc="0" normalizeH="0" baseline="0" noProof="0" dirty="0">
                <a:ln>
                  <a:noFill/>
                </a:ln>
                <a:solidFill>
                  <a:srgbClr val="FFFF00"/>
                </a:solidFill>
                <a:effectLst/>
                <a:uLnTx/>
                <a:uFillTx/>
                <a:latin typeface="Times New Roman"/>
                <a:ea typeface="+mj-ea"/>
                <a:cs typeface="+mj-cs"/>
              </a:rPr>
            </a:br>
            <a:endParaRPr kumimoji="0" lang="en-US" altLang="en-US" sz="3200" b="0" i="0" u="none" strike="noStrike" kern="0" cap="none" spc="0" normalizeH="0" baseline="0" noProof="0" dirty="0">
              <a:ln>
                <a:noFill/>
              </a:ln>
              <a:solidFill>
                <a:srgbClr val="FFFF00"/>
              </a:solidFill>
              <a:effectLst/>
              <a:uLnTx/>
              <a:uFillTx/>
              <a:latin typeface="Times New Roman"/>
              <a:ea typeface="+mj-ea"/>
              <a:cs typeface="+mj-cs"/>
            </a:endParaRPr>
          </a:p>
        </p:txBody>
      </p:sp>
      <p:sp>
        <p:nvSpPr>
          <p:cNvPr id="3" name="Rectangle 6">
            <a:extLst>
              <a:ext uri="{FF2B5EF4-FFF2-40B4-BE49-F238E27FC236}">
                <a16:creationId xmlns:a16="http://schemas.microsoft.com/office/drawing/2014/main" id="{5D449A5D-464F-431D-9A53-CF7171F44C7A}"/>
              </a:ext>
            </a:extLst>
          </p:cNvPr>
          <p:cNvSpPr txBox="1">
            <a:spLocks noChangeArrowheads="1"/>
          </p:cNvSpPr>
          <p:nvPr/>
        </p:nvSpPr>
        <p:spPr bwMode="auto">
          <a:xfrm>
            <a:off x="2895600" y="2438400"/>
            <a:ext cx="6400800" cy="1752600"/>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eaLnBrk="0" fontAlgn="base" hangingPunct="0">
              <a:spcBef>
                <a:spcPct val="20000"/>
              </a:spcBef>
              <a:spcAft>
                <a:spcPct val="0"/>
              </a:spcAft>
              <a:buChar char="»"/>
              <a:defRPr sz="2000">
                <a:solidFill>
                  <a:schemeClr val="tx1"/>
                </a:solidFill>
                <a:latin typeface="+mn-lt"/>
              </a:defRPr>
            </a:lvl6pPr>
            <a:lvl7pPr marL="2971800" indent="-228600" algn="l" rtl="0" eaLnBrk="0" fontAlgn="base" hangingPunct="0">
              <a:spcBef>
                <a:spcPct val="20000"/>
              </a:spcBef>
              <a:spcAft>
                <a:spcPct val="0"/>
              </a:spcAft>
              <a:buChar char="»"/>
              <a:defRPr sz="2000">
                <a:solidFill>
                  <a:schemeClr val="tx1"/>
                </a:solidFill>
                <a:latin typeface="+mn-lt"/>
              </a:defRPr>
            </a:lvl7pPr>
            <a:lvl8pPr marL="3429000" indent="-228600" algn="l" rtl="0" eaLnBrk="0" fontAlgn="base" hangingPunct="0">
              <a:spcBef>
                <a:spcPct val="20000"/>
              </a:spcBef>
              <a:spcAft>
                <a:spcPct val="0"/>
              </a:spcAft>
              <a:buChar char="»"/>
              <a:defRPr sz="2000">
                <a:solidFill>
                  <a:schemeClr val="tx1"/>
                </a:solidFill>
                <a:latin typeface="+mn-lt"/>
              </a:defRPr>
            </a:lvl8pPr>
            <a:lvl9pPr marL="3886200" indent="-228600" algn="l" rtl="0" eaLnBrk="0" fontAlgn="base" hangingPunct="0">
              <a:spcBef>
                <a:spcPct val="20000"/>
              </a:spcBef>
              <a:spcAft>
                <a:spcPct val="0"/>
              </a:spcAft>
              <a:buChar char="»"/>
              <a:defRPr sz="2000">
                <a:solidFill>
                  <a:schemeClr val="tx1"/>
                </a:solidFill>
                <a:latin typeface="+mn-lt"/>
              </a:defRPr>
            </a:lvl9pPr>
          </a:lstStyle>
          <a:p>
            <a:pPr marL="0" marR="0" lvl="0" indent="0" algn="ctr" defTabSz="914400" rtl="0" eaLnBrk="0" fontAlgn="base" latinLnBrk="0" hangingPunct="0">
              <a:lnSpc>
                <a:spcPct val="100000"/>
              </a:lnSpc>
              <a:spcBef>
                <a:spcPct val="20000"/>
              </a:spcBef>
              <a:spcAft>
                <a:spcPct val="0"/>
              </a:spcAft>
              <a:buClrTx/>
              <a:buSzTx/>
              <a:buFontTx/>
              <a:buNone/>
              <a:tabLst/>
              <a:defRPr/>
            </a:pPr>
            <a:r>
              <a:rPr kumimoji="0" lang="en-US" altLang="en-US" sz="2000" b="1" i="0" u="none" strike="noStrike" kern="0" cap="none" spc="0" normalizeH="0" baseline="0" noProof="0" dirty="0">
                <a:ln>
                  <a:noFill/>
                </a:ln>
                <a:solidFill>
                  <a:srgbClr val="4472C4">
                    <a:lumMod val="50000"/>
                  </a:srgbClr>
                </a:solidFill>
                <a:effectLst/>
                <a:uLnTx/>
                <a:uFillTx/>
                <a:latin typeface="Times New Roman"/>
                <a:ea typeface="+mn-ea"/>
                <a:cs typeface="+mn-cs"/>
              </a:rPr>
              <a:t>Richard S. Finn, MD</a:t>
            </a:r>
          </a:p>
          <a:p>
            <a:pPr marL="0" marR="0" lvl="0" indent="0" algn="ctr" defTabSz="914400" rtl="0" eaLnBrk="0" fontAlgn="base" latinLnBrk="0" hangingPunct="0">
              <a:lnSpc>
                <a:spcPct val="100000"/>
              </a:lnSpc>
              <a:spcBef>
                <a:spcPct val="20000"/>
              </a:spcBef>
              <a:spcAft>
                <a:spcPct val="0"/>
              </a:spcAft>
              <a:buClrTx/>
              <a:buSzTx/>
              <a:buFontTx/>
              <a:buNone/>
              <a:tabLst/>
              <a:defRPr/>
            </a:pPr>
            <a:r>
              <a:rPr kumimoji="0" lang="en-US" altLang="en-US" sz="2000" b="0" i="0" u="none" strike="noStrike" kern="0" cap="none" spc="0" normalizeH="0" baseline="0" noProof="0" dirty="0">
                <a:ln>
                  <a:noFill/>
                </a:ln>
                <a:solidFill>
                  <a:srgbClr val="4472C4">
                    <a:lumMod val="50000"/>
                  </a:srgbClr>
                </a:solidFill>
                <a:effectLst/>
                <a:uLnTx/>
                <a:uFillTx/>
                <a:latin typeface="Times New Roman"/>
                <a:ea typeface="+mn-ea"/>
                <a:cs typeface="+mn-cs"/>
              </a:rPr>
              <a:t>Professor of Clinical Medicine</a:t>
            </a:r>
          </a:p>
          <a:p>
            <a:pPr marL="0" marR="0" lvl="0" indent="0" algn="ctr" defTabSz="914400" rtl="0" eaLnBrk="0" fontAlgn="base" latinLnBrk="0" hangingPunct="0">
              <a:lnSpc>
                <a:spcPct val="100000"/>
              </a:lnSpc>
              <a:spcBef>
                <a:spcPct val="20000"/>
              </a:spcBef>
              <a:spcAft>
                <a:spcPct val="0"/>
              </a:spcAft>
              <a:buClrTx/>
              <a:buSzTx/>
              <a:buFontTx/>
              <a:buNone/>
              <a:tabLst/>
              <a:defRPr/>
            </a:pPr>
            <a:r>
              <a:rPr kumimoji="0" lang="en-US" altLang="en-US" sz="2000" b="0" i="0" u="none" strike="noStrike" kern="0" cap="none" spc="0" normalizeH="0" baseline="0" noProof="0" dirty="0">
                <a:ln>
                  <a:noFill/>
                </a:ln>
                <a:solidFill>
                  <a:srgbClr val="4472C4">
                    <a:lumMod val="50000"/>
                  </a:srgbClr>
                </a:solidFill>
                <a:effectLst/>
                <a:uLnTx/>
                <a:uFillTx/>
                <a:latin typeface="Times New Roman"/>
                <a:ea typeface="+mn-ea"/>
                <a:cs typeface="+mn-cs"/>
              </a:rPr>
              <a:t>Division of Hematology/Oncology</a:t>
            </a:r>
          </a:p>
          <a:p>
            <a:pPr marL="0" marR="0" lvl="0" indent="0" algn="ctr" defTabSz="914400" rtl="0" eaLnBrk="0" fontAlgn="base" latinLnBrk="0" hangingPunct="0">
              <a:lnSpc>
                <a:spcPct val="100000"/>
              </a:lnSpc>
              <a:spcBef>
                <a:spcPct val="20000"/>
              </a:spcBef>
              <a:spcAft>
                <a:spcPct val="0"/>
              </a:spcAft>
              <a:buClrTx/>
              <a:buSzTx/>
              <a:buFontTx/>
              <a:buNone/>
              <a:tabLst/>
              <a:defRPr/>
            </a:pPr>
            <a:r>
              <a:rPr kumimoji="0" lang="en-US" altLang="en-US" sz="2000" b="0" i="0" u="none" strike="noStrike" kern="0" cap="none" spc="0" normalizeH="0" baseline="0" noProof="0" dirty="0">
                <a:ln>
                  <a:noFill/>
                </a:ln>
                <a:solidFill>
                  <a:srgbClr val="4472C4">
                    <a:lumMod val="50000"/>
                  </a:srgbClr>
                </a:solidFill>
                <a:effectLst/>
                <a:uLnTx/>
                <a:uFillTx/>
                <a:latin typeface="Times New Roman"/>
                <a:ea typeface="+mn-ea"/>
                <a:cs typeface="+mn-cs"/>
              </a:rPr>
              <a:t>Director, Signal Transduction and Therapeutics Program</a:t>
            </a:r>
          </a:p>
          <a:p>
            <a:pPr marL="0" marR="0" lvl="0" indent="0" algn="ctr" defTabSz="914400" rtl="0" eaLnBrk="0" fontAlgn="base" latinLnBrk="0" hangingPunct="0">
              <a:lnSpc>
                <a:spcPct val="100000"/>
              </a:lnSpc>
              <a:spcBef>
                <a:spcPct val="20000"/>
              </a:spcBef>
              <a:spcAft>
                <a:spcPct val="0"/>
              </a:spcAft>
              <a:buClrTx/>
              <a:buSzTx/>
              <a:buFontTx/>
              <a:buNone/>
              <a:tabLst/>
              <a:defRPr/>
            </a:pPr>
            <a:r>
              <a:rPr kumimoji="0" lang="en-US" altLang="en-US" sz="2000" b="0" i="0" u="none" strike="noStrike" kern="0" cap="none" spc="0" normalizeH="0" baseline="0" noProof="0" dirty="0">
                <a:ln>
                  <a:noFill/>
                </a:ln>
                <a:solidFill>
                  <a:srgbClr val="4472C4">
                    <a:lumMod val="50000"/>
                  </a:srgbClr>
                </a:solidFill>
                <a:effectLst/>
                <a:uLnTx/>
                <a:uFillTx/>
                <a:latin typeface="Times New Roman"/>
                <a:ea typeface="+mn-ea"/>
                <a:cs typeface="+mn-cs"/>
              </a:rPr>
              <a:t>Jonsson Comprehensive Cancer Center</a:t>
            </a:r>
          </a:p>
          <a:p>
            <a:pPr marL="0" marR="0" lvl="0" indent="0" algn="ctr" defTabSz="914400" rtl="0" eaLnBrk="0" fontAlgn="base" latinLnBrk="0" hangingPunct="0">
              <a:lnSpc>
                <a:spcPct val="100000"/>
              </a:lnSpc>
              <a:spcBef>
                <a:spcPct val="20000"/>
              </a:spcBef>
              <a:spcAft>
                <a:spcPct val="0"/>
              </a:spcAft>
              <a:buClrTx/>
              <a:buSzTx/>
              <a:buFontTx/>
              <a:buNone/>
              <a:tabLst/>
              <a:defRPr/>
            </a:pPr>
            <a:r>
              <a:rPr kumimoji="0" lang="en-US" altLang="en-US" sz="2000" b="0" i="0" u="none" strike="noStrike" kern="0" cap="none" spc="0" normalizeH="0" baseline="0" noProof="0" dirty="0">
                <a:ln>
                  <a:noFill/>
                </a:ln>
                <a:solidFill>
                  <a:srgbClr val="4472C4">
                    <a:lumMod val="50000"/>
                  </a:srgbClr>
                </a:solidFill>
                <a:effectLst/>
                <a:uLnTx/>
                <a:uFillTx/>
                <a:latin typeface="Times New Roman"/>
                <a:ea typeface="+mn-ea"/>
                <a:cs typeface="+mn-cs"/>
              </a:rPr>
              <a:t>Geffen School of Medicine at UCLA</a:t>
            </a:r>
          </a:p>
          <a:p>
            <a:pPr marL="0" marR="0" lvl="0" indent="0" algn="ctr" defTabSz="914400" rtl="0" eaLnBrk="0" fontAlgn="base" latinLnBrk="0" hangingPunct="0">
              <a:lnSpc>
                <a:spcPct val="100000"/>
              </a:lnSpc>
              <a:spcBef>
                <a:spcPct val="20000"/>
              </a:spcBef>
              <a:spcAft>
                <a:spcPct val="0"/>
              </a:spcAft>
              <a:buClrTx/>
              <a:buSzTx/>
              <a:buFontTx/>
              <a:buNone/>
              <a:tabLst/>
              <a:defRPr/>
            </a:pPr>
            <a:endParaRPr kumimoji="0" lang="en-US" altLang="en-US" sz="2000" b="0" i="0" u="none" strike="noStrike" kern="0" cap="none" spc="0" normalizeH="0" baseline="0" noProof="0" dirty="0">
              <a:ln>
                <a:noFill/>
              </a:ln>
              <a:solidFill>
                <a:srgbClr val="4472C4">
                  <a:lumMod val="50000"/>
                </a:srgbClr>
              </a:solidFill>
              <a:effectLst/>
              <a:uLnTx/>
              <a:uFillTx/>
              <a:latin typeface="Times New Roman"/>
              <a:ea typeface="+mn-ea"/>
              <a:cs typeface="+mn-cs"/>
            </a:endParaRPr>
          </a:p>
        </p:txBody>
      </p:sp>
      <p:pic>
        <p:nvPicPr>
          <p:cNvPr id="4" name="Picture 4" descr="http://www.anes.ucla.edu/dept/Geffen-med-logo(cmyk).gif">
            <a:extLst>
              <a:ext uri="{FF2B5EF4-FFF2-40B4-BE49-F238E27FC236}">
                <a16:creationId xmlns:a16="http://schemas.microsoft.com/office/drawing/2014/main" id="{E96868D2-C1D2-4F5E-9203-BF4C678FF751}"/>
              </a:ext>
            </a:extLst>
          </p:cNvPr>
          <p:cNvPicPr>
            <a:picLocks noChangeAspect="1" noChangeArrowheads="1"/>
          </p:cNvPicPr>
          <p:nvPr/>
        </p:nvPicPr>
        <p:blipFill>
          <a:blip r:embed="rId2" r:link="rId3" cstate="print">
            <a:extLst>
              <a:ext uri="{28A0092B-C50C-407E-A947-70E740481C1C}">
                <a14:useLocalDpi xmlns:a14="http://schemas.microsoft.com/office/drawing/2010/main" val="0"/>
              </a:ext>
            </a:extLst>
          </a:blip>
          <a:srcRect/>
          <a:stretch>
            <a:fillRect/>
          </a:stretch>
        </p:blipFill>
        <p:spPr bwMode="auto">
          <a:xfrm>
            <a:off x="5449888" y="4916488"/>
            <a:ext cx="1179512" cy="1179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539740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9A2BEB-C875-4B40-8065-E8313FF971FB}"/>
              </a:ext>
            </a:extLst>
          </p:cNvPr>
          <p:cNvSpPr>
            <a:spLocks noGrp="1"/>
          </p:cNvSpPr>
          <p:nvPr>
            <p:ph type="title"/>
          </p:nvPr>
        </p:nvSpPr>
        <p:spPr>
          <a:xfrm>
            <a:off x="914400" y="2857500"/>
            <a:ext cx="10363200" cy="1143000"/>
          </a:xfrm>
        </p:spPr>
        <p:txBody>
          <a:bodyPr/>
          <a:lstStyle/>
          <a:p>
            <a:r>
              <a:rPr lang="en-US" dirty="0">
                <a:solidFill>
                  <a:srgbClr val="FFFF00"/>
                </a:solidFill>
              </a:rPr>
              <a:t>Front-line</a:t>
            </a:r>
          </a:p>
        </p:txBody>
      </p:sp>
    </p:spTree>
    <p:extLst>
      <p:ext uri="{BB962C8B-B14F-4D97-AF65-F5344CB8AC3E}">
        <p14:creationId xmlns:p14="http://schemas.microsoft.com/office/powerpoint/2010/main" val="176310193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Diagram&#10;&#10;Description automatically generated">
            <a:extLst>
              <a:ext uri="{FF2B5EF4-FFF2-40B4-BE49-F238E27FC236}">
                <a16:creationId xmlns:a16="http://schemas.microsoft.com/office/drawing/2014/main" id="{7FBCF132-4192-2A27-5DCC-60FB54A02BD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43568" y="613224"/>
            <a:ext cx="9643532" cy="6105610"/>
          </a:xfrm>
          <a:prstGeom prst="rect">
            <a:avLst/>
          </a:prstGeom>
        </p:spPr>
      </p:pic>
      <p:sp>
        <p:nvSpPr>
          <p:cNvPr id="6" name="Text Placeholder 5">
            <a:extLst>
              <a:ext uri="{FF2B5EF4-FFF2-40B4-BE49-F238E27FC236}">
                <a16:creationId xmlns:a16="http://schemas.microsoft.com/office/drawing/2014/main" id="{E8D26521-9839-4BED-90A9-28035B356144}"/>
              </a:ext>
            </a:extLst>
          </p:cNvPr>
          <p:cNvSpPr>
            <a:spLocks noGrp="1"/>
          </p:cNvSpPr>
          <p:nvPr>
            <p:ph type="body" sz="quarter" idx="14"/>
          </p:nvPr>
        </p:nvSpPr>
        <p:spPr>
          <a:xfrm>
            <a:off x="0" y="6579668"/>
            <a:ext cx="12191999" cy="278332"/>
          </a:xfrm>
        </p:spPr>
        <p:txBody>
          <a:bodyPr/>
          <a:lstStyle/>
          <a:p>
            <a:r>
              <a:rPr lang="nl-NL" dirty="0"/>
              <a:t>Reig M et al  J Hep 2022</a:t>
            </a:r>
          </a:p>
        </p:txBody>
      </p:sp>
      <p:sp>
        <p:nvSpPr>
          <p:cNvPr id="2" name="Title 1">
            <a:extLst>
              <a:ext uri="{FF2B5EF4-FFF2-40B4-BE49-F238E27FC236}">
                <a16:creationId xmlns:a16="http://schemas.microsoft.com/office/drawing/2014/main" id="{C7006223-EE69-44E1-A2CC-98398F9BF2CF}"/>
              </a:ext>
            </a:extLst>
          </p:cNvPr>
          <p:cNvSpPr>
            <a:spLocks noGrp="1"/>
          </p:cNvSpPr>
          <p:nvPr>
            <p:ph type="title"/>
          </p:nvPr>
        </p:nvSpPr>
        <p:spPr>
          <a:xfrm>
            <a:off x="719668" y="0"/>
            <a:ext cx="11091332" cy="828675"/>
          </a:xfrm>
        </p:spPr>
        <p:txBody>
          <a:bodyPr>
            <a:normAutofit/>
          </a:bodyPr>
          <a:lstStyle/>
          <a:p>
            <a:r>
              <a:rPr lang="en-US" altLang="es-ES" dirty="0"/>
              <a:t>BCLC m</a:t>
            </a:r>
            <a:r>
              <a:rPr lang="en-US" altLang="es-ES" noProof="0" dirty="0" err="1"/>
              <a:t>anagement</a:t>
            </a:r>
            <a:r>
              <a:rPr lang="en-US" altLang="es-ES" noProof="0" dirty="0"/>
              <a:t> of HCC-2022: Where to use Systemic Therapy</a:t>
            </a:r>
            <a:endParaRPr lang="en-US" dirty="0"/>
          </a:p>
        </p:txBody>
      </p:sp>
      <p:sp>
        <p:nvSpPr>
          <p:cNvPr id="4" name="Oval 3">
            <a:extLst>
              <a:ext uri="{FF2B5EF4-FFF2-40B4-BE49-F238E27FC236}">
                <a16:creationId xmlns:a16="http://schemas.microsoft.com/office/drawing/2014/main" id="{FDFC93F1-B53B-4BD7-80F3-4943CCD4AC13}"/>
              </a:ext>
            </a:extLst>
          </p:cNvPr>
          <p:cNvSpPr/>
          <p:nvPr/>
        </p:nvSpPr>
        <p:spPr>
          <a:xfrm>
            <a:off x="7162800" y="2133600"/>
            <a:ext cx="1066800" cy="1066800"/>
          </a:xfrm>
          <a:prstGeom prst="ellipse">
            <a:avLst/>
          </a:prstGeom>
          <a:noFill/>
          <a:ln w="38100">
            <a:solidFill>
              <a:srgbClr val="3366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Oval 7">
            <a:extLst>
              <a:ext uri="{FF2B5EF4-FFF2-40B4-BE49-F238E27FC236}">
                <a16:creationId xmlns:a16="http://schemas.microsoft.com/office/drawing/2014/main" id="{C5906A18-7299-4DF2-AA12-F403CD492B95}"/>
              </a:ext>
            </a:extLst>
          </p:cNvPr>
          <p:cNvSpPr/>
          <p:nvPr/>
        </p:nvSpPr>
        <p:spPr>
          <a:xfrm>
            <a:off x="7315200" y="1143000"/>
            <a:ext cx="2133600" cy="1066800"/>
          </a:xfrm>
          <a:prstGeom prst="ellipse">
            <a:avLst/>
          </a:prstGeom>
          <a:noFill/>
          <a:ln w="38100">
            <a:solidFill>
              <a:srgbClr val="3366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Oval 9">
            <a:extLst>
              <a:ext uri="{FF2B5EF4-FFF2-40B4-BE49-F238E27FC236}">
                <a16:creationId xmlns:a16="http://schemas.microsoft.com/office/drawing/2014/main" id="{ECE6E587-503A-42A8-8AAE-6906DB76EFD3}"/>
              </a:ext>
            </a:extLst>
          </p:cNvPr>
          <p:cNvSpPr/>
          <p:nvPr/>
        </p:nvSpPr>
        <p:spPr>
          <a:xfrm>
            <a:off x="6477000" y="5277121"/>
            <a:ext cx="914400" cy="875758"/>
          </a:xfrm>
          <a:prstGeom prst="ellipse">
            <a:avLst/>
          </a:prstGeom>
          <a:noFill/>
          <a:ln w="38100">
            <a:solidFill>
              <a:srgbClr val="3366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1803949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00B9B3F-5CAB-469A-9451-6EA16C74C4C0}"/>
              </a:ext>
            </a:extLst>
          </p:cNvPr>
          <p:cNvSpPr>
            <a:spLocks noGrp="1"/>
          </p:cNvSpPr>
          <p:nvPr>
            <p:ph type="title"/>
          </p:nvPr>
        </p:nvSpPr>
        <p:spPr>
          <a:xfrm>
            <a:off x="529169" y="188917"/>
            <a:ext cx="11133667" cy="691846"/>
          </a:xfrm>
        </p:spPr>
        <p:txBody>
          <a:bodyPr/>
          <a:lstStyle/>
          <a:p>
            <a:r>
              <a:rPr lang="en-US" dirty="0"/>
              <a:t>IMbrave150 Study Design</a:t>
            </a:r>
            <a:endParaRPr lang="en-GB" dirty="0"/>
          </a:p>
        </p:txBody>
      </p:sp>
      <p:sp>
        <p:nvSpPr>
          <p:cNvPr id="6" name="Text Placeholder 5">
            <a:extLst>
              <a:ext uri="{FF2B5EF4-FFF2-40B4-BE49-F238E27FC236}">
                <a16:creationId xmlns:a16="http://schemas.microsoft.com/office/drawing/2014/main" id="{1446E173-1E24-45AF-AD18-3B7015E12E18}"/>
              </a:ext>
            </a:extLst>
          </p:cNvPr>
          <p:cNvSpPr>
            <a:spLocks noGrp="1"/>
          </p:cNvSpPr>
          <p:nvPr>
            <p:ph type="body" sz="quarter" idx="13"/>
          </p:nvPr>
        </p:nvSpPr>
        <p:spPr>
          <a:xfrm>
            <a:off x="413407" y="6052093"/>
            <a:ext cx="11075860" cy="788755"/>
          </a:xfrm>
        </p:spPr>
        <p:txBody>
          <a:bodyPr/>
          <a:lstStyle/>
          <a:p>
            <a:pPr>
              <a:lnSpc>
                <a:spcPct val="90000"/>
              </a:lnSpc>
              <a:spcAft>
                <a:spcPct val="0"/>
              </a:spcAft>
              <a:buClrTx/>
            </a:pPr>
            <a:r>
              <a:rPr lang="en-US" altLang="en-US" sz="933" baseline="30000" dirty="0">
                <a:solidFill>
                  <a:schemeClr val="tx1"/>
                </a:solidFill>
              </a:rPr>
              <a:t>a </a:t>
            </a:r>
            <a:r>
              <a:rPr lang="en-US" altLang="en-US" sz="933" dirty="0">
                <a:solidFill>
                  <a:schemeClr val="tx1"/>
                </a:solidFill>
              </a:rPr>
              <a:t>Japan is included in rest of world. </a:t>
            </a:r>
            <a:r>
              <a:rPr lang="en-US" altLang="en-US" sz="933" baseline="30000" dirty="0">
                <a:solidFill>
                  <a:schemeClr val="tx1"/>
                </a:solidFill>
              </a:rPr>
              <a:t>b</a:t>
            </a:r>
            <a:r>
              <a:rPr lang="en-US" altLang="en-US" sz="933" dirty="0">
                <a:solidFill>
                  <a:schemeClr val="tx1"/>
                </a:solidFill>
              </a:rPr>
              <a:t> Tumor assessment by computed tomography or magnetic resonance imaging was done at baseline and every 6 weeks until 54 weeks, then every 9 weeks thereafter. </a:t>
            </a:r>
            <a:br>
              <a:rPr lang="en-US" altLang="en-US" sz="933" dirty="0">
                <a:solidFill>
                  <a:schemeClr val="tx1"/>
                </a:solidFill>
              </a:rPr>
            </a:br>
            <a:r>
              <a:rPr lang="en-US" altLang="en-US" sz="933" baseline="30000" dirty="0">
                <a:solidFill>
                  <a:schemeClr val="tx1"/>
                </a:solidFill>
              </a:rPr>
              <a:t>c</a:t>
            </a:r>
            <a:r>
              <a:rPr lang="en-US" altLang="en-US" sz="933" dirty="0">
                <a:solidFill>
                  <a:schemeClr val="tx1"/>
                </a:solidFill>
              </a:rPr>
              <a:t> Time from randomization to first decrease from baseline of ≥ 10 points maintained for 2 consecutive assessments or 1 assessment followed by death from any cause within 3 weeks.</a:t>
            </a:r>
          </a:p>
          <a:p>
            <a:pPr>
              <a:lnSpc>
                <a:spcPct val="90000"/>
              </a:lnSpc>
              <a:spcAft>
                <a:spcPct val="0"/>
              </a:spcAft>
              <a:buClrTx/>
            </a:pPr>
            <a:r>
              <a:rPr lang="en-US" sz="933" dirty="0"/>
              <a:t>AFP, α-fetoprotein; </a:t>
            </a:r>
            <a:r>
              <a:rPr lang="en-US" altLang="en-US" sz="933" dirty="0">
                <a:solidFill>
                  <a:schemeClr val="tx1"/>
                </a:solidFill>
              </a:rPr>
              <a:t>CTCAE, Common Terminology Criteria for Adverse Events; ECOG PS, Eastern Cooperative Oncology Group Performance Status; EORTC QLQ-C30, European Organization for Research and Treatment of Cancer quality-of-life questionnaire for cancer; IRF, independent review facility; mRECIST, modified RECIST; NCI, National Cancer Institute; PRO, patient-reported outcomes; QOL, quality of life; TTD, time to deterioration.</a:t>
            </a:r>
          </a:p>
          <a:p>
            <a:pPr>
              <a:lnSpc>
                <a:spcPct val="90000"/>
              </a:lnSpc>
              <a:spcAft>
                <a:spcPct val="0"/>
              </a:spcAft>
              <a:buClrTx/>
            </a:pPr>
            <a:endParaRPr lang="en-US" altLang="en-US" sz="933" dirty="0">
              <a:solidFill>
                <a:schemeClr val="tx1"/>
              </a:solidFill>
            </a:endParaRPr>
          </a:p>
        </p:txBody>
      </p:sp>
      <p:cxnSp>
        <p:nvCxnSpPr>
          <p:cNvPr id="33" name="Straight Arrow Connector 68">
            <a:extLst>
              <a:ext uri="{FF2B5EF4-FFF2-40B4-BE49-F238E27FC236}">
                <a16:creationId xmlns:a16="http://schemas.microsoft.com/office/drawing/2014/main" id="{F8D5D2F8-A915-4A1D-81F2-ADFBCA68A5C4}"/>
              </a:ext>
            </a:extLst>
          </p:cNvPr>
          <p:cNvCxnSpPr>
            <a:cxnSpLocks noChangeShapeType="1"/>
          </p:cNvCxnSpPr>
          <p:nvPr/>
        </p:nvCxnSpPr>
        <p:spPr bwMode="auto">
          <a:xfrm flipV="1">
            <a:off x="2732688" y="2721687"/>
            <a:ext cx="2021973" cy="2117"/>
          </a:xfrm>
          <a:prstGeom prst="straightConnector1">
            <a:avLst/>
          </a:prstGeom>
          <a:noFill/>
          <a:ln w="19050" cap="rnd">
            <a:solidFill>
              <a:schemeClr val="tx1"/>
            </a:solidFill>
            <a:round/>
            <a:headEnd/>
            <a:tailEnd/>
          </a:ln>
          <a:extLst>
            <a:ext uri="{909E8E84-426E-40DD-AFC4-6F175D3DCCD1}">
              <a14:hiddenFill xmlns:a14="http://schemas.microsoft.com/office/drawing/2010/main">
                <a:noFill/>
              </a14:hiddenFill>
            </a:ext>
          </a:extLst>
        </p:spPr>
      </p:cxnSp>
      <p:sp>
        <p:nvSpPr>
          <p:cNvPr id="34" name="TextBox 28">
            <a:extLst>
              <a:ext uri="{FF2B5EF4-FFF2-40B4-BE49-F238E27FC236}">
                <a16:creationId xmlns:a16="http://schemas.microsoft.com/office/drawing/2014/main" id="{5DAF4C1E-CA41-4113-86E9-7E90CC03EABE}"/>
              </a:ext>
            </a:extLst>
          </p:cNvPr>
          <p:cNvSpPr txBox="1">
            <a:spLocks noChangeArrowheads="1"/>
          </p:cNvSpPr>
          <p:nvPr/>
        </p:nvSpPr>
        <p:spPr bwMode="auto">
          <a:xfrm>
            <a:off x="600221" y="1326443"/>
            <a:ext cx="2217496" cy="3001107"/>
          </a:xfrm>
          <a:prstGeom prst="roundRect">
            <a:avLst/>
          </a:prstGeom>
          <a:solidFill>
            <a:schemeClr val="accent3">
              <a:lumMod val="20000"/>
              <a:lumOff val="80000"/>
            </a:schemeClr>
          </a:solidFill>
          <a:ln>
            <a:noFill/>
          </a:ln>
        </p:spPr>
        <p:txBody>
          <a:bodyPr tIns="92155" bIns="92155" anchor="ctr"/>
          <a:lstStyle>
            <a:lvl1pPr marL="60325" defTabSz="668338">
              <a:spcBef>
                <a:spcPct val="20000"/>
              </a:spcBef>
              <a:buFont typeface="Arial" panose="020B0604020202020204" pitchFamily="34" charset="0"/>
              <a:buChar char="•"/>
              <a:defRPr sz="2800">
                <a:solidFill>
                  <a:schemeClr val="tx2"/>
                </a:solidFill>
                <a:latin typeface="Arial" panose="020B0604020202020204" pitchFamily="34" charset="0"/>
                <a:ea typeface="MS PGothic" panose="020B0600070205080204" pitchFamily="34" charset="-128"/>
              </a:defRPr>
            </a:lvl1pPr>
            <a:lvl2pPr marL="742950" indent="-285750" defTabSz="668338">
              <a:spcBef>
                <a:spcPct val="20000"/>
              </a:spcBef>
              <a:buFont typeface="Arial" panose="020B0604020202020204" pitchFamily="34" charset="0"/>
              <a:buChar char="–"/>
              <a:defRPr sz="2400">
                <a:solidFill>
                  <a:schemeClr val="tx2"/>
                </a:solidFill>
                <a:latin typeface="Arial" panose="020B0604020202020204" pitchFamily="34" charset="0"/>
                <a:ea typeface="MS PGothic" panose="020B0600070205080204" pitchFamily="34" charset="-128"/>
              </a:defRPr>
            </a:lvl2pPr>
            <a:lvl3pPr marL="1143000" indent="-228600" defTabSz="668338">
              <a:spcBef>
                <a:spcPct val="20000"/>
              </a:spcBef>
              <a:buFont typeface="Arial" panose="020B0604020202020204" pitchFamily="34" charset="0"/>
              <a:buChar char="•"/>
              <a:defRPr sz="2000">
                <a:solidFill>
                  <a:schemeClr val="tx2"/>
                </a:solidFill>
                <a:latin typeface="Arial" panose="020B0604020202020204" pitchFamily="34" charset="0"/>
                <a:ea typeface="MS PGothic" panose="020B0600070205080204" pitchFamily="34" charset="-128"/>
              </a:defRPr>
            </a:lvl3pPr>
            <a:lvl4pPr marL="1600200" indent="-228600" defTabSz="668338">
              <a:spcBef>
                <a:spcPct val="20000"/>
              </a:spcBef>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4pPr>
            <a:lvl5pPr marL="2057400" indent="-228600" defTabSz="668338">
              <a:spcBef>
                <a:spcPct val="20000"/>
              </a:spcBef>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5pPr>
            <a:lvl6pPr marL="2514600" indent="-228600" defTabSz="668338"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6pPr>
            <a:lvl7pPr marL="2971800" indent="-228600" defTabSz="668338"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7pPr>
            <a:lvl8pPr marL="3429000" indent="-228600" defTabSz="668338"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8pPr>
            <a:lvl9pPr marL="3886200" indent="-228600" defTabSz="668338" eaLnBrk="0" fontAlgn="base" hangingPunct="0">
              <a:spcBef>
                <a:spcPct val="20000"/>
              </a:spcBef>
              <a:spcAft>
                <a:spcPct val="0"/>
              </a:spcAft>
              <a:buFont typeface="Arial" panose="020B0604020202020204" pitchFamily="34" charset="0"/>
              <a:buChar char="»"/>
              <a:defRPr>
                <a:solidFill>
                  <a:schemeClr val="tx2"/>
                </a:solidFill>
                <a:latin typeface="Arial" panose="020B0604020202020204" pitchFamily="34" charset="0"/>
                <a:ea typeface="MS PGothic" panose="020B0600070205080204" pitchFamily="34" charset="-128"/>
              </a:defRPr>
            </a:lvl9pPr>
          </a:lstStyle>
          <a:p>
            <a:pPr marL="0" marR="0" lvl="0" indent="0" algn="l" defTabSz="692729" rtl="0" eaLnBrk="1" fontAlgn="auto" latinLnBrk="0" hangingPunct="1">
              <a:lnSpc>
                <a:spcPct val="100000"/>
              </a:lnSpc>
              <a:spcBef>
                <a:spcPts val="800"/>
              </a:spcBef>
              <a:spcAft>
                <a:spcPts val="800"/>
              </a:spcAft>
              <a:buClr>
                <a:prstClr val="black"/>
              </a:buClr>
              <a:buSzTx/>
              <a:buFont typeface="Arial" panose="020B0604020202020204" pitchFamily="34" charset="0"/>
              <a:buNone/>
              <a:tabLst/>
              <a:defRPr/>
            </a:pPr>
            <a:r>
              <a:rPr kumimoji="0" lang="en-US" altLang="zh-CN" sz="1400" b="1" i="0" u="none" strike="noStrike" kern="1200" cap="none" spc="0" normalizeH="0" baseline="0" noProof="0" dirty="0">
                <a:ln>
                  <a:noFill/>
                </a:ln>
                <a:solidFill>
                  <a:prstClr val="black"/>
                </a:solidFill>
                <a:effectLst/>
                <a:uLnTx/>
                <a:uFillTx/>
                <a:latin typeface="Arial"/>
                <a:ea typeface="MS PGothic" panose="020B0600070205080204" pitchFamily="34" charset="-128"/>
                <a:cs typeface="Arial" panose="020B0604020202020204" pitchFamily="34" charset="0"/>
              </a:rPr>
              <a:t>Key eligibility</a:t>
            </a:r>
            <a:endParaRPr kumimoji="0" lang="en-US" altLang="zh-CN" sz="1400" b="0" i="0" u="none" strike="noStrike" kern="1200" cap="none" spc="0" normalizeH="0" baseline="0" noProof="0" dirty="0">
              <a:ln>
                <a:noFill/>
              </a:ln>
              <a:solidFill>
                <a:prstClr val="black"/>
              </a:solidFill>
              <a:effectLst/>
              <a:uLnTx/>
              <a:uFillTx/>
              <a:latin typeface="Arial"/>
              <a:ea typeface="MS PGothic" panose="020B0600070205080204" pitchFamily="34" charset="-128"/>
              <a:cs typeface="Arial" panose="020B0604020202020204" pitchFamily="34" charset="0"/>
            </a:endParaRPr>
          </a:p>
          <a:p>
            <a:pPr marL="156629" marR="0" lvl="0" indent="-156629" algn="l" defTabSz="692729" rtl="0" eaLnBrk="1" fontAlgn="auto" latinLnBrk="0" hangingPunct="1">
              <a:lnSpc>
                <a:spcPct val="100000"/>
              </a:lnSpc>
              <a:spcBef>
                <a:spcPts val="800"/>
              </a:spcBef>
              <a:spcAft>
                <a:spcPts val="800"/>
              </a:spcAft>
              <a:buClr>
                <a:prstClr val="black"/>
              </a:buClr>
              <a:buSzTx/>
              <a:buFont typeface="Arial" panose="020B0604020202020204" pitchFamily="34" charset="0"/>
              <a:buChar char="•"/>
              <a:tabLst/>
              <a:defRPr/>
            </a:pPr>
            <a:r>
              <a:rPr kumimoji="0" lang="en-US" altLang="ko-KR" sz="1400" b="0" i="0" u="none" strike="noStrike" kern="1200" cap="none" spc="0" normalizeH="0" baseline="0" noProof="0" dirty="0">
                <a:ln>
                  <a:noFill/>
                </a:ln>
                <a:solidFill>
                  <a:prstClr val="black"/>
                </a:solidFill>
                <a:effectLst/>
                <a:uLnTx/>
                <a:uFillTx/>
                <a:latin typeface="Arial"/>
                <a:ea typeface="MS PGothic" panose="020B0600070205080204" pitchFamily="34" charset="-128"/>
                <a:cs typeface="Arial" pitchFamily="34" charset="0"/>
              </a:rPr>
              <a:t>Locally advanced or metastatic and/or unresectable HCC</a:t>
            </a:r>
          </a:p>
          <a:p>
            <a:pPr marL="156629" marR="0" lvl="0" indent="-156629" algn="l" defTabSz="692729" rtl="0" eaLnBrk="1" fontAlgn="auto" latinLnBrk="0" hangingPunct="1">
              <a:lnSpc>
                <a:spcPct val="100000"/>
              </a:lnSpc>
              <a:spcBef>
                <a:spcPts val="800"/>
              </a:spcBef>
              <a:spcAft>
                <a:spcPts val="800"/>
              </a:spcAft>
              <a:buClr>
                <a:prstClr val="black"/>
              </a:buClr>
              <a:buSzTx/>
              <a:buFont typeface="Arial" panose="020B0604020202020204" pitchFamily="34" charset="0"/>
              <a:buChar char="•"/>
              <a:tabLst/>
              <a:defRPr/>
            </a:pPr>
            <a:r>
              <a:rPr kumimoji="0" lang="en-US" altLang="ko-KR" sz="1400" b="0" i="0" u="none" strike="noStrike" kern="1200" cap="none" spc="0" normalizeH="0" baseline="0" noProof="0" dirty="0">
                <a:ln>
                  <a:noFill/>
                </a:ln>
                <a:solidFill>
                  <a:prstClr val="black"/>
                </a:solidFill>
                <a:effectLst/>
                <a:uLnTx/>
                <a:uFillTx/>
                <a:latin typeface="Arial"/>
                <a:ea typeface="MS PGothic" panose="020B0600070205080204" pitchFamily="34" charset="-128"/>
                <a:cs typeface="Arial" pitchFamily="34" charset="0"/>
              </a:rPr>
              <a:t>No prior systemic therapy</a:t>
            </a:r>
          </a:p>
          <a:p>
            <a:pPr marL="156629" marR="0" lvl="0" indent="-156629" algn="l" defTabSz="692729" rtl="0" eaLnBrk="1" fontAlgn="auto" latinLnBrk="0" hangingPunct="1">
              <a:lnSpc>
                <a:spcPct val="100000"/>
              </a:lnSpc>
              <a:spcBef>
                <a:spcPts val="800"/>
              </a:spcBef>
              <a:spcAft>
                <a:spcPts val="800"/>
              </a:spcAft>
              <a:buClr>
                <a:prstClr val="black"/>
              </a:buClr>
              <a:buSzTx/>
              <a:buFont typeface="Arial" panose="020B0604020202020204" pitchFamily="34" charset="0"/>
              <a:buChar char="•"/>
              <a:tabLst/>
              <a:defRPr/>
            </a:pPr>
            <a:r>
              <a:rPr kumimoji="0" lang="en-US" altLang="ko-KR" sz="1400" b="0" i="0" u="none" strike="noStrike" kern="1200" cap="none" spc="0" normalizeH="0" baseline="0" noProof="0" dirty="0">
                <a:ln>
                  <a:noFill/>
                </a:ln>
                <a:solidFill>
                  <a:prstClr val="black"/>
                </a:solidFill>
                <a:effectLst/>
                <a:uLnTx/>
                <a:uFillTx/>
                <a:latin typeface="Arial"/>
                <a:ea typeface="MS PGothic" panose="020B0600070205080204" pitchFamily="34" charset="-128"/>
                <a:cs typeface="Arial" pitchFamily="34" charset="0"/>
              </a:rPr>
              <a:t>ECOG PS 0-1</a:t>
            </a:r>
          </a:p>
          <a:p>
            <a:pPr marL="156629" marR="0" lvl="0" indent="-156629" algn="l" defTabSz="692729" rtl="0" eaLnBrk="1" fontAlgn="auto" latinLnBrk="0" hangingPunct="1">
              <a:lnSpc>
                <a:spcPct val="100000"/>
              </a:lnSpc>
              <a:spcBef>
                <a:spcPts val="800"/>
              </a:spcBef>
              <a:spcAft>
                <a:spcPts val="800"/>
              </a:spcAft>
              <a:buClr>
                <a:prstClr val="black"/>
              </a:buClr>
              <a:buSzTx/>
              <a:buFont typeface="Arial" panose="020B0604020202020204" pitchFamily="34" charset="0"/>
              <a:buChar char="•"/>
              <a:tabLst/>
              <a:defRPr/>
            </a:pPr>
            <a:r>
              <a:rPr kumimoji="0" lang="en-US" altLang="ko-KR" sz="1400" b="0" i="0" u="none" strike="noStrike" kern="1200" cap="none" spc="0" normalizeH="0" baseline="0" noProof="0" dirty="0">
                <a:ln>
                  <a:noFill/>
                </a:ln>
                <a:solidFill>
                  <a:prstClr val="black"/>
                </a:solidFill>
                <a:effectLst/>
                <a:uLnTx/>
                <a:uFillTx/>
                <a:latin typeface="Arial"/>
                <a:ea typeface="MS PGothic" panose="020B0600070205080204" pitchFamily="34" charset="-128"/>
                <a:cs typeface="Arial" pitchFamily="34" charset="0"/>
              </a:rPr>
              <a:t>Child-Pugh class A liver function</a:t>
            </a:r>
          </a:p>
        </p:txBody>
      </p:sp>
      <p:cxnSp>
        <p:nvCxnSpPr>
          <p:cNvPr id="35" name="Straight Arrow Connector 13">
            <a:extLst>
              <a:ext uri="{FF2B5EF4-FFF2-40B4-BE49-F238E27FC236}">
                <a16:creationId xmlns:a16="http://schemas.microsoft.com/office/drawing/2014/main" id="{322A1341-E5EC-41DD-8D0D-0B7F426A69BF}"/>
              </a:ext>
            </a:extLst>
          </p:cNvPr>
          <p:cNvCxnSpPr>
            <a:cxnSpLocks noChangeShapeType="1"/>
          </p:cNvCxnSpPr>
          <p:nvPr/>
        </p:nvCxnSpPr>
        <p:spPr bwMode="auto">
          <a:xfrm flipV="1">
            <a:off x="6500912" y="1976620"/>
            <a:ext cx="461433" cy="645584"/>
          </a:xfrm>
          <a:prstGeom prst="bentConnector3">
            <a:avLst>
              <a:gd name="adj1" fmla="val 46056"/>
            </a:avLst>
          </a:prstGeom>
          <a:noFill/>
          <a:ln w="19050" cap="rnd">
            <a:solidFill>
              <a:schemeClr val="tx1"/>
            </a:solidFill>
            <a:round/>
            <a:headEnd/>
            <a:tailEnd type="triangle" w="med" len="med"/>
          </a:ln>
          <a:extLst>
            <a:ext uri="{909E8E84-426E-40DD-AFC4-6F175D3DCCD1}">
              <a14:hiddenFill xmlns:a14="http://schemas.microsoft.com/office/drawing/2010/main">
                <a:noFill/>
              </a14:hiddenFill>
            </a:ext>
          </a:extLst>
        </p:spPr>
      </p:cxnSp>
      <p:cxnSp>
        <p:nvCxnSpPr>
          <p:cNvPr id="37" name="Straight Arrow Connector 14">
            <a:extLst>
              <a:ext uri="{FF2B5EF4-FFF2-40B4-BE49-F238E27FC236}">
                <a16:creationId xmlns:a16="http://schemas.microsoft.com/office/drawing/2014/main" id="{E5DF1110-A68C-4027-A90D-55E55F194F3A}"/>
              </a:ext>
            </a:extLst>
          </p:cNvPr>
          <p:cNvCxnSpPr>
            <a:cxnSpLocks noChangeShapeType="1"/>
          </p:cNvCxnSpPr>
          <p:nvPr/>
        </p:nvCxnSpPr>
        <p:spPr bwMode="auto">
          <a:xfrm>
            <a:off x="6488212" y="2723804"/>
            <a:ext cx="461433" cy="643467"/>
          </a:xfrm>
          <a:prstGeom prst="bentConnector3">
            <a:avLst>
              <a:gd name="adj1" fmla="val 50000"/>
            </a:avLst>
          </a:prstGeom>
          <a:noFill/>
          <a:ln w="19050" cap="rnd">
            <a:solidFill>
              <a:schemeClr val="tx1"/>
            </a:solidFill>
            <a:round/>
            <a:headEnd/>
            <a:tailEnd type="triangle" w="med" len="med"/>
          </a:ln>
          <a:extLst>
            <a:ext uri="{909E8E84-426E-40DD-AFC4-6F175D3DCCD1}">
              <a14:hiddenFill xmlns:a14="http://schemas.microsoft.com/office/drawing/2010/main">
                <a:noFill/>
              </a14:hiddenFill>
            </a:ext>
          </a:extLst>
        </p:spPr>
      </p:cxnSp>
      <p:sp>
        <p:nvSpPr>
          <p:cNvPr id="38" name="Oval 77">
            <a:extLst>
              <a:ext uri="{FF2B5EF4-FFF2-40B4-BE49-F238E27FC236}">
                <a16:creationId xmlns:a16="http://schemas.microsoft.com/office/drawing/2014/main" id="{28078C6F-3109-44B5-AD39-AF72BAB2A55D}"/>
              </a:ext>
            </a:extLst>
          </p:cNvPr>
          <p:cNvSpPr>
            <a:spLocks noChangeArrowheads="1"/>
          </p:cNvSpPr>
          <p:nvPr/>
        </p:nvSpPr>
        <p:spPr bwMode="auto">
          <a:xfrm>
            <a:off x="6474537" y="2486738"/>
            <a:ext cx="480483" cy="455083"/>
          </a:xfrm>
          <a:prstGeom prst="ellipse">
            <a:avLst/>
          </a:prstGeom>
          <a:solidFill>
            <a:srgbClr val="FFFFFF"/>
          </a:solidFill>
          <a:ln w="19050" cap="rnd" algn="ctr">
            <a:solidFill>
              <a:schemeClr val="tx1"/>
            </a:solidFill>
            <a:round/>
            <a:headEnd/>
            <a:tailEnd/>
          </a:ln>
        </p:spPr>
        <p:txBody>
          <a:bodyPr lIns="0" tIns="0" rIns="0" bIns="0" anchor="ctr"/>
          <a:lstStyle>
            <a:lvl1pPr eaLnBrk="0" hangingPunct="0">
              <a:defRPr sz="1400">
                <a:solidFill>
                  <a:srgbClr val="000000"/>
                </a:solidFill>
                <a:latin typeface="Arial" charset="0"/>
                <a:cs typeface="Arial" charset="0"/>
                <a:sym typeface="Arial" charset="0"/>
              </a:defRPr>
            </a:lvl1pPr>
            <a:lvl2pPr marL="742950" indent="-285750" eaLnBrk="0" hangingPunct="0">
              <a:defRPr sz="1400">
                <a:solidFill>
                  <a:srgbClr val="000000"/>
                </a:solidFill>
                <a:latin typeface="Arial" charset="0"/>
                <a:cs typeface="Arial" charset="0"/>
                <a:sym typeface="Arial" charset="0"/>
              </a:defRPr>
            </a:lvl2pPr>
            <a:lvl3pPr marL="1143000" indent="-228600" eaLnBrk="0" hangingPunct="0">
              <a:defRPr sz="1400">
                <a:solidFill>
                  <a:srgbClr val="000000"/>
                </a:solidFill>
                <a:latin typeface="Arial" charset="0"/>
                <a:cs typeface="Arial" charset="0"/>
                <a:sym typeface="Arial" charset="0"/>
              </a:defRPr>
            </a:lvl3pPr>
            <a:lvl4pPr marL="1600200" indent="-228600" eaLnBrk="0" hangingPunct="0">
              <a:defRPr sz="1400">
                <a:solidFill>
                  <a:srgbClr val="000000"/>
                </a:solidFill>
                <a:latin typeface="Arial" charset="0"/>
                <a:cs typeface="Arial" charset="0"/>
                <a:sym typeface="Arial" charset="0"/>
              </a:defRPr>
            </a:lvl4pPr>
            <a:lvl5pPr marL="2057400" indent="-228600" eaLnBrk="0" hangingPunct="0">
              <a:defRPr sz="1400">
                <a:solidFill>
                  <a:srgbClr val="000000"/>
                </a:solidFill>
                <a:latin typeface="Arial" charset="0"/>
                <a:cs typeface="Arial" charset="0"/>
                <a:sym typeface="Arial" charset="0"/>
              </a:defRPr>
            </a:lvl5pPr>
            <a:lvl6pPr marL="2514600" indent="-228600" eaLnBrk="0" fontAlgn="base" hangingPunct="0">
              <a:spcBef>
                <a:spcPct val="0"/>
              </a:spcBef>
              <a:spcAft>
                <a:spcPct val="0"/>
              </a:spcAft>
              <a:defRPr sz="1400">
                <a:solidFill>
                  <a:srgbClr val="000000"/>
                </a:solidFill>
                <a:latin typeface="Arial" charset="0"/>
                <a:cs typeface="Arial" charset="0"/>
                <a:sym typeface="Arial" charset="0"/>
              </a:defRPr>
            </a:lvl6pPr>
            <a:lvl7pPr marL="2971800" indent="-228600" eaLnBrk="0" fontAlgn="base" hangingPunct="0">
              <a:spcBef>
                <a:spcPct val="0"/>
              </a:spcBef>
              <a:spcAft>
                <a:spcPct val="0"/>
              </a:spcAft>
              <a:defRPr sz="1400">
                <a:solidFill>
                  <a:srgbClr val="000000"/>
                </a:solidFill>
                <a:latin typeface="Arial" charset="0"/>
                <a:cs typeface="Arial" charset="0"/>
                <a:sym typeface="Arial" charset="0"/>
              </a:defRPr>
            </a:lvl7pPr>
            <a:lvl8pPr marL="3429000" indent="-228600" eaLnBrk="0" fontAlgn="base" hangingPunct="0">
              <a:spcBef>
                <a:spcPct val="0"/>
              </a:spcBef>
              <a:spcAft>
                <a:spcPct val="0"/>
              </a:spcAft>
              <a:defRPr sz="1400">
                <a:solidFill>
                  <a:srgbClr val="000000"/>
                </a:solidFill>
                <a:latin typeface="Arial" charset="0"/>
                <a:cs typeface="Arial" charset="0"/>
                <a:sym typeface="Arial" charset="0"/>
              </a:defRPr>
            </a:lvl8pPr>
            <a:lvl9pPr marL="3886200" indent="-228600" eaLnBrk="0" fontAlgn="base" hangingPunct="0">
              <a:spcBef>
                <a:spcPct val="0"/>
              </a:spcBef>
              <a:spcAft>
                <a:spcPct val="0"/>
              </a:spcAft>
              <a:defRPr sz="1400">
                <a:solidFill>
                  <a:srgbClr val="000000"/>
                </a:solidFill>
                <a:latin typeface="Arial" charset="0"/>
                <a:cs typeface="Arial" charset="0"/>
                <a:sym typeface="Arial" charset="0"/>
              </a:defRPr>
            </a:lvl9p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altLang="en-US" sz="1059" b="1" i="0" u="none" strike="noStrike" kern="0" cap="none" spc="0" normalizeH="0" baseline="0" noProof="0" dirty="0">
                <a:ln>
                  <a:noFill/>
                </a:ln>
                <a:solidFill>
                  <a:prstClr val="black"/>
                </a:solidFill>
                <a:effectLst/>
                <a:uLnTx/>
                <a:uFillTx/>
                <a:latin typeface="Arial" charset="0"/>
                <a:ea typeface="Arial Unicode MS" charset="-128"/>
                <a:cs typeface="Arial" charset="0"/>
                <a:sym typeface="Arial" charset="0"/>
              </a:rPr>
              <a:t>R </a:t>
            </a:r>
            <a:br>
              <a:rPr kumimoji="0" lang="en-US" altLang="en-US" sz="1059" b="1" i="0" u="none" strike="noStrike" kern="0" cap="none" spc="0" normalizeH="0" baseline="0" noProof="0" dirty="0">
                <a:ln>
                  <a:noFill/>
                </a:ln>
                <a:solidFill>
                  <a:prstClr val="black"/>
                </a:solidFill>
                <a:effectLst/>
                <a:uLnTx/>
                <a:uFillTx/>
                <a:latin typeface="Arial" charset="0"/>
                <a:ea typeface="Arial Unicode MS" charset="-128"/>
                <a:cs typeface="Arial" charset="0"/>
                <a:sym typeface="Arial" charset="0"/>
              </a:rPr>
            </a:br>
            <a:r>
              <a:rPr kumimoji="0" lang="en-US" altLang="en-US" sz="1059" b="1" i="0" u="none" strike="noStrike" kern="0" cap="none" spc="0" normalizeH="0" baseline="0" noProof="0" dirty="0">
                <a:ln>
                  <a:noFill/>
                </a:ln>
                <a:solidFill>
                  <a:prstClr val="black"/>
                </a:solidFill>
                <a:effectLst/>
                <a:uLnTx/>
                <a:uFillTx/>
                <a:latin typeface="Arial" charset="0"/>
                <a:ea typeface="Arial Unicode MS" charset="-128"/>
                <a:cs typeface="Arial" charset="0"/>
                <a:sym typeface="Arial" charset="0"/>
              </a:rPr>
              <a:t>2:1</a:t>
            </a:r>
          </a:p>
        </p:txBody>
      </p:sp>
      <p:sp>
        <p:nvSpPr>
          <p:cNvPr id="40" name="TextBox 39">
            <a:extLst>
              <a:ext uri="{FF2B5EF4-FFF2-40B4-BE49-F238E27FC236}">
                <a16:creationId xmlns:a16="http://schemas.microsoft.com/office/drawing/2014/main" id="{ABCF7A93-F11C-464A-B995-714DECBD9A9C}"/>
              </a:ext>
            </a:extLst>
          </p:cNvPr>
          <p:cNvSpPr txBox="1"/>
          <p:nvPr/>
        </p:nvSpPr>
        <p:spPr bwMode="auto">
          <a:xfrm>
            <a:off x="6962343" y="1200506"/>
            <a:ext cx="1426464" cy="1239372"/>
          </a:xfrm>
          <a:prstGeom prst="roundRect">
            <a:avLst/>
          </a:prstGeom>
          <a:solidFill>
            <a:srgbClr val="4472C4"/>
          </a:solidFill>
          <a:ln w="9525">
            <a:noFill/>
            <a:miter lim="800000"/>
            <a:headEnd/>
            <a:tailEnd/>
          </a:ln>
          <a:effectLst/>
        </p:spPr>
        <p:txBody>
          <a:bodyPr lIns="27211" tIns="27211" rIns="27211" bIns="27211" anchor="ctr"/>
          <a:lstStyle>
            <a:defPPr>
              <a:defRPr lang="en-US"/>
            </a:defPPr>
            <a:lvl1pPr algn="ctr" fontAlgn="base">
              <a:lnSpc>
                <a:spcPct val="90000"/>
              </a:lnSpc>
              <a:spcBef>
                <a:spcPts val="600"/>
              </a:spcBef>
              <a:spcAft>
                <a:spcPct val="0"/>
              </a:spcAft>
              <a:defRPr sz="1200" b="1">
                <a:solidFill>
                  <a:prstClr val="white"/>
                </a:solidFill>
                <a:ea typeface="Arial Unicode MS" panose="020B0604020202020204" pitchFamily="34" charset="-128"/>
                <a:cs typeface="Arial" panose="020B0604020202020204" pitchFamily="34" charset="0"/>
              </a:defRPr>
            </a:lvl1pPr>
          </a:lstStyle>
          <a:p>
            <a:pPr marL="0" marR="0" lvl="0" indent="0" algn="ctr" defTabSz="914354" rtl="0" eaLnBrk="1" fontAlgn="base" latinLnBrk="0" hangingPunct="1">
              <a:lnSpc>
                <a:spcPct val="100000"/>
              </a:lnSpc>
              <a:spcBef>
                <a:spcPts val="800"/>
              </a:spcBef>
              <a:spcAft>
                <a:spcPts val="605"/>
              </a:spcAft>
              <a:buClrTx/>
              <a:buSzTx/>
              <a:buFontTx/>
              <a:buNone/>
              <a:tabLst/>
              <a:defRPr/>
            </a:pPr>
            <a:r>
              <a:rPr kumimoji="0" lang="en-GB" altLang="zh-CN" sz="1200" b="1" i="0" u="none" strike="noStrike" kern="0" cap="none" spc="0" normalizeH="0" baseline="0" noProof="0" dirty="0">
                <a:ln>
                  <a:noFill/>
                </a:ln>
                <a:solidFill>
                  <a:prstClr val="white"/>
                </a:solidFill>
                <a:effectLst/>
                <a:uLnTx/>
                <a:uFillTx/>
                <a:latin typeface="Arial"/>
                <a:ea typeface="Arial Unicode MS" panose="020B0604020202020204" pitchFamily="34" charset="-128"/>
                <a:cs typeface="Arial" panose="020B0604020202020204" pitchFamily="34" charset="0"/>
              </a:rPr>
              <a:t>Atezolizumab </a:t>
            </a:r>
            <a:br>
              <a:rPr kumimoji="0" lang="en-GB" altLang="zh-CN" sz="1200" b="1" i="0" u="none" strike="noStrike" kern="0" cap="none" spc="0" normalizeH="0" baseline="0" noProof="0" dirty="0">
                <a:ln>
                  <a:noFill/>
                </a:ln>
                <a:solidFill>
                  <a:prstClr val="white"/>
                </a:solidFill>
                <a:effectLst/>
                <a:uLnTx/>
                <a:uFillTx/>
                <a:latin typeface="Arial"/>
                <a:ea typeface="Arial Unicode MS" panose="020B0604020202020204" pitchFamily="34" charset="-128"/>
                <a:cs typeface="Arial" panose="020B0604020202020204" pitchFamily="34" charset="0"/>
              </a:rPr>
            </a:br>
            <a:r>
              <a:rPr kumimoji="0" lang="en-GB" altLang="zh-CN" sz="1200" b="1" i="0" u="none" strike="noStrike" kern="0" cap="none" spc="0" normalizeH="0" baseline="0" noProof="0" dirty="0">
                <a:ln>
                  <a:noFill/>
                </a:ln>
                <a:solidFill>
                  <a:prstClr val="white"/>
                </a:solidFill>
                <a:effectLst/>
                <a:uLnTx/>
                <a:uFillTx/>
                <a:latin typeface="Arial"/>
                <a:ea typeface="Arial Unicode MS" panose="020B0604020202020204" pitchFamily="34" charset="-128"/>
                <a:cs typeface="Arial" panose="020B0604020202020204" pitchFamily="34" charset="0"/>
              </a:rPr>
              <a:t>1200 mg IV q3w </a:t>
            </a:r>
            <a:br>
              <a:rPr kumimoji="0" lang="en-GB" altLang="zh-CN" sz="1200" b="1" i="0" u="none" strike="noStrike" kern="0" cap="none" spc="0" normalizeH="0" baseline="0" noProof="0" dirty="0">
                <a:ln>
                  <a:noFill/>
                </a:ln>
                <a:solidFill>
                  <a:prstClr val="white"/>
                </a:solidFill>
                <a:effectLst/>
                <a:uLnTx/>
                <a:uFillTx/>
                <a:latin typeface="Arial"/>
                <a:ea typeface="Arial Unicode MS" panose="020B0604020202020204" pitchFamily="34" charset="-128"/>
                <a:cs typeface="Arial" panose="020B0604020202020204" pitchFamily="34" charset="0"/>
              </a:rPr>
            </a:br>
            <a:r>
              <a:rPr kumimoji="0" lang="en-GB" altLang="zh-CN" sz="1200" b="1" i="0" u="none" strike="noStrike" kern="0" cap="none" spc="0" normalizeH="0" baseline="0" noProof="0" dirty="0">
                <a:ln>
                  <a:noFill/>
                </a:ln>
                <a:solidFill>
                  <a:prstClr val="white"/>
                </a:solidFill>
                <a:effectLst/>
                <a:uLnTx/>
                <a:uFillTx/>
                <a:latin typeface="Arial"/>
                <a:ea typeface="Arial Unicode MS" panose="020B0604020202020204" pitchFamily="34" charset="-128"/>
                <a:cs typeface="Arial" panose="020B0604020202020204" pitchFamily="34" charset="0"/>
              </a:rPr>
              <a:t>+</a:t>
            </a:r>
            <a:br>
              <a:rPr kumimoji="0" lang="en-GB" altLang="zh-CN" sz="1200" b="1" i="0" u="none" strike="noStrike" kern="0" cap="none" spc="0" normalizeH="0" baseline="0" noProof="0" dirty="0">
                <a:ln>
                  <a:noFill/>
                </a:ln>
                <a:solidFill>
                  <a:prstClr val="white"/>
                </a:solidFill>
                <a:effectLst/>
                <a:uLnTx/>
                <a:uFillTx/>
                <a:latin typeface="Arial"/>
                <a:ea typeface="Arial Unicode MS" panose="020B0604020202020204" pitchFamily="34" charset="-128"/>
                <a:cs typeface="Arial" panose="020B0604020202020204" pitchFamily="34" charset="0"/>
              </a:rPr>
            </a:br>
            <a:r>
              <a:rPr kumimoji="0" lang="en-GB" altLang="zh-CN" sz="1200" b="1" i="0" u="none" strike="noStrike" kern="0" cap="none" spc="0" normalizeH="0" baseline="0" noProof="0" dirty="0">
                <a:ln>
                  <a:noFill/>
                </a:ln>
                <a:solidFill>
                  <a:prstClr val="white"/>
                </a:solidFill>
                <a:effectLst/>
                <a:uLnTx/>
                <a:uFillTx/>
                <a:latin typeface="Arial"/>
                <a:ea typeface="Arial Unicode MS" panose="020B0604020202020204" pitchFamily="34" charset="-128"/>
                <a:cs typeface="Arial" panose="020B0604020202020204" pitchFamily="34" charset="0"/>
              </a:rPr>
              <a:t>Bevacizumab </a:t>
            </a:r>
            <a:br>
              <a:rPr kumimoji="0" lang="en-GB" altLang="zh-CN" sz="1200" b="1" i="0" u="none" strike="noStrike" kern="0" cap="none" spc="0" normalizeH="0" baseline="0" noProof="0" dirty="0">
                <a:ln>
                  <a:noFill/>
                </a:ln>
                <a:solidFill>
                  <a:prstClr val="white"/>
                </a:solidFill>
                <a:effectLst/>
                <a:uLnTx/>
                <a:uFillTx/>
                <a:latin typeface="Arial"/>
                <a:ea typeface="Arial Unicode MS" panose="020B0604020202020204" pitchFamily="34" charset="-128"/>
                <a:cs typeface="Arial" panose="020B0604020202020204" pitchFamily="34" charset="0"/>
              </a:rPr>
            </a:br>
            <a:r>
              <a:rPr kumimoji="0" lang="en-GB" altLang="zh-CN" sz="1200" b="1" i="0" u="none" strike="noStrike" kern="0" cap="none" spc="0" normalizeH="0" baseline="0" noProof="0" dirty="0">
                <a:ln>
                  <a:noFill/>
                </a:ln>
                <a:solidFill>
                  <a:prstClr val="white"/>
                </a:solidFill>
                <a:effectLst/>
                <a:uLnTx/>
                <a:uFillTx/>
                <a:latin typeface="Arial"/>
                <a:ea typeface="Arial Unicode MS" panose="020B0604020202020204" pitchFamily="34" charset="-128"/>
                <a:cs typeface="Arial" panose="020B0604020202020204" pitchFamily="34" charset="0"/>
              </a:rPr>
              <a:t>15 mg/kg q3w</a:t>
            </a:r>
          </a:p>
        </p:txBody>
      </p:sp>
      <p:sp>
        <p:nvSpPr>
          <p:cNvPr id="41" name="TextBox 40">
            <a:extLst>
              <a:ext uri="{FF2B5EF4-FFF2-40B4-BE49-F238E27FC236}">
                <a16:creationId xmlns:a16="http://schemas.microsoft.com/office/drawing/2014/main" id="{7BE34E90-E46D-4CC4-9A31-8B80D8217BE2}"/>
              </a:ext>
            </a:extLst>
          </p:cNvPr>
          <p:cNvSpPr txBox="1"/>
          <p:nvPr/>
        </p:nvSpPr>
        <p:spPr bwMode="auto">
          <a:xfrm>
            <a:off x="6949645" y="2877910"/>
            <a:ext cx="1427060" cy="829733"/>
          </a:xfrm>
          <a:prstGeom prst="roundRect">
            <a:avLst/>
          </a:prstGeom>
          <a:solidFill>
            <a:srgbClr val="EC541E"/>
          </a:solidFill>
          <a:ln w="9525">
            <a:noFill/>
            <a:miter lim="800000"/>
            <a:headEnd/>
            <a:tailEnd/>
          </a:ln>
          <a:effectLst/>
        </p:spPr>
        <p:txBody>
          <a:bodyPr lIns="27211" tIns="27211" rIns="27211" bIns="27211" anchor="ctr"/>
          <a:lstStyle/>
          <a:p>
            <a:pPr marL="0" marR="0" lvl="0" indent="0" algn="ctr" defTabSz="919161" rtl="0" eaLnBrk="1" fontAlgn="auto" latinLnBrk="0" hangingPunct="1">
              <a:lnSpc>
                <a:spcPct val="100000"/>
              </a:lnSpc>
              <a:spcBef>
                <a:spcPts val="0"/>
              </a:spcBef>
              <a:spcAft>
                <a:spcPts val="0"/>
              </a:spcAft>
              <a:buClrTx/>
              <a:buSzTx/>
              <a:buFontTx/>
              <a:buNone/>
              <a:tabLst/>
              <a:defRPr/>
            </a:pPr>
            <a:r>
              <a:rPr kumimoji="0" lang="en-GB" altLang="zh-CN" sz="1200" b="1" i="0" u="none" strike="noStrike" kern="0" cap="none" spc="0" normalizeH="0" baseline="0" noProof="0" dirty="0">
                <a:ln>
                  <a:noFill/>
                </a:ln>
                <a:solidFill>
                  <a:prstClr val="white"/>
                </a:solidFill>
                <a:effectLst>
                  <a:outerShdw blurRad="127000" dist="38100" dir="2700000" algn="tl" rotWithShape="0">
                    <a:prstClr val="black">
                      <a:alpha val="40000"/>
                    </a:prstClr>
                  </a:outerShdw>
                </a:effectLst>
                <a:uLnTx/>
                <a:uFillTx/>
                <a:latin typeface="Arial"/>
                <a:ea typeface="MS PGothic" charset="0"/>
                <a:cs typeface="MS PGothic" charset="0"/>
              </a:rPr>
              <a:t>Sorafenib 400 mg bid</a:t>
            </a:r>
          </a:p>
        </p:txBody>
      </p:sp>
      <p:cxnSp>
        <p:nvCxnSpPr>
          <p:cNvPr id="42" name="Straight Arrow Connector 68">
            <a:extLst>
              <a:ext uri="{FF2B5EF4-FFF2-40B4-BE49-F238E27FC236}">
                <a16:creationId xmlns:a16="http://schemas.microsoft.com/office/drawing/2014/main" id="{0F535A5E-9FE2-476B-AA3A-EFEB7ABBDB0E}"/>
              </a:ext>
            </a:extLst>
          </p:cNvPr>
          <p:cNvCxnSpPr>
            <a:cxnSpLocks noChangeShapeType="1"/>
          </p:cNvCxnSpPr>
          <p:nvPr/>
        </p:nvCxnSpPr>
        <p:spPr bwMode="auto">
          <a:xfrm>
            <a:off x="5637934" y="2700520"/>
            <a:ext cx="819151" cy="0"/>
          </a:xfrm>
          <a:prstGeom prst="straightConnector1">
            <a:avLst/>
          </a:prstGeom>
          <a:noFill/>
          <a:ln w="19050" cap="rnd">
            <a:solidFill>
              <a:schemeClr val="tx1"/>
            </a:solidFill>
            <a:round/>
            <a:headEnd/>
            <a:tailEnd/>
          </a:ln>
          <a:extLst>
            <a:ext uri="{909E8E84-426E-40DD-AFC4-6F175D3DCCD1}">
              <a14:hiddenFill xmlns:a14="http://schemas.microsoft.com/office/drawing/2010/main">
                <a:noFill/>
              </a14:hiddenFill>
            </a:ext>
          </a:extLst>
        </p:spPr>
      </p:cxnSp>
      <p:sp>
        <p:nvSpPr>
          <p:cNvPr id="43" name="TextBox 28">
            <a:extLst>
              <a:ext uri="{FF2B5EF4-FFF2-40B4-BE49-F238E27FC236}">
                <a16:creationId xmlns:a16="http://schemas.microsoft.com/office/drawing/2014/main" id="{8C56A456-225E-4FC0-8536-7D6A9B81F0BF}"/>
              </a:ext>
            </a:extLst>
          </p:cNvPr>
          <p:cNvSpPr txBox="1">
            <a:spLocks noChangeArrowheads="1"/>
          </p:cNvSpPr>
          <p:nvPr/>
        </p:nvSpPr>
        <p:spPr bwMode="auto">
          <a:xfrm>
            <a:off x="3188135" y="1326439"/>
            <a:ext cx="3201948" cy="3001107"/>
          </a:xfrm>
          <a:prstGeom prst="roundRect">
            <a:avLst/>
          </a:prstGeom>
          <a:solidFill>
            <a:schemeClr val="accent3">
              <a:lumMod val="40000"/>
              <a:lumOff val="60000"/>
            </a:schemeClr>
          </a:solidFill>
          <a:ln>
            <a:noFill/>
          </a:ln>
        </p:spPr>
        <p:txBody>
          <a:bodyPr tIns="92155" bIns="92155" anchor="ctr"/>
          <a:lstStyle>
            <a:lvl1pPr defTabSz="519113">
              <a:lnSpc>
                <a:spcPct val="93000"/>
              </a:lnSpc>
              <a:spcAft>
                <a:spcPts val="725"/>
              </a:spcAft>
              <a:buClr>
                <a:srgbClr val="000000"/>
              </a:buClr>
              <a:buSzPct val="100000"/>
              <a:buFont typeface="Times New Roman" panose="02020603050405020304" pitchFamily="18" charset="0"/>
              <a:defRPr sz="1700">
                <a:solidFill>
                  <a:srgbClr val="000000"/>
                </a:solidFill>
                <a:latin typeface="Arial" panose="020B0604020202020204" pitchFamily="34" charset="0"/>
                <a:ea typeface="Arial Unicode MS"/>
                <a:cs typeface="Arial Unicode MS"/>
              </a:defRPr>
            </a:lvl1pPr>
            <a:lvl2pPr marL="104775" indent="-104775" defTabSz="519113">
              <a:lnSpc>
                <a:spcPct val="93000"/>
              </a:lnSpc>
              <a:spcAft>
                <a:spcPts val="588"/>
              </a:spcAft>
              <a:buClr>
                <a:srgbClr val="000000"/>
              </a:buClr>
              <a:buSzPct val="100000"/>
              <a:buFont typeface="Times New Roman" panose="02020603050405020304" pitchFamily="18" charset="0"/>
              <a:defRPr sz="1400">
                <a:solidFill>
                  <a:srgbClr val="000000"/>
                </a:solidFill>
                <a:latin typeface="Arial" panose="020B0604020202020204" pitchFamily="34" charset="0"/>
                <a:ea typeface="Arial Unicode MS"/>
                <a:cs typeface="Arial Unicode MS"/>
              </a:defRPr>
            </a:lvl2pPr>
            <a:lvl3pPr defTabSz="519113">
              <a:lnSpc>
                <a:spcPct val="93000"/>
              </a:lnSpc>
              <a:spcAft>
                <a:spcPts val="438"/>
              </a:spcAft>
              <a:buClr>
                <a:srgbClr val="000000"/>
              </a:buClr>
              <a:buSzPct val="100000"/>
              <a:buFont typeface="Times New Roman" panose="02020603050405020304" pitchFamily="18" charset="0"/>
              <a:defRPr sz="1200">
                <a:solidFill>
                  <a:srgbClr val="000000"/>
                </a:solidFill>
                <a:latin typeface="Arial" panose="020B0604020202020204" pitchFamily="34" charset="0"/>
                <a:ea typeface="Arial Unicode MS"/>
                <a:cs typeface="Arial Unicode MS"/>
              </a:defRPr>
            </a:lvl3pPr>
            <a:lvl4pPr defTabSz="519113">
              <a:lnSpc>
                <a:spcPct val="93000"/>
              </a:lnSpc>
              <a:spcAft>
                <a:spcPts val="288"/>
              </a:spcAft>
              <a:buClr>
                <a:srgbClr val="000000"/>
              </a:buClr>
              <a:buSzPct val="100000"/>
              <a:buFont typeface="Times New Roman" panose="02020603050405020304" pitchFamily="18" charset="0"/>
              <a:defRPr sz="1000">
                <a:solidFill>
                  <a:srgbClr val="000000"/>
                </a:solidFill>
                <a:latin typeface="Arial" panose="020B0604020202020204" pitchFamily="34" charset="0"/>
                <a:ea typeface="Arial Unicode MS"/>
                <a:cs typeface="Arial Unicode MS"/>
              </a:defRPr>
            </a:lvl4pPr>
            <a:lvl5pPr defTabSz="519113">
              <a:lnSpc>
                <a:spcPct val="93000"/>
              </a:lnSpc>
              <a:spcAft>
                <a:spcPts val="150"/>
              </a:spcAft>
              <a:buClr>
                <a:srgbClr val="000000"/>
              </a:buClr>
              <a:buSzPct val="100000"/>
              <a:buFont typeface="Times New Roman" panose="02020603050405020304" pitchFamily="18" charset="0"/>
              <a:defRPr sz="1000">
                <a:solidFill>
                  <a:srgbClr val="000000"/>
                </a:solidFill>
                <a:latin typeface="Arial" panose="020B0604020202020204" pitchFamily="34" charset="0"/>
                <a:ea typeface="Arial Unicode MS"/>
                <a:cs typeface="Arial Unicode MS"/>
              </a:defRPr>
            </a:lvl5pPr>
            <a:lvl6pPr marL="2514600" indent="-228600" defTabSz="519113" eaLnBrk="0" fontAlgn="base" hangingPunct="0">
              <a:lnSpc>
                <a:spcPct val="93000"/>
              </a:lnSpc>
              <a:spcBef>
                <a:spcPct val="0"/>
              </a:spcBef>
              <a:spcAft>
                <a:spcPts val="150"/>
              </a:spcAft>
              <a:buClr>
                <a:srgbClr val="000000"/>
              </a:buClr>
              <a:buSzPct val="100000"/>
              <a:buFont typeface="Times New Roman" panose="02020603050405020304" pitchFamily="18" charset="0"/>
              <a:defRPr sz="1000">
                <a:solidFill>
                  <a:srgbClr val="000000"/>
                </a:solidFill>
                <a:latin typeface="Arial" panose="020B0604020202020204" pitchFamily="34" charset="0"/>
                <a:ea typeface="Arial Unicode MS"/>
                <a:cs typeface="Arial Unicode MS"/>
              </a:defRPr>
            </a:lvl6pPr>
            <a:lvl7pPr marL="2971800" indent="-228600" defTabSz="519113" eaLnBrk="0" fontAlgn="base" hangingPunct="0">
              <a:lnSpc>
                <a:spcPct val="93000"/>
              </a:lnSpc>
              <a:spcBef>
                <a:spcPct val="0"/>
              </a:spcBef>
              <a:spcAft>
                <a:spcPts val="150"/>
              </a:spcAft>
              <a:buClr>
                <a:srgbClr val="000000"/>
              </a:buClr>
              <a:buSzPct val="100000"/>
              <a:buFont typeface="Times New Roman" panose="02020603050405020304" pitchFamily="18" charset="0"/>
              <a:defRPr sz="1000">
                <a:solidFill>
                  <a:srgbClr val="000000"/>
                </a:solidFill>
                <a:latin typeface="Arial" panose="020B0604020202020204" pitchFamily="34" charset="0"/>
                <a:ea typeface="Arial Unicode MS"/>
                <a:cs typeface="Arial Unicode MS"/>
              </a:defRPr>
            </a:lvl7pPr>
            <a:lvl8pPr marL="3429000" indent="-228600" defTabSz="519113" eaLnBrk="0" fontAlgn="base" hangingPunct="0">
              <a:lnSpc>
                <a:spcPct val="93000"/>
              </a:lnSpc>
              <a:spcBef>
                <a:spcPct val="0"/>
              </a:spcBef>
              <a:spcAft>
                <a:spcPts val="150"/>
              </a:spcAft>
              <a:buClr>
                <a:srgbClr val="000000"/>
              </a:buClr>
              <a:buSzPct val="100000"/>
              <a:buFont typeface="Times New Roman" panose="02020603050405020304" pitchFamily="18" charset="0"/>
              <a:defRPr sz="1000">
                <a:solidFill>
                  <a:srgbClr val="000000"/>
                </a:solidFill>
                <a:latin typeface="Arial" panose="020B0604020202020204" pitchFamily="34" charset="0"/>
                <a:ea typeface="Arial Unicode MS"/>
                <a:cs typeface="Arial Unicode MS"/>
              </a:defRPr>
            </a:lvl8pPr>
            <a:lvl9pPr marL="3886200" indent="-228600" defTabSz="519113" eaLnBrk="0" fontAlgn="base" hangingPunct="0">
              <a:lnSpc>
                <a:spcPct val="93000"/>
              </a:lnSpc>
              <a:spcBef>
                <a:spcPct val="0"/>
              </a:spcBef>
              <a:spcAft>
                <a:spcPts val="150"/>
              </a:spcAft>
              <a:buClr>
                <a:srgbClr val="000000"/>
              </a:buClr>
              <a:buSzPct val="100000"/>
              <a:buFont typeface="Times New Roman" panose="02020603050405020304" pitchFamily="18" charset="0"/>
              <a:defRPr sz="1000">
                <a:solidFill>
                  <a:srgbClr val="000000"/>
                </a:solidFill>
                <a:latin typeface="Arial" panose="020B0604020202020204" pitchFamily="34" charset="0"/>
                <a:ea typeface="Arial Unicode MS"/>
                <a:cs typeface="Arial Unicode MS"/>
              </a:defRPr>
            </a:lvl9pPr>
          </a:lstStyle>
          <a:p>
            <a:pPr marL="0" marR="0" lvl="0" indent="0" algn="l" defTabSz="692133" rtl="0" eaLnBrk="1" fontAlgn="auto" latinLnBrk="0" hangingPunct="1">
              <a:lnSpc>
                <a:spcPct val="100000"/>
              </a:lnSpc>
              <a:spcBef>
                <a:spcPts val="0"/>
              </a:spcBef>
              <a:spcAft>
                <a:spcPct val="0"/>
              </a:spcAft>
              <a:buClr>
                <a:srgbClr val="FFFFFF"/>
              </a:buClr>
              <a:buSzTx/>
              <a:buFont typeface="Times New Roman" panose="02020603050405020304" pitchFamily="18" charset="0"/>
              <a:buNone/>
              <a:tabLst/>
              <a:defRPr/>
            </a:pPr>
            <a:r>
              <a:rPr kumimoji="0" lang="en-US" altLang="zh-CN" sz="1400" b="1" i="0" u="none" strike="noStrike" kern="1200" cap="none" spc="0" normalizeH="0" baseline="0" noProof="0" dirty="0">
                <a:ln>
                  <a:noFill/>
                </a:ln>
                <a:solidFill>
                  <a:prstClr val="black"/>
                </a:solidFill>
                <a:effectLst/>
                <a:uLnTx/>
                <a:uFillTx/>
                <a:latin typeface="Arial"/>
                <a:ea typeface="MS PGothic" panose="020B0600070205080204" pitchFamily="34" charset="-128"/>
                <a:cs typeface="Arial" panose="020B0604020202020204" pitchFamily="34" charset="0"/>
              </a:rPr>
              <a:t>Stratification</a:t>
            </a:r>
            <a:endParaRPr kumimoji="0" lang="en-US" altLang="zh-CN" sz="1400" b="0" i="0" u="none" strike="noStrike" kern="1200" cap="none" spc="0" normalizeH="0" baseline="0" noProof="0" dirty="0">
              <a:ln>
                <a:noFill/>
              </a:ln>
              <a:solidFill>
                <a:prstClr val="black"/>
              </a:solidFill>
              <a:effectLst/>
              <a:uLnTx/>
              <a:uFillTx/>
              <a:latin typeface="Arial"/>
              <a:ea typeface="MS PGothic" panose="020B0600070205080204" pitchFamily="34" charset="-128"/>
              <a:cs typeface="Arial" panose="020B0604020202020204" pitchFamily="34" charset="0"/>
            </a:endParaRPr>
          </a:p>
          <a:p>
            <a:pPr marL="156629" marR="0" lvl="1" indent="-156629" algn="l" defTabSz="692133" rtl="0" eaLnBrk="1" fontAlgn="auto" latinLnBrk="0" hangingPunct="1">
              <a:lnSpc>
                <a:spcPct val="95000"/>
              </a:lnSpc>
              <a:spcBef>
                <a:spcPct val="20000"/>
              </a:spcBef>
              <a:spcAft>
                <a:spcPts val="600"/>
              </a:spcAft>
              <a:buClr>
                <a:prstClr val="black"/>
              </a:buClr>
              <a:buSzTx/>
              <a:buFont typeface="Arial" panose="020B0604020202020204" pitchFamily="34" charset="0"/>
              <a:buChar char="•"/>
              <a:tabLst/>
              <a:defRPr/>
            </a:pPr>
            <a:r>
              <a:rPr kumimoji="0" lang="en-US" altLang="en-US" sz="1400" b="1" i="0" u="none" strike="noStrike" kern="1200" cap="none" spc="0" normalizeH="0" baseline="0" noProof="0" dirty="0">
                <a:ln>
                  <a:noFill/>
                </a:ln>
                <a:solidFill>
                  <a:prstClr val="black"/>
                </a:solidFill>
                <a:effectLst/>
                <a:uLnTx/>
                <a:uFillTx/>
                <a:latin typeface="Arial"/>
                <a:ea typeface="MS PGothic" panose="020B0600070205080204" pitchFamily="34" charset="-128"/>
                <a:cs typeface="Arial" panose="020B0604020202020204" pitchFamily="34" charset="0"/>
              </a:rPr>
              <a:t>Region</a:t>
            </a:r>
            <a:r>
              <a:rPr kumimoji="0" lang="en-US" altLang="en-US" sz="1400" b="0" i="0" u="none" strike="noStrike" kern="1200" cap="none" spc="0" normalizeH="0" baseline="0" noProof="0" dirty="0">
                <a:ln>
                  <a:noFill/>
                </a:ln>
                <a:solidFill>
                  <a:prstClr val="black"/>
                </a:solidFill>
                <a:effectLst/>
                <a:uLnTx/>
                <a:uFillTx/>
                <a:latin typeface="Arial"/>
                <a:ea typeface="MS PGothic" panose="020B0600070205080204" pitchFamily="34" charset="-128"/>
                <a:cs typeface="Arial" panose="020B0604020202020204" pitchFamily="34" charset="0"/>
              </a:rPr>
              <a:t> (Asia excluding Japan</a:t>
            </a:r>
            <a:r>
              <a:rPr kumimoji="0" lang="en-US" altLang="en-US" sz="1400" b="0" i="0" u="none" strike="noStrike" kern="1200" cap="none" spc="0" normalizeH="0" baseline="30000" noProof="0" dirty="0">
                <a:ln>
                  <a:noFill/>
                </a:ln>
                <a:solidFill>
                  <a:prstClr val="black"/>
                </a:solidFill>
                <a:effectLst/>
                <a:uLnTx/>
                <a:uFillTx/>
                <a:latin typeface="Arial"/>
                <a:ea typeface="MS PGothic" panose="020B0600070205080204" pitchFamily="34" charset="-128"/>
                <a:cs typeface="Arial" panose="020B0604020202020204" pitchFamily="34" charset="0"/>
              </a:rPr>
              <a:t>a</a:t>
            </a:r>
            <a:r>
              <a:rPr kumimoji="0" lang="en-US" altLang="en-US" sz="1400" b="0" i="0" u="none" strike="noStrike" kern="1200" cap="none" spc="0" normalizeH="0" baseline="0" noProof="0" dirty="0">
                <a:ln>
                  <a:noFill/>
                </a:ln>
                <a:solidFill>
                  <a:prstClr val="black"/>
                </a:solidFill>
                <a:effectLst/>
                <a:uLnTx/>
                <a:uFillTx/>
                <a:latin typeface="Arial"/>
                <a:ea typeface="MS PGothic" panose="020B0600070205080204" pitchFamily="34" charset="-128"/>
                <a:cs typeface="Arial" panose="020B0604020202020204" pitchFamily="34" charset="0"/>
              </a:rPr>
              <a:t>/Rest of world)</a:t>
            </a:r>
            <a:r>
              <a:rPr kumimoji="0" lang="en-US" altLang="zh-CN" sz="1400" b="1" i="0" u="none" strike="noStrike" kern="1200" cap="none" spc="0" normalizeH="0" baseline="0" noProof="0" dirty="0">
                <a:ln>
                  <a:noFill/>
                </a:ln>
                <a:solidFill>
                  <a:prstClr val="black"/>
                </a:solidFill>
                <a:effectLst/>
                <a:uLnTx/>
                <a:uFillTx/>
                <a:latin typeface="Arial"/>
                <a:ea typeface="MS PGothic" panose="020B0600070205080204" pitchFamily="34" charset="-128"/>
                <a:cs typeface="Arial" panose="020B0604020202020204" pitchFamily="34" charset="0"/>
              </a:rPr>
              <a:t> </a:t>
            </a:r>
          </a:p>
          <a:p>
            <a:pPr marL="156629" marR="0" lvl="1" indent="-156629" algn="l" defTabSz="692133" rtl="0" eaLnBrk="1" fontAlgn="auto" latinLnBrk="0" hangingPunct="1">
              <a:lnSpc>
                <a:spcPct val="95000"/>
              </a:lnSpc>
              <a:spcBef>
                <a:spcPct val="20000"/>
              </a:spcBef>
              <a:spcAft>
                <a:spcPts val="600"/>
              </a:spcAft>
              <a:buClr>
                <a:prstClr val="black"/>
              </a:buClr>
              <a:buSzTx/>
              <a:buFont typeface="Arial" panose="020B0604020202020204" pitchFamily="34" charset="0"/>
              <a:buChar char="•"/>
              <a:tabLst/>
              <a:defRPr/>
            </a:pPr>
            <a:r>
              <a:rPr kumimoji="0" lang="en-US" altLang="zh-CN" sz="1400" b="1" i="0" u="none" strike="noStrike" kern="1200" cap="none" spc="0" normalizeH="0" baseline="0" noProof="0" dirty="0">
                <a:ln>
                  <a:noFill/>
                </a:ln>
                <a:solidFill>
                  <a:prstClr val="black"/>
                </a:solidFill>
                <a:effectLst/>
                <a:uLnTx/>
                <a:uFillTx/>
                <a:latin typeface="Arial"/>
                <a:ea typeface="MS PGothic" panose="020B0600070205080204" pitchFamily="34" charset="-128"/>
                <a:cs typeface="Arial" panose="020B0604020202020204" pitchFamily="34" charset="0"/>
              </a:rPr>
              <a:t>ECOG</a:t>
            </a:r>
            <a:r>
              <a:rPr kumimoji="0" lang="en-US" altLang="zh-CN" sz="1400" b="0" i="0" u="none" strike="noStrike" kern="1200" cap="none" spc="0" normalizeH="0" baseline="0" noProof="0" dirty="0">
                <a:ln>
                  <a:noFill/>
                </a:ln>
                <a:solidFill>
                  <a:prstClr val="black"/>
                </a:solidFill>
                <a:effectLst/>
                <a:uLnTx/>
                <a:uFillTx/>
                <a:latin typeface="Arial"/>
                <a:ea typeface="MS PGothic" panose="020B0600070205080204" pitchFamily="34" charset="-128"/>
                <a:cs typeface="Arial" panose="020B0604020202020204" pitchFamily="34" charset="0"/>
              </a:rPr>
              <a:t> (0/1)</a:t>
            </a:r>
          </a:p>
          <a:p>
            <a:pPr marL="156629" marR="0" lvl="1" indent="-156629" algn="l" defTabSz="692133" rtl="0" eaLnBrk="1" fontAlgn="auto" latinLnBrk="0" hangingPunct="1">
              <a:lnSpc>
                <a:spcPct val="95000"/>
              </a:lnSpc>
              <a:spcBef>
                <a:spcPct val="20000"/>
              </a:spcBef>
              <a:spcAft>
                <a:spcPts val="600"/>
              </a:spcAft>
              <a:buClr>
                <a:prstClr val="black"/>
              </a:buClr>
              <a:buSzTx/>
              <a:buFont typeface="Arial" panose="020B0604020202020204" pitchFamily="34" charset="0"/>
              <a:buChar char="•"/>
              <a:tabLst/>
              <a:defRPr/>
            </a:pPr>
            <a:r>
              <a:rPr kumimoji="0" lang="en-US" altLang="en-US" sz="1400" b="1" i="0" u="none" strike="noStrike" kern="1200" cap="none" spc="0" normalizeH="0" baseline="0" noProof="0" dirty="0">
                <a:ln>
                  <a:noFill/>
                </a:ln>
                <a:solidFill>
                  <a:prstClr val="black"/>
                </a:solidFill>
                <a:effectLst/>
                <a:uLnTx/>
                <a:uFillTx/>
                <a:latin typeface="Arial"/>
                <a:ea typeface="MS PGothic" panose="020B0600070205080204" pitchFamily="34" charset="-128"/>
                <a:cs typeface="Arial" panose="020B0604020202020204" pitchFamily="34" charset="0"/>
              </a:rPr>
              <a:t>Macrovascular invasion </a:t>
            </a:r>
            <a:r>
              <a:rPr kumimoji="0" lang="en-US" altLang="en-US" sz="1400" b="0" i="0" u="none" strike="noStrike" kern="1200" cap="none" spc="0" normalizeH="0" baseline="0" noProof="0" dirty="0">
                <a:ln>
                  <a:noFill/>
                </a:ln>
                <a:solidFill>
                  <a:prstClr val="black"/>
                </a:solidFill>
                <a:effectLst/>
                <a:uLnTx/>
                <a:uFillTx/>
                <a:latin typeface="Arial"/>
                <a:ea typeface="MS PGothic" panose="020B0600070205080204" pitchFamily="34" charset="-128"/>
                <a:cs typeface="Arial" panose="020B0604020202020204" pitchFamily="34" charset="0"/>
              </a:rPr>
              <a:t>and/or </a:t>
            </a:r>
            <a:r>
              <a:rPr kumimoji="0" lang="en-US" altLang="en-US" sz="1400" b="1" i="0" u="none" strike="noStrike" kern="1200" cap="none" spc="0" normalizeH="0" baseline="0" noProof="0" dirty="0">
                <a:ln>
                  <a:noFill/>
                </a:ln>
                <a:solidFill>
                  <a:prstClr val="black"/>
                </a:solidFill>
                <a:effectLst/>
                <a:uLnTx/>
                <a:uFillTx/>
                <a:latin typeface="Arial"/>
                <a:ea typeface="MS PGothic" panose="020B0600070205080204" pitchFamily="34" charset="-128"/>
                <a:cs typeface="Arial" panose="020B0604020202020204" pitchFamily="34" charset="0"/>
              </a:rPr>
              <a:t>extrahepatic spread </a:t>
            </a:r>
            <a:r>
              <a:rPr kumimoji="0" lang="en-US" altLang="en-US" sz="1400" b="0" i="0" u="none" strike="noStrike" kern="1200" cap="none" spc="0" normalizeH="0" baseline="0" noProof="0" dirty="0">
                <a:ln>
                  <a:noFill/>
                </a:ln>
                <a:solidFill>
                  <a:prstClr val="black"/>
                </a:solidFill>
                <a:effectLst/>
                <a:uLnTx/>
                <a:uFillTx/>
                <a:latin typeface="Arial"/>
                <a:ea typeface="MS PGothic" panose="020B0600070205080204" pitchFamily="34" charset="-128"/>
                <a:cs typeface="Arial" panose="020B0604020202020204" pitchFamily="34" charset="0"/>
              </a:rPr>
              <a:t>(Presence/Absence)</a:t>
            </a:r>
          </a:p>
          <a:p>
            <a:pPr marL="156629" marR="0" lvl="1" indent="-156629" algn="l" defTabSz="692133" rtl="0" eaLnBrk="1" fontAlgn="auto" latinLnBrk="0" hangingPunct="1">
              <a:lnSpc>
                <a:spcPct val="95000"/>
              </a:lnSpc>
              <a:spcBef>
                <a:spcPct val="20000"/>
              </a:spcBef>
              <a:spcAft>
                <a:spcPts val="600"/>
              </a:spcAft>
              <a:buClr>
                <a:prstClr val="black"/>
              </a:buClr>
              <a:buSzTx/>
              <a:buFont typeface="Arial" panose="020B0604020202020204" pitchFamily="34" charset="0"/>
              <a:buChar char="•"/>
              <a:tabLst/>
              <a:defRPr/>
            </a:pPr>
            <a:r>
              <a:rPr kumimoji="0" lang="en-US" altLang="en-US" sz="1400" b="1" i="0" u="none" strike="noStrike" kern="1200" cap="none" spc="0" normalizeH="0" baseline="0" noProof="0" dirty="0">
                <a:ln>
                  <a:noFill/>
                </a:ln>
                <a:solidFill>
                  <a:prstClr val="black"/>
                </a:solidFill>
                <a:effectLst/>
                <a:uLnTx/>
                <a:uFillTx/>
                <a:latin typeface="Arial"/>
                <a:ea typeface="MS PGothic" panose="020B0600070205080204" pitchFamily="34" charset="-128"/>
                <a:cs typeface="Arial" panose="020B0604020202020204" pitchFamily="34" charset="0"/>
              </a:rPr>
              <a:t>Baseline AFP </a:t>
            </a:r>
            <a:br>
              <a:rPr kumimoji="0" lang="en-US" altLang="en-US" sz="1400" b="1" i="0" u="none" strike="noStrike" kern="1200" cap="none" spc="0" normalizeH="0" baseline="0" noProof="0" dirty="0">
                <a:ln>
                  <a:noFill/>
                </a:ln>
                <a:solidFill>
                  <a:prstClr val="black"/>
                </a:solidFill>
                <a:effectLst/>
                <a:uLnTx/>
                <a:uFillTx/>
                <a:latin typeface="Arial"/>
                <a:ea typeface="MS PGothic" panose="020B0600070205080204" pitchFamily="34" charset="-128"/>
                <a:cs typeface="Arial" panose="020B0604020202020204" pitchFamily="34" charset="0"/>
              </a:rPr>
            </a:br>
            <a:r>
              <a:rPr kumimoji="0" lang="en-US" altLang="en-US" sz="1400" b="0" i="0" u="none" strike="noStrike" kern="1200" cap="none" spc="0" normalizeH="0" baseline="0" noProof="0" dirty="0">
                <a:ln>
                  <a:noFill/>
                </a:ln>
                <a:solidFill>
                  <a:prstClr val="black"/>
                </a:solidFill>
                <a:effectLst/>
                <a:uLnTx/>
                <a:uFillTx/>
                <a:latin typeface="Arial"/>
                <a:ea typeface="MS PGothic" panose="020B0600070205080204" pitchFamily="34" charset="-128"/>
                <a:cs typeface="Arial" panose="020B0604020202020204" pitchFamily="34" charset="0"/>
              </a:rPr>
              <a:t>(&lt;400/≥400 ng/mL) </a:t>
            </a:r>
          </a:p>
        </p:txBody>
      </p:sp>
      <p:sp>
        <p:nvSpPr>
          <p:cNvPr id="44" name="TextBox 43">
            <a:extLst>
              <a:ext uri="{FF2B5EF4-FFF2-40B4-BE49-F238E27FC236}">
                <a16:creationId xmlns:a16="http://schemas.microsoft.com/office/drawing/2014/main" id="{0FFE2C80-61C2-4CFB-86F8-ECFC18F527EE}"/>
              </a:ext>
            </a:extLst>
          </p:cNvPr>
          <p:cNvSpPr txBox="1"/>
          <p:nvPr/>
        </p:nvSpPr>
        <p:spPr>
          <a:xfrm>
            <a:off x="7259517" y="2589784"/>
            <a:ext cx="856272" cy="214482"/>
          </a:xfrm>
          <a:prstGeom prst="rect">
            <a:avLst/>
          </a:prstGeom>
          <a:noFill/>
          <a:ln w="19050">
            <a:noFill/>
          </a:ln>
          <a:effectLst/>
        </p:spPr>
        <p:txBody>
          <a:bodyPr wrap="square" lIns="0" tIns="0" rIns="0" bIns="0" spcCol="191569">
            <a:spAutoFit/>
          </a:bodyPr>
          <a:lstStyle>
            <a:defPPr>
              <a:defRPr lang="en-US"/>
            </a:defPPr>
            <a:lvl1pPr indent="-182563">
              <a:lnSpc>
                <a:spcPct val="95000"/>
              </a:lnSpc>
              <a:spcAft>
                <a:spcPts val="300"/>
              </a:spcAft>
              <a:buClr>
                <a:srgbClr val="00AAAE"/>
              </a:buClr>
              <a:buFont typeface="Arial" pitchFamily="34" charset="0"/>
              <a:buChar char="&gt;"/>
              <a:defRPr sz="1200" b="1">
                <a:latin typeface="Arial" pitchFamily="34" charset="0"/>
                <a:cs typeface="Arial" pitchFamily="34" charset="0"/>
              </a:defRPr>
            </a:lvl1pPr>
            <a:lvl2pPr marL="139700" lvl="1" indent="-139700" defTabSz="915988">
              <a:lnSpc>
                <a:spcPct val="95000"/>
              </a:lnSpc>
              <a:spcAft>
                <a:spcPts val="300"/>
              </a:spcAft>
              <a:buClr>
                <a:srgbClr val="EC9DC4"/>
              </a:buClr>
              <a:buFont typeface="Arial" pitchFamily="34" charset="0"/>
              <a:buChar char="•"/>
              <a:defRPr sz="1050">
                <a:solidFill>
                  <a:schemeClr val="accent4">
                    <a:lumMod val="25000"/>
                  </a:schemeClr>
                </a:solidFill>
                <a:latin typeface="Arial" pitchFamily="34" charset="0"/>
                <a:cs typeface="Arial" pitchFamily="34" charset="0"/>
              </a:defRPr>
            </a:lvl2pPr>
          </a:lstStyle>
          <a:p>
            <a:pPr marL="0" marR="0" lvl="0" indent="0" algn="ctr" defTabSz="919161" rtl="0" eaLnBrk="1" fontAlgn="auto" latinLnBrk="0" hangingPunct="1">
              <a:lnSpc>
                <a:spcPct val="95000"/>
              </a:lnSpc>
              <a:spcBef>
                <a:spcPts val="0"/>
              </a:spcBef>
              <a:spcAft>
                <a:spcPts val="400"/>
              </a:spcAft>
              <a:buClr>
                <a:srgbClr val="00AAAE"/>
              </a:buClr>
              <a:buSzTx/>
              <a:buFont typeface="Arial" pitchFamily="34" charset="0"/>
              <a:buNone/>
              <a:tabLst/>
              <a:defRPr/>
            </a:pPr>
            <a:r>
              <a:rPr kumimoji="0" lang="en-US" sz="1467" b="1" i="0" u="none" strike="noStrike" kern="0" cap="none" spc="0" normalizeH="0" baseline="0" noProof="0" dirty="0">
                <a:ln>
                  <a:noFill/>
                </a:ln>
                <a:solidFill>
                  <a:prstClr val="black"/>
                </a:solidFill>
                <a:effectLst/>
                <a:uLnTx/>
                <a:uFillTx/>
                <a:latin typeface="Arial" pitchFamily="34" charset="0"/>
                <a:ea typeface="Arial Unicode MS" charset="-128"/>
                <a:cs typeface="Arial" pitchFamily="34" charset="0"/>
              </a:rPr>
              <a:t>N = 501</a:t>
            </a:r>
            <a:endParaRPr kumimoji="0" lang="en-US" sz="1467" b="1" i="0" u="none" strike="noStrike" kern="0" cap="none" spc="0" normalizeH="0" baseline="30000" noProof="0" dirty="0">
              <a:ln>
                <a:noFill/>
              </a:ln>
              <a:solidFill>
                <a:prstClr val="black"/>
              </a:solidFill>
              <a:effectLst/>
              <a:uLnTx/>
              <a:uFillTx/>
              <a:latin typeface="Arial" pitchFamily="34" charset="0"/>
              <a:ea typeface="Arial Unicode MS" charset="-128"/>
              <a:cs typeface="Arial" pitchFamily="34" charset="0"/>
            </a:endParaRPr>
          </a:p>
        </p:txBody>
      </p:sp>
      <p:sp>
        <p:nvSpPr>
          <p:cNvPr id="45" name="Shape 612">
            <a:extLst>
              <a:ext uri="{FF2B5EF4-FFF2-40B4-BE49-F238E27FC236}">
                <a16:creationId xmlns:a16="http://schemas.microsoft.com/office/drawing/2014/main" id="{C85FE66C-AE6A-4BC1-9797-2683D787E8DF}"/>
              </a:ext>
            </a:extLst>
          </p:cNvPr>
          <p:cNvSpPr/>
          <p:nvPr/>
        </p:nvSpPr>
        <p:spPr>
          <a:xfrm>
            <a:off x="8856795" y="1832688"/>
            <a:ext cx="1209629" cy="1547284"/>
          </a:xfrm>
          <a:prstGeom prst="roundRect">
            <a:avLst>
              <a:gd name="adj" fmla="val 6601"/>
            </a:avLst>
          </a:prstGeom>
          <a:solidFill>
            <a:schemeClr val="bg1">
              <a:lumMod val="85000"/>
            </a:schemeClr>
          </a:solidFill>
          <a:ln>
            <a:noFill/>
          </a:ln>
        </p:spPr>
        <p:txBody>
          <a:bodyPr spcFirstLastPara="1" lIns="36281" tIns="0" rIns="36281" bIns="0" anchor="ctr"/>
          <a:lstStyle/>
          <a:p>
            <a:pPr marL="0" marR="0" lvl="0" indent="0" algn="ctr" defTabSz="914354" rtl="0" eaLnBrk="1" fontAlgn="auto" latinLnBrk="0" hangingPunct="1">
              <a:lnSpc>
                <a:spcPct val="95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a:ea typeface="Arial"/>
                <a:cs typeface="Arial"/>
                <a:sym typeface="Arial"/>
              </a:rPr>
              <a:t>Until loss of clinical benefit or un-acceptable toxicity</a:t>
            </a:r>
            <a:r>
              <a:rPr kumimoji="0" lang="en-US" sz="1400" b="0" i="0" u="none" strike="noStrike" kern="1200" cap="none" spc="0" normalizeH="0" baseline="30000" noProof="0" dirty="0">
                <a:ln>
                  <a:noFill/>
                </a:ln>
                <a:solidFill>
                  <a:prstClr val="black"/>
                </a:solidFill>
                <a:effectLst/>
                <a:uLnTx/>
                <a:uFillTx/>
                <a:latin typeface="Arial"/>
                <a:ea typeface="Arial"/>
                <a:cs typeface="Arial"/>
                <a:sym typeface="Arial"/>
              </a:rPr>
              <a:t>b</a:t>
            </a:r>
            <a:endParaRPr kumimoji="0" sz="1400" b="0" i="0" u="none" strike="noStrike" kern="1200" cap="none" spc="0" normalizeH="0" baseline="30000" noProof="0" dirty="0">
              <a:ln>
                <a:noFill/>
              </a:ln>
              <a:solidFill>
                <a:prstClr val="black"/>
              </a:solidFill>
              <a:effectLst/>
              <a:uLnTx/>
              <a:uFillTx/>
              <a:latin typeface="Arial"/>
              <a:ea typeface="Arial Unicode MS" charset="-128"/>
              <a:cs typeface="+mn-cs"/>
            </a:endParaRPr>
          </a:p>
        </p:txBody>
      </p:sp>
      <p:sp>
        <p:nvSpPr>
          <p:cNvPr id="46" name="Shape 612">
            <a:extLst>
              <a:ext uri="{FF2B5EF4-FFF2-40B4-BE49-F238E27FC236}">
                <a16:creationId xmlns:a16="http://schemas.microsoft.com/office/drawing/2014/main" id="{48EE572C-30E9-4515-8030-56110F7559C7}"/>
              </a:ext>
            </a:extLst>
          </p:cNvPr>
          <p:cNvSpPr/>
          <p:nvPr/>
        </p:nvSpPr>
        <p:spPr>
          <a:xfrm>
            <a:off x="10368321" y="1849621"/>
            <a:ext cx="740833" cy="1530351"/>
          </a:xfrm>
          <a:prstGeom prst="roundRect">
            <a:avLst>
              <a:gd name="adj" fmla="val 6601"/>
            </a:avLst>
          </a:prstGeom>
          <a:solidFill>
            <a:schemeClr val="bg1">
              <a:lumMod val="85000"/>
            </a:schemeClr>
          </a:solidFill>
          <a:ln>
            <a:noFill/>
          </a:ln>
        </p:spPr>
        <p:txBody>
          <a:bodyPr spcFirstLastPara="1" lIns="36281" tIns="0" rIns="36281" bIns="0" anchor="ctr"/>
          <a:lstStyle/>
          <a:p>
            <a:pPr marL="0" marR="0" lvl="0" indent="0" algn="ctr" defTabSz="914354" rtl="0" eaLnBrk="1" fontAlgn="auto" latinLnBrk="0" hangingPunct="1">
              <a:lnSpc>
                <a:spcPct val="95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a:ea typeface="Arial"/>
                <a:cs typeface="Arial"/>
                <a:sym typeface="Arial"/>
              </a:rPr>
              <a:t>Survival follow-up</a:t>
            </a:r>
            <a:endParaRPr kumimoji="0" sz="1400" b="0" i="0" u="none" strike="noStrike" kern="1200" cap="none" spc="0" normalizeH="0" baseline="0" noProof="0" dirty="0">
              <a:ln>
                <a:noFill/>
              </a:ln>
              <a:solidFill>
                <a:prstClr val="black"/>
              </a:solidFill>
              <a:effectLst/>
              <a:uLnTx/>
              <a:uFillTx/>
              <a:latin typeface="Arial"/>
              <a:ea typeface="Arial Unicode MS" charset="-128"/>
              <a:cs typeface="+mn-cs"/>
            </a:endParaRPr>
          </a:p>
        </p:txBody>
      </p:sp>
      <p:cxnSp>
        <p:nvCxnSpPr>
          <p:cNvPr id="47" name="Straight Arrow Connector 13">
            <a:extLst>
              <a:ext uri="{FF2B5EF4-FFF2-40B4-BE49-F238E27FC236}">
                <a16:creationId xmlns:a16="http://schemas.microsoft.com/office/drawing/2014/main" id="{A3D17603-659F-4548-BB55-70F600D1977B}"/>
              </a:ext>
            </a:extLst>
          </p:cNvPr>
          <p:cNvCxnSpPr>
            <a:cxnSpLocks noChangeShapeType="1"/>
          </p:cNvCxnSpPr>
          <p:nvPr/>
        </p:nvCxnSpPr>
        <p:spPr bwMode="auto">
          <a:xfrm flipV="1">
            <a:off x="8385691" y="2677238"/>
            <a:ext cx="459316" cy="645583"/>
          </a:xfrm>
          <a:prstGeom prst="bentConnector3">
            <a:avLst>
              <a:gd name="adj1" fmla="val 46056"/>
            </a:avLst>
          </a:prstGeom>
          <a:noFill/>
          <a:ln w="19050" cap="rnd">
            <a:solidFill>
              <a:schemeClr val="tx1"/>
            </a:solidFill>
            <a:round/>
            <a:headEnd/>
            <a:tailEnd type="triangle" w="med" len="med"/>
          </a:ln>
          <a:extLst>
            <a:ext uri="{909E8E84-426E-40DD-AFC4-6F175D3DCCD1}">
              <a14:hiddenFill xmlns:a14="http://schemas.microsoft.com/office/drawing/2010/main">
                <a:noFill/>
              </a14:hiddenFill>
            </a:ext>
          </a:extLst>
        </p:spPr>
      </p:cxnSp>
      <p:cxnSp>
        <p:nvCxnSpPr>
          <p:cNvPr id="48" name="Straight Arrow Connector 13">
            <a:extLst>
              <a:ext uri="{FF2B5EF4-FFF2-40B4-BE49-F238E27FC236}">
                <a16:creationId xmlns:a16="http://schemas.microsoft.com/office/drawing/2014/main" id="{8494F290-86FE-42BA-807F-B19378BD7495}"/>
              </a:ext>
            </a:extLst>
          </p:cNvPr>
          <p:cNvCxnSpPr>
            <a:cxnSpLocks noChangeShapeType="1"/>
          </p:cNvCxnSpPr>
          <p:nvPr/>
        </p:nvCxnSpPr>
        <p:spPr bwMode="auto">
          <a:xfrm>
            <a:off x="8383759" y="2026294"/>
            <a:ext cx="459316" cy="645583"/>
          </a:xfrm>
          <a:prstGeom prst="bentConnector3">
            <a:avLst>
              <a:gd name="adj1" fmla="val 46056"/>
            </a:avLst>
          </a:prstGeom>
          <a:noFill/>
          <a:ln w="19050" cap="rnd">
            <a:solidFill>
              <a:schemeClr val="tx1"/>
            </a:solidFill>
            <a:round/>
            <a:headEnd/>
            <a:tailEnd type="triangle" w="med" len="med"/>
          </a:ln>
          <a:extLst>
            <a:ext uri="{909E8E84-426E-40DD-AFC4-6F175D3DCCD1}">
              <a14:hiddenFill xmlns:a14="http://schemas.microsoft.com/office/drawing/2010/main">
                <a:noFill/>
              </a14:hiddenFill>
            </a:ext>
          </a:extLst>
        </p:spPr>
      </p:cxnSp>
      <p:cxnSp>
        <p:nvCxnSpPr>
          <p:cNvPr id="49" name="Straight Arrow Connector 48">
            <a:extLst>
              <a:ext uri="{FF2B5EF4-FFF2-40B4-BE49-F238E27FC236}">
                <a16:creationId xmlns:a16="http://schemas.microsoft.com/office/drawing/2014/main" id="{5ED0D7FC-7176-499D-8116-E16435795D0E}"/>
              </a:ext>
            </a:extLst>
          </p:cNvPr>
          <p:cNvCxnSpPr/>
          <p:nvPr/>
        </p:nvCxnSpPr>
        <p:spPr bwMode="auto">
          <a:xfrm>
            <a:off x="10049599" y="2665774"/>
            <a:ext cx="316011" cy="3848"/>
          </a:xfrm>
          <a:prstGeom prst="straightConnector1">
            <a:avLst/>
          </a:prstGeom>
          <a:solidFill>
            <a:srgbClr val="00B8FF"/>
          </a:solidFill>
          <a:ln w="222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5" name="Rectangle 64">
            <a:extLst>
              <a:ext uri="{FF2B5EF4-FFF2-40B4-BE49-F238E27FC236}">
                <a16:creationId xmlns:a16="http://schemas.microsoft.com/office/drawing/2014/main" id="{D0277A8C-A9D2-4E20-9A51-1580637477DB}"/>
              </a:ext>
            </a:extLst>
          </p:cNvPr>
          <p:cNvSpPr/>
          <p:nvPr/>
        </p:nvSpPr>
        <p:spPr>
          <a:xfrm>
            <a:off x="476469" y="4524140"/>
            <a:ext cx="3790731" cy="830997"/>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a:ea typeface="Arial Unicode MS" charset="-128"/>
                <a:cs typeface="Calibri" panose="020F0502020204030204" pitchFamily="34" charset="0"/>
              </a:rPr>
              <a:t>Co-primary endpoints</a:t>
            </a:r>
          </a:p>
          <a:p>
            <a:pPr marL="156629" marR="0" lvl="0" indent="-156629"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Arial"/>
                <a:ea typeface="Arial Unicode MS" charset="-128"/>
                <a:cs typeface="Calibri" panose="020F0502020204030204" pitchFamily="34" charset="0"/>
              </a:rPr>
              <a:t>OS</a:t>
            </a:r>
          </a:p>
          <a:p>
            <a:pPr marL="156629" marR="0" lvl="0" indent="-156629"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1600" b="0" i="0" u="none" strike="noStrike" kern="1200" cap="none" spc="0" normalizeH="0" baseline="0" noProof="0" dirty="0">
                <a:ln>
                  <a:noFill/>
                </a:ln>
                <a:solidFill>
                  <a:prstClr val="black"/>
                </a:solidFill>
                <a:effectLst/>
                <a:uLnTx/>
                <a:uFillTx/>
                <a:latin typeface="Arial"/>
                <a:ea typeface="黑体" panose="02010609060101010101" pitchFamily="49" charset="-122"/>
                <a:cs typeface="Calibri" panose="020F0502020204030204" pitchFamily="34" charset="0"/>
              </a:rPr>
              <a:t>IRF-assessed</a:t>
            </a:r>
            <a:r>
              <a:rPr kumimoji="0" lang="en-US" sz="1600" b="0" i="0" u="none" strike="noStrike" kern="1200" cap="none" spc="0" normalizeH="0" baseline="0" noProof="0" dirty="0">
                <a:ln>
                  <a:noFill/>
                </a:ln>
                <a:solidFill>
                  <a:prstClr val="black"/>
                </a:solidFill>
                <a:effectLst/>
                <a:uLnTx/>
                <a:uFillTx/>
                <a:latin typeface="Arial"/>
                <a:ea typeface="+mn-ea"/>
                <a:cs typeface="Calibri" panose="020F0502020204030204" pitchFamily="34" charset="0"/>
              </a:rPr>
              <a:t> PFS per RECIST 1.1</a:t>
            </a:r>
            <a:endParaRPr kumimoji="0" lang="en-US" sz="3733" b="0" i="0" u="none" strike="noStrike" kern="1200" cap="none" spc="0" normalizeH="0" baseline="0" noProof="0" dirty="0">
              <a:ln>
                <a:noFill/>
              </a:ln>
              <a:solidFill>
                <a:prstClr val="black"/>
              </a:solidFill>
              <a:effectLst/>
              <a:uLnTx/>
              <a:uFillTx/>
              <a:latin typeface="Arial"/>
              <a:ea typeface="Arial Unicode MS" charset="-128"/>
              <a:cs typeface="Calibri" panose="020F0502020204030204" pitchFamily="34" charset="0"/>
            </a:endParaRPr>
          </a:p>
        </p:txBody>
      </p:sp>
      <p:sp>
        <p:nvSpPr>
          <p:cNvPr id="66" name="Rectangle 65">
            <a:extLst>
              <a:ext uri="{FF2B5EF4-FFF2-40B4-BE49-F238E27FC236}">
                <a16:creationId xmlns:a16="http://schemas.microsoft.com/office/drawing/2014/main" id="{668F9E71-D516-4892-B790-187418E13156}"/>
              </a:ext>
            </a:extLst>
          </p:cNvPr>
          <p:cNvSpPr/>
          <p:nvPr/>
        </p:nvSpPr>
        <p:spPr>
          <a:xfrm>
            <a:off x="4990492" y="4492978"/>
            <a:ext cx="6788101" cy="1323439"/>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14784" marR="0" lvl="0" indent="-214784" algn="l"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a:ea typeface="Arial Unicode MS" charset="-128"/>
                <a:cs typeface="Calibri" panose="020F0502020204030204" pitchFamily="34" charset="0"/>
              </a:rPr>
              <a:t>Secondary endpoints included:</a:t>
            </a:r>
          </a:p>
          <a:p>
            <a:pPr marL="228594" marR="0" lvl="0" indent="-228594"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1600" b="0" i="0" u="none" strike="noStrike" kern="1200" cap="none" spc="0" normalizeH="0" baseline="0" noProof="0" dirty="0">
                <a:ln>
                  <a:noFill/>
                </a:ln>
                <a:solidFill>
                  <a:prstClr val="black"/>
                </a:solidFill>
                <a:effectLst/>
                <a:uLnTx/>
                <a:uFillTx/>
                <a:latin typeface="Arial"/>
                <a:ea typeface="黑体" panose="02010609060101010101" pitchFamily="49" charset="-122"/>
                <a:cs typeface="Calibri" panose="020F0502020204030204" pitchFamily="34" charset="0"/>
              </a:rPr>
              <a:t>IRF-assessed ORR, DOR per RECIST 1.1 and HCC mRECIST</a:t>
            </a:r>
            <a:r>
              <a:rPr kumimoji="0" lang="en-US" altLang="zh-CN" sz="1600" b="0" i="0" u="none" strike="noStrike" kern="1200" cap="none" spc="0" normalizeH="0" baseline="30000" noProof="0" dirty="0">
                <a:ln>
                  <a:noFill/>
                </a:ln>
                <a:solidFill>
                  <a:prstClr val="black"/>
                </a:solidFill>
                <a:effectLst/>
                <a:uLnTx/>
                <a:uFillTx/>
                <a:latin typeface="Arial"/>
                <a:ea typeface="黑体" panose="02010609060101010101" pitchFamily="49" charset="-122"/>
                <a:cs typeface="Calibri" panose="020F0502020204030204" pitchFamily="34" charset="0"/>
              </a:rPr>
              <a:t>b</a:t>
            </a:r>
          </a:p>
          <a:p>
            <a:pPr marL="228594" marR="0" lvl="0" indent="-228594"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1600" b="0" i="0" u="none" strike="noStrike" kern="1200" cap="none" spc="0" normalizeH="0" baseline="0" noProof="0" dirty="0">
                <a:ln>
                  <a:noFill/>
                </a:ln>
                <a:solidFill>
                  <a:prstClr val="black"/>
                </a:solidFill>
                <a:effectLst/>
                <a:uLnTx/>
                <a:uFillTx/>
                <a:latin typeface="Arial"/>
                <a:ea typeface="黑体" panose="02010609060101010101" pitchFamily="49" charset="-122"/>
                <a:cs typeface="Calibri" panose="020F0502020204030204" pitchFamily="34" charset="0"/>
              </a:rPr>
              <a:t>PROs: TTD</a:t>
            </a:r>
            <a:r>
              <a:rPr kumimoji="0" lang="en-US" altLang="zh-CN" sz="1600" b="0" i="0" u="none" strike="noStrike" kern="1200" cap="none" spc="0" normalizeH="0" baseline="30000" noProof="0" dirty="0">
                <a:ln>
                  <a:noFill/>
                </a:ln>
                <a:solidFill>
                  <a:prstClr val="black"/>
                </a:solidFill>
                <a:effectLst/>
                <a:uLnTx/>
                <a:uFillTx/>
                <a:latin typeface="Arial"/>
                <a:ea typeface="黑体" panose="02010609060101010101" pitchFamily="49" charset="-122"/>
                <a:cs typeface="Calibri" panose="020F0502020204030204" pitchFamily="34" charset="0"/>
              </a:rPr>
              <a:t>c</a:t>
            </a:r>
            <a:r>
              <a:rPr kumimoji="0" lang="en-US" altLang="zh-CN" sz="1600" b="0" i="0" u="none" strike="noStrike" kern="1200" cap="none" spc="0" normalizeH="0" baseline="0" noProof="0" dirty="0">
                <a:ln>
                  <a:noFill/>
                </a:ln>
                <a:solidFill>
                  <a:prstClr val="black"/>
                </a:solidFill>
                <a:effectLst/>
                <a:uLnTx/>
                <a:uFillTx/>
                <a:latin typeface="Arial"/>
                <a:ea typeface="黑体" panose="02010609060101010101" pitchFamily="49" charset="-122"/>
                <a:cs typeface="Calibri" panose="020F0502020204030204" pitchFamily="34" charset="0"/>
              </a:rPr>
              <a:t> of QOL, physical and role functioning (EORTC QLQ-C30)</a:t>
            </a:r>
          </a:p>
          <a:p>
            <a:pPr marL="228594" marR="0" lvl="0" indent="-228594"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1600" b="0" i="0" u="none" strike="noStrike" kern="1200" cap="none" spc="0" normalizeH="0" baseline="0" noProof="0" dirty="0">
                <a:ln>
                  <a:noFill/>
                </a:ln>
                <a:solidFill>
                  <a:prstClr val="black"/>
                </a:solidFill>
                <a:effectLst/>
                <a:uLnTx/>
                <a:uFillTx/>
                <a:latin typeface="Arial"/>
                <a:ea typeface="黑体" panose="02010609060101010101" pitchFamily="49" charset="-122"/>
                <a:cs typeface="Calibri" panose="020F0502020204030204" pitchFamily="34" charset="0"/>
              </a:rPr>
              <a:t>Safety and tolerability assessed based on the nature, frequency and severity of AEs per NCI CTCAE version 4.0</a:t>
            </a:r>
          </a:p>
        </p:txBody>
      </p:sp>
      <p:sp>
        <p:nvSpPr>
          <p:cNvPr id="69" name="TextBox 68">
            <a:extLst>
              <a:ext uri="{FF2B5EF4-FFF2-40B4-BE49-F238E27FC236}">
                <a16:creationId xmlns:a16="http://schemas.microsoft.com/office/drawing/2014/main" id="{DC394ED9-AA99-4B95-A2DC-4D3616A5F553}"/>
              </a:ext>
            </a:extLst>
          </p:cNvPr>
          <p:cNvSpPr txBox="1"/>
          <p:nvPr/>
        </p:nvSpPr>
        <p:spPr>
          <a:xfrm>
            <a:off x="6983511" y="3772435"/>
            <a:ext cx="1277914" cy="338554"/>
          </a:xfrm>
          <a:prstGeom prst="rect">
            <a:avLst/>
          </a:prstGeom>
          <a:noFill/>
        </p:spPr>
        <p:txBody>
          <a:bodyPr wrap="non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dirty="0">
                <a:ln>
                  <a:noFill/>
                </a:ln>
                <a:solidFill>
                  <a:prstClr val="black"/>
                </a:solidFill>
                <a:effectLst/>
                <a:uLnTx/>
                <a:uFillTx/>
                <a:latin typeface="Arial"/>
                <a:ea typeface="+mn-ea"/>
                <a:cs typeface="+mn-cs"/>
              </a:rPr>
              <a:t>(open-label)</a:t>
            </a:r>
          </a:p>
        </p:txBody>
      </p:sp>
      <p:sp>
        <p:nvSpPr>
          <p:cNvPr id="23" name="Footer Placeholder 6">
            <a:extLst>
              <a:ext uri="{FF2B5EF4-FFF2-40B4-BE49-F238E27FC236}">
                <a16:creationId xmlns:a16="http://schemas.microsoft.com/office/drawing/2014/main" id="{64ACE5C7-7C20-4BB4-A78E-068189041FDA}"/>
              </a:ext>
            </a:extLst>
          </p:cNvPr>
          <p:cNvSpPr txBox="1">
            <a:spLocks/>
          </p:cNvSpPr>
          <p:nvPr/>
        </p:nvSpPr>
        <p:spPr>
          <a:xfrm>
            <a:off x="149975" y="97986"/>
            <a:ext cx="2574997" cy="366183"/>
          </a:xfrm>
          <a:prstGeom prst="rect">
            <a:avLst/>
          </a:prstGeom>
        </p:spPr>
        <p:txBody>
          <a:bodyPr/>
          <a:lst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fr-FR" sz="1067" b="0" i="0" u="none" strike="noStrike" kern="1200" cap="none" spc="0" normalizeH="0" baseline="0" noProof="0" dirty="0">
                <a:ln>
                  <a:noFill/>
                </a:ln>
                <a:solidFill>
                  <a:prstClr val="black"/>
                </a:solidFill>
                <a:effectLst/>
                <a:uLnTx/>
                <a:uFillTx/>
                <a:latin typeface="Arial"/>
                <a:ea typeface="+mn-ea"/>
                <a:cs typeface="+mn-cs"/>
              </a:rPr>
              <a:t>Finn et al. </a:t>
            </a:r>
            <a:r>
              <a:rPr kumimoji="0" lang="fr-FR" sz="1067" b="0" i="1" u="none" strike="noStrike" kern="1200" cap="none" spc="0" normalizeH="0" baseline="0" noProof="0" dirty="0">
                <a:ln>
                  <a:noFill/>
                </a:ln>
                <a:solidFill>
                  <a:prstClr val="black"/>
                </a:solidFill>
                <a:effectLst/>
                <a:uLnTx/>
                <a:uFillTx/>
                <a:latin typeface="Arial"/>
                <a:ea typeface="+mn-ea"/>
                <a:cs typeface="+mn-cs"/>
              </a:rPr>
              <a:t>New Engl J Med. </a:t>
            </a:r>
            <a:r>
              <a:rPr kumimoji="0" lang="fr-FR" sz="1067" b="0" i="0" u="none" strike="noStrike" kern="1200" cap="none" spc="0" normalizeH="0" baseline="0" noProof="0" dirty="0">
                <a:ln>
                  <a:noFill/>
                </a:ln>
                <a:solidFill>
                  <a:prstClr val="black"/>
                </a:solidFill>
                <a:effectLst/>
                <a:uLnTx/>
                <a:uFillTx/>
                <a:latin typeface="Arial"/>
                <a:ea typeface="+mn-ea"/>
                <a:cs typeface="+mn-cs"/>
              </a:rPr>
              <a:t>2020</a:t>
            </a:r>
            <a:endParaRPr kumimoji="0" lang="en-US" sz="1067" b="0" i="0" u="none" strike="noStrike" kern="1200" cap="none" spc="0" normalizeH="0" baseline="0" noProof="0" dirty="0">
              <a:ln>
                <a:noFill/>
              </a:ln>
              <a:solidFill>
                <a:prstClr val="black"/>
              </a:solidFill>
              <a:effectLst/>
              <a:uLnTx/>
              <a:uFillTx/>
              <a:latin typeface="Arial"/>
              <a:ea typeface="+mn-ea"/>
              <a:cs typeface="+mn-cs"/>
            </a:endParaRPr>
          </a:p>
        </p:txBody>
      </p:sp>
      <p:sp>
        <p:nvSpPr>
          <p:cNvPr id="4" name="TextBox 3">
            <a:extLst>
              <a:ext uri="{FF2B5EF4-FFF2-40B4-BE49-F238E27FC236}">
                <a16:creationId xmlns:a16="http://schemas.microsoft.com/office/drawing/2014/main" id="{40D43B81-9186-412D-BD03-41A1F932091D}"/>
              </a:ext>
            </a:extLst>
          </p:cNvPr>
          <p:cNvSpPr txBox="1"/>
          <p:nvPr/>
        </p:nvSpPr>
        <p:spPr bwMode="auto">
          <a:xfrm>
            <a:off x="529169" y="5369616"/>
            <a:ext cx="2413656" cy="360850"/>
          </a:xfrm>
          <a:prstGeom prst="rect">
            <a:avLst/>
          </a:prstGeom>
          <a:noFill/>
          <a:ln w="9525">
            <a:noFill/>
            <a:miter lim="800000"/>
            <a:headEnd/>
            <a:tailEnd/>
          </a:ln>
          <a:effectLst/>
        </p:spPr>
        <p:txBody>
          <a:bodyPr wrap="none" lIns="72000" tIns="72000" rIns="72000" bIns="72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2060"/>
                </a:solidFill>
                <a:effectLst/>
                <a:uLnTx/>
                <a:uFillTx/>
                <a:latin typeface="Arial"/>
                <a:ea typeface="+mn-ea"/>
                <a:cs typeface="+mn-cs"/>
              </a:rPr>
              <a:t>No exclusion for main PVT</a:t>
            </a:r>
          </a:p>
        </p:txBody>
      </p:sp>
    </p:spTree>
    <p:extLst>
      <p:ext uri="{BB962C8B-B14F-4D97-AF65-F5344CB8AC3E}">
        <p14:creationId xmlns:p14="http://schemas.microsoft.com/office/powerpoint/2010/main" val="32508164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2286" y="5366"/>
            <a:ext cx="10358967" cy="1202636"/>
          </a:xfrm>
        </p:spPr>
        <p:txBody>
          <a:bodyPr/>
          <a:lstStyle/>
          <a:p>
            <a:r>
              <a:rPr lang="en-US" dirty="0"/>
              <a:t>Faculty</a:t>
            </a:r>
          </a:p>
        </p:txBody>
      </p:sp>
      <p:sp>
        <p:nvSpPr>
          <p:cNvPr id="12" name="Text Box 7">
            <a:extLst>
              <a:ext uri="{FF2B5EF4-FFF2-40B4-BE49-F238E27FC236}">
                <a16:creationId xmlns:a16="http://schemas.microsoft.com/office/drawing/2014/main" id="{ED127B2E-F352-BF43-B81E-B62ACF23294C}"/>
              </a:ext>
            </a:extLst>
          </p:cNvPr>
          <p:cNvSpPr txBox="1">
            <a:spLocks noChangeArrowheads="1"/>
          </p:cNvSpPr>
          <p:nvPr/>
        </p:nvSpPr>
        <p:spPr bwMode="auto">
          <a:xfrm>
            <a:off x="1926458" y="1196752"/>
            <a:ext cx="4097534" cy="1531803"/>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Richard S Finn, MD</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Professor, Department of Medicine</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Division of Hematology/Oncology</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David Geffen School of Medicine at UCLA</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Director, Signal Transduction and Therapeutics Program</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Jonsson Comprehensive Cancer Center at UCLA</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Los Angeles, California</a:t>
            </a:r>
          </a:p>
        </p:txBody>
      </p:sp>
      <p:pic>
        <p:nvPicPr>
          <p:cNvPr id="15" name="Picture 14">
            <a:extLst>
              <a:ext uri="{FF2B5EF4-FFF2-40B4-BE49-F238E27FC236}">
                <a16:creationId xmlns:a16="http://schemas.microsoft.com/office/drawing/2014/main" id="{CCB1F0DB-6D80-A845-8428-244AB07D11B5}"/>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604819" y="1196752"/>
            <a:ext cx="1261872" cy="1261872"/>
          </a:xfrm>
          <a:prstGeom prst="rect">
            <a:avLst/>
          </a:prstGeom>
        </p:spPr>
      </p:pic>
      <p:sp>
        <p:nvSpPr>
          <p:cNvPr id="7" name="Text Box 7">
            <a:extLst>
              <a:ext uri="{FF2B5EF4-FFF2-40B4-BE49-F238E27FC236}">
                <a16:creationId xmlns:a16="http://schemas.microsoft.com/office/drawing/2014/main" id="{B114051D-D1B8-7248-B4E4-8A7D863A65EA}"/>
              </a:ext>
            </a:extLst>
          </p:cNvPr>
          <p:cNvSpPr txBox="1">
            <a:spLocks noChangeArrowheads="1"/>
          </p:cNvSpPr>
          <p:nvPr/>
        </p:nvSpPr>
        <p:spPr bwMode="auto">
          <a:xfrm>
            <a:off x="7582272" y="1208002"/>
            <a:ext cx="3657600" cy="1473158"/>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Professor Arndt Vogel, MD</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Managing Senior Consultant</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Department of Gastroenterology,</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Hepatology and Endocrinology</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Hannover Medical School</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Hannover, Germany</a:t>
            </a:r>
          </a:p>
        </p:txBody>
      </p:sp>
      <p:pic>
        <p:nvPicPr>
          <p:cNvPr id="8" name="Picture 7">
            <a:extLst>
              <a:ext uri="{FF2B5EF4-FFF2-40B4-BE49-F238E27FC236}">
                <a16:creationId xmlns:a16="http://schemas.microsoft.com/office/drawing/2014/main" id="{E520B6F6-4A01-C84E-9569-8AD447E395DA}"/>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6240016" y="1208002"/>
            <a:ext cx="1261872" cy="1261872"/>
          </a:xfrm>
          <a:prstGeom prst="rect">
            <a:avLst/>
          </a:prstGeom>
        </p:spPr>
      </p:pic>
      <p:sp>
        <p:nvSpPr>
          <p:cNvPr id="14" name="Text Box 7">
            <a:extLst>
              <a:ext uri="{FF2B5EF4-FFF2-40B4-BE49-F238E27FC236}">
                <a16:creationId xmlns:a16="http://schemas.microsoft.com/office/drawing/2014/main" id="{F93880A2-A075-7442-AC0A-30318FAD38E8}"/>
              </a:ext>
            </a:extLst>
          </p:cNvPr>
          <p:cNvSpPr txBox="1">
            <a:spLocks noChangeArrowheads="1"/>
          </p:cNvSpPr>
          <p:nvPr/>
        </p:nvSpPr>
        <p:spPr bwMode="auto">
          <a:xfrm>
            <a:off x="1926458" y="3545905"/>
            <a:ext cx="3657600" cy="1261872"/>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charset="0"/>
                <a:cs typeface="Calibri" panose="020F0502020204030204" pitchFamily="34" charset="0"/>
              </a:rPr>
              <a:t>Lipika</a:t>
            </a: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 Goyal, MD, MPhil</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Director of Gastrointestinal Oncology</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Stanford Cancer Center</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Associate Professor</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Stanford University School of Medicine</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Palo Alto, California</a:t>
            </a:r>
          </a:p>
        </p:txBody>
      </p:sp>
      <p:pic>
        <p:nvPicPr>
          <p:cNvPr id="17" name="Picture 16">
            <a:extLst>
              <a:ext uri="{FF2B5EF4-FFF2-40B4-BE49-F238E27FC236}">
                <a16:creationId xmlns:a16="http://schemas.microsoft.com/office/drawing/2014/main" id="{9CD15CA4-88F3-CE43-8D89-1DD736E487D7}"/>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604819" y="3545905"/>
            <a:ext cx="1261872" cy="1261872"/>
          </a:xfrm>
          <a:prstGeom prst="rect">
            <a:avLst/>
          </a:prstGeom>
        </p:spPr>
      </p:pic>
      <p:pic>
        <p:nvPicPr>
          <p:cNvPr id="21" name="Picture 20">
            <a:extLst>
              <a:ext uri="{FF2B5EF4-FFF2-40B4-BE49-F238E27FC236}">
                <a16:creationId xmlns:a16="http://schemas.microsoft.com/office/drawing/2014/main" id="{7B784592-7DB5-C8EA-7142-11F5E140A872}"/>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6260030" y="3545905"/>
            <a:ext cx="1261872" cy="1261872"/>
          </a:xfrm>
          <a:prstGeom prst="rect">
            <a:avLst/>
          </a:prstGeom>
        </p:spPr>
      </p:pic>
      <p:sp>
        <p:nvSpPr>
          <p:cNvPr id="22" name="Text Box 9">
            <a:extLst>
              <a:ext uri="{FF2B5EF4-FFF2-40B4-BE49-F238E27FC236}">
                <a16:creationId xmlns:a16="http://schemas.microsoft.com/office/drawing/2014/main" id="{24DE46C7-D0F5-AF5A-8791-9A8E083F27E4}"/>
              </a:ext>
            </a:extLst>
          </p:cNvPr>
          <p:cNvSpPr txBox="1">
            <a:spLocks noChangeArrowheads="1"/>
          </p:cNvSpPr>
          <p:nvPr/>
        </p:nvSpPr>
        <p:spPr bwMode="auto">
          <a:xfrm>
            <a:off x="7582271" y="3545905"/>
            <a:ext cx="4297680" cy="1296144"/>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ct val="30000"/>
              </a:spcBef>
              <a:spcAft>
                <a:spcPts val="800"/>
              </a:spcAft>
              <a:buClr>
                <a:srgbClr val="000000"/>
              </a:buClr>
              <a:buSzPct val="100000"/>
              <a:buFontTx/>
              <a:buNone/>
              <a:tabLst/>
              <a:defRPr/>
            </a:pPr>
            <a:r>
              <a:rPr kumimoji="0" lang="en-US" sz="1600" b="1" i="0" u="none" strike="noStrike" kern="1200" cap="none" spc="0" normalizeH="0" baseline="0" noProof="0" dirty="0">
                <a:ln>
                  <a:noFill/>
                </a:ln>
                <a:solidFill>
                  <a:srgbClr val="0432FF"/>
                </a:solidFill>
                <a:effectLst/>
                <a:uLnTx/>
                <a:uFillTx/>
                <a:latin typeface="Calibri" pitchFamily="-72" charset="0"/>
                <a:ea typeface="MS PGothic" charset="0"/>
              </a:rPr>
              <a:t>Moderator</a:t>
            </a:r>
            <a:br>
              <a:rPr kumimoji="0" lang="en-US" sz="1600" b="1" i="0" u="none" strike="noStrike" kern="1200" cap="none" spc="0" normalizeH="0" baseline="0" noProof="0" dirty="0">
                <a:ln>
                  <a:noFill/>
                </a:ln>
                <a:solidFill>
                  <a:srgbClr val="000000"/>
                </a:solidFill>
                <a:effectLst/>
                <a:uLnTx/>
                <a:uFillTx/>
                <a:latin typeface="Calibri" pitchFamily="-72" charset="0"/>
                <a:ea typeface="MS PGothic" charset="0"/>
              </a:rPr>
            </a:br>
            <a:r>
              <a:rPr kumimoji="0" lang="en-US" sz="1600" b="1" i="0" u="none" strike="noStrike" kern="1200" cap="none" spc="0" normalizeH="0" baseline="0" noProof="0" dirty="0">
                <a:ln>
                  <a:noFill/>
                </a:ln>
                <a:solidFill>
                  <a:srgbClr val="000000"/>
                </a:solidFill>
                <a:effectLst/>
                <a:uLnTx/>
                <a:uFillTx/>
                <a:latin typeface="Calibri"/>
                <a:ea typeface="MS PGothic" charset="0"/>
              </a:rPr>
              <a:t>Robin K (Katie) Kelley, MD</a:t>
            </a:r>
            <a:br>
              <a:rPr kumimoji="0" lang="en-US" sz="1600" b="1" i="0" u="none" strike="noStrike" kern="1200" cap="none" spc="0" normalizeH="0" baseline="0" noProof="0" dirty="0">
                <a:ln>
                  <a:noFill/>
                </a:ln>
                <a:solidFill>
                  <a:srgbClr val="000000"/>
                </a:solidFill>
                <a:effectLst/>
                <a:uLnTx/>
                <a:uFillTx/>
                <a:latin typeface="Calibri"/>
                <a:ea typeface="MS PGothic" charset="0"/>
              </a:rPr>
            </a:br>
            <a:r>
              <a:rPr kumimoji="0" lang="en-US" sz="1600" b="0" i="0" u="none" strike="noStrike" kern="1200" cap="none" spc="0" normalizeH="0" baseline="0" noProof="0" dirty="0">
                <a:ln>
                  <a:noFill/>
                </a:ln>
                <a:solidFill>
                  <a:srgbClr val="000000"/>
                </a:solidFill>
                <a:effectLst/>
                <a:uLnTx/>
                <a:uFillTx/>
                <a:latin typeface="Calibri"/>
                <a:ea typeface="MS PGothic" charset="0"/>
              </a:rPr>
              <a:t>Professor of Clinical Medicine</a:t>
            </a:r>
            <a:br>
              <a:rPr kumimoji="0" lang="en-US" sz="1600" b="0" i="0" u="none" strike="noStrike" kern="1200" cap="none" spc="0" normalizeH="0" baseline="0" noProof="0" dirty="0">
                <a:ln>
                  <a:noFill/>
                </a:ln>
                <a:solidFill>
                  <a:srgbClr val="000000"/>
                </a:solidFill>
                <a:effectLst/>
                <a:uLnTx/>
                <a:uFillTx/>
                <a:latin typeface="Calibri"/>
                <a:ea typeface="MS PGothic" charset="0"/>
              </a:rPr>
            </a:br>
            <a:r>
              <a:rPr kumimoji="0" lang="en-US" sz="1600" b="0" i="0" u="none" strike="noStrike" kern="1200" cap="none" spc="0" normalizeH="0" baseline="0" noProof="0" dirty="0">
                <a:ln>
                  <a:noFill/>
                </a:ln>
                <a:solidFill>
                  <a:srgbClr val="000000"/>
                </a:solidFill>
                <a:effectLst/>
                <a:uLnTx/>
                <a:uFillTx/>
                <a:latin typeface="Calibri"/>
                <a:ea typeface="MS PGothic" charset="0"/>
              </a:rPr>
              <a:t>Division of Hematology/Oncology</a:t>
            </a:r>
            <a:br>
              <a:rPr kumimoji="0" lang="en-US" sz="1600" b="0" i="0" u="none" strike="noStrike" kern="1200" cap="none" spc="0" normalizeH="0" baseline="0" noProof="0" dirty="0">
                <a:ln>
                  <a:noFill/>
                </a:ln>
                <a:solidFill>
                  <a:srgbClr val="000000"/>
                </a:solidFill>
                <a:effectLst/>
                <a:uLnTx/>
                <a:uFillTx/>
                <a:latin typeface="Calibri"/>
                <a:ea typeface="MS PGothic" charset="0"/>
              </a:rPr>
            </a:br>
            <a:r>
              <a:rPr kumimoji="0" lang="en-US" sz="1600" b="0" i="0" u="none" strike="noStrike" kern="1200" cap="none" spc="0" normalizeH="0" baseline="0" noProof="0" dirty="0">
                <a:ln>
                  <a:noFill/>
                </a:ln>
                <a:solidFill>
                  <a:srgbClr val="000000"/>
                </a:solidFill>
                <a:effectLst/>
                <a:uLnTx/>
                <a:uFillTx/>
                <a:latin typeface="Calibri"/>
                <a:ea typeface="MS PGothic" charset="0"/>
              </a:rPr>
              <a:t>Helen Diller Family Comprehensive</a:t>
            </a:r>
            <a:br>
              <a:rPr kumimoji="0" lang="en-US" sz="1600" b="0" i="0" u="none" strike="noStrike" kern="1200" cap="none" spc="0" normalizeH="0" baseline="0" noProof="0" dirty="0">
                <a:ln>
                  <a:noFill/>
                </a:ln>
                <a:solidFill>
                  <a:srgbClr val="000000"/>
                </a:solidFill>
                <a:effectLst/>
                <a:uLnTx/>
                <a:uFillTx/>
                <a:latin typeface="Calibri"/>
                <a:ea typeface="MS PGothic" charset="0"/>
              </a:rPr>
            </a:br>
            <a:r>
              <a:rPr kumimoji="0" lang="en-US" sz="1600" b="0" i="0" u="none" strike="noStrike" kern="1200" cap="none" spc="0" normalizeH="0" baseline="0" noProof="0" dirty="0">
                <a:ln>
                  <a:noFill/>
                </a:ln>
                <a:solidFill>
                  <a:srgbClr val="000000"/>
                </a:solidFill>
                <a:effectLst/>
                <a:uLnTx/>
                <a:uFillTx/>
                <a:latin typeface="Calibri"/>
                <a:ea typeface="MS PGothic" charset="0"/>
              </a:rPr>
              <a:t>Cancer Center</a:t>
            </a:r>
            <a:br>
              <a:rPr kumimoji="0" lang="en-US" sz="1600" b="0" i="0" u="none" strike="noStrike" kern="1200" cap="none" spc="0" normalizeH="0" baseline="0" noProof="0" dirty="0">
                <a:ln>
                  <a:noFill/>
                </a:ln>
                <a:solidFill>
                  <a:srgbClr val="000000"/>
                </a:solidFill>
                <a:effectLst/>
                <a:uLnTx/>
                <a:uFillTx/>
                <a:latin typeface="Calibri"/>
                <a:ea typeface="MS PGothic" charset="0"/>
              </a:rPr>
            </a:br>
            <a:r>
              <a:rPr kumimoji="0" lang="en-US" sz="1600" b="0" i="0" u="none" strike="noStrike" kern="1200" cap="none" spc="0" normalizeH="0" baseline="0" noProof="0" dirty="0">
                <a:ln>
                  <a:noFill/>
                </a:ln>
                <a:solidFill>
                  <a:srgbClr val="000000"/>
                </a:solidFill>
                <a:effectLst/>
                <a:uLnTx/>
                <a:uFillTx/>
                <a:latin typeface="Calibri"/>
                <a:ea typeface="MS PGothic" charset="0"/>
              </a:rPr>
              <a:t>University of California, San Francisco (UCSF)</a:t>
            </a:r>
            <a:br>
              <a:rPr kumimoji="0" lang="en-US" sz="1600" b="0" i="0" u="none" strike="noStrike" kern="1200" cap="none" spc="0" normalizeH="0" baseline="0" noProof="0" dirty="0">
                <a:ln>
                  <a:noFill/>
                </a:ln>
                <a:solidFill>
                  <a:srgbClr val="000000"/>
                </a:solidFill>
                <a:effectLst/>
                <a:uLnTx/>
                <a:uFillTx/>
                <a:latin typeface="Calibri"/>
                <a:ea typeface="MS PGothic" charset="0"/>
              </a:rPr>
            </a:br>
            <a:r>
              <a:rPr kumimoji="0" lang="en-US" sz="1600" b="0" i="0" u="none" strike="noStrike" kern="1200" cap="none" spc="0" normalizeH="0" baseline="0" noProof="0" dirty="0">
                <a:ln>
                  <a:noFill/>
                </a:ln>
                <a:solidFill>
                  <a:srgbClr val="000000"/>
                </a:solidFill>
                <a:effectLst/>
                <a:uLnTx/>
                <a:uFillTx/>
                <a:latin typeface="Calibri"/>
                <a:ea typeface="MS PGothic" charset="0"/>
              </a:rPr>
              <a:t>San Francisco, California</a:t>
            </a:r>
            <a:endParaRPr kumimoji="0" lang="en-US" sz="1600" b="0" i="0" u="none" strike="noStrike" kern="1200" cap="none" spc="0" normalizeH="0" baseline="0" noProof="0" dirty="0">
              <a:ln>
                <a:noFill/>
              </a:ln>
              <a:solidFill>
                <a:srgbClr val="000000"/>
              </a:solidFill>
              <a:effectLst/>
              <a:uLnTx/>
              <a:uFillTx/>
              <a:latin typeface="Calibri" pitchFamily="-72" charset="0"/>
              <a:ea typeface="MS PGothic" charset="0"/>
            </a:endParaRPr>
          </a:p>
        </p:txBody>
      </p:sp>
    </p:spTree>
    <p:custDataLst>
      <p:tags r:id="rId1"/>
    </p:custDataLst>
    <p:extLst>
      <p:ext uri="{BB962C8B-B14F-4D97-AF65-F5344CB8AC3E}">
        <p14:creationId xmlns:p14="http://schemas.microsoft.com/office/powerpoint/2010/main" val="233559730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875AE07-1E1C-4962-9DCF-75A4EB102BFF}"/>
              </a:ext>
            </a:extLst>
          </p:cNvPr>
          <p:cNvSpPr>
            <a:spLocks noGrp="1"/>
          </p:cNvSpPr>
          <p:nvPr>
            <p:ph type="title"/>
          </p:nvPr>
        </p:nvSpPr>
        <p:spPr>
          <a:xfrm>
            <a:off x="529169" y="0"/>
            <a:ext cx="11133667" cy="1008061"/>
          </a:xfrm>
        </p:spPr>
        <p:txBody>
          <a:bodyPr/>
          <a:lstStyle/>
          <a:p>
            <a:r>
              <a:rPr lang="en-US" dirty="0"/>
              <a:t>Baseline patient characteristics (ITT)</a:t>
            </a:r>
            <a:r>
              <a:rPr lang="en-US" baseline="30000" dirty="0"/>
              <a:t>a</a:t>
            </a:r>
            <a:endParaRPr lang="en-GB" baseline="30000" dirty="0"/>
          </a:p>
        </p:txBody>
      </p:sp>
      <p:sp>
        <p:nvSpPr>
          <p:cNvPr id="16" name="Text Placeholder 15">
            <a:extLst>
              <a:ext uri="{FF2B5EF4-FFF2-40B4-BE49-F238E27FC236}">
                <a16:creationId xmlns:a16="http://schemas.microsoft.com/office/drawing/2014/main" id="{03A1A421-65DA-4D4D-9C02-04142D9C8148}"/>
              </a:ext>
            </a:extLst>
          </p:cNvPr>
          <p:cNvSpPr>
            <a:spLocks noGrp="1"/>
          </p:cNvSpPr>
          <p:nvPr>
            <p:ph type="body" sz="quarter" idx="13"/>
          </p:nvPr>
        </p:nvSpPr>
        <p:spPr>
          <a:xfrm>
            <a:off x="529170" y="6318145"/>
            <a:ext cx="7333311" cy="390512"/>
          </a:xfrm>
        </p:spPr>
        <p:txBody>
          <a:bodyPr/>
          <a:lstStyle/>
          <a:p>
            <a:r>
              <a:rPr lang="en-US" dirty="0"/>
              <a:t>EHS, extrahepatic spread; ITT, intention to treat, MVI, macrovascular invasion.</a:t>
            </a:r>
            <a:r>
              <a:rPr lang="en-US" baseline="30000" dirty="0"/>
              <a:t> a</a:t>
            </a:r>
            <a:r>
              <a:rPr lang="en-US" dirty="0"/>
              <a:t> </a:t>
            </a:r>
            <a:r>
              <a:rPr lang="en-US" sz="1080" dirty="0"/>
              <a:t>All randomised patients. </a:t>
            </a:r>
            <a:r>
              <a:rPr lang="en-US" sz="1080" baseline="30000" dirty="0"/>
              <a:t>b</a:t>
            </a:r>
            <a:r>
              <a:rPr lang="en-US" sz="1080" dirty="0"/>
              <a:t> </a:t>
            </a:r>
            <a:r>
              <a:rPr lang="en-US" dirty="0"/>
              <a:t>Includes United States, Australia, New Zealand, and Japan. </a:t>
            </a:r>
            <a:r>
              <a:rPr lang="en-US" baseline="30000" dirty="0"/>
              <a:t>c</a:t>
            </a:r>
            <a:r>
              <a:rPr lang="en-US" dirty="0"/>
              <a:t> Includes alcohol, other and unknown non–hepatitis B and C causes. </a:t>
            </a:r>
          </a:p>
        </p:txBody>
      </p:sp>
      <p:sp>
        <p:nvSpPr>
          <p:cNvPr id="7" name="Text Placeholder 6">
            <a:extLst>
              <a:ext uri="{FF2B5EF4-FFF2-40B4-BE49-F238E27FC236}">
                <a16:creationId xmlns:a16="http://schemas.microsoft.com/office/drawing/2014/main" id="{9DA39C03-725E-47BF-94BF-E12F3B5DCC61}"/>
              </a:ext>
            </a:extLst>
          </p:cNvPr>
          <p:cNvSpPr>
            <a:spLocks noGrp="1"/>
          </p:cNvSpPr>
          <p:nvPr>
            <p:ph type="body" sz="quarter" idx="14"/>
          </p:nvPr>
        </p:nvSpPr>
        <p:spPr>
          <a:xfrm>
            <a:off x="9900206" y="6326574"/>
            <a:ext cx="1762628" cy="390512"/>
          </a:xfrm>
        </p:spPr>
        <p:txBody>
          <a:bodyPr/>
          <a:lstStyle/>
          <a:p>
            <a:r>
              <a:rPr lang="en-US" altLang="en-US" dirty="0"/>
              <a:t>Finn, </a:t>
            </a:r>
            <a:r>
              <a:rPr lang="fr-FR" i="1" dirty="0"/>
              <a:t>N Engl J Med</a:t>
            </a:r>
            <a:r>
              <a:rPr lang="en-US" altLang="en-US" dirty="0"/>
              <a:t> 2020.</a:t>
            </a:r>
            <a:endParaRPr lang="en-US" dirty="0"/>
          </a:p>
        </p:txBody>
      </p:sp>
      <p:graphicFrame>
        <p:nvGraphicFramePr>
          <p:cNvPr id="9" name="Table 8">
            <a:extLst>
              <a:ext uri="{FF2B5EF4-FFF2-40B4-BE49-F238E27FC236}">
                <a16:creationId xmlns:a16="http://schemas.microsoft.com/office/drawing/2014/main" id="{9362CC5F-0489-4C96-9762-C456D74D3CDC}"/>
              </a:ext>
            </a:extLst>
          </p:cNvPr>
          <p:cNvGraphicFramePr>
            <a:graphicFrameLocks noGrp="1"/>
          </p:cNvGraphicFramePr>
          <p:nvPr/>
        </p:nvGraphicFramePr>
        <p:xfrm>
          <a:off x="529171" y="1054072"/>
          <a:ext cx="11133660" cy="5106372"/>
        </p:xfrm>
        <a:graphic>
          <a:graphicData uri="http://schemas.openxmlformats.org/drawingml/2006/table">
            <a:tbl>
              <a:tblPr firstRow="1" bandRow="1">
                <a:tableStyleId>{7DF18680-E054-41AD-8BC1-D1AEF772440D}</a:tableStyleId>
              </a:tblPr>
              <a:tblGrid>
                <a:gridCol w="4941098">
                  <a:extLst>
                    <a:ext uri="{9D8B030D-6E8A-4147-A177-3AD203B41FA5}">
                      <a16:colId xmlns:a16="http://schemas.microsoft.com/office/drawing/2014/main" val="3527374397"/>
                    </a:ext>
                  </a:extLst>
                </a:gridCol>
                <a:gridCol w="3244843">
                  <a:extLst>
                    <a:ext uri="{9D8B030D-6E8A-4147-A177-3AD203B41FA5}">
                      <a16:colId xmlns:a16="http://schemas.microsoft.com/office/drawing/2014/main" val="501758239"/>
                    </a:ext>
                  </a:extLst>
                </a:gridCol>
                <a:gridCol w="2947719">
                  <a:extLst>
                    <a:ext uri="{9D8B030D-6E8A-4147-A177-3AD203B41FA5}">
                      <a16:colId xmlns:a16="http://schemas.microsoft.com/office/drawing/2014/main" val="1677356102"/>
                    </a:ext>
                  </a:extLst>
                </a:gridCol>
              </a:tblGrid>
              <a:tr h="511904">
                <a:tc>
                  <a:txBody>
                    <a:bodyPr/>
                    <a:lstStyle/>
                    <a:p>
                      <a:pPr marL="0" marR="0">
                        <a:lnSpc>
                          <a:spcPct val="100000"/>
                        </a:lnSpc>
                        <a:spcBef>
                          <a:spcPts val="0"/>
                        </a:spcBef>
                        <a:spcAft>
                          <a:spcPts val="0"/>
                        </a:spcAft>
                      </a:pPr>
                      <a:r>
                        <a:rPr lang="en-SG" sz="1700" dirty="0">
                          <a:effectLst/>
                          <a:latin typeface="+mn-lt"/>
                          <a:ea typeface="SimSun" panose="02010600030101010101" pitchFamily="2" charset="-122"/>
                          <a:cs typeface="Times New Roman" panose="02020603050405020304" pitchFamily="18" charset="0"/>
                        </a:rPr>
                        <a:t>n</a:t>
                      </a:r>
                      <a:r>
                        <a:rPr lang="en-US" sz="1700" dirty="0">
                          <a:effectLst/>
                          <a:latin typeface="+mn-lt"/>
                          <a:ea typeface="SimSun" panose="02010600030101010101" pitchFamily="2" charset="-122"/>
                          <a:cs typeface="Times New Roman" panose="02020603050405020304" pitchFamily="18" charset="0"/>
                        </a:rPr>
                        <a:t> (%)</a:t>
                      </a:r>
                    </a:p>
                  </a:txBody>
                  <a:tcPr marL="109694" marR="0" marT="0" marB="0" anchor="ctr">
                    <a:solidFill>
                      <a:srgbClr val="5B9BD5"/>
                    </a:solidFill>
                  </a:tcPr>
                </a:tc>
                <a:tc>
                  <a:txBody>
                    <a:bodyPr/>
                    <a:lstStyle/>
                    <a:p>
                      <a:pPr marL="0" marR="0" algn="ctr">
                        <a:lnSpc>
                          <a:spcPct val="100000"/>
                        </a:lnSpc>
                        <a:spcBef>
                          <a:spcPts val="0"/>
                        </a:spcBef>
                        <a:spcAft>
                          <a:spcPts val="0"/>
                        </a:spcAft>
                      </a:pPr>
                      <a:r>
                        <a:rPr lang="en-US" sz="1700" dirty="0">
                          <a:effectLst/>
                          <a:latin typeface="+mn-lt"/>
                        </a:rPr>
                        <a:t>Atezo + Bev</a:t>
                      </a:r>
                      <a:br>
                        <a:rPr lang="en-US" sz="1700" dirty="0">
                          <a:effectLst/>
                          <a:latin typeface="+mn-lt"/>
                        </a:rPr>
                      </a:br>
                      <a:r>
                        <a:rPr lang="en-US" sz="1700" dirty="0">
                          <a:effectLst/>
                          <a:latin typeface="+mn-lt"/>
                        </a:rPr>
                        <a:t>(n = 336)</a:t>
                      </a:r>
                      <a:endParaRPr lang="en-US" sz="1700" dirty="0">
                        <a:effectLst/>
                        <a:latin typeface="+mn-lt"/>
                        <a:ea typeface="SimSun" panose="02010600030101010101" pitchFamily="2" charset="-122"/>
                        <a:cs typeface="Times New Roman" panose="02020603050405020304" pitchFamily="18" charset="0"/>
                      </a:endParaRPr>
                    </a:p>
                  </a:txBody>
                  <a:tcPr marL="0" marR="0" marT="0" marB="0" anchor="ctr"/>
                </a:tc>
                <a:tc>
                  <a:txBody>
                    <a:bodyPr/>
                    <a:lstStyle/>
                    <a:p>
                      <a:pPr marL="0" marR="0" algn="ctr">
                        <a:lnSpc>
                          <a:spcPct val="100000"/>
                        </a:lnSpc>
                        <a:spcBef>
                          <a:spcPts val="0"/>
                        </a:spcBef>
                        <a:spcAft>
                          <a:spcPts val="0"/>
                        </a:spcAft>
                      </a:pPr>
                      <a:r>
                        <a:rPr lang="en-US" sz="1700" dirty="0">
                          <a:effectLst/>
                          <a:latin typeface="+mn-lt"/>
                        </a:rPr>
                        <a:t>Sorafenib</a:t>
                      </a:r>
                      <a:br>
                        <a:rPr lang="en-US" sz="1700" dirty="0">
                          <a:effectLst/>
                          <a:latin typeface="+mn-lt"/>
                        </a:rPr>
                      </a:br>
                      <a:r>
                        <a:rPr lang="en-US" sz="1700" dirty="0">
                          <a:effectLst/>
                          <a:latin typeface="+mn-lt"/>
                        </a:rPr>
                        <a:t>(n = 165)</a:t>
                      </a:r>
                      <a:endParaRPr lang="en-US" sz="1700" dirty="0">
                        <a:effectLst/>
                        <a:latin typeface="+mn-lt"/>
                        <a:ea typeface="SimSun" panose="02010600030101010101" pitchFamily="2" charset="-122"/>
                        <a:cs typeface="Times New Roman" panose="02020603050405020304" pitchFamily="18" charset="0"/>
                      </a:endParaRPr>
                    </a:p>
                  </a:txBody>
                  <a:tcPr marL="0" marR="0" marT="0" marB="0" anchor="ctr"/>
                </a:tc>
                <a:extLst>
                  <a:ext uri="{0D108BD9-81ED-4DB2-BD59-A6C34878D82A}">
                    <a16:rowId xmlns:a16="http://schemas.microsoft.com/office/drawing/2014/main" val="3587304531"/>
                  </a:ext>
                </a:extLst>
              </a:tr>
              <a:tr h="281457">
                <a:tc>
                  <a:txBody>
                    <a:bodyPr/>
                    <a:lstStyle/>
                    <a:p>
                      <a:pPr marL="0" indent="0" algn="l" defTabSz="914400" rtl="0" eaLnBrk="1" fontAlgn="ctr" latinLnBrk="0" hangingPunct="1">
                        <a:lnSpc>
                          <a:spcPts val="800"/>
                        </a:lnSpc>
                        <a:spcBef>
                          <a:spcPts val="0"/>
                        </a:spcBef>
                        <a:spcAft>
                          <a:spcPts val="0"/>
                        </a:spcAft>
                      </a:pPr>
                      <a:r>
                        <a:rPr lang="en-US" sz="1700" u="none" strike="noStrike" kern="1200" dirty="0">
                          <a:effectLst/>
                          <a:latin typeface="+mn-lt"/>
                        </a:rPr>
                        <a:t>Median age (range), years </a:t>
                      </a:r>
                      <a:endParaRPr lang="en-US" sz="1700" b="0" u="none" strike="noStrike" kern="1200" dirty="0">
                        <a:solidFill>
                          <a:schemeClr val="tx1"/>
                        </a:solidFill>
                        <a:effectLst/>
                        <a:latin typeface="+mn-lt"/>
                        <a:ea typeface="+mn-ea"/>
                        <a:cs typeface="+mn-cs"/>
                      </a:endParaRPr>
                    </a:p>
                  </a:txBody>
                  <a:tcPr marL="109694" marR="0" marT="0" marB="0" anchor="b"/>
                </a:tc>
                <a:tc>
                  <a:txBody>
                    <a:bodyPr/>
                    <a:lstStyle/>
                    <a:p>
                      <a:pPr marL="0" marR="0" lvl="0" indent="0" algn="ctr" defTabSz="914400" rtl="0" eaLnBrk="1" fontAlgn="auto" latinLnBrk="0" hangingPunct="1">
                        <a:lnSpc>
                          <a:spcPts val="800"/>
                        </a:lnSpc>
                        <a:spcBef>
                          <a:spcPts val="0"/>
                        </a:spcBef>
                        <a:spcAft>
                          <a:spcPts val="0"/>
                        </a:spcAft>
                        <a:buClr>
                          <a:srgbClr val="000000"/>
                        </a:buClr>
                        <a:buSzPts val="1400"/>
                        <a:buFont typeface="Arial"/>
                        <a:buNone/>
                        <a:tabLst/>
                        <a:defRPr/>
                      </a:pPr>
                      <a:r>
                        <a:rPr lang="en-US" sz="1700" u="none" strike="noStrike" cap="none" dirty="0">
                          <a:latin typeface="+mn-lt"/>
                        </a:rPr>
                        <a:t>64 (26-88)</a:t>
                      </a:r>
                      <a:endParaRPr sz="1700" u="none" strike="noStrike" cap="none" dirty="0">
                        <a:solidFill>
                          <a:schemeClr val="tx1"/>
                        </a:solidFill>
                        <a:latin typeface="+mn-lt"/>
                      </a:endParaRPr>
                    </a:p>
                  </a:txBody>
                  <a:tcPr marL="0" marR="0" marT="0" marB="0" anchor="b"/>
                </a:tc>
                <a:tc>
                  <a:txBody>
                    <a:bodyPr/>
                    <a:lstStyle/>
                    <a:p>
                      <a:pPr marL="0" marR="0" lvl="0" indent="0" algn="ctr" rtl="0">
                        <a:lnSpc>
                          <a:spcPts val="800"/>
                        </a:lnSpc>
                        <a:spcBef>
                          <a:spcPts val="0"/>
                        </a:spcBef>
                        <a:spcAft>
                          <a:spcPts val="0"/>
                        </a:spcAft>
                        <a:buClr>
                          <a:srgbClr val="000000"/>
                        </a:buClr>
                        <a:buSzPts val="1400"/>
                        <a:buFont typeface="Arial"/>
                        <a:buNone/>
                      </a:pPr>
                      <a:r>
                        <a:rPr lang="en-US" sz="1700" u="none" strike="noStrike" cap="none" dirty="0">
                          <a:latin typeface="+mn-lt"/>
                        </a:rPr>
                        <a:t>66 (33-87)</a:t>
                      </a:r>
                      <a:endParaRPr sz="1700" u="none" strike="noStrike" cap="none" dirty="0">
                        <a:solidFill>
                          <a:schemeClr val="tx1"/>
                        </a:solidFill>
                        <a:latin typeface="+mn-lt"/>
                      </a:endParaRPr>
                    </a:p>
                  </a:txBody>
                  <a:tcPr marL="0" marR="0" marT="0" marB="0" anchor="b"/>
                </a:tc>
                <a:extLst>
                  <a:ext uri="{0D108BD9-81ED-4DB2-BD59-A6C34878D82A}">
                    <a16:rowId xmlns:a16="http://schemas.microsoft.com/office/drawing/2014/main" val="3937667351"/>
                  </a:ext>
                </a:extLst>
              </a:tr>
              <a:tr h="287117">
                <a:tc>
                  <a:txBody>
                    <a:bodyPr/>
                    <a:lstStyle/>
                    <a:p>
                      <a:pPr marL="0" marR="0">
                        <a:lnSpc>
                          <a:spcPct val="100000"/>
                        </a:lnSpc>
                        <a:spcBef>
                          <a:spcPts val="0"/>
                        </a:spcBef>
                        <a:spcAft>
                          <a:spcPts val="0"/>
                        </a:spcAft>
                      </a:pPr>
                      <a:r>
                        <a:rPr lang="en-US" sz="1700" dirty="0">
                          <a:effectLst/>
                          <a:latin typeface="+mn-lt"/>
                        </a:rPr>
                        <a:t>Male</a:t>
                      </a:r>
                      <a:endParaRPr lang="en-US" sz="1700" dirty="0">
                        <a:effectLst/>
                        <a:latin typeface="+mn-lt"/>
                        <a:ea typeface="SimSun" panose="02010600030101010101" pitchFamily="2" charset="-122"/>
                        <a:cs typeface="Times New Roman" panose="02020603050405020304" pitchFamily="18" charset="0"/>
                      </a:endParaRPr>
                    </a:p>
                  </a:txBody>
                  <a:tcPr marL="109694" marR="0" marT="0" marB="0" anchor="b"/>
                </a:tc>
                <a:tc>
                  <a:txBody>
                    <a:bodyPr/>
                    <a:lstStyle/>
                    <a:p>
                      <a:pPr marL="0" marR="0" algn="ctr">
                        <a:lnSpc>
                          <a:spcPct val="100000"/>
                        </a:lnSpc>
                        <a:spcBef>
                          <a:spcPts val="0"/>
                        </a:spcBef>
                        <a:spcAft>
                          <a:spcPts val="0"/>
                        </a:spcAft>
                      </a:pPr>
                      <a:r>
                        <a:rPr lang="en-US" sz="1700" dirty="0">
                          <a:effectLst/>
                          <a:latin typeface="+mn-lt"/>
                        </a:rPr>
                        <a:t>277 (82)</a:t>
                      </a:r>
                      <a:endParaRPr lang="en-US" sz="1700" dirty="0">
                        <a:effectLst/>
                        <a:latin typeface="+mn-lt"/>
                        <a:ea typeface="SimSun" panose="02010600030101010101" pitchFamily="2" charset="-122"/>
                        <a:cs typeface="Times New Roman" panose="02020603050405020304" pitchFamily="18" charset="0"/>
                      </a:endParaRPr>
                    </a:p>
                  </a:txBody>
                  <a:tcPr marL="0" marR="0" marT="0" marB="0" anchor="b"/>
                </a:tc>
                <a:tc>
                  <a:txBody>
                    <a:bodyPr/>
                    <a:lstStyle/>
                    <a:p>
                      <a:pPr marL="0" marR="0" algn="ctr">
                        <a:lnSpc>
                          <a:spcPct val="100000"/>
                        </a:lnSpc>
                        <a:spcBef>
                          <a:spcPts val="0"/>
                        </a:spcBef>
                        <a:spcAft>
                          <a:spcPts val="0"/>
                        </a:spcAft>
                      </a:pPr>
                      <a:r>
                        <a:rPr lang="en-US" sz="1700" dirty="0">
                          <a:effectLst/>
                          <a:latin typeface="+mn-lt"/>
                        </a:rPr>
                        <a:t>137 (83)</a:t>
                      </a:r>
                      <a:endParaRPr lang="en-US" sz="1700" dirty="0">
                        <a:effectLst/>
                        <a:latin typeface="+mn-lt"/>
                        <a:ea typeface="SimSun" panose="02010600030101010101" pitchFamily="2" charset="-122"/>
                        <a:cs typeface="Times New Roman" panose="02020603050405020304" pitchFamily="18" charset="0"/>
                      </a:endParaRPr>
                    </a:p>
                  </a:txBody>
                  <a:tcPr marL="0" marR="0" marT="0" marB="0" anchor="b"/>
                </a:tc>
                <a:extLst>
                  <a:ext uri="{0D108BD9-81ED-4DB2-BD59-A6C34878D82A}">
                    <a16:rowId xmlns:a16="http://schemas.microsoft.com/office/drawing/2014/main" val="3936248693"/>
                  </a:ext>
                </a:extLst>
              </a:tr>
              <a:tr h="287117">
                <a:tc>
                  <a:txBody>
                    <a:bodyPr/>
                    <a:lstStyle/>
                    <a:p>
                      <a:pPr marL="57150" marR="0" lvl="0" indent="-57150" algn="l" defTabSz="762244" rtl="0" eaLnBrk="1" fontAlgn="auto" latinLnBrk="0" hangingPunct="1">
                        <a:lnSpc>
                          <a:spcPct val="100000"/>
                        </a:lnSpc>
                        <a:spcBef>
                          <a:spcPts val="0"/>
                        </a:spcBef>
                        <a:spcAft>
                          <a:spcPts val="0"/>
                        </a:spcAft>
                        <a:buClrTx/>
                        <a:buSzTx/>
                        <a:buFontTx/>
                        <a:buNone/>
                        <a:tabLst/>
                        <a:defRPr/>
                      </a:pPr>
                      <a:r>
                        <a:rPr lang="en-US" sz="1700" dirty="0">
                          <a:effectLst/>
                          <a:latin typeface="+mn-lt"/>
                        </a:rPr>
                        <a:t>Asia excluding </a:t>
                      </a:r>
                      <a:r>
                        <a:rPr lang="en-US" sz="1700" dirty="0" err="1">
                          <a:effectLst/>
                          <a:latin typeface="+mn-lt"/>
                        </a:rPr>
                        <a:t>Japan</a:t>
                      </a:r>
                      <a:r>
                        <a:rPr lang="en-US" sz="1700" dirty="0" err="1">
                          <a:effectLst/>
                          <a:latin typeface="+mn-lt"/>
                          <a:ea typeface="SimSun" panose="02010600030101010101" pitchFamily="2" charset="-122"/>
                          <a:cs typeface="Times New Roman" panose="02020603050405020304" pitchFamily="18" charset="0"/>
                        </a:rPr>
                        <a:t>│r</a:t>
                      </a:r>
                      <a:r>
                        <a:rPr lang="en-US" sz="1700" dirty="0" err="1">
                          <a:effectLst/>
                          <a:latin typeface="+mn-lt"/>
                        </a:rPr>
                        <a:t>est</a:t>
                      </a:r>
                      <a:r>
                        <a:rPr lang="en-US" sz="1700" dirty="0">
                          <a:effectLst/>
                          <a:latin typeface="+mn-lt"/>
                        </a:rPr>
                        <a:t> of world</a:t>
                      </a:r>
                      <a:r>
                        <a:rPr lang="en-US" sz="1700" baseline="30000" dirty="0">
                          <a:effectLst/>
                          <a:latin typeface="+mn-lt"/>
                        </a:rPr>
                        <a:t>b</a:t>
                      </a:r>
                      <a:endParaRPr lang="en-US" sz="1700" dirty="0">
                        <a:effectLst/>
                        <a:latin typeface="+mn-lt"/>
                        <a:ea typeface="SimSun" panose="02010600030101010101" pitchFamily="2" charset="-122"/>
                        <a:cs typeface="Times New Roman" panose="02020603050405020304" pitchFamily="18" charset="0"/>
                      </a:endParaRPr>
                    </a:p>
                  </a:txBody>
                  <a:tcPr marL="109694" marR="0" marT="0" marB="0" anchor="b"/>
                </a:tc>
                <a:tc>
                  <a:txBody>
                    <a:bodyPr/>
                    <a:lstStyle/>
                    <a:p>
                      <a:pPr marL="0" marR="0" algn="ctr">
                        <a:lnSpc>
                          <a:spcPct val="100000"/>
                        </a:lnSpc>
                        <a:spcBef>
                          <a:spcPts val="0"/>
                        </a:spcBef>
                        <a:spcAft>
                          <a:spcPts val="0"/>
                        </a:spcAft>
                      </a:pPr>
                      <a:r>
                        <a:rPr lang="en-US" sz="1700" dirty="0">
                          <a:effectLst/>
                          <a:latin typeface="+mn-lt"/>
                        </a:rPr>
                        <a:t>133 (40) </a:t>
                      </a:r>
                      <a:r>
                        <a:rPr lang="en-US" sz="1700" dirty="0">
                          <a:effectLst/>
                          <a:latin typeface="+mn-lt"/>
                          <a:ea typeface="SimSun" panose="02010600030101010101" pitchFamily="2" charset="-122"/>
                          <a:cs typeface="Times New Roman" panose="02020603050405020304" pitchFamily="18" charset="0"/>
                        </a:rPr>
                        <a:t>│</a:t>
                      </a:r>
                      <a:r>
                        <a:rPr lang="en-US" sz="1700" dirty="0">
                          <a:effectLst/>
                          <a:latin typeface="+mn-lt"/>
                        </a:rPr>
                        <a:t>203 (60)</a:t>
                      </a:r>
                      <a:r>
                        <a:rPr lang="en-US" sz="1700" dirty="0">
                          <a:effectLst/>
                          <a:latin typeface="+mn-lt"/>
                          <a:ea typeface="SimSun" panose="02010600030101010101" pitchFamily="2" charset="-122"/>
                          <a:cs typeface="Times New Roman" panose="02020603050405020304" pitchFamily="18" charset="0"/>
                        </a:rPr>
                        <a:t> </a:t>
                      </a:r>
                    </a:p>
                  </a:txBody>
                  <a:tcPr marL="0" marR="0" marT="0" marB="0" anchor="b"/>
                </a:tc>
                <a:tc>
                  <a:txBody>
                    <a:bodyPr/>
                    <a:lstStyle/>
                    <a:p>
                      <a:pPr marL="0" marR="0" algn="ctr">
                        <a:lnSpc>
                          <a:spcPct val="100000"/>
                        </a:lnSpc>
                        <a:spcBef>
                          <a:spcPts val="0"/>
                        </a:spcBef>
                        <a:spcAft>
                          <a:spcPts val="0"/>
                        </a:spcAft>
                      </a:pPr>
                      <a:r>
                        <a:rPr lang="en-US" sz="1700" dirty="0">
                          <a:effectLst/>
                          <a:latin typeface="+mn-lt"/>
                        </a:rPr>
                        <a:t>68 (41)</a:t>
                      </a:r>
                      <a:r>
                        <a:rPr lang="en-US" sz="1700" dirty="0">
                          <a:effectLst/>
                          <a:latin typeface="+mn-lt"/>
                          <a:ea typeface="SimSun" panose="02010600030101010101" pitchFamily="2" charset="-122"/>
                          <a:cs typeface="Times New Roman" panose="02020603050405020304" pitchFamily="18" charset="0"/>
                        </a:rPr>
                        <a:t> │</a:t>
                      </a:r>
                      <a:r>
                        <a:rPr lang="en-US" sz="1700" dirty="0">
                          <a:effectLst/>
                          <a:latin typeface="+mn-lt"/>
                        </a:rPr>
                        <a:t>97 (59)</a:t>
                      </a:r>
                      <a:r>
                        <a:rPr lang="en-US" sz="1700" dirty="0">
                          <a:effectLst/>
                          <a:latin typeface="+mn-lt"/>
                          <a:ea typeface="SimSun" panose="02010600030101010101" pitchFamily="2" charset="-122"/>
                          <a:cs typeface="Times New Roman" panose="02020603050405020304" pitchFamily="18" charset="0"/>
                        </a:rPr>
                        <a:t> </a:t>
                      </a:r>
                    </a:p>
                  </a:txBody>
                  <a:tcPr marL="0" marR="0" marT="0" marB="0" anchor="b"/>
                </a:tc>
                <a:extLst>
                  <a:ext uri="{0D108BD9-81ED-4DB2-BD59-A6C34878D82A}">
                    <a16:rowId xmlns:a16="http://schemas.microsoft.com/office/drawing/2014/main" val="1706598391"/>
                  </a:ext>
                </a:extLst>
              </a:tr>
              <a:tr h="287117">
                <a:tc>
                  <a:txBody>
                    <a:bodyPr/>
                    <a:lstStyle/>
                    <a:p>
                      <a:pPr marL="0" marR="0" indent="0">
                        <a:lnSpc>
                          <a:spcPct val="100000"/>
                        </a:lnSpc>
                        <a:spcBef>
                          <a:spcPts val="0"/>
                        </a:spcBef>
                        <a:spcAft>
                          <a:spcPts val="0"/>
                        </a:spcAft>
                      </a:pPr>
                      <a:r>
                        <a:rPr lang="en-US" sz="1700" b="0" dirty="0">
                          <a:effectLst/>
                          <a:latin typeface="+mn-lt"/>
                        </a:rPr>
                        <a:t>ECOG PS 0 │1</a:t>
                      </a:r>
                      <a:endParaRPr lang="en-US" sz="1700" b="0" dirty="0">
                        <a:effectLst/>
                        <a:latin typeface="+mn-lt"/>
                        <a:ea typeface="SimSun" panose="02010600030101010101" pitchFamily="2" charset="-122"/>
                        <a:cs typeface="Times New Roman" panose="02020603050405020304" pitchFamily="18" charset="0"/>
                      </a:endParaRPr>
                    </a:p>
                  </a:txBody>
                  <a:tcPr marL="109694" marR="0" marT="0" marB="0" anchor="b"/>
                </a:tc>
                <a:tc>
                  <a:txBody>
                    <a:bodyPr/>
                    <a:lstStyle/>
                    <a:p>
                      <a:pPr marL="0" marR="0" lvl="0" indent="0" algn="ctr" defTabSz="762244" rtl="0" eaLnBrk="1" fontAlgn="auto" latinLnBrk="0" hangingPunct="1">
                        <a:lnSpc>
                          <a:spcPct val="100000"/>
                        </a:lnSpc>
                        <a:spcBef>
                          <a:spcPts val="0"/>
                        </a:spcBef>
                        <a:spcAft>
                          <a:spcPts val="0"/>
                        </a:spcAft>
                        <a:buClrTx/>
                        <a:buSzTx/>
                        <a:buFontTx/>
                        <a:buNone/>
                        <a:tabLst/>
                        <a:defRPr/>
                      </a:pPr>
                      <a:r>
                        <a:rPr lang="en-US" sz="1700" dirty="0">
                          <a:effectLst/>
                          <a:latin typeface="+mn-lt"/>
                        </a:rPr>
                        <a:t>209 (62)</a:t>
                      </a:r>
                      <a:r>
                        <a:rPr lang="en-US" sz="1700" dirty="0">
                          <a:effectLst/>
                          <a:latin typeface="+mn-lt"/>
                          <a:ea typeface="SimSun" panose="02010600030101010101" pitchFamily="2" charset="-122"/>
                          <a:cs typeface="Times New Roman" panose="02020603050405020304" pitchFamily="18" charset="0"/>
                        </a:rPr>
                        <a:t> │</a:t>
                      </a:r>
                      <a:r>
                        <a:rPr lang="en-US" sz="1700" dirty="0">
                          <a:effectLst/>
                          <a:latin typeface="+mn-lt"/>
                        </a:rPr>
                        <a:t>127 (38)</a:t>
                      </a:r>
                      <a:endParaRPr lang="en-US" sz="1700" dirty="0">
                        <a:effectLst/>
                        <a:latin typeface="+mn-lt"/>
                        <a:ea typeface="SimSun" panose="02010600030101010101" pitchFamily="2" charset="-122"/>
                        <a:cs typeface="Times New Roman" panose="02020603050405020304" pitchFamily="18" charset="0"/>
                      </a:endParaRPr>
                    </a:p>
                  </a:txBody>
                  <a:tcPr marL="0" marR="0" marT="0" marB="0" anchor="b"/>
                </a:tc>
                <a:tc>
                  <a:txBody>
                    <a:bodyPr/>
                    <a:lstStyle/>
                    <a:p>
                      <a:pPr marL="0" marR="0" lvl="0" indent="0" algn="ctr" defTabSz="762244" rtl="0" eaLnBrk="1" fontAlgn="auto" latinLnBrk="0" hangingPunct="1">
                        <a:lnSpc>
                          <a:spcPct val="100000"/>
                        </a:lnSpc>
                        <a:spcBef>
                          <a:spcPts val="0"/>
                        </a:spcBef>
                        <a:spcAft>
                          <a:spcPts val="0"/>
                        </a:spcAft>
                        <a:buClrTx/>
                        <a:buSzTx/>
                        <a:buFontTx/>
                        <a:buNone/>
                        <a:tabLst/>
                        <a:defRPr/>
                      </a:pPr>
                      <a:r>
                        <a:rPr lang="en-US" sz="1700" dirty="0">
                          <a:effectLst/>
                          <a:latin typeface="+mn-lt"/>
                        </a:rPr>
                        <a:t>103 (62)</a:t>
                      </a:r>
                      <a:r>
                        <a:rPr lang="en-US" sz="1700" dirty="0">
                          <a:effectLst/>
                          <a:latin typeface="+mn-lt"/>
                          <a:ea typeface="SimSun" panose="02010600030101010101" pitchFamily="2" charset="-122"/>
                          <a:cs typeface="Times New Roman" panose="02020603050405020304" pitchFamily="18" charset="0"/>
                        </a:rPr>
                        <a:t> │</a:t>
                      </a:r>
                      <a:r>
                        <a:rPr lang="en-US" sz="1700" dirty="0">
                          <a:effectLst/>
                          <a:latin typeface="+mn-lt"/>
                        </a:rPr>
                        <a:t>62 (38)</a:t>
                      </a:r>
                      <a:endParaRPr lang="en-US" sz="1700" dirty="0">
                        <a:effectLst/>
                        <a:latin typeface="+mn-lt"/>
                        <a:ea typeface="SimSun" panose="02010600030101010101" pitchFamily="2" charset="-122"/>
                        <a:cs typeface="Times New Roman" panose="02020603050405020304" pitchFamily="18" charset="0"/>
                      </a:endParaRPr>
                    </a:p>
                  </a:txBody>
                  <a:tcPr marL="0" marR="0" marT="0" marB="0" anchor="b"/>
                </a:tc>
                <a:extLst>
                  <a:ext uri="{0D108BD9-81ED-4DB2-BD59-A6C34878D82A}">
                    <a16:rowId xmlns:a16="http://schemas.microsoft.com/office/drawing/2014/main" val="91104609"/>
                  </a:ext>
                </a:extLst>
              </a:tr>
              <a:tr h="287117">
                <a:tc>
                  <a:txBody>
                    <a:bodyPr/>
                    <a:lstStyle/>
                    <a:p>
                      <a:pPr marL="0" marR="0">
                        <a:lnSpc>
                          <a:spcPct val="100000"/>
                        </a:lnSpc>
                        <a:spcBef>
                          <a:spcPts val="0"/>
                        </a:spcBef>
                        <a:spcAft>
                          <a:spcPts val="0"/>
                        </a:spcAft>
                      </a:pPr>
                      <a:r>
                        <a:rPr lang="en-US" sz="1700" dirty="0">
                          <a:effectLst/>
                          <a:latin typeface="+mn-lt"/>
                        </a:rPr>
                        <a:t>Child-Pugh score A5</a:t>
                      </a:r>
                      <a:r>
                        <a:rPr lang="en-US" sz="1700" dirty="0">
                          <a:effectLst/>
                          <a:latin typeface="+mn-lt"/>
                          <a:ea typeface="SimSun" panose="02010600030101010101" pitchFamily="2" charset="-122"/>
                          <a:cs typeface="Times New Roman" panose="02020603050405020304" pitchFamily="18" charset="0"/>
                        </a:rPr>
                        <a:t>│</a:t>
                      </a:r>
                      <a:r>
                        <a:rPr lang="en-US" sz="1700" dirty="0">
                          <a:effectLst/>
                          <a:latin typeface="+mn-lt"/>
                        </a:rPr>
                        <a:t>A6</a:t>
                      </a:r>
                      <a:endParaRPr lang="en-US" sz="1700" dirty="0">
                        <a:effectLst/>
                        <a:latin typeface="+mn-lt"/>
                        <a:ea typeface="SimSun" panose="02010600030101010101" pitchFamily="2" charset="-122"/>
                        <a:cs typeface="Times New Roman" panose="02020603050405020304" pitchFamily="18" charset="0"/>
                      </a:endParaRPr>
                    </a:p>
                  </a:txBody>
                  <a:tcPr marL="109694" marR="0" marT="0" marB="0" anchor="b"/>
                </a:tc>
                <a:tc>
                  <a:txBody>
                    <a:bodyPr/>
                    <a:lstStyle/>
                    <a:p>
                      <a:pPr marL="0" marR="0" lvl="0" indent="0" algn="ctr" defTabSz="762244" rtl="0" eaLnBrk="1" fontAlgn="auto" latinLnBrk="0" hangingPunct="1">
                        <a:lnSpc>
                          <a:spcPct val="100000"/>
                        </a:lnSpc>
                        <a:spcBef>
                          <a:spcPts val="0"/>
                        </a:spcBef>
                        <a:spcAft>
                          <a:spcPts val="0"/>
                        </a:spcAft>
                        <a:buClrTx/>
                        <a:buSzTx/>
                        <a:buFontTx/>
                        <a:buNone/>
                        <a:tabLst/>
                        <a:defRPr/>
                      </a:pPr>
                      <a:r>
                        <a:rPr lang="en-US" sz="1700" dirty="0">
                          <a:effectLst/>
                          <a:latin typeface="+mn-lt"/>
                        </a:rPr>
                        <a:t> 239 (72) </a:t>
                      </a:r>
                      <a:r>
                        <a:rPr lang="en-US" sz="1700" dirty="0">
                          <a:effectLst/>
                          <a:latin typeface="+mn-lt"/>
                          <a:ea typeface="SimSun" panose="02010600030101010101" pitchFamily="2" charset="-122"/>
                          <a:cs typeface="Times New Roman" panose="02020603050405020304" pitchFamily="18" charset="0"/>
                        </a:rPr>
                        <a:t>│</a:t>
                      </a:r>
                      <a:r>
                        <a:rPr lang="en-US" sz="1700" dirty="0">
                          <a:effectLst/>
                          <a:latin typeface="+mn-lt"/>
                        </a:rPr>
                        <a:t>94 (28)</a:t>
                      </a:r>
                      <a:endParaRPr lang="en-US" sz="1700" dirty="0">
                        <a:effectLst/>
                        <a:latin typeface="+mn-lt"/>
                        <a:ea typeface="SimSun" panose="02010600030101010101" pitchFamily="2" charset="-122"/>
                        <a:cs typeface="Times New Roman" panose="02020603050405020304" pitchFamily="18" charset="0"/>
                      </a:endParaRPr>
                    </a:p>
                  </a:txBody>
                  <a:tcPr marL="0" marR="0" marT="0" marB="0" anchor="b"/>
                </a:tc>
                <a:tc>
                  <a:txBody>
                    <a:bodyPr/>
                    <a:lstStyle/>
                    <a:p>
                      <a:pPr marL="0" marR="0" lvl="0" indent="0" algn="ctr" defTabSz="762244" rtl="0" eaLnBrk="1" fontAlgn="auto" latinLnBrk="0" hangingPunct="1">
                        <a:lnSpc>
                          <a:spcPct val="100000"/>
                        </a:lnSpc>
                        <a:spcBef>
                          <a:spcPts val="0"/>
                        </a:spcBef>
                        <a:spcAft>
                          <a:spcPts val="0"/>
                        </a:spcAft>
                        <a:buClrTx/>
                        <a:buSzTx/>
                        <a:buFontTx/>
                        <a:buNone/>
                        <a:tabLst/>
                        <a:defRPr/>
                      </a:pPr>
                      <a:r>
                        <a:rPr lang="en-US" sz="1700" dirty="0">
                          <a:effectLst/>
                          <a:latin typeface="+mn-lt"/>
                        </a:rPr>
                        <a:t>121 (73)</a:t>
                      </a:r>
                      <a:r>
                        <a:rPr lang="en-US" sz="1700" dirty="0">
                          <a:effectLst/>
                          <a:latin typeface="+mn-lt"/>
                          <a:ea typeface="SimSun" panose="02010600030101010101" pitchFamily="2" charset="-122"/>
                          <a:cs typeface="Times New Roman" panose="02020603050405020304" pitchFamily="18" charset="0"/>
                        </a:rPr>
                        <a:t> │</a:t>
                      </a:r>
                      <a:r>
                        <a:rPr lang="en-US" sz="1700" dirty="0">
                          <a:effectLst/>
                          <a:latin typeface="+mn-lt"/>
                        </a:rPr>
                        <a:t>44 (27)</a:t>
                      </a:r>
                      <a:endParaRPr lang="en-US" sz="1700" dirty="0">
                        <a:effectLst/>
                        <a:latin typeface="+mn-lt"/>
                        <a:ea typeface="SimSun" panose="02010600030101010101" pitchFamily="2" charset="-122"/>
                        <a:cs typeface="Times New Roman" panose="02020603050405020304" pitchFamily="18" charset="0"/>
                      </a:endParaRPr>
                    </a:p>
                  </a:txBody>
                  <a:tcPr marL="0" marR="0" marT="0" marB="0" anchor="b"/>
                </a:tc>
                <a:extLst>
                  <a:ext uri="{0D108BD9-81ED-4DB2-BD59-A6C34878D82A}">
                    <a16:rowId xmlns:a16="http://schemas.microsoft.com/office/drawing/2014/main" val="194038697"/>
                  </a:ext>
                </a:extLst>
              </a:tr>
              <a:tr h="287117">
                <a:tc>
                  <a:txBody>
                    <a:bodyPr/>
                    <a:lstStyle/>
                    <a:p>
                      <a:pPr marL="0" marR="0" indent="0">
                        <a:lnSpc>
                          <a:spcPct val="100000"/>
                        </a:lnSpc>
                        <a:spcBef>
                          <a:spcPts val="0"/>
                        </a:spcBef>
                        <a:spcAft>
                          <a:spcPts val="0"/>
                        </a:spcAft>
                      </a:pPr>
                      <a:r>
                        <a:rPr lang="en-US" sz="1700" dirty="0">
                          <a:latin typeface="+mn-lt"/>
                        </a:rPr>
                        <a:t>Barcelona Clinic Liver Cancer stage</a:t>
                      </a:r>
                      <a:r>
                        <a:rPr lang="en-SG" sz="1700" dirty="0">
                          <a:effectLst/>
                          <a:latin typeface="+mn-lt"/>
                          <a:ea typeface="SimSun" panose="02010600030101010101" pitchFamily="2" charset="-122"/>
                          <a:cs typeface="Times New Roman" panose="02020603050405020304" pitchFamily="18" charset="0"/>
                        </a:rPr>
                        <a:t> </a:t>
                      </a:r>
                      <a:r>
                        <a:rPr lang="en-US" sz="1700" dirty="0">
                          <a:effectLst/>
                          <a:latin typeface="+mn-lt"/>
                          <a:ea typeface="SimSun" panose="02010600030101010101" pitchFamily="2" charset="-122"/>
                          <a:cs typeface="Times New Roman" panose="02020603050405020304" pitchFamily="18" charset="0"/>
                        </a:rPr>
                        <a:t>B│C</a:t>
                      </a:r>
                    </a:p>
                  </a:txBody>
                  <a:tcPr marL="109694" marR="0" marT="0" marB="0" anchor="b"/>
                </a:tc>
                <a:tc>
                  <a:txBody>
                    <a:bodyPr/>
                    <a:lstStyle/>
                    <a:p>
                      <a:pPr marL="0" marR="0" lvl="0" indent="0" algn="ctr" defTabSz="762244" rtl="0" eaLnBrk="1" fontAlgn="auto" latinLnBrk="0" hangingPunct="1">
                        <a:lnSpc>
                          <a:spcPct val="100000"/>
                        </a:lnSpc>
                        <a:spcBef>
                          <a:spcPts val="0"/>
                        </a:spcBef>
                        <a:spcAft>
                          <a:spcPts val="0"/>
                        </a:spcAft>
                        <a:buClrTx/>
                        <a:buSzTx/>
                        <a:buFontTx/>
                        <a:buNone/>
                        <a:tabLst/>
                        <a:defRPr/>
                      </a:pPr>
                      <a:r>
                        <a:rPr lang="en-US" sz="1700" dirty="0">
                          <a:effectLst/>
                          <a:latin typeface="+mn-lt"/>
                        </a:rPr>
                        <a:t>52 (15)</a:t>
                      </a:r>
                      <a:r>
                        <a:rPr lang="en-US" sz="1700" dirty="0">
                          <a:effectLst/>
                          <a:latin typeface="+mn-lt"/>
                          <a:ea typeface="SimSun" panose="02010600030101010101" pitchFamily="2" charset="-122"/>
                          <a:cs typeface="Times New Roman" panose="02020603050405020304" pitchFamily="18" charset="0"/>
                        </a:rPr>
                        <a:t> │</a:t>
                      </a:r>
                      <a:r>
                        <a:rPr lang="en-US" sz="1700" dirty="0">
                          <a:effectLst/>
                          <a:latin typeface="+mn-lt"/>
                        </a:rPr>
                        <a:t>276 (82)</a:t>
                      </a:r>
                      <a:endParaRPr lang="en-US" sz="1700" dirty="0">
                        <a:effectLst/>
                        <a:latin typeface="+mn-lt"/>
                        <a:ea typeface="SimSun" panose="02010600030101010101" pitchFamily="2" charset="-122"/>
                        <a:cs typeface="Times New Roman" panose="02020603050405020304" pitchFamily="18" charset="0"/>
                      </a:endParaRPr>
                    </a:p>
                  </a:txBody>
                  <a:tcPr marL="0" marR="0" marT="0" marB="0" anchor="b"/>
                </a:tc>
                <a:tc>
                  <a:txBody>
                    <a:bodyPr/>
                    <a:lstStyle/>
                    <a:p>
                      <a:pPr marL="0" marR="0" lvl="0" indent="0" algn="ctr" defTabSz="762244" rtl="0" eaLnBrk="1" fontAlgn="auto" latinLnBrk="0" hangingPunct="1">
                        <a:lnSpc>
                          <a:spcPct val="100000"/>
                        </a:lnSpc>
                        <a:spcBef>
                          <a:spcPts val="0"/>
                        </a:spcBef>
                        <a:spcAft>
                          <a:spcPts val="0"/>
                        </a:spcAft>
                        <a:buClrTx/>
                        <a:buSzTx/>
                        <a:buFontTx/>
                        <a:buNone/>
                        <a:tabLst/>
                        <a:defRPr/>
                      </a:pPr>
                      <a:r>
                        <a:rPr lang="en-US" sz="1700" dirty="0">
                          <a:effectLst/>
                          <a:latin typeface="+mn-lt"/>
                        </a:rPr>
                        <a:t>26 (16)</a:t>
                      </a:r>
                      <a:r>
                        <a:rPr lang="en-US" sz="1700" dirty="0">
                          <a:effectLst/>
                          <a:latin typeface="+mn-lt"/>
                          <a:ea typeface="SimSun" panose="02010600030101010101" pitchFamily="2" charset="-122"/>
                          <a:cs typeface="Times New Roman" panose="02020603050405020304" pitchFamily="18" charset="0"/>
                        </a:rPr>
                        <a:t> │</a:t>
                      </a:r>
                      <a:r>
                        <a:rPr lang="en-US" sz="1700" dirty="0">
                          <a:effectLst/>
                          <a:latin typeface="+mn-lt"/>
                        </a:rPr>
                        <a:t>133 (81)</a:t>
                      </a:r>
                      <a:endParaRPr lang="en-US" sz="1700" dirty="0">
                        <a:effectLst/>
                        <a:latin typeface="+mn-lt"/>
                        <a:ea typeface="SimSun" panose="02010600030101010101" pitchFamily="2" charset="-122"/>
                        <a:cs typeface="Times New Roman" panose="02020603050405020304" pitchFamily="18" charset="0"/>
                      </a:endParaRPr>
                    </a:p>
                  </a:txBody>
                  <a:tcPr marL="0" marR="0" marT="0" marB="0" anchor="b"/>
                </a:tc>
                <a:extLst>
                  <a:ext uri="{0D108BD9-81ED-4DB2-BD59-A6C34878D82A}">
                    <a16:rowId xmlns:a16="http://schemas.microsoft.com/office/drawing/2014/main" val="3060849605"/>
                  </a:ext>
                </a:extLst>
              </a:tr>
              <a:tr h="287117">
                <a:tc>
                  <a:txBody>
                    <a:bodyPr/>
                    <a:lstStyle/>
                    <a:p>
                      <a:pPr marL="0" marR="0">
                        <a:lnSpc>
                          <a:spcPct val="100000"/>
                        </a:lnSpc>
                        <a:spcBef>
                          <a:spcPts val="0"/>
                        </a:spcBef>
                        <a:spcAft>
                          <a:spcPts val="0"/>
                        </a:spcAft>
                      </a:pPr>
                      <a:r>
                        <a:rPr lang="en-US" sz="1700" b="0" dirty="0">
                          <a:effectLst/>
                          <a:latin typeface="+mn-lt"/>
                        </a:rPr>
                        <a:t>AFP at baseline ≥ 400 ng/mL</a:t>
                      </a:r>
                      <a:endParaRPr lang="en-US" sz="1700" b="0" dirty="0">
                        <a:effectLst/>
                        <a:latin typeface="+mn-lt"/>
                        <a:ea typeface="SimSun" panose="02010600030101010101" pitchFamily="2" charset="-122"/>
                        <a:cs typeface="Times New Roman" panose="02020603050405020304" pitchFamily="18" charset="0"/>
                      </a:endParaRPr>
                    </a:p>
                  </a:txBody>
                  <a:tcPr marL="109694" marR="0" marT="0" marB="0" anchor="b"/>
                </a:tc>
                <a:tc>
                  <a:txBody>
                    <a:bodyPr/>
                    <a:lstStyle/>
                    <a:p>
                      <a:pPr marL="0" marR="0" algn="ctr">
                        <a:lnSpc>
                          <a:spcPct val="100000"/>
                        </a:lnSpc>
                        <a:spcBef>
                          <a:spcPts val="0"/>
                        </a:spcBef>
                        <a:spcAft>
                          <a:spcPts val="0"/>
                        </a:spcAft>
                      </a:pPr>
                      <a:r>
                        <a:rPr lang="en-US" sz="1700" b="0" dirty="0">
                          <a:effectLst/>
                          <a:latin typeface="+mn-lt"/>
                        </a:rPr>
                        <a:t>126 (38)</a:t>
                      </a:r>
                      <a:endParaRPr lang="en-US" sz="1700" b="0" dirty="0">
                        <a:effectLst/>
                        <a:latin typeface="+mn-lt"/>
                        <a:ea typeface="SimSun" panose="02010600030101010101" pitchFamily="2" charset="-122"/>
                        <a:cs typeface="Times New Roman" panose="02020603050405020304" pitchFamily="18" charset="0"/>
                      </a:endParaRPr>
                    </a:p>
                  </a:txBody>
                  <a:tcPr marL="0" marR="0" marT="0" marB="0" anchor="b"/>
                </a:tc>
                <a:tc>
                  <a:txBody>
                    <a:bodyPr/>
                    <a:lstStyle/>
                    <a:p>
                      <a:pPr marL="0" marR="0" algn="ctr">
                        <a:lnSpc>
                          <a:spcPct val="100000"/>
                        </a:lnSpc>
                        <a:spcBef>
                          <a:spcPts val="0"/>
                        </a:spcBef>
                        <a:spcAft>
                          <a:spcPts val="0"/>
                        </a:spcAft>
                      </a:pPr>
                      <a:r>
                        <a:rPr lang="en-US" sz="1700" b="0" dirty="0">
                          <a:effectLst/>
                          <a:latin typeface="+mn-lt"/>
                        </a:rPr>
                        <a:t>61 (37)</a:t>
                      </a:r>
                      <a:endParaRPr lang="en-US" sz="1700" b="0" dirty="0">
                        <a:effectLst/>
                        <a:latin typeface="+mn-lt"/>
                        <a:ea typeface="SimSun" panose="02010600030101010101" pitchFamily="2" charset="-122"/>
                        <a:cs typeface="Times New Roman" panose="02020603050405020304" pitchFamily="18" charset="0"/>
                      </a:endParaRPr>
                    </a:p>
                  </a:txBody>
                  <a:tcPr marL="0" marR="0" marT="0" marB="0" anchor="b"/>
                </a:tc>
                <a:extLst>
                  <a:ext uri="{0D108BD9-81ED-4DB2-BD59-A6C34878D82A}">
                    <a16:rowId xmlns:a16="http://schemas.microsoft.com/office/drawing/2014/main" val="2032297641"/>
                  </a:ext>
                </a:extLst>
              </a:tr>
              <a:tr h="287117">
                <a:tc>
                  <a:txBody>
                    <a:bodyPr/>
                    <a:lstStyle/>
                    <a:p>
                      <a:pPr marL="0" marR="0">
                        <a:lnSpc>
                          <a:spcPct val="100000"/>
                        </a:lnSpc>
                        <a:spcBef>
                          <a:spcPts val="0"/>
                        </a:spcBef>
                        <a:spcAft>
                          <a:spcPts val="0"/>
                        </a:spcAft>
                      </a:pPr>
                      <a:r>
                        <a:rPr lang="en-US" sz="1700" b="0" dirty="0">
                          <a:effectLst/>
                          <a:latin typeface="+mn-lt"/>
                        </a:rPr>
                        <a:t>MVI present</a:t>
                      </a:r>
                      <a:endParaRPr lang="en-US" sz="1700" b="0" dirty="0">
                        <a:effectLst/>
                        <a:latin typeface="+mn-lt"/>
                        <a:ea typeface="SimSun" panose="02010600030101010101" pitchFamily="2" charset="-122"/>
                        <a:cs typeface="Times New Roman" panose="02020603050405020304" pitchFamily="18" charset="0"/>
                      </a:endParaRPr>
                    </a:p>
                  </a:txBody>
                  <a:tcPr marL="109694" marR="0" marT="0" marB="0" anchor="b"/>
                </a:tc>
                <a:tc>
                  <a:txBody>
                    <a:bodyPr/>
                    <a:lstStyle/>
                    <a:p>
                      <a:pPr marL="0" marR="0" algn="ctr">
                        <a:lnSpc>
                          <a:spcPct val="100000"/>
                        </a:lnSpc>
                        <a:spcBef>
                          <a:spcPts val="0"/>
                        </a:spcBef>
                        <a:spcAft>
                          <a:spcPts val="0"/>
                        </a:spcAft>
                      </a:pPr>
                      <a:r>
                        <a:rPr lang="en-US" sz="1700" b="0" dirty="0">
                          <a:effectLst/>
                          <a:latin typeface="+mn-lt"/>
                        </a:rPr>
                        <a:t>129 (38)</a:t>
                      </a:r>
                      <a:endParaRPr lang="en-US" sz="1700" b="0" dirty="0">
                        <a:effectLst/>
                        <a:latin typeface="+mn-lt"/>
                        <a:ea typeface="SimSun" panose="02010600030101010101" pitchFamily="2" charset="-122"/>
                        <a:cs typeface="Times New Roman" panose="02020603050405020304" pitchFamily="18" charset="0"/>
                      </a:endParaRPr>
                    </a:p>
                  </a:txBody>
                  <a:tcPr marL="0" marR="0" marT="0" marB="0" anchor="b"/>
                </a:tc>
                <a:tc>
                  <a:txBody>
                    <a:bodyPr/>
                    <a:lstStyle/>
                    <a:p>
                      <a:pPr marL="0" marR="0" algn="ctr">
                        <a:lnSpc>
                          <a:spcPct val="100000"/>
                        </a:lnSpc>
                        <a:spcBef>
                          <a:spcPts val="0"/>
                        </a:spcBef>
                        <a:spcAft>
                          <a:spcPts val="0"/>
                        </a:spcAft>
                      </a:pPr>
                      <a:r>
                        <a:rPr lang="en-US" sz="1700" b="0" dirty="0">
                          <a:effectLst/>
                          <a:latin typeface="+mn-lt"/>
                        </a:rPr>
                        <a:t>71 (43)</a:t>
                      </a:r>
                      <a:endParaRPr lang="en-US" sz="1700" b="0" dirty="0">
                        <a:effectLst/>
                        <a:latin typeface="+mn-lt"/>
                        <a:ea typeface="SimSun" panose="02010600030101010101" pitchFamily="2" charset="-122"/>
                        <a:cs typeface="Times New Roman" panose="02020603050405020304" pitchFamily="18" charset="0"/>
                      </a:endParaRPr>
                    </a:p>
                  </a:txBody>
                  <a:tcPr marL="0" marR="0" marT="0" marB="0" anchor="b"/>
                </a:tc>
                <a:extLst>
                  <a:ext uri="{0D108BD9-81ED-4DB2-BD59-A6C34878D82A}">
                    <a16:rowId xmlns:a16="http://schemas.microsoft.com/office/drawing/2014/main" val="2215516687"/>
                  </a:ext>
                </a:extLst>
              </a:tr>
              <a:tr h="287117">
                <a:tc>
                  <a:txBody>
                    <a:bodyPr/>
                    <a:lstStyle/>
                    <a:p>
                      <a:pPr marL="0" marR="0">
                        <a:lnSpc>
                          <a:spcPct val="100000"/>
                        </a:lnSpc>
                        <a:spcBef>
                          <a:spcPts val="0"/>
                        </a:spcBef>
                        <a:spcAft>
                          <a:spcPts val="0"/>
                        </a:spcAft>
                      </a:pPr>
                      <a:r>
                        <a:rPr lang="en-US" sz="1700" b="0" dirty="0">
                          <a:effectLst/>
                          <a:latin typeface="+mn-lt"/>
                        </a:rPr>
                        <a:t>EHS present</a:t>
                      </a:r>
                      <a:endParaRPr lang="en-US" sz="1700" b="0" dirty="0">
                        <a:effectLst/>
                        <a:latin typeface="+mn-lt"/>
                        <a:ea typeface="SimSun" panose="02010600030101010101" pitchFamily="2" charset="-122"/>
                        <a:cs typeface="Times New Roman" panose="02020603050405020304" pitchFamily="18" charset="0"/>
                      </a:endParaRPr>
                    </a:p>
                  </a:txBody>
                  <a:tcPr marL="109694" marR="0" marT="0" marB="0" anchor="b"/>
                </a:tc>
                <a:tc>
                  <a:txBody>
                    <a:bodyPr/>
                    <a:lstStyle/>
                    <a:p>
                      <a:pPr marL="0" marR="0" algn="ctr">
                        <a:lnSpc>
                          <a:spcPct val="100000"/>
                        </a:lnSpc>
                        <a:spcBef>
                          <a:spcPts val="0"/>
                        </a:spcBef>
                        <a:spcAft>
                          <a:spcPts val="0"/>
                        </a:spcAft>
                      </a:pPr>
                      <a:r>
                        <a:rPr lang="en-US" sz="1700" b="0" dirty="0">
                          <a:effectLst/>
                          <a:latin typeface="+mn-lt"/>
                        </a:rPr>
                        <a:t>212 (63)</a:t>
                      </a:r>
                      <a:endParaRPr lang="en-US" sz="1700" b="0" dirty="0">
                        <a:effectLst/>
                        <a:latin typeface="+mn-lt"/>
                        <a:ea typeface="SimSun" panose="02010600030101010101" pitchFamily="2" charset="-122"/>
                        <a:cs typeface="Times New Roman" panose="02020603050405020304" pitchFamily="18" charset="0"/>
                      </a:endParaRPr>
                    </a:p>
                  </a:txBody>
                  <a:tcPr marL="0" marR="0" marT="0" marB="0" anchor="b"/>
                </a:tc>
                <a:tc>
                  <a:txBody>
                    <a:bodyPr/>
                    <a:lstStyle/>
                    <a:p>
                      <a:pPr marL="0" marR="0" algn="ctr">
                        <a:lnSpc>
                          <a:spcPct val="100000"/>
                        </a:lnSpc>
                        <a:spcBef>
                          <a:spcPts val="0"/>
                        </a:spcBef>
                        <a:spcAft>
                          <a:spcPts val="0"/>
                        </a:spcAft>
                      </a:pPr>
                      <a:r>
                        <a:rPr lang="en-US" sz="1700" b="0" dirty="0">
                          <a:effectLst/>
                          <a:latin typeface="+mn-lt"/>
                        </a:rPr>
                        <a:t>93 (56)</a:t>
                      </a:r>
                      <a:endParaRPr lang="en-US" sz="1700" b="0" dirty="0">
                        <a:effectLst/>
                        <a:latin typeface="+mn-lt"/>
                        <a:ea typeface="SimSun" panose="02010600030101010101" pitchFamily="2" charset="-122"/>
                        <a:cs typeface="Times New Roman" panose="02020603050405020304" pitchFamily="18" charset="0"/>
                      </a:endParaRPr>
                    </a:p>
                  </a:txBody>
                  <a:tcPr marL="0" marR="0" marT="0" marB="0" anchor="b"/>
                </a:tc>
                <a:extLst>
                  <a:ext uri="{0D108BD9-81ED-4DB2-BD59-A6C34878D82A}">
                    <a16:rowId xmlns:a16="http://schemas.microsoft.com/office/drawing/2014/main" val="274595214"/>
                  </a:ext>
                </a:extLst>
              </a:tr>
              <a:tr h="287117">
                <a:tc>
                  <a:txBody>
                    <a:bodyPr/>
                    <a:lstStyle/>
                    <a:p>
                      <a:pPr marL="0" marR="0">
                        <a:lnSpc>
                          <a:spcPct val="100000"/>
                        </a:lnSpc>
                        <a:spcBef>
                          <a:spcPts val="0"/>
                        </a:spcBef>
                        <a:spcAft>
                          <a:spcPts val="0"/>
                        </a:spcAft>
                      </a:pPr>
                      <a:r>
                        <a:rPr lang="en-US" sz="1700" b="0" dirty="0">
                          <a:effectLst/>
                          <a:latin typeface="+mn-lt"/>
                        </a:rPr>
                        <a:t>MVI and/or EHS present</a:t>
                      </a:r>
                      <a:endParaRPr lang="en-US" sz="1700" b="0" dirty="0">
                        <a:effectLst/>
                        <a:latin typeface="+mn-lt"/>
                        <a:ea typeface="SimSun" panose="02010600030101010101" pitchFamily="2" charset="-122"/>
                        <a:cs typeface="Times New Roman" panose="02020603050405020304" pitchFamily="18" charset="0"/>
                      </a:endParaRPr>
                    </a:p>
                  </a:txBody>
                  <a:tcPr marL="109694" marR="0" marT="0" marB="0" anchor="b"/>
                </a:tc>
                <a:tc>
                  <a:txBody>
                    <a:bodyPr/>
                    <a:lstStyle/>
                    <a:p>
                      <a:pPr marL="0" marR="0" algn="ctr">
                        <a:lnSpc>
                          <a:spcPct val="100000"/>
                        </a:lnSpc>
                        <a:spcBef>
                          <a:spcPts val="0"/>
                        </a:spcBef>
                        <a:spcAft>
                          <a:spcPts val="0"/>
                        </a:spcAft>
                      </a:pPr>
                      <a:r>
                        <a:rPr lang="en-US" sz="1700" b="0" dirty="0">
                          <a:effectLst/>
                          <a:latin typeface="+mn-lt"/>
                        </a:rPr>
                        <a:t>258 (77)</a:t>
                      </a:r>
                      <a:endParaRPr lang="en-US" sz="1700" b="0" dirty="0">
                        <a:effectLst/>
                        <a:latin typeface="+mn-lt"/>
                        <a:ea typeface="SimSun" panose="02010600030101010101" pitchFamily="2" charset="-122"/>
                        <a:cs typeface="Times New Roman" panose="02020603050405020304" pitchFamily="18" charset="0"/>
                      </a:endParaRPr>
                    </a:p>
                  </a:txBody>
                  <a:tcPr marL="0" marR="0" marT="0" marB="0" anchor="b"/>
                </a:tc>
                <a:tc>
                  <a:txBody>
                    <a:bodyPr/>
                    <a:lstStyle/>
                    <a:p>
                      <a:pPr marL="0" marR="0" algn="ctr">
                        <a:lnSpc>
                          <a:spcPct val="100000"/>
                        </a:lnSpc>
                        <a:spcBef>
                          <a:spcPts val="0"/>
                        </a:spcBef>
                        <a:spcAft>
                          <a:spcPts val="0"/>
                        </a:spcAft>
                      </a:pPr>
                      <a:r>
                        <a:rPr lang="en-US" sz="1700" b="0" dirty="0">
                          <a:effectLst/>
                          <a:latin typeface="+mn-lt"/>
                        </a:rPr>
                        <a:t>120 (73)</a:t>
                      </a:r>
                      <a:endParaRPr lang="en-US" sz="1700" b="0" dirty="0">
                        <a:effectLst/>
                        <a:latin typeface="+mn-lt"/>
                        <a:ea typeface="SimSun" panose="02010600030101010101" pitchFamily="2" charset="-122"/>
                        <a:cs typeface="Times New Roman" panose="02020603050405020304" pitchFamily="18" charset="0"/>
                      </a:endParaRPr>
                    </a:p>
                  </a:txBody>
                  <a:tcPr marL="0" marR="0" marT="0" marB="0" anchor="b"/>
                </a:tc>
                <a:extLst>
                  <a:ext uri="{0D108BD9-81ED-4DB2-BD59-A6C34878D82A}">
                    <a16:rowId xmlns:a16="http://schemas.microsoft.com/office/drawing/2014/main" val="285523316"/>
                  </a:ext>
                </a:extLst>
              </a:tr>
              <a:tr h="287117">
                <a:tc>
                  <a:txBody>
                    <a:bodyPr/>
                    <a:lstStyle/>
                    <a:p>
                      <a:pPr marL="0" marR="0">
                        <a:lnSpc>
                          <a:spcPct val="100000"/>
                        </a:lnSpc>
                        <a:spcBef>
                          <a:spcPts val="0"/>
                        </a:spcBef>
                        <a:spcAft>
                          <a:spcPts val="0"/>
                        </a:spcAft>
                      </a:pPr>
                      <a:r>
                        <a:rPr lang="en-US" sz="1700" b="0" dirty="0">
                          <a:effectLst/>
                          <a:latin typeface="+mn-lt"/>
                        </a:rPr>
                        <a:t>Varices at baseline</a:t>
                      </a:r>
                      <a:endParaRPr lang="en-US" sz="1700" b="0" dirty="0">
                        <a:effectLst/>
                        <a:latin typeface="+mn-lt"/>
                        <a:ea typeface="SimSun" panose="02010600030101010101" pitchFamily="2" charset="-122"/>
                        <a:cs typeface="Times New Roman" panose="02020603050405020304" pitchFamily="18" charset="0"/>
                      </a:endParaRPr>
                    </a:p>
                  </a:txBody>
                  <a:tcPr marL="109694" marR="0" marT="0" marB="0" anchor="b"/>
                </a:tc>
                <a:tc>
                  <a:txBody>
                    <a:bodyPr/>
                    <a:lstStyle/>
                    <a:p>
                      <a:pPr marL="0" marR="0" algn="ctr">
                        <a:lnSpc>
                          <a:spcPct val="100000"/>
                        </a:lnSpc>
                        <a:spcBef>
                          <a:spcPts val="0"/>
                        </a:spcBef>
                        <a:spcAft>
                          <a:spcPts val="0"/>
                        </a:spcAft>
                      </a:pPr>
                      <a:r>
                        <a:rPr lang="en-US" sz="1700" b="0" dirty="0">
                          <a:effectLst/>
                          <a:latin typeface="+mn-lt"/>
                        </a:rPr>
                        <a:t>88 (26)</a:t>
                      </a:r>
                      <a:endParaRPr lang="en-US" sz="1700" b="0" dirty="0">
                        <a:effectLst/>
                        <a:latin typeface="+mn-lt"/>
                        <a:ea typeface="SimSun" panose="02010600030101010101" pitchFamily="2" charset="-122"/>
                        <a:cs typeface="Times New Roman" panose="02020603050405020304" pitchFamily="18" charset="0"/>
                      </a:endParaRPr>
                    </a:p>
                  </a:txBody>
                  <a:tcPr marL="0" marR="0" marT="0" marB="0" anchor="b"/>
                </a:tc>
                <a:tc>
                  <a:txBody>
                    <a:bodyPr/>
                    <a:lstStyle/>
                    <a:p>
                      <a:pPr marL="0" marR="0" algn="ctr">
                        <a:lnSpc>
                          <a:spcPct val="100000"/>
                        </a:lnSpc>
                        <a:spcBef>
                          <a:spcPts val="0"/>
                        </a:spcBef>
                        <a:spcAft>
                          <a:spcPts val="0"/>
                        </a:spcAft>
                      </a:pPr>
                      <a:r>
                        <a:rPr lang="en-US" sz="1700" b="0" dirty="0">
                          <a:effectLst/>
                          <a:latin typeface="+mn-lt"/>
                        </a:rPr>
                        <a:t>43 (26)</a:t>
                      </a:r>
                      <a:endParaRPr lang="en-US" sz="1700" b="0" dirty="0">
                        <a:effectLst/>
                        <a:latin typeface="+mn-lt"/>
                        <a:ea typeface="SimSun" panose="02010600030101010101" pitchFamily="2" charset="-122"/>
                        <a:cs typeface="Times New Roman" panose="02020603050405020304" pitchFamily="18" charset="0"/>
                      </a:endParaRPr>
                    </a:p>
                  </a:txBody>
                  <a:tcPr marL="0" marR="0" marT="0" marB="0" anchor="b"/>
                </a:tc>
                <a:extLst>
                  <a:ext uri="{0D108BD9-81ED-4DB2-BD59-A6C34878D82A}">
                    <a16:rowId xmlns:a16="http://schemas.microsoft.com/office/drawing/2014/main" val="629096538"/>
                  </a:ext>
                </a:extLst>
              </a:tr>
              <a:tr h="287117">
                <a:tc>
                  <a:txBody>
                    <a:bodyPr/>
                    <a:lstStyle/>
                    <a:p>
                      <a:pPr marL="0" marR="0">
                        <a:lnSpc>
                          <a:spcPct val="100000"/>
                        </a:lnSpc>
                        <a:spcBef>
                          <a:spcPts val="0"/>
                        </a:spcBef>
                        <a:spcAft>
                          <a:spcPts val="0"/>
                        </a:spcAft>
                      </a:pPr>
                      <a:r>
                        <a:rPr lang="en-US" sz="1700" b="0" dirty="0">
                          <a:effectLst/>
                          <a:latin typeface="+mn-lt"/>
                        </a:rPr>
                        <a:t>    Varices treated at baseline</a:t>
                      </a:r>
                      <a:endParaRPr lang="en-US" sz="1700" b="0" dirty="0">
                        <a:effectLst/>
                        <a:latin typeface="+mn-lt"/>
                        <a:ea typeface="SimSun" panose="02010600030101010101" pitchFamily="2" charset="-122"/>
                        <a:cs typeface="Times New Roman" panose="02020603050405020304" pitchFamily="18" charset="0"/>
                      </a:endParaRPr>
                    </a:p>
                  </a:txBody>
                  <a:tcPr marL="109694" marR="0" marT="0" marB="0" anchor="b"/>
                </a:tc>
                <a:tc>
                  <a:txBody>
                    <a:bodyPr/>
                    <a:lstStyle/>
                    <a:p>
                      <a:pPr marL="0" marR="0" algn="ctr">
                        <a:lnSpc>
                          <a:spcPct val="100000"/>
                        </a:lnSpc>
                        <a:spcBef>
                          <a:spcPts val="0"/>
                        </a:spcBef>
                        <a:spcAft>
                          <a:spcPts val="0"/>
                        </a:spcAft>
                      </a:pPr>
                      <a:r>
                        <a:rPr lang="en-US" sz="1700" b="0" dirty="0">
                          <a:effectLst/>
                          <a:latin typeface="+mn-lt"/>
                        </a:rPr>
                        <a:t>36 (11)</a:t>
                      </a:r>
                      <a:endParaRPr lang="en-US" sz="1700" b="0" dirty="0">
                        <a:effectLst/>
                        <a:latin typeface="+mn-lt"/>
                        <a:ea typeface="SimSun" panose="02010600030101010101" pitchFamily="2" charset="-122"/>
                        <a:cs typeface="Times New Roman" panose="02020603050405020304" pitchFamily="18" charset="0"/>
                      </a:endParaRPr>
                    </a:p>
                  </a:txBody>
                  <a:tcPr marL="0" marR="0" marT="0" marB="0" anchor="b"/>
                </a:tc>
                <a:tc>
                  <a:txBody>
                    <a:bodyPr/>
                    <a:lstStyle/>
                    <a:p>
                      <a:pPr marL="0" marR="0" algn="ctr">
                        <a:lnSpc>
                          <a:spcPct val="100000"/>
                        </a:lnSpc>
                        <a:spcBef>
                          <a:spcPts val="0"/>
                        </a:spcBef>
                        <a:spcAft>
                          <a:spcPts val="0"/>
                        </a:spcAft>
                      </a:pPr>
                      <a:r>
                        <a:rPr lang="en-US" sz="1700" b="0" dirty="0">
                          <a:effectLst/>
                          <a:latin typeface="+mn-lt"/>
                        </a:rPr>
                        <a:t>23 (14)</a:t>
                      </a:r>
                      <a:endParaRPr lang="en-US" sz="1700" b="0" dirty="0">
                        <a:effectLst/>
                        <a:latin typeface="+mn-lt"/>
                        <a:ea typeface="SimSun" panose="02010600030101010101" pitchFamily="2" charset="-122"/>
                        <a:cs typeface="Times New Roman" panose="02020603050405020304" pitchFamily="18" charset="0"/>
                      </a:endParaRPr>
                    </a:p>
                  </a:txBody>
                  <a:tcPr marL="0" marR="0" marT="0" marB="0" anchor="b"/>
                </a:tc>
                <a:extLst>
                  <a:ext uri="{0D108BD9-81ED-4DB2-BD59-A6C34878D82A}">
                    <a16:rowId xmlns:a16="http://schemas.microsoft.com/office/drawing/2014/main" val="193523495"/>
                  </a:ext>
                </a:extLst>
              </a:tr>
              <a:tr h="287117">
                <a:tc>
                  <a:txBody>
                    <a:bodyPr/>
                    <a:lstStyle/>
                    <a:p>
                      <a:pPr marL="0" marR="0" indent="0">
                        <a:lnSpc>
                          <a:spcPct val="100000"/>
                        </a:lnSpc>
                        <a:spcBef>
                          <a:spcPts val="0"/>
                        </a:spcBef>
                        <a:spcAft>
                          <a:spcPts val="0"/>
                        </a:spcAft>
                      </a:pPr>
                      <a:r>
                        <a:rPr lang="en-US" sz="1700" b="0" dirty="0">
                          <a:effectLst/>
                          <a:latin typeface="+mn-lt"/>
                        </a:rPr>
                        <a:t>HCC etiology</a:t>
                      </a:r>
                      <a:endParaRPr lang="en-US" sz="1700" b="0" dirty="0">
                        <a:effectLst/>
                        <a:latin typeface="+mn-lt"/>
                        <a:ea typeface="SimSun" panose="02010600030101010101" pitchFamily="2" charset="-122"/>
                        <a:cs typeface="Times New Roman" panose="02020603050405020304" pitchFamily="18" charset="0"/>
                      </a:endParaRPr>
                    </a:p>
                  </a:txBody>
                  <a:tcPr marL="109694" marR="0" marT="0" marB="0" anchor="b"/>
                </a:tc>
                <a:tc>
                  <a:txBody>
                    <a:bodyPr/>
                    <a:lstStyle/>
                    <a:p>
                      <a:pPr marL="0" marR="0" algn="ctr">
                        <a:lnSpc>
                          <a:spcPct val="100000"/>
                        </a:lnSpc>
                        <a:spcBef>
                          <a:spcPts val="0"/>
                        </a:spcBef>
                        <a:spcAft>
                          <a:spcPts val="0"/>
                        </a:spcAft>
                      </a:pPr>
                      <a:endParaRPr lang="en-US" sz="1700" b="0" dirty="0">
                        <a:effectLst/>
                        <a:latin typeface="+mn-lt"/>
                        <a:ea typeface="SimSun" panose="02010600030101010101" pitchFamily="2" charset="-122"/>
                        <a:cs typeface="Times New Roman" panose="02020603050405020304" pitchFamily="18" charset="0"/>
                      </a:endParaRPr>
                    </a:p>
                  </a:txBody>
                  <a:tcPr marL="0" marR="0" marT="0" marB="0" anchor="b"/>
                </a:tc>
                <a:tc>
                  <a:txBody>
                    <a:bodyPr/>
                    <a:lstStyle/>
                    <a:p>
                      <a:pPr marL="0" marR="0" algn="ctr">
                        <a:lnSpc>
                          <a:spcPct val="100000"/>
                        </a:lnSpc>
                        <a:spcBef>
                          <a:spcPts val="0"/>
                        </a:spcBef>
                        <a:spcAft>
                          <a:spcPts val="0"/>
                        </a:spcAft>
                      </a:pPr>
                      <a:endParaRPr lang="en-US" sz="1700" b="0" dirty="0">
                        <a:effectLst/>
                        <a:latin typeface="+mn-lt"/>
                        <a:ea typeface="SimSun" panose="02010600030101010101" pitchFamily="2" charset="-122"/>
                        <a:cs typeface="Times New Roman" panose="02020603050405020304" pitchFamily="18" charset="0"/>
                      </a:endParaRPr>
                    </a:p>
                  </a:txBody>
                  <a:tcPr marL="0" marR="0" marT="0" marB="0" anchor="b"/>
                </a:tc>
                <a:extLst>
                  <a:ext uri="{0D108BD9-81ED-4DB2-BD59-A6C34878D82A}">
                    <a16:rowId xmlns:a16="http://schemas.microsoft.com/office/drawing/2014/main" val="1015025468"/>
                  </a:ext>
                </a:extLst>
              </a:tr>
              <a:tr h="287117">
                <a:tc>
                  <a:txBody>
                    <a:bodyPr/>
                    <a:lstStyle/>
                    <a:p>
                      <a:pPr marL="173038" marR="0" indent="0">
                        <a:lnSpc>
                          <a:spcPct val="100000"/>
                        </a:lnSpc>
                        <a:spcBef>
                          <a:spcPts val="0"/>
                        </a:spcBef>
                        <a:spcAft>
                          <a:spcPts val="0"/>
                        </a:spcAft>
                      </a:pPr>
                      <a:r>
                        <a:rPr lang="en-US" sz="1700" b="0" dirty="0">
                          <a:effectLst/>
                          <a:latin typeface="+mn-lt"/>
                        </a:rPr>
                        <a:t>Hepatitis B</a:t>
                      </a:r>
                      <a:endParaRPr lang="en-US" sz="1700" b="0" dirty="0">
                        <a:effectLst/>
                        <a:latin typeface="+mn-lt"/>
                        <a:ea typeface="SimSun" panose="02010600030101010101" pitchFamily="2" charset="-122"/>
                        <a:cs typeface="Times New Roman" panose="02020603050405020304" pitchFamily="18" charset="0"/>
                      </a:endParaRPr>
                    </a:p>
                  </a:txBody>
                  <a:tcPr marL="109694" marR="0" marT="0" marB="0" anchor="b"/>
                </a:tc>
                <a:tc>
                  <a:txBody>
                    <a:bodyPr/>
                    <a:lstStyle/>
                    <a:p>
                      <a:pPr marL="0" marR="0" algn="ctr">
                        <a:lnSpc>
                          <a:spcPct val="100000"/>
                        </a:lnSpc>
                        <a:spcBef>
                          <a:spcPts val="0"/>
                        </a:spcBef>
                        <a:spcAft>
                          <a:spcPts val="0"/>
                        </a:spcAft>
                      </a:pPr>
                      <a:r>
                        <a:rPr lang="en-US" sz="1700" b="0" dirty="0">
                          <a:effectLst/>
                          <a:latin typeface="+mn-lt"/>
                        </a:rPr>
                        <a:t>164 (49)</a:t>
                      </a:r>
                      <a:endParaRPr lang="en-US" sz="1700" b="0" dirty="0">
                        <a:effectLst/>
                        <a:latin typeface="+mn-lt"/>
                        <a:ea typeface="SimSun" panose="02010600030101010101" pitchFamily="2" charset="-122"/>
                        <a:cs typeface="Times New Roman" panose="02020603050405020304" pitchFamily="18" charset="0"/>
                      </a:endParaRPr>
                    </a:p>
                  </a:txBody>
                  <a:tcPr marL="0" marR="0" marT="0" marB="0" anchor="b"/>
                </a:tc>
                <a:tc>
                  <a:txBody>
                    <a:bodyPr/>
                    <a:lstStyle/>
                    <a:p>
                      <a:pPr marL="0" marR="0" algn="ctr">
                        <a:lnSpc>
                          <a:spcPct val="100000"/>
                        </a:lnSpc>
                        <a:spcBef>
                          <a:spcPts val="0"/>
                        </a:spcBef>
                        <a:spcAft>
                          <a:spcPts val="0"/>
                        </a:spcAft>
                      </a:pPr>
                      <a:r>
                        <a:rPr lang="en-US" sz="1700" b="0" dirty="0">
                          <a:effectLst/>
                          <a:latin typeface="+mn-lt"/>
                        </a:rPr>
                        <a:t>76 (46)</a:t>
                      </a:r>
                      <a:endParaRPr lang="en-US" sz="1700" b="0" dirty="0">
                        <a:effectLst/>
                        <a:latin typeface="+mn-lt"/>
                        <a:ea typeface="SimSun" panose="02010600030101010101" pitchFamily="2" charset="-122"/>
                        <a:cs typeface="Times New Roman" panose="02020603050405020304" pitchFamily="18" charset="0"/>
                      </a:endParaRPr>
                    </a:p>
                  </a:txBody>
                  <a:tcPr marL="0" marR="0" marT="0" marB="0" anchor="b"/>
                </a:tc>
                <a:extLst>
                  <a:ext uri="{0D108BD9-81ED-4DB2-BD59-A6C34878D82A}">
                    <a16:rowId xmlns:a16="http://schemas.microsoft.com/office/drawing/2014/main" val="2806975806"/>
                  </a:ext>
                </a:extLst>
              </a:tr>
              <a:tr h="287117">
                <a:tc>
                  <a:txBody>
                    <a:bodyPr/>
                    <a:lstStyle/>
                    <a:p>
                      <a:pPr marL="158750" marR="0">
                        <a:lnSpc>
                          <a:spcPct val="100000"/>
                        </a:lnSpc>
                        <a:spcBef>
                          <a:spcPts val="0"/>
                        </a:spcBef>
                        <a:spcAft>
                          <a:spcPts val="0"/>
                        </a:spcAft>
                      </a:pPr>
                      <a:r>
                        <a:rPr lang="en-US" sz="1700" b="0" dirty="0">
                          <a:effectLst/>
                          <a:latin typeface="+mn-lt"/>
                        </a:rPr>
                        <a:t>Hepatitis C</a:t>
                      </a:r>
                      <a:endParaRPr lang="en-US" sz="1700" b="0" dirty="0">
                        <a:effectLst/>
                        <a:latin typeface="+mn-lt"/>
                        <a:ea typeface="SimSun" panose="02010600030101010101" pitchFamily="2" charset="-122"/>
                        <a:cs typeface="Times New Roman" panose="02020603050405020304" pitchFamily="18" charset="0"/>
                      </a:endParaRPr>
                    </a:p>
                  </a:txBody>
                  <a:tcPr marL="109694" marR="0" marT="0" marB="0" anchor="b"/>
                </a:tc>
                <a:tc>
                  <a:txBody>
                    <a:bodyPr/>
                    <a:lstStyle/>
                    <a:p>
                      <a:pPr marL="0" marR="0" algn="ctr">
                        <a:lnSpc>
                          <a:spcPct val="100000"/>
                        </a:lnSpc>
                        <a:spcBef>
                          <a:spcPts val="0"/>
                        </a:spcBef>
                        <a:spcAft>
                          <a:spcPts val="0"/>
                        </a:spcAft>
                      </a:pPr>
                      <a:r>
                        <a:rPr lang="en-US" sz="1700" b="0" dirty="0">
                          <a:effectLst/>
                          <a:latin typeface="+mn-lt"/>
                        </a:rPr>
                        <a:t>72 (21)</a:t>
                      </a:r>
                      <a:endParaRPr lang="en-US" sz="1700" b="0" dirty="0">
                        <a:effectLst/>
                        <a:latin typeface="+mn-lt"/>
                        <a:ea typeface="SimSun" panose="02010600030101010101" pitchFamily="2" charset="-122"/>
                        <a:cs typeface="Times New Roman" panose="02020603050405020304" pitchFamily="18" charset="0"/>
                      </a:endParaRPr>
                    </a:p>
                  </a:txBody>
                  <a:tcPr marL="0" marR="0" marT="0" marB="0" anchor="b"/>
                </a:tc>
                <a:tc>
                  <a:txBody>
                    <a:bodyPr/>
                    <a:lstStyle/>
                    <a:p>
                      <a:pPr marL="0" marR="0" algn="ctr">
                        <a:lnSpc>
                          <a:spcPct val="100000"/>
                        </a:lnSpc>
                        <a:spcBef>
                          <a:spcPts val="0"/>
                        </a:spcBef>
                        <a:spcAft>
                          <a:spcPts val="0"/>
                        </a:spcAft>
                      </a:pPr>
                      <a:r>
                        <a:rPr lang="en-US" sz="1700" b="0" dirty="0">
                          <a:effectLst/>
                          <a:latin typeface="+mn-lt"/>
                        </a:rPr>
                        <a:t>36 (22)</a:t>
                      </a:r>
                      <a:endParaRPr lang="en-US" sz="1700" b="0" dirty="0">
                        <a:effectLst/>
                        <a:latin typeface="+mn-lt"/>
                        <a:ea typeface="SimSun" panose="02010600030101010101" pitchFamily="2" charset="-122"/>
                        <a:cs typeface="Times New Roman" panose="02020603050405020304" pitchFamily="18" charset="0"/>
                      </a:endParaRPr>
                    </a:p>
                  </a:txBody>
                  <a:tcPr marL="0" marR="0" marT="0" marB="0" anchor="b"/>
                </a:tc>
                <a:extLst>
                  <a:ext uri="{0D108BD9-81ED-4DB2-BD59-A6C34878D82A}">
                    <a16:rowId xmlns:a16="http://schemas.microsoft.com/office/drawing/2014/main" val="3111396017"/>
                  </a:ext>
                </a:extLst>
              </a:tr>
              <a:tr h="287117">
                <a:tc>
                  <a:txBody>
                    <a:bodyPr/>
                    <a:lstStyle/>
                    <a:p>
                      <a:pPr marL="158750" marR="0">
                        <a:lnSpc>
                          <a:spcPct val="100000"/>
                        </a:lnSpc>
                        <a:spcBef>
                          <a:spcPts val="0"/>
                        </a:spcBef>
                        <a:spcAft>
                          <a:spcPts val="0"/>
                        </a:spcAft>
                      </a:pPr>
                      <a:r>
                        <a:rPr lang="en-US" sz="1700" b="0" dirty="0">
                          <a:effectLst/>
                          <a:latin typeface="+mn-lt"/>
                        </a:rPr>
                        <a:t>Non-viral</a:t>
                      </a:r>
                      <a:r>
                        <a:rPr lang="en-US" sz="1700" b="0" baseline="30000" dirty="0">
                          <a:effectLst/>
                          <a:latin typeface="+mn-lt"/>
                        </a:rPr>
                        <a:t>c</a:t>
                      </a:r>
                      <a:endParaRPr lang="en-US" sz="1700" b="0" baseline="30000" dirty="0">
                        <a:effectLst/>
                        <a:latin typeface="+mn-lt"/>
                        <a:ea typeface="SimSun" panose="02010600030101010101" pitchFamily="2" charset="-122"/>
                        <a:cs typeface="Times New Roman" panose="02020603050405020304" pitchFamily="18" charset="0"/>
                      </a:endParaRPr>
                    </a:p>
                  </a:txBody>
                  <a:tcPr marL="109694" marR="0" marT="0" marB="0" anchor="b"/>
                </a:tc>
                <a:tc>
                  <a:txBody>
                    <a:bodyPr/>
                    <a:lstStyle/>
                    <a:p>
                      <a:pPr marL="0" marR="0" algn="ctr">
                        <a:lnSpc>
                          <a:spcPct val="100000"/>
                        </a:lnSpc>
                        <a:spcBef>
                          <a:spcPts val="0"/>
                        </a:spcBef>
                        <a:spcAft>
                          <a:spcPts val="0"/>
                        </a:spcAft>
                      </a:pPr>
                      <a:r>
                        <a:rPr lang="en-US" sz="1700" b="0" dirty="0">
                          <a:effectLst/>
                          <a:latin typeface="+mn-lt"/>
                        </a:rPr>
                        <a:t>100 (30)</a:t>
                      </a:r>
                      <a:endParaRPr lang="en-US" sz="1700" b="0" dirty="0">
                        <a:effectLst/>
                        <a:latin typeface="+mn-lt"/>
                        <a:ea typeface="SimSun" panose="02010600030101010101" pitchFamily="2" charset="-122"/>
                        <a:cs typeface="Times New Roman" panose="02020603050405020304" pitchFamily="18" charset="0"/>
                      </a:endParaRPr>
                    </a:p>
                  </a:txBody>
                  <a:tcPr marL="0" marR="0" marT="0" marB="0" anchor="b"/>
                </a:tc>
                <a:tc>
                  <a:txBody>
                    <a:bodyPr/>
                    <a:lstStyle/>
                    <a:p>
                      <a:pPr marL="0" marR="0" algn="ctr">
                        <a:lnSpc>
                          <a:spcPct val="100000"/>
                        </a:lnSpc>
                        <a:spcBef>
                          <a:spcPts val="0"/>
                        </a:spcBef>
                        <a:spcAft>
                          <a:spcPts val="0"/>
                        </a:spcAft>
                      </a:pPr>
                      <a:r>
                        <a:rPr lang="en-US" sz="1700" b="0" dirty="0">
                          <a:effectLst/>
                          <a:latin typeface="+mn-lt"/>
                        </a:rPr>
                        <a:t>53 (32)</a:t>
                      </a:r>
                      <a:endParaRPr lang="en-US" sz="1700" b="0" dirty="0">
                        <a:effectLst/>
                        <a:latin typeface="+mn-lt"/>
                        <a:ea typeface="SimSun" panose="02010600030101010101" pitchFamily="2" charset="-122"/>
                        <a:cs typeface="Times New Roman" panose="02020603050405020304" pitchFamily="18" charset="0"/>
                      </a:endParaRPr>
                    </a:p>
                  </a:txBody>
                  <a:tcPr marL="0" marR="0" marT="0" marB="0" anchor="b"/>
                </a:tc>
                <a:extLst>
                  <a:ext uri="{0D108BD9-81ED-4DB2-BD59-A6C34878D82A}">
                    <a16:rowId xmlns:a16="http://schemas.microsoft.com/office/drawing/2014/main" val="537024158"/>
                  </a:ext>
                </a:extLst>
              </a:tr>
            </a:tbl>
          </a:graphicData>
        </a:graphic>
      </p:graphicFrame>
    </p:spTree>
    <p:extLst>
      <p:ext uri="{BB962C8B-B14F-4D97-AF65-F5344CB8AC3E}">
        <p14:creationId xmlns:p14="http://schemas.microsoft.com/office/powerpoint/2010/main" val="344447380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178" y="238126"/>
            <a:ext cx="11362945" cy="868680"/>
          </a:xfrm>
        </p:spPr>
        <p:txBody>
          <a:bodyPr/>
          <a:lstStyle/>
          <a:p>
            <a:r>
              <a:rPr lang="en-US" dirty="0"/>
              <a:t>IMbrave150 Trial</a:t>
            </a:r>
            <a:br>
              <a:rPr lang="en-US" dirty="0"/>
            </a:br>
            <a:r>
              <a:rPr lang="en-US" sz="3600" i="1" dirty="0"/>
              <a:t>Key Efficacy Data: Updated OS and PFS</a:t>
            </a:r>
            <a:endParaRPr lang="en-US" i="1" dirty="0"/>
          </a:p>
        </p:txBody>
      </p:sp>
      <p:sp>
        <p:nvSpPr>
          <p:cNvPr id="3" name="Content Placeholder 2"/>
          <p:cNvSpPr>
            <a:spLocks noGrp="1"/>
          </p:cNvSpPr>
          <p:nvPr>
            <p:ph idx="1"/>
          </p:nvPr>
        </p:nvSpPr>
        <p:spPr>
          <a:xfrm>
            <a:off x="453773" y="1441914"/>
            <a:ext cx="11362944" cy="4666279"/>
          </a:xfrm>
        </p:spPr>
        <p:txBody>
          <a:bodyPr/>
          <a:lstStyle/>
          <a:p>
            <a:pPr lvl="1"/>
            <a:r>
              <a:rPr lang="en-US" sz="2400" dirty="0"/>
              <a:t>Primary analysis OS/PFS HR: 0.58/0.59 (median follow-up: 8.6 </a:t>
            </a:r>
            <a:r>
              <a:rPr lang="en-US" sz="2400" dirty="0" err="1"/>
              <a:t>mo</a:t>
            </a:r>
            <a:r>
              <a:rPr lang="en-US" sz="2400" dirty="0"/>
              <a:t>)</a:t>
            </a:r>
            <a:endParaRPr lang="en-US" sz="2400" baseline="30000" dirty="0"/>
          </a:p>
          <a:p>
            <a:pPr lvl="1"/>
            <a:endParaRPr lang="en-US" sz="2400" dirty="0"/>
          </a:p>
          <a:p>
            <a:pPr lvl="1"/>
            <a:endParaRPr lang="en-US" sz="2400" dirty="0"/>
          </a:p>
          <a:p>
            <a:pPr lvl="1"/>
            <a:endParaRPr lang="en-US" sz="2400" dirty="0"/>
          </a:p>
          <a:p>
            <a:pPr lvl="1"/>
            <a:endParaRPr lang="en-US" sz="2400" dirty="0"/>
          </a:p>
          <a:p>
            <a:pPr lvl="1"/>
            <a:endParaRPr lang="en-US" sz="2400" dirty="0"/>
          </a:p>
          <a:p>
            <a:pPr lvl="1"/>
            <a:endParaRPr lang="en-US" sz="2400" dirty="0"/>
          </a:p>
          <a:p>
            <a:pPr lvl="1"/>
            <a:endParaRPr lang="en-US" sz="2400" dirty="0"/>
          </a:p>
          <a:p>
            <a:pPr lvl="1"/>
            <a:endParaRPr lang="en-US" sz="2400" dirty="0"/>
          </a:p>
          <a:p>
            <a:pPr lvl="1"/>
            <a:r>
              <a:rPr lang="en-US" sz="2400" dirty="0"/>
              <a:t>Median follow-up: 15.6 </a:t>
            </a:r>
            <a:r>
              <a:rPr lang="en-US" sz="2400" dirty="0" err="1"/>
              <a:t>mo</a:t>
            </a:r>
            <a:endParaRPr lang="en-US" sz="2400" baseline="30000" dirty="0"/>
          </a:p>
          <a:p>
            <a:pPr lvl="1"/>
            <a:endParaRPr lang="en-US" sz="2400" dirty="0"/>
          </a:p>
          <a:p>
            <a:pPr lvl="1"/>
            <a:endParaRPr lang="en-US" dirty="0"/>
          </a:p>
        </p:txBody>
      </p:sp>
      <p:sp>
        <p:nvSpPr>
          <p:cNvPr id="7" name="Text Placeholder 6"/>
          <p:cNvSpPr>
            <a:spLocks noGrp="1"/>
          </p:cNvSpPr>
          <p:nvPr>
            <p:ph type="body" sz="quarter" idx="12"/>
          </p:nvPr>
        </p:nvSpPr>
        <p:spPr/>
        <p:txBody>
          <a:bodyPr/>
          <a:lstStyle/>
          <a:p>
            <a:r>
              <a:rPr lang="en-US" altLang="en-US" dirty="0">
                <a:latin typeface="Calibri" panose="020F0502020204030204" pitchFamily="34" charset="0"/>
                <a:ea typeface="MS PGothic" pitchFamily="34" charset="-128"/>
                <a:cs typeface="Arial" panose="020B0604020202020204" pitchFamily="34" charset="0"/>
              </a:rPr>
              <a:t>Finn RS et al NEJM 2020, Finn RS et al ASCO GI 2021, Cheng AL J Hep 2022</a:t>
            </a:r>
          </a:p>
        </p:txBody>
      </p:sp>
      <p:pic>
        <p:nvPicPr>
          <p:cNvPr id="5" name="Picture 4">
            <a:extLst>
              <a:ext uri="{FF2B5EF4-FFF2-40B4-BE49-F238E27FC236}">
                <a16:creationId xmlns:a16="http://schemas.microsoft.com/office/drawing/2014/main" id="{D15BD1D6-972C-422C-A187-5816ECDD3180}"/>
              </a:ext>
            </a:extLst>
          </p:cNvPr>
          <p:cNvPicPr>
            <a:picLocks noChangeAspect="1"/>
          </p:cNvPicPr>
          <p:nvPr/>
        </p:nvPicPr>
        <p:blipFill>
          <a:blip r:embed="rId3"/>
          <a:stretch>
            <a:fillRect/>
          </a:stretch>
        </p:blipFill>
        <p:spPr>
          <a:xfrm>
            <a:off x="364888" y="2037500"/>
            <a:ext cx="7052017" cy="2329824"/>
          </a:xfrm>
          <a:prstGeom prst="rect">
            <a:avLst/>
          </a:prstGeom>
        </p:spPr>
      </p:pic>
      <p:sp>
        <p:nvSpPr>
          <p:cNvPr id="6" name="Rectangle 5">
            <a:extLst>
              <a:ext uri="{FF2B5EF4-FFF2-40B4-BE49-F238E27FC236}">
                <a16:creationId xmlns:a16="http://schemas.microsoft.com/office/drawing/2014/main" id="{45C1F28E-EF1F-4690-BB7C-72EBA7D0866D}"/>
              </a:ext>
            </a:extLst>
          </p:cNvPr>
          <p:cNvSpPr/>
          <p:nvPr/>
        </p:nvSpPr>
        <p:spPr bwMode="auto">
          <a:xfrm>
            <a:off x="412753" y="3758086"/>
            <a:ext cx="662423" cy="200967"/>
          </a:xfrm>
          <a:prstGeom prst="rect">
            <a:avLst/>
          </a:prstGeom>
          <a:solidFill>
            <a:schemeClr val="bg1"/>
          </a:solidFill>
          <a:ln w="0">
            <a:solidFill>
              <a:schemeClr val="bg1"/>
            </a:solidFill>
            <a:miter lim="800000"/>
            <a:headEnd/>
            <a:tailEnd/>
          </a:ln>
        </p:spPr>
        <p:txBody>
          <a:bodyPr rtlCol="0" anchor="b"/>
          <a:lstStyle/>
          <a:p>
            <a:pPr marL="0" marR="0" lvl="0" indent="0" algn="ctr" defTabSz="914377"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pic>
        <p:nvPicPr>
          <p:cNvPr id="8" name="Picture 7">
            <a:extLst>
              <a:ext uri="{FF2B5EF4-FFF2-40B4-BE49-F238E27FC236}">
                <a16:creationId xmlns:a16="http://schemas.microsoft.com/office/drawing/2014/main" id="{1F2829AD-1775-4D4C-B00D-2432BA03FBDA}"/>
              </a:ext>
            </a:extLst>
          </p:cNvPr>
          <p:cNvPicPr>
            <a:picLocks noChangeAspect="1"/>
          </p:cNvPicPr>
          <p:nvPr/>
        </p:nvPicPr>
        <p:blipFill>
          <a:blip r:embed="rId4"/>
          <a:stretch>
            <a:fillRect/>
          </a:stretch>
        </p:blipFill>
        <p:spPr>
          <a:xfrm>
            <a:off x="5524961" y="2061981"/>
            <a:ext cx="3475075" cy="1551763"/>
          </a:xfrm>
          <a:prstGeom prst="rect">
            <a:avLst/>
          </a:prstGeom>
        </p:spPr>
      </p:pic>
      <p:sp>
        <p:nvSpPr>
          <p:cNvPr id="9" name="Rectangle 8">
            <a:extLst>
              <a:ext uri="{FF2B5EF4-FFF2-40B4-BE49-F238E27FC236}">
                <a16:creationId xmlns:a16="http://schemas.microsoft.com/office/drawing/2014/main" id="{48566A6E-1F61-4A69-8CDD-12562E1E7979}"/>
              </a:ext>
            </a:extLst>
          </p:cNvPr>
          <p:cNvSpPr/>
          <p:nvPr/>
        </p:nvSpPr>
        <p:spPr bwMode="auto">
          <a:xfrm>
            <a:off x="4983984" y="2223323"/>
            <a:ext cx="582805" cy="1092632"/>
          </a:xfrm>
          <a:prstGeom prst="rect">
            <a:avLst/>
          </a:prstGeom>
          <a:solidFill>
            <a:schemeClr val="bg1"/>
          </a:solidFill>
          <a:ln w="0">
            <a:solidFill>
              <a:schemeClr val="bg1"/>
            </a:solidFill>
            <a:miter lim="800000"/>
            <a:headEnd/>
            <a:tailEnd/>
          </a:ln>
        </p:spPr>
        <p:txBody>
          <a:bodyPr rtlCol="0" anchor="b"/>
          <a:lstStyle/>
          <a:p>
            <a:pPr marL="0" marR="0" lvl="0" indent="0" algn="ctr" defTabSz="914377" rtl="0" eaLnBrk="1" fontAlgn="auto"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pic>
        <p:nvPicPr>
          <p:cNvPr id="10" name="Picture 9">
            <a:extLst>
              <a:ext uri="{FF2B5EF4-FFF2-40B4-BE49-F238E27FC236}">
                <a16:creationId xmlns:a16="http://schemas.microsoft.com/office/drawing/2014/main" id="{90375EA3-B9E5-40E1-93D7-AF6478C7FE53}"/>
              </a:ext>
            </a:extLst>
          </p:cNvPr>
          <p:cNvPicPr>
            <a:picLocks noChangeAspect="1"/>
          </p:cNvPicPr>
          <p:nvPr/>
        </p:nvPicPr>
        <p:blipFill>
          <a:blip r:embed="rId5"/>
          <a:stretch>
            <a:fillRect/>
          </a:stretch>
        </p:blipFill>
        <p:spPr>
          <a:xfrm>
            <a:off x="4665917" y="4258777"/>
            <a:ext cx="7075471" cy="2361097"/>
          </a:xfrm>
          <a:prstGeom prst="rect">
            <a:avLst/>
          </a:prstGeom>
        </p:spPr>
      </p:pic>
      <p:pic>
        <p:nvPicPr>
          <p:cNvPr id="11" name="Picture 10">
            <a:extLst>
              <a:ext uri="{FF2B5EF4-FFF2-40B4-BE49-F238E27FC236}">
                <a16:creationId xmlns:a16="http://schemas.microsoft.com/office/drawing/2014/main" id="{1AB58D19-D4A8-46CD-B6C3-EA41CA7C9F48}"/>
              </a:ext>
            </a:extLst>
          </p:cNvPr>
          <p:cNvPicPr>
            <a:picLocks noChangeAspect="1"/>
          </p:cNvPicPr>
          <p:nvPr/>
        </p:nvPicPr>
        <p:blipFill>
          <a:blip r:embed="rId6"/>
          <a:stretch>
            <a:fillRect/>
          </a:stretch>
        </p:blipFill>
        <p:spPr>
          <a:xfrm>
            <a:off x="8533959" y="3858569"/>
            <a:ext cx="3584355" cy="1650115"/>
          </a:xfrm>
          <a:prstGeom prst="rect">
            <a:avLst/>
          </a:prstGeom>
        </p:spPr>
      </p:pic>
      <p:sp>
        <p:nvSpPr>
          <p:cNvPr id="12" name="Rectangle 11">
            <a:extLst>
              <a:ext uri="{FF2B5EF4-FFF2-40B4-BE49-F238E27FC236}">
                <a16:creationId xmlns:a16="http://schemas.microsoft.com/office/drawing/2014/main" id="{E2A43039-683E-474B-8681-592DB74055F1}"/>
              </a:ext>
            </a:extLst>
          </p:cNvPr>
          <p:cNvSpPr/>
          <p:nvPr/>
        </p:nvSpPr>
        <p:spPr>
          <a:xfrm>
            <a:off x="152178" y="4258778"/>
            <a:ext cx="922997" cy="20096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3" name="Rectangle 12">
            <a:extLst>
              <a:ext uri="{FF2B5EF4-FFF2-40B4-BE49-F238E27FC236}">
                <a16:creationId xmlns:a16="http://schemas.microsoft.com/office/drawing/2014/main" id="{CFBC8E5E-FD6E-4E13-8600-1A2DA31D6611}"/>
              </a:ext>
            </a:extLst>
          </p:cNvPr>
          <p:cNvSpPr/>
          <p:nvPr/>
        </p:nvSpPr>
        <p:spPr>
          <a:xfrm>
            <a:off x="4129086" y="6411385"/>
            <a:ext cx="922997" cy="20096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74857449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64728" y="320216"/>
            <a:ext cx="11462544" cy="657442"/>
          </a:xfrm>
        </p:spPr>
        <p:txBody>
          <a:bodyPr>
            <a:noAutofit/>
          </a:bodyPr>
          <a:lstStyle/>
          <a:p>
            <a:r>
              <a:rPr lang="en-US" sz="3600" dirty="0"/>
              <a:t>Updated response and duration of response</a:t>
            </a:r>
          </a:p>
        </p:txBody>
      </p:sp>
      <p:sp>
        <p:nvSpPr>
          <p:cNvPr id="7" name="Footer Placeholder 6">
            <a:extLst>
              <a:ext uri="{FF2B5EF4-FFF2-40B4-BE49-F238E27FC236}">
                <a16:creationId xmlns:a16="http://schemas.microsoft.com/office/drawing/2014/main" id="{F105F90A-EA45-7C45-A736-B4ACA9DCD6DC}"/>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Arial" panose="020B0604020202020204"/>
                <a:ea typeface="+mn-ea"/>
                <a:cs typeface="+mn-cs"/>
              </a:rPr>
              <a:t>PRESENTED BY:</a:t>
            </a:r>
            <a:r>
              <a:rPr kumimoji="0" lang="en-US" sz="1000" b="0" i="0" u="none" strike="noStrike" kern="1200" cap="none" spc="0" normalizeH="0" baseline="0" noProof="0" dirty="0">
                <a:ln>
                  <a:noFill/>
                </a:ln>
                <a:solidFill>
                  <a:srgbClr val="FFFFFF"/>
                </a:solidFill>
                <a:effectLst/>
                <a:uLnTx/>
                <a:uFillTx/>
                <a:latin typeface="Arial" panose="020B0604020202020204"/>
                <a:ea typeface="+mn-ea"/>
                <a:cs typeface="+mn-cs"/>
              </a:rPr>
              <a:t> Dr Richard S Finn </a:t>
            </a:r>
            <a:br>
              <a:rPr kumimoji="0" lang="en-US" sz="1000" b="0"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en-US" sz="1000" b="0" i="0" u="none" strike="noStrike" kern="1200" cap="none" spc="0" normalizeH="0" baseline="0" noProof="0" dirty="0">
                <a:ln>
                  <a:noFill/>
                </a:ln>
                <a:solidFill>
                  <a:srgbClr val="FFFFFF"/>
                </a:solidFill>
                <a:effectLst/>
                <a:uLnTx/>
                <a:uFillTx/>
                <a:latin typeface="Arial" panose="020B0604020202020204"/>
                <a:ea typeface="+mn-ea"/>
                <a:cs typeface="+mn-cs"/>
              </a:rPr>
              <a:t>https://bit.ly/3m2WYcl</a:t>
            </a:r>
            <a:endParaRPr kumimoji="0" lang="en-US" sz="1000" b="0" i="0" u="none" strike="noStrike" kern="1200" cap="none" spc="0" normalizeH="0" baseline="0" noProof="0" dirty="0">
              <a:ln>
                <a:noFill/>
              </a:ln>
              <a:solidFill>
                <a:srgbClr val="FFFFFF"/>
              </a:solidFill>
              <a:effectLst/>
              <a:highlight>
                <a:srgbClr val="000080"/>
              </a:highlight>
              <a:uLnTx/>
              <a:uFillTx/>
              <a:latin typeface="Arial" panose="020B0604020202020204"/>
              <a:ea typeface="+mn-ea"/>
              <a:cs typeface="+mn-cs"/>
            </a:endParaRPr>
          </a:p>
        </p:txBody>
      </p:sp>
      <p:sp>
        <p:nvSpPr>
          <p:cNvPr id="8" name="TextBox 7">
            <a:extLst>
              <a:ext uri="{FF2B5EF4-FFF2-40B4-BE49-F238E27FC236}">
                <a16:creationId xmlns:a16="http://schemas.microsoft.com/office/drawing/2014/main" id="{D3A2D968-9332-4B06-BFC6-08E029FB88FC}"/>
              </a:ext>
            </a:extLst>
          </p:cNvPr>
          <p:cNvSpPr txBox="1"/>
          <p:nvPr/>
        </p:nvSpPr>
        <p:spPr>
          <a:xfrm>
            <a:off x="327024" y="6034520"/>
            <a:ext cx="7216776" cy="230832"/>
          </a:xfrm>
          <a:prstGeom prst="rect">
            <a:avLst/>
          </a:prstGeom>
          <a:noFill/>
        </p:spPr>
        <p:txBody>
          <a:bodyPr wrap="square" lIns="0" tIns="0" rIns="0" b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447C"/>
                </a:solidFill>
                <a:effectLst/>
                <a:uLnTx/>
                <a:uFillTx/>
                <a:latin typeface="Arial" panose="020B0604020202020204"/>
                <a:ea typeface="+mn-ea"/>
                <a:cs typeface="+mn-cs"/>
              </a:rPr>
              <a:t>Clinical cutoff: August 31, 2020; median follow-up: 15.6 mo. DCR, disease control rat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30000" noProof="0" dirty="0">
                <a:ln>
                  <a:noFill/>
                </a:ln>
                <a:solidFill>
                  <a:srgbClr val="00447C"/>
                </a:solidFill>
                <a:effectLst/>
                <a:uLnTx/>
                <a:uFillTx/>
                <a:latin typeface="Arial" panose="020B0604020202020204"/>
                <a:ea typeface="+mn-ea"/>
                <a:cs typeface="+mn-cs"/>
              </a:rPr>
              <a:t>a</a:t>
            </a:r>
            <a:r>
              <a:rPr kumimoji="0" lang="en-US" sz="1000" b="0" i="0" u="none" strike="noStrike" kern="1200" cap="none" spc="0" normalizeH="0" baseline="0" noProof="0" dirty="0">
                <a:ln>
                  <a:noFill/>
                </a:ln>
                <a:solidFill>
                  <a:srgbClr val="00447C"/>
                </a:solidFill>
                <a:effectLst/>
                <a:uLnTx/>
                <a:uFillTx/>
                <a:latin typeface="Arial" panose="020B0604020202020204"/>
                <a:ea typeface="+mn-ea"/>
                <a:cs typeface="+mn-cs"/>
              </a:rPr>
              <a:t> Only patients with measurable disease at baseline were included in the analysis of ORR. </a:t>
            </a:r>
            <a:br>
              <a:rPr kumimoji="0" lang="en-US" sz="1000" b="0" i="0" u="none" strike="noStrike" kern="1200" cap="none" spc="0" normalizeH="0" baseline="0" noProof="0" dirty="0">
                <a:ln>
                  <a:noFill/>
                </a:ln>
                <a:solidFill>
                  <a:srgbClr val="00447C"/>
                </a:solidFill>
                <a:effectLst/>
                <a:uLnTx/>
                <a:uFillTx/>
                <a:latin typeface="Arial" panose="020B0604020202020204"/>
                <a:ea typeface="+mn-ea"/>
                <a:cs typeface="+mn-cs"/>
              </a:rPr>
            </a:br>
            <a:r>
              <a:rPr kumimoji="0" lang="en-US" sz="1000" b="0" i="0" u="none" strike="noStrike" kern="1200" cap="none" spc="0" normalizeH="0" baseline="30000" noProof="0" dirty="0">
                <a:ln>
                  <a:noFill/>
                </a:ln>
                <a:solidFill>
                  <a:srgbClr val="00447C"/>
                </a:solidFill>
                <a:effectLst/>
                <a:uLnTx/>
                <a:uFillTx/>
                <a:latin typeface="Arial" panose="020B0604020202020204"/>
                <a:ea typeface="+mn-ea"/>
                <a:cs typeface="+mn-cs"/>
              </a:rPr>
              <a:t>b</a:t>
            </a:r>
            <a:r>
              <a:rPr kumimoji="0" lang="en-US" sz="1000" b="0" i="0" u="none" strike="noStrike" kern="1200" cap="none" spc="0" normalizeH="0" baseline="0" noProof="0" dirty="0">
                <a:ln>
                  <a:noFill/>
                </a:ln>
                <a:solidFill>
                  <a:srgbClr val="00447C"/>
                </a:solidFill>
                <a:effectLst/>
                <a:uLnTx/>
                <a:uFillTx/>
                <a:latin typeface="Arial" panose="020B0604020202020204"/>
                <a:ea typeface="+mn-ea"/>
                <a:cs typeface="+mn-cs"/>
              </a:rPr>
              <a:t> Only confirmed responders were included in the analysis of ORR and DOR.</a:t>
            </a:r>
          </a:p>
        </p:txBody>
      </p:sp>
      <p:graphicFrame>
        <p:nvGraphicFramePr>
          <p:cNvPr id="10" name="Table 9">
            <a:extLst>
              <a:ext uri="{FF2B5EF4-FFF2-40B4-BE49-F238E27FC236}">
                <a16:creationId xmlns:a16="http://schemas.microsoft.com/office/drawing/2014/main" id="{EF215E15-4F5A-4E3D-A00B-38DA5C586245}"/>
              </a:ext>
            </a:extLst>
          </p:cNvPr>
          <p:cNvGraphicFramePr>
            <a:graphicFrameLocks noGrp="1"/>
          </p:cNvGraphicFramePr>
          <p:nvPr/>
        </p:nvGraphicFramePr>
        <p:xfrm>
          <a:off x="1316666" y="1150883"/>
          <a:ext cx="9558668" cy="4143160"/>
        </p:xfrm>
        <a:graphic>
          <a:graphicData uri="http://schemas.openxmlformats.org/drawingml/2006/table">
            <a:tbl>
              <a:tblPr firstRow="1" bandRow="1">
                <a:tableStyleId>{5C22544A-7EE6-4342-B048-85BDC9FD1C3A}</a:tableStyleId>
              </a:tblPr>
              <a:tblGrid>
                <a:gridCol w="3437460">
                  <a:extLst>
                    <a:ext uri="{9D8B030D-6E8A-4147-A177-3AD203B41FA5}">
                      <a16:colId xmlns:a16="http://schemas.microsoft.com/office/drawing/2014/main" val="204107940"/>
                    </a:ext>
                  </a:extLst>
                </a:gridCol>
                <a:gridCol w="1530302">
                  <a:extLst>
                    <a:ext uri="{9D8B030D-6E8A-4147-A177-3AD203B41FA5}">
                      <a16:colId xmlns:a16="http://schemas.microsoft.com/office/drawing/2014/main" val="2945666166"/>
                    </a:ext>
                  </a:extLst>
                </a:gridCol>
                <a:gridCol w="1530302">
                  <a:extLst>
                    <a:ext uri="{9D8B030D-6E8A-4147-A177-3AD203B41FA5}">
                      <a16:colId xmlns:a16="http://schemas.microsoft.com/office/drawing/2014/main" val="1538693126"/>
                    </a:ext>
                  </a:extLst>
                </a:gridCol>
                <a:gridCol w="1530302">
                  <a:extLst>
                    <a:ext uri="{9D8B030D-6E8A-4147-A177-3AD203B41FA5}">
                      <a16:colId xmlns:a16="http://schemas.microsoft.com/office/drawing/2014/main" val="1307053495"/>
                    </a:ext>
                  </a:extLst>
                </a:gridCol>
                <a:gridCol w="1530302">
                  <a:extLst>
                    <a:ext uri="{9D8B030D-6E8A-4147-A177-3AD203B41FA5}">
                      <a16:colId xmlns:a16="http://schemas.microsoft.com/office/drawing/2014/main" val="574507616"/>
                    </a:ext>
                  </a:extLst>
                </a:gridCol>
              </a:tblGrid>
              <a:tr h="307307">
                <a:tc rowSpan="3">
                  <a:txBody>
                    <a:bodyPr/>
                    <a:lstStyle/>
                    <a:p>
                      <a:pPr marL="0" marR="0">
                        <a:lnSpc>
                          <a:spcPct val="115000"/>
                        </a:lnSpc>
                        <a:spcBef>
                          <a:spcPts val="0"/>
                        </a:spcBef>
                        <a:spcAft>
                          <a:spcPts val="0"/>
                        </a:spcAft>
                      </a:pPr>
                      <a:r>
                        <a:rPr lang="en-GB" sz="1400" dirty="0">
                          <a:solidFill>
                            <a:schemeClr val="bg1"/>
                          </a:solidFill>
                          <a:effectLst/>
                          <a:latin typeface="+mn-lt"/>
                        </a:rPr>
                        <a:t> </a:t>
                      </a:r>
                      <a:endParaRPr lang="en-US" sz="1400" dirty="0">
                        <a:solidFill>
                          <a:schemeClr val="bg1"/>
                        </a:solidFill>
                        <a:effectLst/>
                        <a:latin typeface="+mn-lt"/>
                        <a:ea typeface="SimSun" panose="02010600030101010101" pitchFamily="2" charset="-122"/>
                        <a:cs typeface="Arial" panose="020B0604020202020204" pitchFamily="34" charset="0"/>
                      </a:endParaRPr>
                    </a:p>
                  </a:txBody>
                  <a:tcPr marL="68580" marR="68580" marT="0" marB="0" anchor="ctr">
                    <a:lnL w="12700" cmpd="sng">
                      <a:noFill/>
                    </a:lnL>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gridSpan="4">
                  <a:txBody>
                    <a:bodyPr/>
                    <a:lstStyle/>
                    <a:p>
                      <a:pPr marL="0" marR="0" lvl="0" indent="0" algn="ctr" defTabSz="914400" rtl="0" eaLnBrk="1" fontAlgn="auto" latinLnBrk="0" hangingPunct="1">
                        <a:lnSpc>
                          <a:spcPct val="115000"/>
                        </a:lnSpc>
                        <a:spcBef>
                          <a:spcPts val="0"/>
                        </a:spcBef>
                        <a:spcAft>
                          <a:spcPts val="0"/>
                        </a:spcAft>
                        <a:buClrTx/>
                        <a:buSzTx/>
                        <a:buFontTx/>
                        <a:buNone/>
                        <a:tabLst/>
                        <a:defRPr/>
                      </a:pPr>
                      <a:r>
                        <a:rPr lang="en-US" sz="1400" b="1" dirty="0">
                          <a:solidFill>
                            <a:schemeClr val="bg1"/>
                          </a:solidFill>
                          <a:latin typeface="+mn-lt"/>
                        </a:rPr>
                        <a:t>Updated </a:t>
                      </a:r>
                      <a:r>
                        <a:rPr lang="en-US" sz="1400" b="1" dirty="0" err="1">
                          <a:solidFill>
                            <a:schemeClr val="bg1"/>
                          </a:solidFill>
                          <a:latin typeface="+mn-lt"/>
                        </a:rPr>
                        <a:t>analysis</a:t>
                      </a:r>
                      <a:r>
                        <a:rPr lang="en-US" sz="1400" b="1" baseline="30000" dirty="0" err="1">
                          <a:solidFill>
                            <a:schemeClr val="bg1"/>
                          </a:solidFill>
                          <a:latin typeface="+mn-lt"/>
                        </a:rPr>
                        <a:t>a</a:t>
                      </a:r>
                      <a:endParaRPr lang="en-US" sz="1400" b="1" baseline="30000" dirty="0">
                        <a:solidFill>
                          <a:schemeClr val="bg1"/>
                        </a:solidFill>
                        <a:latin typeface="+mn-lt"/>
                      </a:endParaRPr>
                    </a:p>
                  </a:txBody>
                  <a:tcPr marL="68580" marR="68580" marT="0" marB="0" anchor="ctr">
                    <a:lnL w="28575" cap="flat" cmpd="sng" algn="ctr">
                      <a:noFill/>
                      <a:prstDash val="solid"/>
                      <a:round/>
                      <a:headEnd type="none" w="med" len="med"/>
                      <a:tailEnd type="none" w="med" len="med"/>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hMerge="1">
                  <a:txBody>
                    <a:bodyPr/>
                    <a:lstStyle/>
                    <a:p>
                      <a:pPr marL="0" marR="0" algn="ctr">
                        <a:lnSpc>
                          <a:spcPct val="115000"/>
                        </a:lnSpc>
                        <a:spcBef>
                          <a:spcPts val="0"/>
                        </a:spcBef>
                        <a:spcAft>
                          <a:spcPts val="0"/>
                        </a:spcAft>
                      </a:pPr>
                      <a:endParaRPr lang="en-US" sz="11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c hMerge="1">
                  <a:txBody>
                    <a:bodyPr/>
                    <a:lstStyle/>
                    <a:p>
                      <a:pPr marL="0" marR="0" algn="ctr">
                        <a:lnSpc>
                          <a:spcPct val="115000"/>
                        </a:lnSpc>
                        <a:spcBef>
                          <a:spcPts val="0"/>
                        </a:spcBef>
                        <a:spcAft>
                          <a:spcPts val="0"/>
                        </a:spcAft>
                      </a:pPr>
                      <a:endParaRPr lang="en-US"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c hMerge="1">
                  <a:txBody>
                    <a:bodyPr/>
                    <a:lstStyle/>
                    <a:p>
                      <a:pPr marL="0" marR="0" algn="ctr">
                        <a:lnSpc>
                          <a:spcPct val="115000"/>
                        </a:lnSpc>
                        <a:spcBef>
                          <a:spcPts val="0"/>
                        </a:spcBef>
                        <a:spcAft>
                          <a:spcPts val="0"/>
                        </a:spcAft>
                      </a:pPr>
                      <a:endParaRPr lang="en-US" sz="11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extLst>
                  <a:ext uri="{0D108BD9-81ED-4DB2-BD59-A6C34878D82A}">
                    <a16:rowId xmlns:a16="http://schemas.microsoft.com/office/drawing/2014/main" val="4082990314"/>
                  </a:ext>
                </a:extLst>
              </a:tr>
              <a:tr h="307307">
                <a:tc vMerge="1">
                  <a:txBody>
                    <a:bodyPr/>
                    <a:lstStyle/>
                    <a:p>
                      <a:pPr marL="0" marR="0">
                        <a:lnSpc>
                          <a:spcPct val="115000"/>
                        </a:lnSpc>
                        <a:spcBef>
                          <a:spcPts val="0"/>
                        </a:spcBef>
                        <a:spcAft>
                          <a:spcPts val="0"/>
                        </a:spcAft>
                      </a:pPr>
                      <a:endParaRPr lang="en-US" sz="1200" dirty="0">
                        <a:solidFill>
                          <a:schemeClr val="bg1"/>
                        </a:solidFill>
                        <a:effectLst/>
                        <a:latin typeface="+mn-lt"/>
                        <a:ea typeface="SimSun" panose="02010600030101010101" pitchFamily="2" charset="-122"/>
                        <a:cs typeface="Arial" panose="020B0604020202020204" pitchFamily="34" charset="0"/>
                      </a:endParaRPr>
                    </a:p>
                  </a:txBody>
                  <a:tcPr marL="68580" marR="68580" marT="0" marB="0" anchor="ctr">
                    <a:lnT w="28575" cap="flat" cmpd="sng" algn="ctr">
                      <a:solidFill>
                        <a:schemeClr val="bg1"/>
                      </a:solidFill>
                      <a:prstDash val="solid"/>
                      <a:round/>
                      <a:headEnd type="none" w="med" len="med"/>
                      <a:tailEnd type="none" w="med" len="med"/>
                    </a:lnT>
                    <a:solidFill>
                      <a:schemeClr val="accent1"/>
                    </a:solidFill>
                  </a:tcPr>
                </a:tc>
                <a:tc gridSpan="2">
                  <a:txBody>
                    <a:bodyPr/>
                    <a:lstStyle/>
                    <a:p>
                      <a:pPr marL="0" marR="0" lvl="0" indent="0" algn="ctr" defTabSz="914400" rtl="0" eaLnBrk="1" fontAlgn="auto" latinLnBrk="0" hangingPunct="1">
                        <a:lnSpc>
                          <a:spcPct val="115000"/>
                        </a:lnSpc>
                        <a:spcBef>
                          <a:spcPts val="0"/>
                        </a:spcBef>
                        <a:spcAft>
                          <a:spcPts val="0"/>
                        </a:spcAft>
                        <a:buClrTx/>
                        <a:buSzTx/>
                        <a:buFontTx/>
                        <a:buNone/>
                        <a:tabLst/>
                        <a:defRPr/>
                      </a:pPr>
                      <a:r>
                        <a:rPr lang="en-US" sz="1400" b="1" dirty="0">
                          <a:solidFill>
                            <a:schemeClr val="bg1"/>
                          </a:solidFill>
                          <a:effectLst/>
                          <a:latin typeface="+mn-lt"/>
                        </a:rPr>
                        <a:t>RECIST 1.1</a:t>
                      </a:r>
                      <a:endParaRPr lang="en-US" sz="1400" b="1" dirty="0">
                        <a:solidFill>
                          <a:schemeClr val="bg1"/>
                        </a:solidFill>
                        <a:effectLst/>
                        <a:latin typeface="+mn-lt"/>
                        <a:ea typeface="SimSun" panose="02010600030101010101" pitchFamily="2" charset="-122"/>
                        <a:cs typeface="Arial" panose="020B0604020202020204" pitchFamily="34" charset="0"/>
                      </a:endParaRPr>
                    </a:p>
                  </a:txBody>
                  <a:tcPr marL="68580" marR="68580"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hMerge="1">
                  <a:txBody>
                    <a:bodyPr/>
                    <a:lstStyle/>
                    <a:p>
                      <a:pPr marL="0" marR="0" algn="ctr">
                        <a:lnSpc>
                          <a:spcPct val="115000"/>
                        </a:lnSpc>
                        <a:spcBef>
                          <a:spcPts val="0"/>
                        </a:spcBef>
                        <a:spcAft>
                          <a:spcPts val="0"/>
                        </a:spcAft>
                      </a:pPr>
                      <a:endParaRPr lang="en-US" sz="11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tc gridSpan="2">
                  <a:txBody>
                    <a:bodyPr/>
                    <a:lstStyle/>
                    <a:p>
                      <a:pPr marL="0" marR="0" lvl="0" indent="0" algn="ctr" defTabSz="914400" rtl="0" eaLnBrk="1" fontAlgn="auto" latinLnBrk="0" hangingPunct="1">
                        <a:lnSpc>
                          <a:spcPct val="115000"/>
                        </a:lnSpc>
                        <a:spcBef>
                          <a:spcPts val="0"/>
                        </a:spcBef>
                        <a:spcAft>
                          <a:spcPts val="0"/>
                        </a:spcAft>
                        <a:buClrTx/>
                        <a:buSzTx/>
                        <a:buFontTx/>
                        <a:buNone/>
                        <a:tabLst/>
                        <a:defRPr/>
                      </a:pPr>
                      <a:r>
                        <a:rPr lang="pt-BR" sz="1400" b="1" dirty="0">
                          <a:solidFill>
                            <a:schemeClr val="bg1"/>
                          </a:solidFill>
                          <a:effectLst/>
                          <a:latin typeface="+mn-lt"/>
                        </a:rPr>
                        <a:t>HCC mRECIST</a:t>
                      </a:r>
                      <a:endParaRPr lang="en-US" sz="1400" b="1" dirty="0">
                        <a:solidFill>
                          <a:schemeClr val="bg1"/>
                        </a:solidFill>
                        <a:effectLst/>
                        <a:latin typeface="+mn-lt"/>
                        <a:ea typeface="SimSun" panose="02010600030101010101" pitchFamily="2" charset="-122"/>
                        <a:cs typeface="Arial" panose="020B0604020202020204" pitchFamily="34" charset="0"/>
                      </a:endParaRPr>
                    </a:p>
                  </a:txBody>
                  <a:tcPr marL="68580" marR="68580" marT="0" marB="0" anchor="ctr">
                    <a:lnL w="28575" cap="flat" cmpd="sng" algn="ctr">
                      <a:noFill/>
                      <a:prstDash val="solid"/>
                      <a:round/>
                      <a:headEnd type="none" w="med" len="med"/>
                      <a:tailEnd type="none" w="med" len="med"/>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hMerge="1">
                  <a:txBody>
                    <a:bodyPr/>
                    <a:lstStyle/>
                    <a:p>
                      <a:pPr marL="0" marR="0" algn="ctr">
                        <a:lnSpc>
                          <a:spcPct val="115000"/>
                        </a:lnSpc>
                        <a:spcBef>
                          <a:spcPts val="0"/>
                        </a:spcBef>
                        <a:spcAft>
                          <a:spcPts val="0"/>
                        </a:spcAft>
                      </a:pPr>
                      <a:endParaRPr lang="en-US" sz="11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nchor="ctr"/>
                </a:tc>
                <a:extLst>
                  <a:ext uri="{0D108BD9-81ED-4DB2-BD59-A6C34878D82A}">
                    <a16:rowId xmlns:a16="http://schemas.microsoft.com/office/drawing/2014/main" val="2874575294"/>
                  </a:ext>
                </a:extLst>
              </a:tr>
              <a:tr h="478282">
                <a:tc vMerge="1">
                  <a:txBody>
                    <a:bodyPr/>
                    <a:lstStyle/>
                    <a:p>
                      <a:pPr marL="0" marR="0">
                        <a:lnSpc>
                          <a:spcPct val="115000"/>
                        </a:lnSpc>
                        <a:spcBef>
                          <a:spcPts val="0"/>
                        </a:spcBef>
                        <a:spcAft>
                          <a:spcPts val="0"/>
                        </a:spcAft>
                      </a:pPr>
                      <a:endParaRPr lang="en-US" sz="1200" dirty="0">
                        <a:solidFill>
                          <a:schemeClr val="bg1"/>
                        </a:solidFill>
                        <a:effectLst/>
                        <a:latin typeface="+mn-lt"/>
                        <a:ea typeface="SimSun" panose="02010600030101010101" pitchFamily="2" charset="-122"/>
                        <a:cs typeface="Arial" panose="020B0604020202020204" pitchFamily="34" charset="0"/>
                      </a:endParaRPr>
                    </a:p>
                  </a:txBody>
                  <a:tcPr marL="68580" marR="68580" marT="0" marB="0" anchor="ctr">
                    <a:solidFill>
                      <a:schemeClr val="accent1"/>
                    </a:solidFill>
                  </a:tcPr>
                </a:tc>
                <a:tc>
                  <a:txBody>
                    <a:bodyPr/>
                    <a:lstStyle/>
                    <a:p>
                      <a:pPr marL="0" marR="0" algn="ctr">
                        <a:lnSpc>
                          <a:spcPct val="115000"/>
                        </a:lnSpc>
                        <a:spcBef>
                          <a:spcPts val="0"/>
                        </a:spcBef>
                        <a:spcAft>
                          <a:spcPts val="0"/>
                        </a:spcAft>
                      </a:pPr>
                      <a:r>
                        <a:rPr lang="en-US" sz="1400" b="1" dirty="0" err="1">
                          <a:solidFill>
                            <a:schemeClr val="bg1"/>
                          </a:solidFill>
                          <a:effectLst/>
                          <a:latin typeface="+mn-lt"/>
                        </a:rPr>
                        <a:t>Atezo</a:t>
                      </a:r>
                      <a:r>
                        <a:rPr lang="en-US" sz="1400" b="1" dirty="0">
                          <a:solidFill>
                            <a:schemeClr val="bg1"/>
                          </a:solidFill>
                          <a:effectLst/>
                          <a:latin typeface="+mn-lt"/>
                        </a:rPr>
                        <a:t> + Bev</a:t>
                      </a:r>
                    </a:p>
                    <a:p>
                      <a:pPr marL="0" marR="0" algn="ctr">
                        <a:lnSpc>
                          <a:spcPct val="115000"/>
                        </a:lnSpc>
                        <a:spcBef>
                          <a:spcPts val="0"/>
                        </a:spcBef>
                        <a:spcAft>
                          <a:spcPts val="0"/>
                        </a:spcAft>
                      </a:pPr>
                      <a:r>
                        <a:rPr lang="en-US" sz="1400" b="1" dirty="0">
                          <a:solidFill>
                            <a:schemeClr val="bg1"/>
                          </a:solidFill>
                          <a:effectLst/>
                          <a:latin typeface="+mn-lt"/>
                        </a:rPr>
                        <a:t>(n = 326)</a:t>
                      </a:r>
                    </a:p>
                  </a:txBody>
                  <a:tcPr marL="68580" marR="68580" marT="0" marB="0" anchor="b">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algn="ctr">
                        <a:lnSpc>
                          <a:spcPct val="115000"/>
                        </a:lnSpc>
                        <a:spcBef>
                          <a:spcPts val="0"/>
                        </a:spcBef>
                        <a:spcAft>
                          <a:spcPts val="0"/>
                        </a:spcAft>
                      </a:pPr>
                      <a:r>
                        <a:rPr lang="en-US" sz="1400" b="1" dirty="0">
                          <a:solidFill>
                            <a:schemeClr val="bg1"/>
                          </a:solidFill>
                          <a:effectLst/>
                          <a:latin typeface="+mn-lt"/>
                        </a:rPr>
                        <a:t>Sorafenib</a:t>
                      </a:r>
                    </a:p>
                    <a:p>
                      <a:pPr marL="0" marR="0" algn="ctr">
                        <a:lnSpc>
                          <a:spcPct val="115000"/>
                        </a:lnSpc>
                        <a:spcBef>
                          <a:spcPts val="0"/>
                        </a:spcBef>
                        <a:spcAft>
                          <a:spcPts val="0"/>
                        </a:spcAft>
                      </a:pPr>
                      <a:r>
                        <a:rPr lang="en-US" sz="1400" b="1" dirty="0">
                          <a:solidFill>
                            <a:schemeClr val="bg1"/>
                          </a:solidFill>
                          <a:effectLst/>
                          <a:latin typeface="+mn-lt"/>
                        </a:rPr>
                        <a:t>(n = 159)</a:t>
                      </a:r>
                    </a:p>
                  </a:txBody>
                  <a:tcPr marL="68580" marR="68580" marT="0" marB="0" anchor="b">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algn="ctr">
                        <a:lnSpc>
                          <a:spcPct val="115000"/>
                        </a:lnSpc>
                        <a:spcBef>
                          <a:spcPts val="0"/>
                        </a:spcBef>
                        <a:spcAft>
                          <a:spcPts val="0"/>
                        </a:spcAft>
                      </a:pPr>
                      <a:r>
                        <a:rPr lang="pt-BR" sz="1400" b="1" dirty="0">
                          <a:solidFill>
                            <a:schemeClr val="bg1"/>
                          </a:solidFill>
                          <a:effectLst/>
                          <a:latin typeface="+mn-lt"/>
                        </a:rPr>
                        <a:t>Atezo + Bev</a:t>
                      </a:r>
                      <a:endParaRPr lang="en-US" sz="1400" b="1" dirty="0">
                        <a:solidFill>
                          <a:schemeClr val="bg1"/>
                        </a:solidFill>
                        <a:effectLst/>
                        <a:latin typeface="+mn-lt"/>
                      </a:endParaRPr>
                    </a:p>
                    <a:p>
                      <a:pPr marL="0" marR="0" algn="ctr">
                        <a:lnSpc>
                          <a:spcPct val="115000"/>
                        </a:lnSpc>
                        <a:spcBef>
                          <a:spcPts val="0"/>
                        </a:spcBef>
                        <a:spcAft>
                          <a:spcPts val="0"/>
                        </a:spcAft>
                      </a:pPr>
                      <a:r>
                        <a:rPr lang="pt-BR" sz="1400" b="1" dirty="0">
                          <a:solidFill>
                            <a:schemeClr val="bg1"/>
                          </a:solidFill>
                          <a:effectLst/>
                          <a:latin typeface="+mn-lt"/>
                        </a:rPr>
                        <a:t>(n = 325)</a:t>
                      </a:r>
                      <a:endParaRPr lang="en-US" sz="1400" b="1" dirty="0">
                        <a:solidFill>
                          <a:schemeClr val="bg1"/>
                        </a:solidFill>
                        <a:effectLst/>
                        <a:latin typeface="+mn-lt"/>
                      </a:endParaRPr>
                    </a:p>
                  </a:txBody>
                  <a:tcPr marL="68580" marR="68580" marT="0" marB="0" anchor="b">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0" marR="0" algn="ctr">
                        <a:lnSpc>
                          <a:spcPct val="115000"/>
                        </a:lnSpc>
                        <a:spcBef>
                          <a:spcPts val="0"/>
                        </a:spcBef>
                        <a:spcAft>
                          <a:spcPts val="0"/>
                        </a:spcAft>
                      </a:pPr>
                      <a:r>
                        <a:rPr lang="en-US" sz="1400" b="1" dirty="0">
                          <a:solidFill>
                            <a:schemeClr val="bg1"/>
                          </a:solidFill>
                          <a:effectLst/>
                          <a:latin typeface="+mn-lt"/>
                        </a:rPr>
                        <a:t>Sorafenib</a:t>
                      </a:r>
                      <a:br>
                        <a:rPr lang="en-US" sz="1400" b="1" dirty="0">
                          <a:solidFill>
                            <a:schemeClr val="bg1"/>
                          </a:solidFill>
                          <a:effectLst/>
                          <a:latin typeface="+mn-lt"/>
                        </a:rPr>
                      </a:br>
                      <a:r>
                        <a:rPr lang="en-US" sz="1400" b="1" dirty="0">
                          <a:solidFill>
                            <a:schemeClr val="bg1"/>
                          </a:solidFill>
                          <a:effectLst/>
                          <a:latin typeface="+mn-lt"/>
                        </a:rPr>
                        <a:t>(n = 158)</a:t>
                      </a:r>
                    </a:p>
                  </a:txBody>
                  <a:tcPr marL="68580" marR="68580" marT="0" marB="0" anchor="b">
                    <a:lnL w="28575" cap="flat" cmpd="sng" algn="ctr">
                      <a:noFill/>
                      <a:prstDash val="solid"/>
                      <a:round/>
                      <a:headEnd type="none" w="med" len="med"/>
                      <a:tailEnd type="none" w="med" len="med"/>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371118604"/>
                  </a:ext>
                </a:extLst>
              </a:tr>
              <a:tr h="538270">
                <a:tc>
                  <a:txBody>
                    <a:bodyPr/>
                    <a:lstStyle/>
                    <a:p>
                      <a:pPr marL="0" marR="0">
                        <a:lnSpc>
                          <a:spcPct val="115000"/>
                        </a:lnSpc>
                        <a:spcBef>
                          <a:spcPts val="0"/>
                        </a:spcBef>
                        <a:spcAft>
                          <a:spcPts val="0"/>
                        </a:spcAft>
                      </a:pPr>
                      <a:r>
                        <a:rPr lang="en-US" sz="1400" b="1" dirty="0">
                          <a:solidFill>
                            <a:srgbClr val="000000"/>
                          </a:solidFill>
                          <a:effectLst/>
                          <a:latin typeface="+mn-lt"/>
                        </a:rPr>
                        <a:t>Confirmed ORR (95% CI), %</a:t>
                      </a:r>
                      <a:endParaRPr lang="en-US" sz="1400" b="1" dirty="0">
                        <a:solidFill>
                          <a:srgbClr val="000000"/>
                        </a:solidFill>
                        <a:effectLst/>
                        <a:latin typeface="+mn-lt"/>
                        <a:ea typeface="SimSun" panose="02010600030101010101" pitchFamily="2" charset="-122"/>
                        <a:cs typeface="Arial" panose="020B0604020202020204" pitchFamily="34" charset="0"/>
                      </a:endParaRPr>
                    </a:p>
                  </a:txBody>
                  <a:tcPr marL="68580" marR="68580" marT="0" marB="0" anchor="ctr">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solidFill>
                      <a:srgbClr val="CBCFD7"/>
                    </a:solidFill>
                  </a:tcPr>
                </a:tc>
                <a:tc>
                  <a:txBody>
                    <a:bodyPr/>
                    <a:lstStyle/>
                    <a:p>
                      <a:pPr marL="0" marR="0" algn="ctr">
                        <a:lnSpc>
                          <a:spcPct val="115000"/>
                        </a:lnSpc>
                        <a:spcBef>
                          <a:spcPts val="0"/>
                        </a:spcBef>
                        <a:spcAft>
                          <a:spcPts val="0"/>
                        </a:spcAft>
                      </a:pPr>
                      <a:r>
                        <a:rPr lang="en-US" sz="1400" b="1" dirty="0">
                          <a:solidFill>
                            <a:srgbClr val="000000"/>
                          </a:solidFill>
                          <a:effectLst/>
                          <a:latin typeface="+mn-lt"/>
                        </a:rPr>
                        <a:t>30</a:t>
                      </a:r>
                    </a:p>
                    <a:p>
                      <a:pPr marL="0" marR="0" algn="ctr">
                        <a:lnSpc>
                          <a:spcPct val="115000"/>
                        </a:lnSpc>
                        <a:spcBef>
                          <a:spcPts val="0"/>
                        </a:spcBef>
                        <a:spcAft>
                          <a:spcPts val="0"/>
                        </a:spcAft>
                      </a:pPr>
                      <a:r>
                        <a:rPr lang="en-US" sz="1400" b="1" dirty="0">
                          <a:solidFill>
                            <a:srgbClr val="000000"/>
                          </a:solidFill>
                          <a:effectLst/>
                          <a:latin typeface="+mn-lt"/>
                        </a:rPr>
                        <a:t>(25, 35)</a:t>
                      </a:r>
                      <a:endParaRPr lang="en-US" sz="1400" b="1" dirty="0">
                        <a:solidFill>
                          <a:srgbClr val="000000"/>
                        </a:solidFill>
                        <a:effectLst/>
                        <a:latin typeface="+mn-lt"/>
                        <a:ea typeface="SimSun" panose="02010600030101010101" pitchFamily="2" charset="-122"/>
                        <a:cs typeface="Arial" panose="020B0604020202020204" pitchFamily="34" charset="0"/>
                      </a:endParaRPr>
                    </a:p>
                  </a:txBody>
                  <a:tcPr marL="68580" marR="68580"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solidFill>
                      <a:srgbClr val="CBCFD7"/>
                    </a:solidFill>
                  </a:tcPr>
                </a:tc>
                <a:tc>
                  <a:txBody>
                    <a:bodyPr/>
                    <a:lstStyle/>
                    <a:p>
                      <a:pPr marL="0" marR="0" algn="ctr">
                        <a:lnSpc>
                          <a:spcPct val="115000"/>
                        </a:lnSpc>
                        <a:spcBef>
                          <a:spcPts val="0"/>
                        </a:spcBef>
                        <a:spcAft>
                          <a:spcPts val="0"/>
                        </a:spcAft>
                      </a:pPr>
                      <a:r>
                        <a:rPr lang="en-US" sz="1400" b="1" dirty="0">
                          <a:solidFill>
                            <a:srgbClr val="000000"/>
                          </a:solidFill>
                          <a:effectLst/>
                          <a:latin typeface="+mn-lt"/>
                        </a:rPr>
                        <a:t>11</a:t>
                      </a:r>
                    </a:p>
                    <a:p>
                      <a:pPr marL="0" marR="0" algn="ctr">
                        <a:lnSpc>
                          <a:spcPct val="115000"/>
                        </a:lnSpc>
                        <a:spcBef>
                          <a:spcPts val="0"/>
                        </a:spcBef>
                        <a:spcAft>
                          <a:spcPts val="0"/>
                        </a:spcAft>
                      </a:pPr>
                      <a:r>
                        <a:rPr lang="en-US" sz="1400" b="1" dirty="0">
                          <a:solidFill>
                            <a:srgbClr val="000000"/>
                          </a:solidFill>
                          <a:effectLst/>
                          <a:latin typeface="+mn-lt"/>
                        </a:rPr>
                        <a:t>(7, 17)</a:t>
                      </a:r>
                      <a:endParaRPr lang="en-US" sz="1400" b="1" dirty="0">
                        <a:solidFill>
                          <a:srgbClr val="000000"/>
                        </a:solidFill>
                        <a:effectLst/>
                        <a:latin typeface="+mn-lt"/>
                        <a:ea typeface="SimSun" panose="02010600030101010101" pitchFamily="2" charset="-122"/>
                        <a:cs typeface="Arial" panose="020B0604020202020204" pitchFamily="34" charset="0"/>
                      </a:endParaRPr>
                    </a:p>
                  </a:txBody>
                  <a:tcPr marL="68580" marR="68580"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solidFill>
                      <a:srgbClr val="CBCFD7"/>
                    </a:solidFill>
                  </a:tcPr>
                </a:tc>
                <a:tc>
                  <a:txBody>
                    <a:bodyPr/>
                    <a:lstStyle/>
                    <a:p>
                      <a:pPr marL="0" marR="0" algn="ctr">
                        <a:lnSpc>
                          <a:spcPct val="115000"/>
                        </a:lnSpc>
                        <a:spcBef>
                          <a:spcPts val="0"/>
                        </a:spcBef>
                        <a:spcAft>
                          <a:spcPts val="0"/>
                        </a:spcAft>
                      </a:pPr>
                      <a:r>
                        <a:rPr lang="en-US" sz="1400" b="1" dirty="0">
                          <a:solidFill>
                            <a:srgbClr val="000000"/>
                          </a:solidFill>
                          <a:effectLst/>
                          <a:latin typeface="+mn-lt"/>
                        </a:rPr>
                        <a:t>35</a:t>
                      </a:r>
                    </a:p>
                    <a:p>
                      <a:pPr marL="0" marR="0" algn="ctr">
                        <a:lnSpc>
                          <a:spcPct val="115000"/>
                        </a:lnSpc>
                        <a:spcBef>
                          <a:spcPts val="0"/>
                        </a:spcBef>
                        <a:spcAft>
                          <a:spcPts val="0"/>
                        </a:spcAft>
                      </a:pPr>
                      <a:r>
                        <a:rPr lang="en-US" sz="1400" b="1" dirty="0">
                          <a:solidFill>
                            <a:srgbClr val="000000"/>
                          </a:solidFill>
                          <a:effectLst/>
                          <a:latin typeface="+mn-lt"/>
                        </a:rPr>
                        <a:t>(30, 41)</a:t>
                      </a:r>
                      <a:endParaRPr lang="en-US" sz="1400" b="1" dirty="0">
                        <a:solidFill>
                          <a:srgbClr val="000000"/>
                        </a:solidFill>
                        <a:effectLst/>
                        <a:latin typeface="+mn-lt"/>
                        <a:ea typeface="SimSun" panose="02010600030101010101" pitchFamily="2" charset="-122"/>
                        <a:cs typeface="Arial" panose="020B0604020202020204" pitchFamily="34" charset="0"/>
                      </a:endParaRPr>
                    </a:p>
                  </a:txBody>
                  <a:tcPr marL="68580" marR="68580"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solidFill>
                      <a:srgbClr val="CBCFD7"/>
                    </a:solidFill>
                  </a:tcPr>
                </a:tc>
                <a:tc>
                  <a:txBody>
                    <a:bodyPr/>
                    <a:lstStyle/>
                    <a:p>
                      <a:pPr marL="0" marR="0" algn="ctr">
                        <a:lnSpc>
                          <a:spcPct val="115000"/>
                        </a:lnSpc>
                        <a:spcBef>
                          <a:spcPts val="0"/>
                        </a:spcBef>
                        <a:spcAft>
                          <a:spcPts val="0"/>
                        </a:spcAft>
                      </a:pPr>
                      <a:r>
                        <a:rPr lang="en-US" sz="1400" b="1" dirty="0">
                          <a:solidFill>
                            <a:srgbClr val="000000"/>
                          </a:solidFill>
                          <a:effectLst/>
                          <a:latin typeface="+mn-lt"/>
                        </a:rPr>
                        <a:t>14</a:t>
                      </a:r>
                    </a:p>
                    <a:p>
                      <a:pPr marL="0" marR="0" algn="ctr">
                        <a:lnSpc>
                          <a:spcPct val="115000"/>
                        </a:lnSpc>
                        <a:spcBef>
                          <a:spcPts val="0"/>
                        </a:spcBef>
                        <a:spcAft>
                          <a:spcPts val="0"/>
                        </a:spcAft>
                      </a:pPr>
                      <a:r>
                        <a:rPr lang="en-US" sz="1400" b="1" dirty="0">
                          <a:solidFill>
                            <a:srgbClr val="000000"/>
                          </a:solidFill>
                          <a:effectLst/>
                          <a:latin typeface="+mn-lt"/>
                        </a:rPr>
                        <a:t>(9, 20)</a:t>
                      </a:r>
                      <a:endParaRPr lang="en-US" sz="1400" b="1" dirty="0">
                        <a:solidFill>
                          <a:srgbClr val="000000"/>
                        </a:solidFill>
                        <a:effectLst/>
                        <a:latin typeface="+mn-lt"/>
                        <a:ea typeface="SimSun" panose="02010600030101010101" pitchFamily="2" charset="-122"/>
                        <a:cs typeface="Arial" panose="020B0604020202020204" pitchFamily="34" charset="0"/>
                      </a:endParaRPr>
                    </a:p>
                  </a:txBody>
                  <a:tcPr marL="68580" marR="68580" marT="0" marB="0" anchor="ctr">
                    <a:lnL w="28575" cap="flat" cmpd="sng" algn="ctr">
                      <a:noFill/>
                      <a:prstDash val="solid"/>
                      <a:round/>
                      <a:headEnd type="none" w="med" len="med"/>
                      <a:tailEnd type="none" w="med" len="med"/>
                    </a:lnL>
                    <a:lnR w="12700" cmpd="sng">
                      <a:noFill/>
                    </a:lnR>
                    <a:lnT w="28575" cap="flat" cmpd="sng" algn="ctr">
                      <a:solidFill>
                        <a:schemeClr val="bg1"/>
                      </a:solidFill>
                      <a:prstDash val="solid"/>
                      <a:round/>
                      <a:headEnd type="none" w="med" len="med"/>
                      <a:tailEnd type="none" w="med" len="med"/>
                    </a:lnT>
                    <a:solidFill>
                      <a:srgbClr val="CBCFD7"/>
                    </a:solidFill>
                  </a:tcPr>
                </a:tc>
                <a:extLst>
                  <a:ext uri="{0D108BD9-81ED-4DB2-BD59-A6C34878D82A}">
                    <a16:rowId xmlns:a16="http://schemas.microsoft.com/office/drawing/2014/main" val="381650066"/>
                  </a:ext>
                </a:extLst>
              </a:tr>
              <a:tr h="328954">
                <a:tc>
                  <a:txBody>
                    <a:bodyPr/>
                    <a:lstStyle/>
                    <a:p>
                      <a:pPr marL="0" marR="0">
                        <a:lnSpc>
                          <a:spcPct val="115000"/>
                        </a:lnSpc>
                        <a:spcBef>
                          <a:spcPts val="0"/>
                        </a:spcBef>
                        <a:spcAft>
                          <a:spcPts val="0"/>
                        </a:spcAft>
                      </a:pPr>
                      <a:r>
                        <a:rPr lang="en-GB" sz="1400" dirty="0">
                          <a:solidFill>
                            <a:srgbClr val="000000"/>
                          </a:solidFill>
                          <a:effectLst/>
                          <a:latin typeface="+mn-lt"/>
                        </a:rPr>
                        <a:t>   CR, n (%)</a:t>
                      </a:r>
                      <a:endParaRPr lang="en-US" sz="1400" dirty="0">
                        <a:solidFill>
                          <a:srgbClr val="000000"/>
                        </a:solidFill>
                        <a:effectLst/>
                        <a:latin typeface="+mn-lt"/>
                        <a:ea typeface="SimSun" panose="02010600030101010101" pitchFamily="2" charset="-122"/>
                        <a:cs typeface="Arial" panose="020B0604020202020204" pitchFamily="34" charset="0"/>
                      </a:endParaRPr>
                    </a:p>
                  </a:txBody>
                  <a:tcPr marL="68580" marR="68580" marT="0" marB="0" anchor="ctr">
                    <a:lnR w="28575" cap="flat" cmpd="sng" algn="ctr">
                      <a:noFill/>
                      <a:prstDash val="solid"/>
                      <a:round/>
                      <a:headEnd type="none" w="med" len="med"/>
                      <a:tailEnd type="none" w="med" len="med"/>
                    </a:lnR>
                    <a:solidFill>
                      <a:srgbClr val="E7E9EC"/>
                    </a:solidFill>
                  </a:tcPr>
                </a:tc>
                <a:tc>
                  <a:txBody>
                    <a:bodyPr/>
                    <a:lstStyle/>
                    <a:p>
                      <a:pPr marL="0" marR="0" algn="ctr">
                        <a:lnSpc>
                          <a:spcPct val="115000"/>
                        </a:lnSpc>
                        <a:spcBef>
                          <a:spcPts val="0"/>
                        </a:spcBef>
                        <a:spcAft>
                          <a:spcPts val="0"/>
                        </a:spcAft>
                      </a:pPr>
                      <a:r>
                        <a:rPr lang="en-US" sz="1400" dirty="0">
                          <a:solidFill>
                            <a:srgbClr val="000000"/>
                          </a:solidFill>
                          <a:effectLst/>
                          <a:latin typeface="+mn-lt"/>
                        </a:rPr>
                        <a:t>25 (8)</a:t>
                      </a:r>
                      <a:endParaRPr lang="en-US" sz="1400" dirty="0">
                        <a:solidFill>
                          <a:srgbClr val="000000"/>
                        </a:solidFill>
                        <a:effectLst/>
                        <a:latin typeface="+mn-lt"/>
                        <a:ea typeface="SimSun" panose="02010600030101010101" pitchFamily="2" charset="-122"/>
                        <a:cs typeface="Arial" panose="020B0604020202020204" pitchFamily="34" charset="0"/>
                      </a:endParaRPr>
                    </a:p>
                  </a:txBody>
                  <a:tcPr marL="68580" marR="68580"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solidFill>
                      <a:srgbClr val="E7E9EC"/>
                    </a:solidFill>
                  </a:tcPr>
                </a:tc>
                <a:tc>
                  <a:txBody>
                    <a:bodyPr/>
                    <a:lstStyle/>
                    <a:p>
                      <a:pPr marL="0" marR="0" algn="ctr">
                        <a:lnSpc>
                          <a:spcPct val="115000"/>
                        </a:lnSpc>
                        <a:spcBef>
                          <a:spcPts val="0"/>
                        </a:spcBef>
                        <a:spcAft>
                          <a:spcPts val="0"/>
                        </a:spcAft>
                      </a:pPr>
                      <a:r>
                        <a:rPr lang="en-US" sz="1400" dirty="0">
                          <a:solidFill>
                            <a:srgbClr val="000000"/>
                          </a:solidFill>
                          <a:effectLst/>
                          <a:latin typeface="+mn-lt"/>
                        </a:rPr>
                        <a:t>1 (&lt; 1)</a:t>
                      </a:r>
                      <a:endParaRPr lang="en-US" sz="1400" dirty="0">
                        <a:solidFill>
                          <a:srgbClr val="000000"/>
                        </a:solidFill>
                        <a:effectLst/>
                        <a:latin typeface="+mn-lt"/>
                        <a:ea typeface="SimSun" panose="02010600030101010101" pitchFamily="2" charset="-122"/>
                        <a:cs typeface="Arial" panose="020B0604020202020204" pitchFamily="34" charset="0"/>
                      </a:endParaRPr>
                    </a:p>
                  </a:txBody>
                  <a:tcPr marL="68580" marR="68580"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solidFill>
                      <a:srgbClr val="E7E9EC"/>
                    </a:solidFill>
                  </a:tcPr>
                </a:tc>
                <a:tc>
                  <a:txBody>
                    <a:bodyPr/>
                    <a:lstStyle/>
                    <a:p>
                      <a:pPr marL="0" marR="0" algn="ctr">
                        <a:lnSpc>
                          <a:spcPct val="115000"/>
                        </a:lnSpc>
                        <a:spcBef>
                          <a:spcPts val="0"/>
                        </a:spcBef>
                        <a:spcAft>
                          <a:spcPts val="0"/>
                        </a:spcAft>
                      </a:pPr>
                      <a:r>
                        <a:rPr lang="en-US" sz="1400" dirty="0">
                          <a:solidFill>
                            <a:srgbClr val="000000"/>
                          </a:solidFill>
                          <a:effectLst/>
                          <a:latin typeface="+mn-lt"/>
                        </a:rPr>
                        <a:t>39 (12)</a:t>
                      </a:r>
                      <a:endParaRPr lang="en-US" sz="1400" dirty="0">
                        <a:solidFill>
                          <a:srgbClr val="000000"/>
                        </a:solidFill>
                        <a:effectLst/>
                        <a:latin typeface="+mn-lt"/>
                        <a:ea typeface="SimSun" panose="02010600030101010101" pitchFamily="2" charset="-122"/>
                        <a:cs typeface="Arial" panose="020B0604020202020204" pitchFamily="34" charset="0"/>
                      </a:endParaRPr>
                    </a:p>
                  </a:txBody>
                  <a:tcPr marL="68580" marR="68580"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solidFill>
                      <a:srgbClr val="E7E9EC"/>
                    </a:solidFill>
                  </a:tcPr>
                </a:tc>
                <a:tc>
                  <a:txBody>
                    <a:bodyPr/>
                    <a:lstStyle/>
                    <a:p>
                      <a:pPr marL="0" marR="0" algn="ctr">
                        <a:lnSpc>
                          <a:spcPct val="115000"/>
                        </a:lnSpc>
                        <a:spcBef>
                          <a:spcPts val="0"/>
                        </a:spcBef>
                        <a:spcAft>
                          <a:spcPts val="0"/>
                        </a:spcAft>
                      </a:pPr>
                      <a:r>
                        <a:rPr lang="en-US" sz="1400" dirty="0">
                          <a:solidFill>
                            <a:srgbClr val="000000"/>
                          </a:solidFill>
                          <a:effectLst/>
                          <a:latin typeface="+mn-lt"/>
                        </a:rPr>
                        <a:t>4 (3)</a:t>
                      </a:r>
                      <a:endParaRPr lang="en-US" sz="1400" dirty="0">
                        <a:solidFill>
                          <a:srgbClr val="000000"/>
                        </a:solidFill>
                        <a:effectLst/>
                        <a:latin typeface="+mn-lt"/>
                        <a:ea typeface="SimSun" panose="02010600030101010101" pitchFamily="2" charset="-122"/>
                        <a:cs typeface="Arial" panose="020B0604020202020204" pitchFamily="34" charset="0"/>
                      </a:endParaRPr>
                    </a:p>
                  </a:txBody>
                  <a:tcPr marL="68580" marR="68580" marT="0" marB="0" anchor="ctr">
                    <a:lnL w="28575" cap="flat" cmpd="sng" algn="ctr">
                      <a:noFill/>
                      <a:prstDash val="solid"/>
                      <a:round/>
                      <a:headEnd type="none" w="med" len="med"/>
                      <a:tailEnd type="none" w="med" len="med"/>
                    </a:lnL>
                    <a:lnR w="12700" cmpd="sng">
                      <a:noFill/>
                    </a:lnR>
                    <a:solidFill>
                      <a:srgbClr val="E7E9EC"/>
                    </a:solidFill>
                  </a:tcPr>
                </a:tc>
                <a:extLst>
                  <a:ext uri="{0D108BD9-81ED-4DB2-BD59-A6C34878D82A}">
                    <a16:rowId xmlns:a16="http://schemas.microsoft.com/office/drawing/2014/main" val="4207589972"/>
                  </a:ext>
                </a:extLst>
              </a:tr>
              <a:tr h="328954">
                <a:tc>
                  <a:txBody>
                    <a:bodyPr/>
                    <a:lstStyle/>
                    <a:p>
                      <a:pPr marL="0" marR="0">
                        <a:lnSpc>
                          <a:spcPct val="115000"/>
                        </a:lnSpc>
                        <a:spcBef>
                          <a:spcPts val="0"/>
                        </a:spcBef>
                        <a:spcAft>
                          <a:spcPts val="0"/>
                        </a:spcAft>
                      </a:pPr>
                      <a:r>
                        <a:rPr lang="en-GB" sz="1400" dirty="0">
                          <a:solidFill>
                            <a:srgbClr val="000000"/>
                          </a:solidFill>
                          <a:effectLst/>
                          <a:latin typeface="+mn-lt"/>
                        </a:rPr>
                        <a:t>   PR, n (%)</a:t>
                      </a:r>
                      <a:endParaRPr lang="en-US" sz="1400" dirty="0">
                        <a:solidFill>
                          <a:srgbClr val="000000"/>
                        </a:solidFill>
                        <a:effectLst/>
                        <a:latin typeface="+mn-lt"/>
                        <a:ea typeface="SimSun" panose="02010600030101010101" pitchFamily="2" charset="-122"/>
                        <a:cs typeface="Arial" panose="020B0604020202020204" pitchFamily="34" charset="0"/>
                      </a:endParaRPr>
                    </a:p>
                  </a:txBody>
                  <a:tcPr marL="68580" marR="68580" marT="0" marB="0" anchor="ctr">
                    <a:lnR w="28575" cap="flat" cmpd="sng" algn="ctr">
                      <a:noFill/>
                      <a:prstDash val="solid"/>
                      <a:round/>
                      <a:headEnd type="none" w="med" len="med"/>
                      <a:tailEnd type="none" w="med" len="med"/>
                    </a:lnR>
                    <a:solidFill>
                      <a:srgbClr val="CBCFD7"/>
                    </a:solidFill>
                  </a:tcPr>
                </a:tc>
                <a:tc>
                  <a:txBody>
                    <a:bodyPr/>
                    <a:lstStyle/>
                    <a:p>
                      <a:pPr marL="0" marR="0" algn="ctr">
                        <a:lnSpc>
                          <a:spcPct val="115000"/>
                        </a:lnSpc>
                        <a:spcBef>
                          <a:spcPts val="0"/>
                        </a:spcBef>
                        <a:spcAft>
                          <a:spcPts val="0"/>
                        </a:spcAft>
                      </a:pPr>
                      <a:r>
                        <a:rPr lang="en-US" sz="1400" dirty="0">
                          <a:solidFill>
                            <a:srgbClr val="000000"/>
                          </a:solidFill>
                          <a:effectLst/>
                          <a:latin typeface="+mn-lt"/>
                        </a:rPr>
                        <a:t>72 (22)</a:t>
                      </a:r>
                      <a:endParaRPr lang="en-US" sz="1400" dirty="0">
                        <a:solidFill>
                          <a:srgbClr val="000000"/>
                        </a:solidFill>
                        <a:effectLst/>
                        <a:latin typeface="+mn-lt"/>
                        <a:ea typeface="SimSun" panose="02010600030101010101" pitchFamily="2" charset="-122"/>
                        <a:cs typeface="Arial" panose="020B0604020202020204" pitchFamily="34" charset="0"/>
                      </a:endParaRPr>
                    </a:p>
                  </a:txBody>
                  <a:tcPr marL="68580" marR="68580"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solidFill>
                      <a:srgbClr val="CBCFD7"/>
                    </a:solidFill>
                  </a:tcPr>
                </a:tc>
                <a:tc>
                  <a:txBody>
                    <a:bodyPr/>
                    <a:lstStyle/>
                    <a:p>
                      <a:pPr marL="0" marR="0" algn="ctr">
                        <a:lnSpc>
                          <a:spcPct val="115000"/>
                        </a:lnSpc>
                        <a:spcBef>
                          <a:spcPts val="0"/>
                        </a:spcBef>
                        <a:spcAft>
                          <a:spcPts val="0"/>
                        </a:spcAft>
                      </a:pPr>
                      <a:r>
                        <a:rPr lang="en-US" sz="1400" dirty="0">
                          <a:solidFill>
                            <a:srgbClr val="000000"/>
                          </a:solidFill>
                          <a:effectLst/>
                          <a:latin typeface="+mn-lt"/>
                        </a:rPr>
                        <a:t>17 (11)</a:t>
                      </a:r>
                      <a:endParaRPr lang="en-US" sz="1400" dirty="0">
                        <a:solidFill>
                          <a:srgbClr val="000000"/>
                        </a:solidFill>
                        <a:effectLst/>
                        <a:latin typeface="+mn-lt"/>
                        <a:ea typeface="SimSun" panose="02010600030101010101" pitchFamily="2" charset="-122"/>
                        <a:cs typeface="Arial" panose="020B0604020202020204" pitchFamily="34" charset="0"/>
                      </a:endParaRPr>
                    </a:p>
                  </a:txBody>
                  <a:tcPr marL="68580" marR="68580"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solidFill>
                      <a:srgbClr val="CBCFD7"/>
                    </a:solidFill>
                  </a:tcPr>
                </a:tc>
                <a:tc>
                  <a:txBody>
                    <a:bodyPr/>
                    <a:lstStyle/>
                    <a:p>
                      <a:pPr marL="0" marR="0" algn="ctr">
                        <a:lnSpc>
                          <a:spcPct val="115000"/>
                        </a:lnSpc>
                        <a:spcBef>
                          <a:spcPts val="0"/>
                        </a:spcBef>
                        <a:spcAft>
                          <a:spcPts val="0"/>
                        </a:spcAft>
                      </a:pPr>
                      <a:r>
                        <a:rPr lang="en-US" sz="1400" dirty="0">
                          <a:solidFill>
                            <a:srgbClr val="000000"/>
                          </a:solidFill>
                          <a:effectLst/>
                          <a:latin typeface="+mn-lt"/>
                        </a:rPr>
                        <a:t>76 (23)</a:t>
                      </a:r>
                      <a:endParaRPr lang="en-US" sz="1400" dirty="0">
                        <a:solidFill>
                          <a:srgbClr val="000000"/>
                        </a:solidFill>
                        <a:effectLst/>
                        <a:latin typeface="+mn-lt"/>
                        <a:ea typeface="SimSun" panose="02010600030101010101" pitchFamily="2" charset="-122"/>
                        <a:cs typeface="Arial" panose="020B0604020202020204" pitchFamily="34" charset="0"/>
                      </a:endParaRPr>
                    </a:p>
                  </a:txBody>
                  <a:tcPr marL="68580" marR="68580"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solidFill>
                      <a:srgbClr val="CBCFD7"/>
                    </a:solidFill>
                  </a:tcPr>
                </a:tc>
                <a:tc>
                  <a:txBody>
                    <a:bodyPr/>
                    <a:lstStyle/>
                    <a:p>
                      <a:pPr marL="0" marR="0" algn="ctr">
                        <a:lnSpc>
                          <a:spcPct val="115000"/>
                        </a:lnSpc>
                        <a:spcBef>
                          <a:spcPts val="0"/>
                        </a:spcBef>
                        <a:spcAft>
                          <a:spcPts val="0"/>
                        </a:spcAft>
                      </a:pPr>
                      <a:r>
                        <a:rPr lang="en-US" sz="1400" dirty="0">
                          <a:solidFill>
                            <a:srgbClr val="000000"/>
                          </a:solidFill>
                          <a:effectLst/>
                          <a:latin typeface="+mn-lt"/>
                        </a:rPr>
                        <a:t>18 (11)</a:t>
                      </a:r>
                      <a:endParaRPr lang="en-US" sz="1400" dirty="0">
                        <a:solidFill>
                          <a:srgbClr val="000000"/>
                        </a:solidFill>
                        <a:effectLst/>
                        <a:latin typeface="+mn-lt"/>
                        <a:ea typeface="SimSun" panose="02010600030101010101" pitchFamily="2" charset="-122"/>
                        <a:cs typeface="Arial" panose="020B0604020202020204" pitchFamily="34" charset="0"/>
                      </a:endParaRPr>
                    </a:p>
                  </a:txBody>
                  <a:tcPr marL="68580" marR="68580" marT="0" marB="0" anchor="ctr">
                    <a:lnL w="28575" cap="flat" cmpd="sng" algn="ctr">
                      <a:noFill/>
                      <a:prstDash val="solid"/>
                      <a:round/>
                      <a:headEnd type="none" w="med" len="med"/>
                      <a:tailEnd type="none" w="med" len="med"/>
                    </a:lnL>
                    <a:lnR w="12700" cmpd="sng">
                      <a:noFill/>
                    </a:lnR>
                    <a:solidFill>
                      <a:srgbClr val="CBCFD7"/>
                    </a:solidFill>
                  </a:tcPr>
                </a:tc>
                <a:extLst>
                  <a:ext uri="{0D108BD9-81ED-4DB2-BD59-A6C34878D82A}">
                    <a16:rowId xmlns:a16="http://schemas.microsoft.com/office/drawing/2014/main" val="738113026"/>
                  </a:ext>
                </a:extLst>
              </a:tr>
              <a:tr h="328954">
                <a:tc>
                  <a:txBody>
                    <a:bodyPr/>
                    <a:lstStyle/>
                    <a:p>
                      <a:pPr marL="0" marR="0" indent="0">
                        <a:lnSpc>
                          <a:spcPct val="115000"/>
                        </a:lnSpc>
                        <a:spcBef>
                          <a:spcPts val="0"/>
                        </a:spcBef>
                        <a:spcAft>
                          <a:spcPts val="0"/>
                        </a:spcAft>
                      </a:pPr>
                      <a:r>
                        <a:rPr lang="en-US" sz="1400" dirty="0">
                          <a:solidFill>
                            <a:srgbClr val="000000"/>
                          </a:solidFill>
                          <a:effectLst/>
                          <a:latin typeface="+mn-lt"/>
                        </a:rPr>
                        <a:t>SD, n (%)</a:t>
                      </a:r>
                      <a:endParaRPr lang="en-US" sz="1400" dirty="0">
                        <a:solidFill>
                          <a:srgbClr val="000000"/>
                        </a:solidFill>
                        <a:effectLst/>
                        <a:latin typeface="+mn-lt"/>
                        <a:ea typeface="SimSun" panose="02010600030101010101" pitchFamily="2" charset="-122"/>
                        <a:cs typeface="Arial" panose="020B0604020202020204" pitchFamily="34" charset="0"/>
                      </a:endParaRPr>
                    </a:p>
                  </a:txBody>
                  <a:tcPr marL="68580" marR="68580" marT="0" marB="0" anchor="ctr">
                    <a:lnR w="28575" cap="flat" cmpd="sng" algn="ctr">
                      <a:noFill/>
                      <a:prstDash val="solid"/>
                      <a:round/>
                      <a:headEnd type="none" w="med" len="med"/>
                      <a:tailEnd type="none" w="med" len="med"/>
                    </a:lnR>
                    <a:solidFill>
                      <a:srgbClr val="E7E9EC"/>
                    </a:solidFill>
                  </a:tcPr>
                </a:tc>
                <a:tc>
                  <a:txBody>
                    <a:bodyPr/>
                    <a:lstStyle/>
                    <a:p>
                      <a:pPr marL="0" marR="0" algn="ctr">
                        <a:lnSpc>
                          <a:spcPct val="115000"/>
                        </a:lnSpc>
                        <a:spcBef>
                          <a:spcPts val="0"/>
                        </a:spcBef>
                        <a:spcAft>
                          <a:spcPts val="0"/>
                        </a:spcAft>
                      </a:pPr>
                      <a:r>
                        <a:rPr lang="en-US" sz="1400" dirty="0">
                          <a:solidFill>
                            <a:srgbClr val="000000"/>
                          </a:solidFill>
                          <a:effectLst/>
                          <a:latin typeface="+mn-lt"/>
                        </a:rPr>
                        <a:t>144 (44)</a:t>
                      </a:r>
                      <a:endParaRPr lang="en-US" sz="1400" dirty="0">
                        <a:solidFill>
                          <a:srgbClr val="000000"/>
                        </a:solidFill>
                        <a:effectLst/>
                        <a:latin typeface="+mn-lt"/>
                        <a:ea typeface="SimSun" panose="02010600030101010101" pitchFamily="2" charset="-122"/>
                        <a:cs typeface="Arial" panose="020B0604020202020204" pitchFamily="34" charset="0"/>
                      </a:endParaRPr>
                    </a:p>
                  </a:txBody>
                  <a:tcPr marL="68580" marR="68580"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solidFill>
                      <a:srgbClr val="E7E9EC"/>
                    </a:solidFill>
                  </a:tcPr>
                </a:tc>
                <a:tc>
                  <a:txBody>
                    <a:bodyPr/>
                    <a:lstStyle/>
                    <a:p>
                      <a:pPr marL="0" marR="0" algn="ctr">
                        <a:lnSpc>
                          <a:spcPct val="115000"/>
                        </a:lnSpc>
                        <a:spcBef>
                          <a:spcPts val="0"/>
                        </a:spcBef>
                        <a:spcAft>
                          <a:spcPts val="0"/>
                        </a:spcAft>
                      </a:pPr>
                      <a:r>
                        <a:rPr lang="en-US" sz="1400" dirty="0">
                          <a:solidFill>
                            <a:srgbClr val="000000"/>
                          </a:solidFill>
                          <a:effectLst/>
                          <a:latin typeface="+mn-lt"/>
                        </a:rPr>
                        <a:t>69 (43)</a:t>
                      </a:r>
                      <a:endParaRPr lang="en-US" sz="1400" dirty="0">
                        <a:solidFill>
                          <a:srgbClr val="000000"/>
                        </a:solidFill>
                        <a:effectLst/>
                        <a:latin typeface="+mn-lt"/>
                        <a:ea typeface="SimSun" panose="02010600030101010101" pitchFamily="2" charset="-122"/>
                        <a:cs typeface="Arial" panose="020B0604020202020204" pitchFamily="34" charset="0"/>
                      </a:endParaRPr>
                    </a:p>
                  </a:txBody>
                  <a:tcPr marL="68580" marR="68580"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solidFill>
                      <a:srgbClr val="E7E9EC"/>
                    </a:solidFill>
                  </a:tcPr>
                </a:tc>
                <a:tc>
                  <a:txBody>
                    <a:bodyPr/>
                    <a:lstStyle/>
                    <a:p>
                      <a:pPr marL="0" marR="0" algn="ctr">
                        <a:lnSpc>
                          <a:spcPct val="115000"/>
                        </a:lnSpc>
                        <a:spcBef>
                          <a:spcPts val="0"/>
                        </a:spcBef>
                        <a:spcAft>
                          <a:spcPts val="0"/>
                        </a:spcAft>
                      </a:pPr>
                      <a:r>
                        <a:rPr lang="en-US" sz="1400" dirty="0">
                          <a:solidFill>
                            <a:srgbClr val="000000"/>
                          </a:solidFill>
                          <a:effectLst/>
                          <a:latin typeface="+mn-lt"/>
                        </a:rPr>
                        <a:t>121 (37)</a:t>
                      </a:r>
                      <a:endParaRPr lang="en-US" sz="1400" dirty="0">
                        <a:solidFill>
                          <a:srgbClr val="000000"/>
                        </a:solidFill>
                        <a:effectLst/>
                        <a:latin typeface="+mn-lt"/>
                        <a:ea typeface="SimSun" panose="02010600030101010101" pitchFamily="2" charset="-122"/>
                        <a:cs typeface="Arial" panose="020B0604020202020204" pitchFamily="34" charset="0"/>
                      </a:endParaRPr>
                    </a:p>
                  </a:txBody>
                  <a:tcPr marL="68580" marR="68580"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solidFill>
                      <a:srgbClr val="E7E9EC"/>
                    </a:solidFill>
                  </a:tcPr>
                </a:tc>
                <a:tc>
                  <a:txBody>
                    <a:bodyPr/>
                    <a:lstStyle/>
                    <a:p>
                      <a:pPr marL="0" marR="0" algn="ctr">
                        <a:lnSpc>
                          <a:spcPct val="115000"/>
                        </a:lnSpc>
                        <a:spcBef>
                          <a:spcPts val="0"/>
                        </a:spcBef>
                        <a:spcAft>
                          <a:spcPts val="0"/>
                        </a:spcAft>
                      </a:pPr>
                      <a:r>
                        <a:rPr lang="en-US" sz="1400" dirty="0">
                          <a:solidFill>
                            <a:srgbClr val="000000"/>
                          </a:solidFill>
                          <a:effectLst/>
                          <a:latin typeface="+mn-lt"/>
                        </a:rPr>
                        <a:t>65 (41)</a:t>
                      </a:r>
                      <a:endParaRPr lang="en-US" sz="1400" dirty="0">
                        <a:solidFill>
                          <a:srgbClr val="000000"/>
                        </a:solidFill>
                        <a:effectLst/>
                        <a:latin typeface="+mn-lt"/>
                        <a:ea typeface="SimSun" panose="02010600030101010101" pitchFamily="2" charset="-122"/>
                        <a:cs typeface="Arial" panose="020B0604020202020204" pitchFamily="34" charset="0"/>
                      </a:endParaRPr>
                    </a:p>
                  </a:txBody>
                  <a:tcPr marL="68580" marR="68580" marT="0" marB="0" anchor="ctr">
                    <a:lnL w="28575" cap="flat" cmpd="sng" algn="ctr">
                      <a:noFill/>
                      <a:prstDash val="solid"/>
                      <a:round/>
                      <a:headEnd type="none" w="med" len="med"/>
                      <a:tailEnd type="none" w="med" len="med"/>
                    </a:lnL>
                    <a:lnR w="12700" cmpd="sng">
                      <a:noFill/>
                    </a:lnR>
                    <a:solidFill>
                      <a:srgbClr val="E7E9EC"/>
                    </a:solidFill>
                  </a:tcPr>
                </a:tc>
                <a:extLst>
                  <a:ext uri="{0D108BD9-81ED-4DB2-BD59-A6C34878D82A}">
                    <a16:rowId xmlns:a16="http://schemas.microsoft.com/office/drawing/2014/main" val="3158430809"/>
                  </a:ext>
                </a:extLst>
              </a:tr>
              <a:tr h="328954">
                <a:tc>
                  <a:txBody>
                    <a:bodyPr/>
                    <a:lstStyle/>
                    <a:p>
                      <a:pPr marL="0" marR="0" indent="0">
                        <a:lnSpc>
                          <a:spcPct val="115000"/>
                        </a:lnSpc>
                        <a:spcBef>
                          <a:spcPts val="0"/>
                        </a:spcBef>
                        <a:spcAft>
                          <a:spcPts val="0"/>
                        </a:spcAft>
                      </a:pPr>
                      <a:r>
                        <a:rPr lang="en-US" sz="1400" dirty="0">
                          <a:solidFill>
                            <a:srgbClr val="000000"/>
                          </a:solidFill>
                          <a:effectLst/>
                          <a:latin typeface="+mn-lt"/>
                          <a:ea typeface="SimSun" panose="02010600030101010101" pitchFamily="2" charset="-122"/>
                          <a:cs typeface="Arial" panose="020B0604020202020204" pitchFamily="34" charset="0"/>
                        </a:rPr>
                        <a:t>DCR, n (%)</a:t>
                      </a:r>
                    </a:p>
                  </a:txBody>
                  <a:tcPr marL="68580" marR="68580" marT="0" marB="0" anchor="ctr">
                    <a:lnR w="28575" cap="flat" cmpd="sng" algn="ctr">
                      <a:noFill/>
                      <a:prstDash val="solid"/>
                      <a:round/>
                      <a:headEnd type="none" w="med" len="med"/>
                      <a:tailEnd type="none" w="med" len="med"/>
                    </a:lnR>
                    <a:solidFill>
                      <a:srgbClr val="CBCFD7"/>
                    </a:solidFill>
                  </a:tcPr>
                </a:tc>
                <a:tc>
                  <a:txBody>
                    <a:bodyPr/>
                    <a:lstStyle/>
                    <a:p>
                      <a:pPr marL="0" marR="0" lvl="0" indent="0" algn="ctr" defTabSz="914400" rtl="0" eaLnBrk="1" fontAlgn="auto" latinLnBrk="0" hangingPunct="1">
                        <a:lnSpc>
                          <a:spcPct val="115000"/>
                        </a:lnSpc>
                        <a:spcBef>
                          <a:spcPts val="0"/>
                        </a:spcBef>
                        <a:spcAft>
                          <a:spcPts val="0"/>
                        </a:spcAft>
                        <a:buClrTx/>
                        <a:buSzTx/>
                        <a:buFontTx/>
                        <a:buNone/>
                        <a:tabLst/>
                        <a:defRPr/>
                      </a:pPr>
                      <a:r>
                        <a:rPr lang="en-US" sz="1400" kern="1200" dirty="0">
                          <a:solidFill>
                            <a:srgbClr val="000000"/>
                          </a:solidFill>
                          <a:effectLst/>
                          <a:latin typeface="+mn-lt"/>
                          <a:ea typeface="+mn-ea"/>
                          <a:cs typeface="+mn-cs"/>
                        </a:rPr>
                        <a:t>241 (74)</a:t>
                      </a:r>
                    </a:p>
                  </a:txBody>
                  <a:tcPr marL="68580" marR="68580"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solidFill>
                      <a:srgbClr val="CBCFD7"/>
                    </a:solidFill>
                  </a:tcPr>
                </a:tc>
                <a:tc>
                  <a:txBody>
                    <a:bodyPr/>
                    <a:lstStyle/>
                    <a:p>
                      <a:pPr marL="0" marR="0" lvl="0" indent="0" algn="ctr" defTabSz="914400" rtl="0" eaLnBrk="1" fontAlgn="auto" latinLnBrk="0" hangingPunct="1">
                        <a:lnSpc>
                          <a:spcPct val="115000"/>
                        </a:lnSpc>
                        <a:spcBef>
                          <a:spcPts val="0"/>
                        </a:spcBef>
                        <a:spcAft>
                          <a:spcPts val="0"/>
                        </a:spcAft>
                        <a:buClrTx/>
                        <a:buSzTx/>
                        <a:buFontTx/>
                        <a:buNone/>
                        <a:tabLst/>
                        <a:defRPr/>
                      </a:pPr>
                      <a:r>
                        <a:rPr lang="en-US" sz="1400" kern="1200" dirty="0">
                          <a:solidFill>
                            <a:srgbClr val="000000"/>
                          </a:solidFill>
                          <a:effectLst/>
                          <a:latin typeface="+mn-lt"/>
                          <a:ea typeface="+mn-ea"/>
                          <a:cs typeface="+mn-cs"/>
                        </a:rPr>
                        <a:t>87 (55)</a:t>
                      </a:r>
                    </a:p>
                  </a:txBody>
                  <a:tcPr marL="68580" marR="68580"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solidFill>
                      <a:srgbClr val="CBCFD7"/>
                    </a:solidFill>
                  </a:tcPr>
                </a:tc>
                <a:tc>
                  <a:txBody>
                    <a:bodyPr/>
                    <a:lstStyle/>
                    <a:p>
                      <a:pPr marL="0" marR="0" lvl="0" indent="0" algn="ctr" defTabSz="914400" rtl="0" eaLnBrk="1" fontAlgn="auto" latinLnBrk="0" hangingPunct="1">
                        <a:lnSpc>
                          <a:spcPct val="115000"/>
                        </a:lnSpc>
                        <a:spcBef>
                          <a:spcPts val="0"/>
                        </a:spcBef>
                        <a:spcAft>
                          <a:spcPts val="0"/>
                        </a:spcAft>
                        <a:buClrTx/>
                        <a:buSzTx/>
                        <a:buFontTx/>
                        <a:buNone/>
                        <a:tabLst/>
                        <a:defRPr/>
                      </a:pPr>
                      <a:r>
                        <a:rPr lang="en-US" sz="1400" kern="1200" dirty="0">
                          <a:solidFill>
                            <a:srgbClr val="000000"/>
                          </a:solidFill>
                          <a:effectLst/>
                          <a:latin typeface="+mn-lt"/>
                          <a:ea typeface="+mn-ea"/>
                          <a:cs typeface="+mn-cs"/>
                        </a:rPr>
                        <a:t>236 (73)</a:t>
                      </a:r>
                    </a:p>
                  </a:txBody>
                  <a:tcPr marL="68580" marR="68580"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solidFill>
                      <a:srgbClr val="CBCFD7"/>
                    </a:solidFill>
                  </a:tcPr>
                </a:tc>
                <a:tc>
                  <a:txBody>
                    <a:bodyPr/>
                    <a:lstStyle/>
                    <a:p>
                      <a:pPr marL="0" marR="0" lvl="0" indent="0" algn="ctr" defTabSz="914400" rtl="0" eaLnBrk="1" fontAlgn="auto" latinLnBrk="0" hangingPunct="1">
                        <a:lnSpc>
                          <a:spcPct val="115000"/>
                        </a:lnSpc>
                        <a:spcBef>
                          <a:spcPts val="0"/>
                        </a:spcBef>
                        <a:spcAft>
                          <a:spcPts val="0"/>
                        </a:spcAft>
                        <a:buClrTx/>
                        <a:buSzTx/>
                        <a:buFontTx/>
                        <a:buNone/>
                        <a:tabLst/>
                        <a:defRPr/>
                      </a:pPr>
                      <a:r>
                        <a:rPr lang="en-US" sz="1400" kern="1200" dirty="0">
                          <a:solidFill>
                            <a:srgbClr val="000000"/>
                          </a:solidFill>
                          <a:effectLst/>
                          <a:latin typeface="+mn-lt"/>
                          <a:ea typeface="+mn-ea"/>
                          <a:cs typeface="+mn-cs"/>
                        </a:rPr>
                        <a:t>87 (55)</a:t>
                      </a:r>
                    </a:p>
                  </a:txBody>
                  <a:tcPr marL="68580" marR="68580" marT="0" marB="0" anchor="ctr">
                    <a:lnL w="28575" cap="flat" cmpd="sng" algn="ctr">
                      <a:noFill/>
                      <a:prstDash val="solid"/>
                      <a:round/>
                      <a:headEnd type="none" w="med" len="med"/>
                      <a:tailEnd type="none" w="med" len="med"/>
                    </a:lnL>
                    <a:lnR w="12700" cmpd="sng">
                      <a:noFill/>
                    </a:lnR>
                    <a:solidFill>
                      <a:srgbClr val="CBCFD7"/>
                    </a:solidFill>
                  </a:tcPr>
                </a:tc>
                <a:extLst>
                  <a:ext uri="{0D108BD9-81ED-4DB2-BD59-A6C34878D82A}">
                    <a16:rowId xmlns:a16="http://schemas.microsoft.com/office/drawing/2014/main" val="2239006509"/>
                  </a:ext>
                </a:extLst>
              </a:tr>
              <a:tr h="328954">
                <a:tc>
                  <a:txBody>
                    <a:bodyPr/>
                    <a:lstStyle/>
                    <a:p>
                      <a:pPr marL="0" marR="0">
                        <a:lnSpc>
                          <a:spcPct val="115000"/>
                        </a:lnSpc>
                        <a:spcBef>
                          <a:spcPts val="0"/>
                        </a:spcBef>
                        <a:spcAft>
                          <a:spcPts val="0"/>
                        </a:spcAft>
                      </a:pPr>
                      <a:r>
                        <a:rPr lang="en-US" sz="1400" b="0" baseline="0" dirty="0">
                          <a:solidFill>
                            <a:srgbClr val="000000"/>
                          </a:solidFill>
                          <a:effectLst/>
                          <a:latin typeface="+mn-lt"/>
                          <a:ea typeface="SimSun" panose="02010600030101010101" pitchFamily="2" charset="-122"/>
                          <a:cs typeface="Arial" panose="020B0604020202020204" pitchFamily="34" charset="0"/>
                        </a:rPr>
                        <a:t>PD, n (%)</a:t>
                      </a:r>
                    </a:p>
                  </a:txBody>
                  <a:tcPr marL="68580" marR="68580" marT="0" marB="0" anchor="ctr">
                    <a:lnR w="28575" cap="flat" cmpd="sng" algn="ctr">
                      <a:noFill/>
                      <a:prstDash val="solid"/>
                      <a:round/>
                      <a:headEnd type="none" w="med" len="med"/>
                      <a:tailEnd type="none" w="med" len="med"/>
                    </a:lnR>
                    <a:solidFill>
                      <a:srgbClr val="E7E9EC"/>
                    </a:solidFill>
                  </a:tcPr>
                </a:tc>
                <a:tc>
                  <a:txBody>
                    <a:bodyPr/>
                    <a:lstStyle/>
                    <a:p>
                      <a:pPr marL="0" marR="0" lvl="0" indent="0" algn="ctr" rtl="0">
                        <a:lnSpc>
                          <a:spcPct val="95000"/>
                        </a:lnSpc>
                        <a:spcBef>
                          <a:spcPts val="0"/>
                        </a:spcBef>
                        <a:spcAft>
                          <a:spcPts val="0"/>
                        </a:spcAft>
                        <a:buNone/>
                      </a:pPr>
                      <a:r>
                        <a:rPr lang="en-GB" sz="1500" dirty="0">
                          <a:solidFill>
                            <a:srgbClr val="000000"/>
                          </a:solidFill>
                        </a:rPr>
                        <a:t>63 (19)</a:t>
                      </a:r>
                      <a:endParaRPr sz="1500" u="none" strike="noStrike" cap="none" dirty="0">
                        <a:solidFill>
                          <a:srgbClr val="000000"/>
                        </a:solidFill>
                      </a:endParaRPr>
                    </a:p>
                  </a:txBody>
                  <a:tcPr marL="78225" marR="78225" marT="10800" marB="108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solidFill>
                      <a:srgbClr val="E7E9EC"/>
                    </a:solidFill>
                  </a:tcPr>
                </a:tc>
                <a:tc>
                  <a:txBody>
                    <a:bodyPr/>
                    <a:lstStyle/>
                    <a:p>
                      <a:pPr marL="0" marR="0" lvl="0" indent="0" algn="ctr" rtl="0">
                        <a:lnSpc>
                          <a:spcPct val="95000"/>
                        </a:lnSpc>
                        <a:spcBef>
                          <a:spcPts val="0"/>
                        </a:spcBef>
                        <a:spcAft>
                          <a:spcPts val="0"/>
                        </a:spcAft>
                        <a:buNone/>
                      </a:pPr>
                      <a:r>
                        <a:rPr lang="en-GB" sz="1500" dirty="0">
                          <a:solidFill>
                            <a:srgbClr val="000000"/>
                          </a:solidFill>
                        </a:rPr>
                        <a:t>40 (25)</a:t>
                      </a:r>
                      <a:endParaRPr sz="1500" b="0" u="none" strike="noStrike" cap="none" dirty="0">
                        <a:solidFill>
                          <a:srgbClr val="000000"/>
                        </a:solidFill>
                        <a:latin typeface="Arial"/>
                        <a:ea typeface="Arial"/>
                        <a:cs typeface="Arial"/>
                        <a:sym typeface="Arial"/>
                      </a:endParaRPr>
                    </a:p>
                  </a:txBody>
                  <a:tcPr marL="78225" marR="78225" marT="10800" marB="108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solidFill>
                      <a:srgbClr val="E7E9EC"/>
                    </a:solidFill>
                  </a:tcPr>
                </a:tc>
                <a:tc>
                  <a:txBody>
                    <a:bodyPr/>
                    <a:lstStyle/>
                    <a:p>
                      <a:pPr marL="0" lvl="0" indent="0" algn="ctr" rtl="0">
                        <a:spcBef>
                          <a:spcPts val="0"/>
                        </a:spcBef>
                        <a:spcAft>
                          <a:spcPts val="0"/>
                        </a:spcAft>
                        <a:buNone/>
                      </a:pPr>
                      <a:r>
                        <a:rPr lang="en-GB" sz="1500" dirty="0">
                          <a:solidFill>
                            <a:srgbClr val="000000"/>
                          </a:solidFill>
                        </a:rPr>
                        <a:t>65 (20)</a:t>
                      </a:r>
                      <a:endParaRPr sz="1500" dirty="0">
                        <a:solidFill>
                          <a:srgbClr val="000000"/>
                        </a:solidFill>
                      </a:endParaRPr>
                    </a:p>
                  </a:txBody>
                  <a:tcPr marL="77375" marR="77375" marT="10800" marB="1080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solidFill>
                      <a:srgbClr val="E7E9EC"/>
                    </a:solidFill>
                  </a:tcPr>
                </a:tc>
                <a:tc>
                  <a:txBody>
                    <a:bodyPr/>
                    <a:lstStyle/>
                    <a:p>
                      <a:pPr marL="0" lvl="0" indent="0" algn="ctr" rtl="0">
                        <a:spcBef>
                          <a:spcPts val="0"/>
                        </a:spcBef>
                        <a:spcAft>
                          <a:spcPts val="0"/>
                        </a:spcAft>
                        <a:buNone/>
                      </a:pPr>
                      <a:r>
                        <a:rPr lang="en-GB" sz="1500" dirty="0">
                          <a:solidFill>
                            <a:srgbClr val="000000"/>
                          </a:solidFill>
                        </a:rPr>
                        <a:t>40 (25)</a:t>
                      </a:r>
                      <a:endParaRPr sz="1500" dirty="0">
                        <a:solidFill>
                          <a:srgbClr val="000000"/>
                        </a:solidFill>
                      </a:endParaRPr>
                    </a:p>
                  </a:txBody>
                  <a:tcPr marL="77375" marR="77375" marT="10800" marB="10800" anchor="ctr">
                    <a:lnL w="28575" cap="flat" cmpd="sng" algn="ctr">
                      <a:noFill/>
                      <a:prstDash val="solid"/>
                      <a:round/>
                      <a:headEnd type="none" w="med" len="med"/>
                      <a:tailEnd type="none" w="med" len="med"/>
                    </a:lnL>
                    <a:lnR w="12700" cmpd="sng">
                      <a:noFill/>
                    </a:lnR>
                    <a:solidFill>
                      <a:srgbClr val="E7E9EC"/>
                    </a:solidFill>
                  </a:tcPr>
                </a:tc>
                <a:extLst>
                  <a:ext uri="{0D108BD9-81ED-4DB2-BD59-A6C34878D82A}">
                    <a16:rowId xmlns:a16="http://schemas.microsoft.com/office/drawing/2014/main" val="1489137236"/>
                  </a:ext>
                </a:extLst>
              </a:tr>
              <a:tr h="328954">
                <a:tc>
                  <a:txBody>
                    <a:bodyPr/>
                    <a:lstStyle/>
                    <a:p>
                      <a:pPr marL="0" marR="0">
                        <a:lnSpc>
                          <a:spcPct val="115000"/>
                        </a:lnSpc>
                        <a:spcBef>
                          <a:spcPts val="0"/>
                        </a:spcBef>
                        <a:spcAft>
                          <a:spcPts val="0"/>
                        </a:spcAft>
                      </a:pPr>
                      <a:r>
                        <a:rPr lang="en-US" sz="1400" b="0" dirty="0">
                          <a:solidFill>
                            <a:srgbClr val="000000"/>
                          </a:solidFill>
                          <a:effectLst/>
                          <a:latin typeface="+mn-lt"/>
                          <a:ea typeface="SimSun" panose="02010600030101010101" pitchFamily="2" charset="-122"/>
                          <a:cs typeface="Arial" panose="020B0604020202020204" pitchFamily="34" charset="0"/>
                        </a:rPr>
                        <a:t>Ongoing response, n (%)</a:t>
                      </a:r>
                      <a:endParaRPr lang="en-US" sz="1400" b="0" baseline="30000" dirty="0">
                        <a:solidFill>
                          <a:srgbClr val="000000"/>
                        </a:solidFill>
                        <a:effectLst/>
                        <a:latin typeface="+mn-lt"/>
                        <a:ea typeface="SimSun" panose="02010600030101010101" pitchFamily="2" charset="-122"/>
                        <a:cs typeface="Arial" panose="020B0604020202020204" pitchFamily="34" charset="0"/>
                      </a:endParaRPr>
                    </a:p>
                  </a:txBody>
                  <a:tcPr marL="68580" marR="68580" marT="0" marB="0" anchor="ctr">
                    <a:lnR w="28575" cap="flat" cmpd="sng" algn="ctr">
                      <a:noFill/>
                      <a:prstDash val="solid"/>
                      <a:round/>
                      <a:headEnd type="none" w="med" len="med"/>
                      <a:tailEnd type="none" w="med" len="med"/>
                    </a:lnR>
                    <a:solidFill>
                      <a:srgbClr val="CBCFD7"/>
                    </a:solidFill>
                  </a:tcPr>
                </a:tc>
                <a:tc>
                  <a:txBody>
                    <a:bodyPr/>
                    <a:lstStyle/>
                    <a:p>
                      <a:pPr marL="0" marR="0" lvl="0" indent="0" algn="ctr" defTabSz="914400" rtl="0" eaLnBrk="1" fontAlgn="auto" latinLnBrk="0" hangingPunct="1">
                        <a:lnSpc>
                          <a:spcPct val="115000"/>
                        </a:lnSpc>
                        <a:spcBef>
                          <a:spcPts val="0"/>
                        </a:spcBef>
                        <a:spcAft>
                          <a:spcPts val="0"/>
                        </a:spcAft>
                        <a:buClrTx/>
                        <a:buSzTx/>
                        <a:buFontTx/>
                        <a:buNone/>
                        <a:tabLst/>
                        <a:defRPr/>
                      </a:pPr>
                      <a:r>
                        <a:rPr lang="en-US" altLang="zh-CN" sz="1400" b="0" u="none" strike="noStrike" kern="1200" cap="none" dirty="0">
                          <a:solidFill>
                            <a:srgbClr val="000000"/>
                          </a:solidFill>
                          <a:latin typeface="+mn-lt"/>
                          <a:ea typeface="+mn-ea"/>
                          <a:cs typeface="+mn-cs"/>
                        </a:rPr>
                        <a:t>54 (56)</a:t>
                      </a:r>
                    </a:p>
                  </a:txBody>
                  <a:tcPr marL="68580" marR="68580"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solidFill>
                      <a:srgbClr val="CBCFD7"/>
                    </a:solidFill>
                  </a:tcPr>
                </a:tc>
                <a:tc>
                  <a:txBody>
                    <a:bodyPr/>
                    <a:lstStyle/>
                    <a:p>
                      <a:pPr marL="0" marR="0" lvl="0" indent="0" algn="ctr" defTabSz="914400" rtl="0" eaLnBrk="1" fontAlgn="auto" latinLnBrk="0" hangingPunct="1">
                        <a:lnSpc>
                          <a:spcPct val="115000"/>
                        </a:lnSpc>
                        <a:spcBef>
                          <a:spcPts val="0"/>
                        </a:spcBef>
                        <a:spcAft>
                          <a:spcPts val="0"/>
                        </a:spcAft>
                        <a:buClrTx/>
                        <a:buSzTx/>
                        <a:buFontTx/>
                        <a:buNone/>
                        <a:tabLst/>
                        <a:defRPr/>
                      </a:pPr>
                      <a:r>
                        <a:rPr lang="en-US" altLang="zh-CN" sz="1400" b="0" u="none" strike="noStrike" kern="1200" cap="none" dirty="0">
                          <a:solidFill>
                            <a:srgbClr val="000000"/>
                          </a:solidFill>
                          <a:latin typeface="+mn-lt"/>
                          <a:ea typeface="+mn-ea"/>
                          <a:cs typeface="+mn-cs"/>
                        </a:rPr>
                        <a:t>5 (28)</a:t>
                      </a:r>
                    </a:p>
                  </a:txBody>
                  <a:tcPr marL="68580" marR="68580"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solidFill>
                      <a:srgbClr val="CBCFD7"/>
                    </a:solidFill>
                  </a:tcPr>
                </a:tc>
                <a:tc>
                  <a:txBody>
                    <a:bodyPr/>
                    <a:lstStyle/>
                    <a:p>
                      <a:pPr marL="0" marR="0" lvl="0" indent="0" algn="ctr" defTabSz="914400" rtl="0" eaLnBrk="1" fontAlgn="auto" latinLnBrk="0" hangingPunct="1">
                        <a:lnSpc>
                          <a:spcPct val="115000"/>
                        </a:lnSpc>
                        <a:spcBef>
                          <a:spcPts val="0"/>
                        </a:spcBef>
                        <a:spcAft>
                          <a:spcPts val="0"/>
                        </a:spcAft>
                        <a:buClrTx/>
                        <a:buSzTx/>
                        <a:buFontTx/>
                        <a:buNone/>
                        <a:tabLst/>
                        <a:defRPr/>
                      </a:pPr>
                      <a:r>
                        <a:rPr lang="en-US" altLang="zh-CN" sz="1400" b="0" u="none" strike="noStrike" kern="1200" cap="none" dirty="0">
                          <a:solidFill>
                            <a:srgbClr val="000000"/>
                          </a:solidFill>
                          <a:latin typeface="+mn-lt"/>
                          <a:ea typeface="+mn-ea"/>
                          <a:cs typeface="+mn-cs"/>
                        </a:rPr>
                        <a:t>58 (50)</a:t>
                      </a:r>
                    </a:p>
                  </a:txBody>
                  <a:tcPr marL="68580" marR="68580"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solidFill>
                      <a:srgbClr val="CBCFD7"/>
                    </a:solidFill>
                  </a:tcPr>
                </a:tc>
                <a:tc>
                  <a:txBody>
                    <a:bodyPr/>
                    <a:lstStyle/>
                    <a:p>
                      <a:pPr marL="0" marR="0" lvl="0" indent="0" algn="ctr" defTabSz="914400" rtl="0" eaLnBrk="1" fontAlgn="auto" latinLnBrk="0" hangingPunct="1">
                        <a:lnSpc>
                          <a:spcPct val="115000"/>
                        </a:lnSpc>
                        <a:spcBef>
                          <a:spcPts val="0"/>
                        </a:spcBef>
                        <a:spcAft>
                          <a:spcPts val="0"/>
                        </a:spcAft>
                        <a:buClrTx/>
                        <a:buSzTx/>
                        <a:buFontTx/>
                        <a:buNone/>
                        <a:tabLst/>
                        <a:defRPr/>
                      </a:pPr>
                      <a:r>
                        <a:rPr lang="en-US" altLang="zh-CN" sz="1400" b="0" u="none" strike="noStrike" kern="1200" cap="none" dirty="0">
                          <a:solidFill>
                            <a:srgbClr val="000000"/>
                          </a:solidFill>
                          <a:latin typeface="+mn-lt"/>
                          <a:ea typeface="+mn-ea"/>
                          <a:cs typeface="+mn-cs"/>
                        </a:rPr>
                        <a:t>6 (27)</a:t>
                      </a:r>
                    </a:p>
                  </a:txBody>
                  <a:tcPr marL="68580" marR="68580" marT="0" marB="0" anchor="ctr">
                    <a:lnL w="28575" cap="flat" cmpd="sng" algn="ctr">
                      <a:noFill/>
                      <a:prstDash val="solid"/>
                      <a:round/>
                      <a:headEnd type="none" w="med" len="med"/>
                      <a:tailEnd type="none" w="med" len="med"/>
                    </a:lnL>
                    <a:lnR w="12700" cmpd="sng">
                      <a:noFill/>
                    </a:lnR>
                    <a:solidFill>
                      <a:srgbClr val="CBCFD7"/>
                    </a:solidFill>
                  </a:tcPr>
                </a:tc>
                <a:extLst>
                  <a:ext uri="{0D108BD9-81ED-4DB2-BD59-A6C34878D82A}">
                    <a16:rowId xmlns:a16="http://schemas.microsoft.com/office/drawing/2014/main" val="1457153152"/>
                  </a:ext>
                </a:extLst>
              </a:tr>
              <a:tr h="538270">
                <a:tc>
                  <a:txBody>
                    <a:bodyPr/>
                    <a:lstStyle/>
                    <a:p>
                      <a:pPr marL="0" marR="0">
                        <a:lnSpc>
                          <a:spcPct val="115000"/>
                        </a:lnSpc>
                        <a:spcBef>
                          <a:spcPts val="0"/>
                        </a:spcBef>
                        <a:spcAft>
                          <a:spcPts val="0"/>
                        </a:spcAft>
                      </a:pPr>
                      <a:r>
                        <a:rPr lang="en-US" sz="1400" b="1" dirty="0">
                          <a:solidFill>
                            <a:srgbClr val="000000"/>
                          </a:solidFill>
                          <a:effectLst/>
                          <a:latin typeface="+mn-lt"/>
                        </a:rPr>
                        <a:t>Median DOR (95% CI), mo</a:t>
                      </a:r>
                      <a:r>
                        <a:rPr lang="en-US" sz="1400" b="1" baseline="30000" dirty="0">
                          <a:solidFill>
                            <a:srgbClr val="000000"/>
                          </a:solidFill>
                          <a:effectLst/>
                          <a:latin typeface="+mn-lt"/>
                        </a:rPr>
                        <a:t>b</a:t>
                      </a:r>
                      <a:endParaRPr lang="en-US" sz="1400" b="1" baseline="30000" dirty="0">
                        <a:solidFill>
                          <a:srgbClr val="000000"/>
                        </a:solidFill>
                        <a:effectLst/>
                        <a:latin typeface="+mn-lt"/>
                        <a:ea typeface="SimSun" panose="02010600030101010101" pitchFamily="2" charset="-122"/>
                        <a:cs typeface="Arial" panose="020B0604020202020204" pitchFamily="34" charset="0"/>
                      </a:endParaRPr>
                    </a:p>
                  </a:txBody>
                  <a:tcPr marL="68580" marR="68580" marT="0" marB="0" anchor="ctr">
                    <a:lnR w="28575" cap="flat" cmpd="sng" algn="ctr">
                      <a:noFill/>
                      <a:prstDash val="solid"/>
                      <a:round/>
                      <a:headEnd type="none" w="med" len="med"/>
                      <a:tailEnd type="none" w="med" len="med"/>
                    </a:lnR>
                    <a:lnB w="28575" cap="flat" cmpd="sng" algn="ctr">
                      <a:solidFill>
                        <a:schemeClr val="bg1"/>
                      </a:solidFill>
                      <a:prstDash val="solid"/>
                      <a:round/>
                      <a:headEnd type="none" w="med" len="med"/>
                      <a:tailEnd type="none" w="med" len="med"/>
                    </a:lnB>
                    <a:solidFill>
                      <a:srgbClr val="E7E9EC"/>
                    </a:solidFill>
                  </a:tcPr>
                </a:tc>
                <a:tc>
                  <a:txBody>
                    <a:bodyPr/>
                    <a:lstStyle/>
                    <a:p>
                      <a:pPr marL="0" marR="0" algn="ctr">
                        <a:lnSpc>
                          <a:spcPct val="115000"/>
                        </a:lnSpc>
                        <a:spcBef>
                          <a:spcPts val="0"/>
                        </a:spcBef>
                        <a:spcAft>
                          <a:spcPts val="0"/>
                        </a:spcAft>
                      </a:pPr>
                      <a:r>
                        <a:rPr lang="en-US" sz="1400" b="1" dirty="0">
                          <a:solidFill>
                            <a:srgbClr val="000000"/>
                          </a:solidFill>
                          <a:effectLst/>
                          <a:latin typeface="+mn-lt"/>
                        </a:rPr>
                        <a:t>18.1</a:t>
                      </a:r>
                      <a:br>
                        <a:rPr lang="en-US" sz="1400" b="1" dirty="0">
                          <a:solidFill>
                            <a:srgbClr val="000000"/>
                          </a:solidFill>
                          <a:effectLst/>
                          <a:latin typeface="+mn-lt"/>
                        </a:rPr>
                      </a:br>
                      <a:r>
                        <a:rPr lang="en-US" sz="1400" b="1" dirty="0">
                          <a:solidFill>
                            <a:srgbClr val="000000"/>
                          </a:solidFill>
                          <a:effectLst/>
                          <a:latin typeface="+mn-lt"/>
                        </a:rPr>
                        <a:t>(14.6, NE)</a:t>
                      </a:r>
                      <a:endParaRPr lang="en-US" sz="1400" b="1" dirty="0">
                        <a:solidFill>
                          <a:srgbClr val="000000"/>
                        </a:solidFill>
                        <a:effectLst/>
                        <a:latin typeface="+mn-lt"/>
                        <a:ea typeface="SimSun" panose="02010600030101010101" pitchFamily="2" charset="-122"/>
                        <a:cs typeface="Arial" panose="020B0604020202020204" pitchFamily="34" charset="0"/>
                      </a:endParaRPr>
                    </a:p>
                  </a:txBody>
                  <a:tcPr marL="68580" marR="68580"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B w="28575" cap="flat" cmpd="sng" algn="ctr">
                      <a:solidFill>
                        <a:schemeClr val="bg1"/>
                      </a:solidFill>
                      <a:prstDash val="solid"/>
                      <a:round/>
                      <a:headEnd type="none" w="med" len="med"/>
                      <a:tailEnd type="none" w="med" len="med"/>
                    </a:lnB>
                    <a:solidFill>
                      <a:srgbClr val="E7E9EC"/>
                    </a:solidFill>
                  </a:tcPr>
                </a:tc>
                <a:tc>
                  <a:txBody>
                    <a:bodyPr/>
                    <a:lstStyle/>
                    <a:p>
                      <a:pPr marL="0" marR="0" algn="ctr">
                        <a:lnSpc>
                          <a:spcPct val="115000"/>
                        </a:lnSpc>
                        <a:spcBef>
                          <a:spcPts val="0"/>
                        </a:spcBef>
                        <a:spcAft>
                          <a:spcPts val="0"/>
                        </a:spcAft>
                      </a:pPr>
                      <a:r>
                        <a:rPr lang="en-US" sz="1400" b="1" dirty="0">
                          <a:solidFill>
                            <a:srgbClr val="000000"/>
                          </a:solidFill>
                          <a:effectLst/>
                          <a:latin typeface="+mn-lt"/>
                        </a:rPr>
                        <a:t>14.9</a:t>
                      </a:r>
                      <a:br>
                        <a:rPr lang="en-US" sz="1400" b="1" dirty="0">
                          <a:solidFill>
                            <a:srgbClr val="000000"/>
                          </a:solidFill>
                          <a:effectLst/>
                          <a:latin typeface="+mn-lt"/>
                        </a:rPr>
                      </a:br>
                      <a:r>
                        <a:rPr lang="en-US" sz="1400" b="1" dirty="0">
                          <a:solidFill>
                            <a:srgbClr val="000000"/>
                          </a:solidFill>
                          <a:effectLst/>
                          <a:latin typeface="+mn-lt"/>
                        </a:rPr>
                        <a:t>(4.9, 17.0)</a:t>
                      </a:r>
                      <a:endParaRPr lang="en-US" sz="1400" b="1" dirty="0">
                        <a:solidFill>
                          <a:srgbClr val="000000"/>
                        </a:solidFill>
                        <a:effectLst/>
                        <a:latin typeface="+mn-lt"/>
                        <a:ea typeface="SimSun" panose="02010600030101010101" pitchFamily="2" charset="-122"/>
                        <a:cs typeface="Arial" panose="020B0604020202020204" pitchFamily="34" charset="0"/>
                      </a:endParaRPr>
                    </a:p>
                  </a:txBody>
                  <a:tcPr marL="68580" marR="68580"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B w="28575" cap="flat" cmpd="sng" algn="ctr">
                      <a:solidFill>
                        <a:schemeClr val="bg1"/>
                      </a:solidFill>
                      <a:prstDash val="solid"/>
                      <a:round/>
                      <a:headEnd type="none" w="med" len="med"/>
                      <a:tailEnd type="none" w="med" len="med"/>
                    </a:lnB>
                    <a:solidFill>
                      <a:srgbClr val="E7E9EC"/>
                    </a:solidFill>
                  </a:tcPr>
                </a:tc>
                <a:tc>
                  <a:txBody>
                    <a:bodyPr/>
                    <a:lstStyle/>
                    <a:p>
                      <a:pPr marL="0" marR="0" algn="ctr">
                        <a:lnSpc>
                          <a:spcPct val="115000"/>
                        </a:lnSpc>
                        <a:spcBef>
                          <a:spcPts val="0"/>
                        </a:spcBef>
                        <a:spcAft>
                          <a:spcPts val="0"/>
                        </a:spcAft>
                      </a:pPr>
                      <a:r>
                        <a:rPr lang="en-US" sz="1400" b="1" dirty="0">
                          <a:solidFill>
                            <a:srgbClr val="000000"/>
                          </a:solidFill>
                          <a:effectLst/>
                          <a:latin typeface="+mn-lt"/>
                        </a:rPr>
                        <a:t>16.3</a:t>
                      </a:r>
                      <a:br>
                        <a:rPr lang="en-US" sz="1400" b="1" dirty="0">
                          <a:solidFill>
                            <a:srgbClr val="000000"/>
                          </a:solidFill>
                          <a:effectLst/>
                          <a:latin typeface="+mn-lt"/>
                        </a:rPr>
                      </a:br>
                      <a:r>
                        <a:rPr lang="en-US" sz="1400" b="1" dirty="0">
                          <a:solidFill>
                            <a:srgbClr val="000000"/>
                          </a:solidFill>
                          <a:effectLst/>
                          <a:latin typeface="+mn-lt"/>
                        </a:rPr>
                        <a:t>(13.1, 21.4)</a:t>
                      </a:r>
                      <a:endParaRPr lang="en-US" sz="1400" b="1" dirty="0">
                        <a:solidFill>
                          <a:srgbClr val="000000"/>
                        </a:solidFill>
                        <a:effectLst/>
                        <a:latin typeface="+mn-lt"/>
                        <a:ea typeface="SimSun" panose="02010600030101010101" pitchFamily="2" charset="-122"/>
                        <a:cs typeface="Arial" panose="020B0604020202020204" pitchFamily="34" charset="0"/>
                      </a:endParaRPr>
                    </a:p>
                  </a:txBody>
                  <a:tcPr marL="68580" marR="68580" marT="0" marB="0" anchor="ctr">
                    <a:lnL w="28575" cap="flat" cmpd="sng" algn="ctr">
                      <a:noFill/>
                      <a:prstDash val="solid"/>
                      <a:round/>
                      <a:headEnd type="none" w="med" len="med"/>
                      <a:tailEnd type="none" w="med" len="med"/>
                    </a:lnL>
                    <a:lnR w="28575" cap="flat" cmpd="sng" algn="ctr">
                      <a:noFill/>
                      <a:prstDash val="solid"/>
                      <a:round/>
                      <a:headEnd type="none" w="med" len="med"/>
                      <a:tailEnd type="none" w="med" len="med"/>
                    </a:lnR>
                    <a:lnB w="28575" cap="flat" cmpd="sng" algn="ctr">
                      <a:solidFill>
                        <a:schemeClr val="bg1"/>
                      </a:solidFill>
                      <a:prstDash val="solid"/>
                      <a:round/>
                      <a:headEnd type="none" w="med" len="med"/>
                      <a:tailEnd type="none" w="med" len="med"/>
                    </a:lnB>
                    <a:solidFill>
                      <a:srgbClr val="E7E9EC"/>
                    </a:solidFill>
                  </a:tcPr>
                </a:tc>
                <a:tc>
                  <a:txBody>
                    <a:bodyPr/>
                    <a:lstStyle/>
                    <a:p>
                      <a:pPr marL="0" marR="0" algn="ctr">
                        <a:lnSpc>
                          <a:spcPct val="115000"/>
                        </a:lnSpc>
                        <a:spcBef>
                          <a:spcPts val="0"/>
                        </a:spcBef>
                        <a:spcAft>
                          <a:spcPts val="0"/>
                        </a:spcAft>
                      </a:pPr>
                      <a:r>
                        <a:rPr lang="en-US" sz="1400" b="1" dirty="0">
                          <a:solidFill>
                            <a:srgbClr val="000000"/>
                          </a:solidFill>
                          <a:effectLst/>
                          <a:latin typeface="+mn-lt"/>
                        </a:rPr>
                        <a:t>12.6</a:t>
                      </a:r>
                      <a:br>
                        <a:rPr lang="en-US" sz="1400" b="1" dirty="0">
                          <a:solidFill>
                            <a:srgbClr val="000000"/>
                          </a:solidFill>
                          <a:effectLst/>
                          <a:latin typeface="+mn-lt"/>
                        </a:rPr>
                      </a:br>
                      <a:r>
                        <a:rPr lang="en-US" sz="1400" b="1" dirty="0">
                          <a:solidFill>
                            <a:srgbClr val="000000"/>
                          </a:solidFill>
                          <a:effectLst/>
                          <a:latin typeface="+mn-lt"/>
                        </a:rPr>
                        <a:t>(6.1, 17.7)</a:t>
                      </a:r>
                      <a:endParaRPr lang="en-US" sz="1400" b="1" dirty="0">
                        <a:solidFill>
                          <a:srgbClr val="000000"/>
                        </a:solidFill>
                        <a:effectLst/>
                        <a:latin typeface="+mn-lt"/>
                        <a:ea typeface="SimSun" panose="02010600030101010101" pitchFamily="2" charset="-122"/>
                        <a:cs typeface="Arial" panose="020B0604020202020204" pitchFamily="34" charset="0"/>
                      </a:endParaRPr>
                    </a:p>
                  </a:txBody>
                  <a:tcPr marL="68580" marR="68580" marT="0" marB="0" anchor="ctr">
                    <a:lnL w="28575" cap="flat" cmpd="sng" algn="ctr">
                      <a:noFill/>
                      <a:prstDash val="solid"/>
                      <a:round/>
                      <a:headEnd type="none" w="med" len="med"/>
                      <a:tailEnd type="none" w="med" len="med"/>
                    </a:lnL>
                    <a:lnR w="12700" cmpd="sng">
                      <a:noFill/>
                    </a:lnR>
                    <a:lnB w="28575" cap="flat" cmpd="sng" algn="ctr">
                      <a:solidFill>
                        <a:schemeClr val="bg1"/>
                      </a:solidFill>
                      <a:prstDash val="solid"/>
                      <a:round/>
                      <a:headEnd type="none" w="med" len="med"/>
                      <a:tailEnd type="none" w="med" len="med"/>
                    </a:lnB>
                    <a:solidFill>
                      <a:srgbClr val="E7E9EC"/>
                    </a:solidFill>
                  </a:tcPr>
                </a:tc>
                <a:extLst>
                  <a:ext uri="{0D108BD9-81ED-4DB2-BD59-A6C34878D82A}">
                    <a16:rowId xmlns:a16="http://schemas.microsoft.com/office/drawing/2014/main" val="469289140"/>
                  </a:ext>
                </a:extLst>
              </a:tr>
            </a:tbl>
          </a:graphicData>
        </a:graphic>
      </p:graphicFrame>
      <p:sp>
        <p:nvSpPr>
          <p:cNvPr id="2" name="TextBox 1">
            <a:extLst>
              <a:ext uri="{FF2B5EF4-FFF2-40B4-BE49-F238E27FC236}">
                <a16:creationId xmlns:a16="http://schemas.microsoft.com/office/drawing/2014/main" id="{BB5E3EA3-02D0-427E-8A70-1E0969BF4D0D}"/>
              </a:ext>
            </a:extLst>
          </p:cNvPr>
          <p:cNvSpPr txBox="1"/>
          <p:nvPr/>
        </p:nvSpPr>
        <p:spPr>
          <a:xfrm>
            <a:off x="9601200" y="5867400"/>
            <a:ext cx="1487908"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200" b="0" i="0" u="none" strike="noStrike" kern="1200" cap="none" spc="0" normalizeH="0" baseline="0" noProof="0" dirty="0">
                <a:ln>
                  <a:noFill/>
                </a:ln>
                <a:solidFill>
                  <a:srgbClr val="00447C"/>
                </a:solidFill>
                <a:effectLst/>
                <a:uLnTx/>
                <a:uFillTx/>
                <a:latin typeface="Calibri" panose="020F0502020204030204" pitchFamily="34" charset="0"/>
                <a:ea typeface="MS PGothic" pitchFamily="34" charset="-128"/>
                <a:cs typeface="Arial" panose="020B0604020202020204" pitchFamily="34" charset="0"/>
              </a:rPr>
              <a:t>Cheng AL J Hep 2022</a:t>
            </a:r>
            <a:endParaRPr kumimoji="0" lang="en-US" sz="1200" b="0" i="0" u="none" strike="noStrike" kern="1200" cap="none" spc="0" normalizeH="0" baseline="0" noProof="0" dirty="0">
              <a:ln>
                <a:noFill/>
              </a:ln>
              <a:solidFill>
                <a:srgbClr val="00447C"/>
              </a:solidFill>
              <a:effectLst/>
              <a:uLnTx/>
              <a:uFillTx/>
              <a:latin typeface="Arial" panose="020B0604020202020204"/>
              <a:ea typeface="+mn-ea"/>
              <a:cs typeface="+mn-cs"/>
            </a:endParaRPr>
          </a:p>
        </p:txBody>
      </p:sp>
    </p:spTree>
    <p:extLst>
      <p:ext uri="{BB962C8B-B14F-4D97-AF65-F5344CB8AC3E}">
        <p14:creationId xmlns:p14="http://schemas.microsoft.com/office/powerpoint/2010/main" val="292972513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6BFBB7-C47C-4790-839B-E5C38076FC81}"/>
              </a:ext>
            </a:extLst>
          </p:cNvPr>
          <p:cNvSpPr>
            <a:spLocks noGrp="1"/>
          </p:cNvSpPr>
          <p:nvPr>
            <p:ph type="title"/>
          </p:nvPr>
        </p:nvSpPr>
        <p:spPr>
          <a:xfrm>
            <a:off x="529167" y="156667"/>
            <a:ext cx="11133664" cy="764596"/>
          </a:xfrm>
        </p:spPr>
        <p:txBody>
          <a:bodyPr/>
          <a:lstStyle/>
          <a:p>
            <a:r>
              <a:rPr lang="en-US" dirty="0"/>
              <a:t>TRAEs: ≥ 10% any grade in either arm</a:t>
            </a:r>
          </a:p>
        </p:txBody>
      </p:sp>
      <p:sp>
        <p:nvSpPr>
          <p:cNvPr id="7" name="Text Placeholder 6">
            <a:extLst>
              <a:ext uri="{FF2B5EF4-FFF2-40B4-BE49-F238E27FC236}">
                <a16:creationId xmlns:a16="http://schemas.microsoft.com/office/drawing/2014/main" id="{83FE791E-88A6-4C23-991C-5DDBC5F51D96}"/>
              </a:ext>
            </a:extLst>
          </p:cNvPr>
          <p:cNvSpPr>
            <a:spLocks noGrp="1"/>
          </p:cNvSpPr>
          <p:nvPr>
            <p:ph type="body" sz="quarter" idx="14"/>
          </p:nvPr>
        </p:nvSpPr>
        <p:spPr>
          <a:xfrm>
            <a:off x="112351" y="6428066"/>
            <a:ext cx="5465232" cy="390525"/>
          </a:xfrm>
        </p:spPr>
        <p:txBody>
          <a:bodyPr/>
          <a:lstStyle/>
          <a:p>
            <a:pPr algn="l"/>
            <a:r>
              <a:rPr lang="en-US" altLang="en-US" dirty="0"/>
              <a:t>Finn et al , </a:t>
            </a:r>
            <a:r>
              <a:rPr lang="fr-FR" i="1" dirty="0"/>
              <a:t>N Engl J Med</a:t>
            </a:r>
            <a:r>
              <a:rPr lang="en-US" altLang="en-US" i="1" dirty="0"/>
              <a:t> </a:t>
            </a:r>
            <a:r>
              <a:rPr lang="en-US" altLang="en-US" dirty="0"/>
              <a:t>2020.</a:t>
            </a:r>
            <a:endParaRPr lang="en-US" dirty="0"/>
          </a:p>
        </p:txBody>
      </p:sp>
      <p:grpSp>
        <p:nvGrpSpPr>
          <p:cNvPr id="44" name="Group 43">
            <a:extLst>
              <a:ext uri="{FF2B5EF4-FFF2-40B4-BE49-F238E27FC236}">
                <a16:creationId xmlns:a16="http://schemas.microsoft.com/office/drawing/2014/main" id="{8808901D-B808-47B6-A01B-134ACD112C3F}"/>
              </a:ext>
            </a:extLst>
          </p:cNvPr>
          <p:cNvGrpSpPr>
            <a:grpSpLocks/>
          </p:cNvGrpSpPr>
          <p:nvPr/>
        </p:nvGrpSpPr>
        <p:grpSpPr bwMode="auto">
          <a:xfrm>
            <a:off x="3154962" y="6108969"/>
            <a:ext cx="7614585" cy="341850"/>
            <a:chOff x="1711681" y="2884198"/>
            <a:chExt cx="6927470" cy="238102"/>
          </a:xfrm>
        </p:grpSpPr>
        <p:sp>
          <p:nvSpPr>
            <p:cNvPr id="70" name="TextBox 19">
              <a:extLst>
                <a:ext uri="{FF2B5EF4-FFF2-40B4-BE49-F238E27FC236}">
                  <a16:creationId xmlns:a16="http://schemas.microsoft.com/office/drawing/2014/main" id="{350196DF-671E-4551-8011-6A0C0FC3282A}"/>
                </a:ext>
              </a:extLst>
            </p:cNvPr>
            <p:cNvSpPr txBox="1">
              <a:spLocks noChangeArrowheads="1"/>
            </p:cNvSpPr>
            <p:nvPr/>
          </p:nvSpPr>
          <p:spPr bwMode="auto">
            <a:xfrm>
              <a:off x="2388480" y="2900362"/>
              <a:ext cx="494674" cy="214370"/>
            </a:xfrm>
            <a:prstGeom prst="rect">
              <a:avLst/>
            </a:prstGeom>
            <a:noFill/>
            <a:ln w="9525">
              <a:noFill/>
              <a:miter lim="800000"/>
              <a:headEnd/>
              <a:tailEnd/>
            </a:ln>
          </p:spPr>
          <p:txBody>
            <a:bodyPr wrap="none">
              <a:spAutoFit/>
            </a:bodyPr>
            <a:lstStyle>
              <a:defPPr>
                <a:defRPr lang="en-GB"/>
              </a:defPPr>
              <a:lvl1pPr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1pPr>
              <a:lvl2pPr marL="742950" indent="-285750"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2pPr>
              <a:lvl3pPr marL="1143000" indent="-228600"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3pPr>
              <a:lvl4pPr marL="1600200" indent="-228600"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4pPr>
              <a:lvl5pPr marL="2057400" indent="-228600"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5pPr>
              <a:lvl6pPr marL="2286000" algn="l" defTabSz="914400" rtl="0" eaLnBrk="1" latinLnBrk="0" hangingPunct="1">
                <a:defRPr kern="1200">
                  <a:solidFill>
                    <a:schemeClr val="bg1"/>
                  </a:solidFill>
                  <a:latin typeface="Arial" panose="020B0604020202020204" pitchFamily="34" charset="0"/>
                  <a:ea typeface="Arial Unicode MS"/>
                  <a:cs typeface="Arial Unicode MS"/>
                </a:defRPr>
              </a:lvl6pPr>
              <a:lvl7pPr marL="2743200" algn="l" defTabSz="914400" rtl="0" eaLnBrk="1" latinLnBrk="0" hangingPunct="1">
                <a:defRPr kern="1200">
                  <a:solidFill>
                    <a:schemeClr val="bg1"/>
                  </a:solidFill>
                  <a:latin typeface="Arial" panose="020B0604020202020204" pitchFamily="34" charset="0"/>
                  <a:ea typeface="Arial Unicode MS"/>
                  <a:cs typeface="Arial Unicode MS"/>
                </a:defRPr>
              </a:lvl7pPr>
              <a:lvl8pPr marL="3200400" algn="l" defTabSz="914400" rtl="0" eaLnBrk="1" latinLnBrk="0" hangingPunct="1">
                <a:defRPr kern="1200">
                  <a:solidFill>
                    <a:schemeClr val="bg1"/>
                  </a:solidFill>
                  <a:latin typeface="Arial" panose="020B0604020202020204" pitchFamily="34" charset="0"/>
                  <a:ea typeface="Arial Unicode MS"/>
                  <a:cs typeface="Arial Unicode MS"/>
                </a:defRPr>
              </a:lvl8pPr>
              <a:lvl9pPr marL="3657600" algn="l" defTabSz="914400" rtl="0" eaLnBrk="1" latinLnBrk="0" hangingPunct="1">
                <a:defRPr kern="1200">
                  <a:solidFill>
                    <a:schemeClr val="bg1"/>
                  </a:solidFill>
                  <a:latin typeface="Arial" panose="020B0604020202020204" pitchFamily="34" charset="0"/>
                  <a:ea typeface="Arial Unicode MS"/>
                  <a:cs typeface="Arial Unicode MS"/>
                </a:defRPr>
              </a:lvl9pPr>
            </a:lstStyle>
            <a:p>
              <a:pPr marL="0" marR="0" lvl="0" indent="0" algn="ctr" defTabSz="920318" rtl="0" eaLnBrk="0" fontAlgn="auto" latinLnBrk="0" hangingPunct="0">
                <a:lnSpc>
                  <a:spcPct val="100000"/>
                </a:lnSpc>
                <a:spcBef>
                  <a:spcPts val="0"/>
                </a:spcBef>
                <a:spcAft>
                  <a:spcPts val="0"/>
                </a:spcAft>
                <a:buClrTx/>
                <a:buSzTx/>
                <a:buFontTx/>
                <a:buNone/>
                <a:tabLst/>
                <a:defRPr/>
              </a:pPr>
              <a:r>
                <a:rPr kumimoji="0" lang="en-US" altLang="en-US" sz="1400"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rPr>
                <a:t>40%</a:t>
              </a:r>
            </a:p>
          </p:txBody>
        </p:sp>
        <p:sp>
          <p:nvSpPr>
            <p:cNvPr id="71" name="TextBox 21">
              <a:extLst>
                <a:ext uri="{FF2B5EF4-FFF2-40B4-BE49-F238E27FC236}">
                  <a16:creationId xmlns:a16="http://schemas.microsoft.com/office/drawing/2014/main" id="{3E9D6C63-C9C6-4F5D-8D28-8DD8C8D92117}"/>
                </a:ext>
              </a:extLst>
            </p:cNvPr>
            <p:cNvSpPr txBox="1">
              <a:spLocks noChangeArrowheads="1"/>
            </p:cNvSpPr>
            <p:nvPr/>
          </p:nvSpPr>
          <p:spPr bwMode="auto">
            <a:xfrm>
              <a:off x="3696046" y="2892701"/>
              <a:ext cx="494674" cy="214370"/>
            </a:xfrm>
            <a:prstGeom prst="rect">
              <a:avLst/>
            </a:prstGeom>
            <a:noFill/>
            <a:ln w="9525">
              <a:noFill/>
              <a:miter lim="800000"/>
              <a:headEnd/>
              <a:tailEnd/>
            </a:ln>
          </p:spPr>
          <p:txBody>
            <a:bodyPr wrap="none">
              <a:spAutoFit/>
            </a:bodyPr>
            <a:lstStyle>
              <a:defPPr>
                <a:defRPr lang="en-GB"/>
              </a:defPPr>
              <a:lvl1pPr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1pPr>
              <a:lvl2pPr marL="742950" indent="-285750"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2pPr>
              <a:lvl3pPr marL="1143000" indent="-228600"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3pPr>
              <a:lvl4pPr marL="1600200" indent="-228600"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4pPr>
              <a:lvl5pPr marL="2057400" indent="-228600"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5pPr>
              <a:lvl6pPr marL="2286000" algn="l" defTabSz="914400" rtl="0" eaLnBrk="1" latinLnBrk="0" hangingPunct="1">
                <a:defRPr kern="1200">
                  <a:solidFill>
                    <a:schemeClr val="bg1"/>
                  </a:solidFill>
                  <a:latin typeface="Arial" panose="020B0604020202020204" pitchFamily="34" charset="0"/>
                  <a:ea typeface="Arial Unicode MS"/>
                  <a:cs typeface="Arial Unicode MS"/>
                </a:defRPr>
              </a:lvl6pPr>
              <a:lvl7pPr marL="2743200" algn="l" defTabSz="914400" rtl="0" eaLnBrk="1" latinLnBrk="0" hangingPunct="1">
                <a:defRPr kern="1200">
                  <a:solidFill>
                    <a:schemeClr val="bg1"/>
                  </a:solidFill>
                  <a:latin typeface="Arial" panose="020B0604020202020204" pitchFamily="34" charset="0"/>
                  <a:ea typeface="Arial Unicode MS"/>
                  <a:cs typeface="Arial Unicode MS"/>
                </a:defRPr>
              </a:lvl7pPr>
              <a:lvl8pPr marL="3200400" algn="l" defTabSz="914400" rtl="0" eaLnBrk="1" latinLnBrk="0" hangingPunct="1">
                <a:defRPr kern="1200">
                  <a:solidFill>
                    <a:schemeClr val="bg1"/>
                  </a:solidFill>
                  <a:latin typeface="Arial" panose="020B0604020202020204" pitchFamily="34" charset="0"/>
                  <a:ea typeface="Arial Unicode MS"/>
                  <a:cs typeface="Arial Unicode MS"/>
                </a:defRPr>
              </a:lvl8pPr>
              <a:lvl9pPr marL="3657600" algn="l" defTabSz="914400" rtl="0" eaLnBrk="1" latinLnBrk="0" hangingPunct="1">
                <a:defRPr kern="1200">
                  <a:solidFill>
                    <a:schemeClr val="bg1"/>
                  </a:solidFill>
                  <a:latin typeface="Arial" panose="020B0604020202020204" pitchFamily="34" charset="0"/>
                  <a:ea typeface="Arial Unicode MS"/>
                  <a:cs typeface="Arial Unicode MS"/>
                </a:defRPr>
              </a:lvl9pPr>
            </a:lstStyle>
            <a:p>
              <a:pPr marL="0" marR="0" lvl="0" indent="0" algn="ctr" defTabSz="920318" rtl="0" eaLnBrk="0" fontAlgn="auto" latinLnBrk="0" hangingPunct="0">
                <a:lnSpc>
                  <a:spcPct val="100000"/>
                </a:lnSpc>
                <a:spcBef>
                  <a:spcPts val="0"/>
                </a:spcBef>
                <a:spcAft>
                  <a:spcPts val="0"/>
                </a:spcAft>
                <a:buClrTx/>
                <a:buSzTx/>
                <a:buFontTx/>
                <a:buNone/>
                <a:tabLst/>
                <a:defRPr/>
              </a:pPr>
              <a:r>
                <a:rPr kumimoji="0" lang="en-US" altLang="en-US" sz="1400"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rPr>
                <a:t>20%</a:t>
              </a:r>
            </a:p>
          </p:txBody>
        </p:sp>
        <p:sp>
          <p:nvSpPr>
            <p:cNvPr id="72" name="TextBox 23">
              <a:extLst>
                <a:ext uri="{FF2B5EF4-FFF2-40B4-BE49-F238E27FC236}">
                  <a16:creationId xmlns:a16="http://schemas.microsoft.com/office/drawing/2014/main" id="{CAC4C30C-A2FA-4810-AD68-70D905ACAECE}"/>
                </a:ext>
              </a:extLst>
            </p:cNvPr>
            <p:cNvSpPr txBox="1">
              <a:spLocks noChangeArrowheads="1"/>
            </p:cNvSpPr>
            <p:nvPr/>
          </p:nvSpPr>
          <p:spPr bwMode="auto">
            <a:xfrm>
              <a:off x="5058745" y="2900362"/>
              <a:ext cx="258420" cy="214370"/>
            </a:xfrm>
            <a:prstGeom prst="rect">
              <a:avLst/>
            </a:prstGeom>
            <a:noFill/>
            <a:ln w="9525">
              <a:noFill/>
              <a:miter lim="800000"/>
              <a:headEnd/>
              <a:tailEnd/>
            </a:ln>
          </p:spPr>
          <p:txBody>
            <a:bodyPr wrap="none">
              <a:spAutoFit/>
            </a:bodyPr>
            <a:lstStyle>
              <a:defPPr>
                <a:defRPr lang="en-GB"/>
              </a:defPPr>
              <a:lvl1pPr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1pPr>
              <a:lvl2pPr marL="742950" indent="-285750"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2pPr>
              <a:lvl3pPr marL="1143000" indent="-228600"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3pPr>
              <a:lvl4pPr marL="1600200" indent="-228600"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4pPr>
              <a:lvl5pPr marL="2057400" indent="-228600"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5pPr>
              <a:lvl6pPr marL="2286000" algn="l" defTabSz="914400" rtl="0" eaLnBrk="1" latinLnBrk="0" hangingPunct="1">
                <a:defRPr kern="1200">
                  <a:solidFill>
                    <a:schemeClr val="bg1"/>
                  </a:solidFill>
                  <a:latin typeface="Arial" panose="020B0604020202020204" pitchFamily="34" charset="0"/>
                  <a:ea typeface="Arial Unicode MS"/>
                  <a:cs typeface="Arial Unicode MS"/>
                </a:defRPr>
              </a:lvl6pPr>
              <a:lvl7pPr marL="2743200" algn="l" defTabSz="914400" rtl="0" eaLnBrk="1" latinLnBrk="0" hangingPunct="1">
                <a:defRPr kern="1200">
                  <a:solidFill>
                    <a:schemeClr val="bg1"/>
                  </a:solidFill>
                  <a:latin typeface="Arial" panose="020B0604020202020204" pitchFamily="34" charset="0"/>
                  <a:ea typeface="Arial Unicode MS"/>
                  <a:cs typeface="Arial Unicode MS"/>
                </a:defRPr>
              </a:lvl7pPr>
              <a:lvl8pPr marL="3200400" algn="l" defTabSz="914400" rtl="0" eaLnBrk="1" latinLnBrk="0" hangingPunct="1">
                <a:defRPr kern="1200">
                  <a:solidFill>
                    <a:schemeClr val="bg1"/>
                  </a:solidFill>
                  <a:latin typeface="Arial" panose="020B0604020202020204" pitchFamily="34" charset="0"/>
                  <a:ea typeface="Arial Unicode MS"/>
                  <a:cs typeface="Arial Unicode MS"/>
                </a:defRPr>
              </a:lvl8pPr>
              <a:lvl9pPr marL="3657600" algn="l" defTabSz="914400" rtl="0" eaLnBrk="1" latinLnBrk="0" hangingPunct="1">
                <a:defRPr kern="1200">
                  <a:solidFill>
                    <a:schemeClr val="bg1"/>
                  </a:solidFill>
                  <a:latin typeface="Arial" panose="020B0604020202020204" pitchFamily="34" charset="0"/>
                  <a:ea typeface="Arial Unicode MS"/>
                  <a:cs typeface="Arial Unicode MS"/>
                </a:defRPr>
              </a:lvl9pPr>
            </a:lstStyle>
            <a:p>
              <a:pPr marL="0" marR="0" lvl="0" indent="0" algn="ctr" defTabSz="920318" rtl="0" eaLnBrk="0" fontAlgn="auto" latinLnBrk="0" hangingPunct="0">
                <a:lnSpc>
                  <a:spcPct val="100000"/>
                </a:lnSpc>
                <a:spcBef>
                  <a:spcPts val="0"/>
                </a:spcBef>
                <a:spcAft>
                  <a:spcPts val="0"/>
                </a:spcAft>
                <a:buClrTx/>
                <a:buSzTx/>
                <a:buFontTx/>
                <a:buNone/>
                <a:tabLst/>
                <a:defRPr/>
              </a:pPr>
              <a:r>
                <a:rPr kumimoji="0" lang="en-US" altLang="en-US" sz="1400"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rPr>
                <a:t>0</a:t>
              </a:r>
            </a:p>
          </p:txBody>
        </p:sp>
        <p:sp>
          <p:nvSpPr>
            <p:cNvPr id="73" name="TextBox 25">
              <a:extLst>
                <a:ext uri="{FF2B5EF4-FFF2-40B4-BE49-F238E27FC236}">
                  <a16:creationId xmlns:a16="http://schemas.microsoft.com/office/drawing/2014/main" id="{893F6F2F-C64D-4A10-AB9F-F80237F94148}"/>
                </a:ext>
              </a:extLst>
            </p:cNvPr>
            <p:cNvSpPr txBox="1">
              <a:spLocks noChangeArrowheads="1"/>
            </p:cNvSpPr>
            <p:nvPr/>
          </p:nvSpPr>
          <p:spPr bwMode="auto">
            <a:xfrm>
              <a:off x="6206104" y="2900362"/>
              <a:ext cx="494674" cy="214370"/>
            </a:xfrm>
            <a:prstGeom prst="rect">
              <a:avLst/>
            </a:prstGeom>
            <a:noFill/>
            <a:ln w="9525">
              <a:noFill/>
              <a:miter lim="800000"/>
              <a:headEnd/>
              <a:tailEnd/>
            </a:ln>
          </p:spPr>
          <p:txBody>
            <a:bodyPr wrap="none">
              <a:spAutoFit/>
            </a:bodyPr>
            <a:lstStyle>
              <a:defPPr>
                <a:defRPr lang="en-GB"/>
              </a:defPPr>
              <a:lvl1pPr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1pPr>
              <a:lvl2pPr marL="742950" indent="-285750"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2pPr>
              <a:lvl3pPr marL="1143000" indent="-228600"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3pPr>
              <a:lvl4pPr marL="1600200" indent="-228600"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4pPr>
              <a:lvl5pPr marL="2057400" indent="-228600"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5pPr>
              <a:lvl6pPr marL="2286000" algn="l" defTabSz="914400" rtl="0" eaLnBrk="1" latinLnBrk="0" hangingPunct="1">
                <a:defRPr kern="1200">
                  <a:solidFill>
                    <a:schemeClr val="bg1"/>
                  </a:solidFill>
                  <a:latin typeface="Arial" panose="020B0604020202020204" pitchFamily="34" charset="0"/>
                  <a:ea typeface="Arial Unicode MS"/>
                  <a:cs typeface="Arial Unicode MS"/>
                </a:defRPr>
              </a:lvl6pPr>
              <a:lvl7pPr marL="2743200" algn="l" defTabSz="914400" rtl="0" eaLnBrk="1" latinLnBrk="0" hangingPunct="1">
                <a:defRPr kern="1200">
                  <a:solidFill>
                    <a:schemeClr val="bg1"/>
                  </a:solidFill>
                  <a:latin typeface="Arial" panose="020B0604020202020204" pitchFamily="34" charset="0"/>
                  <a:ea typeface="Arial Unicode MS"/>
                  <a:cs typeface="Arial Unicode MS"/>
                </a:defRPr>
              </a:lvl7pPr>
              <a:lvl8pPr marL="3200400" algn="l" defTabSz="914400" rtl="0" eaLnBrk="1" latinLnBrk="0" hangingPunct="1">
                <a:defRPr kern="1200">
                  <a:solidFill>
                    <a:schemeClr val="bg1"/>
                  </a:solidFill>
                  <a:latin typeface="Arial" panose="020B0604020202020204" pitchFamily="34" charset="0"/>
                  <a:ea typeface="Arial Unicode MS"/>
                  <a:cs typeface="Arial Unicode MS"/>
                </a:defRPr>
              </a:lvl8pPr>
              <a:lvl9pPr marL="3657600" algn="l" defTabSz="914400" rtl="0" eaLnBrk="1" latinLnBrk="0" hangingPunct="1">
                <a:defRPr kern="1200">
                  <a:solidFill>
                    <a:schemeClr val="bg1"/>
                  </a:solidFill>
                  <a:latin typeface="Arial" panose="020B0604020202020204" pitchFamily="34" charset="0"/>
                  <a:ea typeface="Arial Unicode MS"/>
                  <a:cs typeface="Arial Unicode MS"/>
                </a:defRPr>
              </a:lvl9pPr>
            </a:lstStyle>
            <a:p>
              <a:pPr marL="0" marR="0" lvl="0" indent="0" algn="ctr" defTabSz="920318" rtl="0" eaLnBrk="0" fontAlgn="auto" latinLnBrk="0" hangingPunct="0">
                <a:lnSpc>
                  <a:spcPct val="100000"/>
                </a:lnSpc>
                <a:spcBef>
                  <a:spcPts val="0"/>
                </a:spcBef>
                <a:spcAft>
                  <a:spcPts val="0"/>
                </a:spcAft>
                <a:buClrTx/>
                <a:buSzTx/>
                <a:buFontTx/>
                <a:buNone/>
                <a:tabLst/>
                <a:defRPr/>
              </a:pPr>
              <a:r>
                <a:rPr kumimoji="0" lang="en-US" altLang="en-US" sz="1400"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rPr>
                <a:t>20%</a:t>
              </a:r>
            </a:p>
          </p:txBody>
        </p:sp>
        <p:sp>
          <p:nvSpPr>
            <p:cNvPr id="74" name="TextBox 27">
              <a:extLst>
                <a:ext uri="{FF2B5EF4-FFF2-40B4-BE49-F238E27FC236}">
                  <a16:creationId xmlns:a16="http://schemas.microsoft.com/office/drawing/2014/main" id="{B7E78D6F-A0FA-4538-A3CE-2F3D859241D4}"/>
                </a:ext>
              </a:extLst>
            </p:cNvPr>
            <p:cNvSpPr txBox="1">
              <a:spLocks noChangeArrowheads="1"/>
            </p:cNvSpPr>
            <p:nvPr/>
          </p:nvSpPr>
          <p:spPr bwMode="auto">
            <a:xfrm>
              <a:off x="5474805" y="2900362"/>
              <a:ext cx="494674" cy="214370"/>
            </a:xfrm>
            <a:prstGeom prst="rect">
              <a:avLst/>
            </a:prstGeom>
            <a:noFill/>
            <a:ln w="9525">
              <a:noFill/>
              <a:miter lim="800000"/>
              <a:headEnd/>
              <a:tailEnd/>
            </a:ln>
          </p:spPr>
          <p:txBody>
            <a:bodyPr wrap="none">
              <a:spAutoFit/>
            </a:bodyPr>
            <a:lstStyle>
              <a:defPPr>
                <a:defRPr lang="en-GB"/>
              </a:defPPr>
              <a:lvl1pPr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1pPr>
              <a:lvl2pPr marL="742950" indent="-285750"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2pPr>
              <a:lvl3pPr marL="1143000" indent="-228600"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3pPr>
              <a:lvl4pPr marL="1600200" indent="-228600"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4pPr>
              <a:lvl5pPr marL="2057400" indent="-228600"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5pPr>
              <a:lvl6pPr marL="2286000" algn="l" defTabSz="914400" rtl="0" eaLnBrk="1" latinLnBrk="0" hangingPunct="1">
                <a:defRPr kern="1200">
                  <a:solidFill>
                    <a:schemeClr val="bg1"/>
                  </a:solidFill>
                  <a:latin typeface="Arial" panose="020B0604020202020204" pitchFamily="34" charset="0"/>
                  <a:ea typeface="Arial Unicode MS"/>
                  <a:cs typeface="Arial Unicode MS"/>
                </a:defRPr>
              </a:lvl6pPr>
              <a:lvl7pPr marL="2743200" algn="l" defTabSz="914400" rtl="0" eaLnBrk="1" latinLnBrk="0" hangingPunct="1">
                <a:defRPr kern="1200">
                  <a:solidFill>
                    <a:schemeClr val="bg1"/>
                  </a:solidFill>
                  <a:latin typeface="Arial" panose="020B0604020202020204" pitchFamily="34" charset="0"/>
                  <a:ea typeface="Arial Unicode MS"/>
                  <a:cs typeface="Arial Unicode MS"/>
                </a:defRPr>
              </a:lvl7pPr>
              <a:lvl8pPr marL="3200400" algn="l" defTabSz="914400" rtl="0" eaLnBrk="1" latinLnBrk="0" hangingPunct="1">
                <a:defRPr kern="1200">
                  <a:solidFill>
                    <a:schemeClr val="bg1"/>
                  </a:solidFill>
                  <a:latin typeface="Arial" panose="020B0604020202020204" pitchFamily="34" charset="0"/>
                  <a:ea typeface="Arial Unicode MS"/>
                  <a:cs typeface="Arial Unicode MS"/>
                </a:defRPr>
              </a:lvl8pPr>
              <a:lvl9pPr marL="3657600" algn="l" defTabSz="914400" rtl="0" eaLnBrk="1" latinLnBrk="0" hangingPunct="1">
                <a:defRPr kern="1200">
                  <a:solidFill>
                    <a:schemeClr val="bg1"/>
                  </a:solidFill>
                  <a:latin typeface="Arial" panose="020B0604020202020204" pitchFamily="34" charset="0"/>
                  <a:ea typeface="Arial Unicode MS"/>
                  <a:cs typeface="Arial Unicode MS"/>
                </a:defRPr>
              </a:lvl9pPr>
            </a:lstStyle>
            <a:p>
              <a:pPr marL="0" marR="0" lvl="0" indent="0" algn="ctr" defTabSz="920318" rtl="0" eaLnBrk="0" fontAlgn="auto" latinLnBrk="0" hangingPunct="0">
                <a:lnSpc>
                  <a:spcPct val="100000"/>
                </a:lnSpc>
                <a:spcBef>
                  <a:spcPts val="0"/>
                </a:spcBef>
                <a:spcAft>
                  <a:spcPts val="0"/>
                </a:spcAft>
                <a:buClrTx/>
                <a:buSzTx/>
                <a:buFontTx/>
                <a:buNone/>
                <a:tabLst/>
                <a:defRPr/>
              </a:pPr>
              <a:r>
                <a:rPr kumimoji="0" lang="en-US" altLang="en-US" sz="1400"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rPr>
                <a:t>10%</a:t>
              </a:r>
            </a:p>
          </p:txBody>
        </p:sp>
        <p:sp>
          <p:nvSpPr>
            <p:cNvPr id="77" name="TextBox 30">
              <a:extLst>
                <a:ext uri="{FF2B5EF4-FFF2-40B4-BE49-F238E27FC236}">
                  <a16:creationId xmlns:a16="http://schemas.microsoft.com/office/drawing/2014/main" id="{926417D0-D1C4-4A07-AD15-66809BB6264C}"/>
                </a:ext>
              </a:extLst>
            </p:cNvPr>
            <p:cNvSpPr txBox="1">
              <a:spLocks noChangeArrowheads="1"/>
            </p:cNvSpPr>
            <p:nvPr/>
          </p:nvSpPr>
          <p:spPr bwMode="auto">
            <a:xfrm>
              <a:off x="7472369" y="2892700"/>
              <a:ext cx="494674" cy="214370"/>
            </a:xfrm>
            <a:prstGeom prst="rect">
              <a:avLst/>
            </a:prstGeom>
            <a:noFill/>
            <a:ln w="9525">
              <a:noFill/>
              <a:miter lim="800000"/>
              <a:headEnd/>
              <a:tailEnd/>
            </a:ln>
          </p:spPr>
          <p:txBody>
            <a:bodyPr wrap="none">
              <a:spAutoFit/>
            </a:bodyPr>
            <a:lstStyle>
              <a:defPPr>
                <a:defRPr lang="en-GB"/>
              </a:defPPr>
              <a:lvl1pPr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1pPr>
              <a:lvl2pPr marL="742950" indent="-285750"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2pPr>
              <a:lvl3pPr marL="1143000" indent="-228600"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3pPr>
              <a:lvl4pPr marL="1600200" indent="-228600"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4pPr>
              <a:lvl5pPr marL="2057400" indent="-228600"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5pPr>
              <a:lvl6pPr marL="2286000" algn="l" defTabSz="914400" rtl="0" eaLnBrk="1" latinLnBrk="0" hangingPunct="1">
                <a:defRPr kern="1200">
                  <a:solidFill>
                    <a:schemeClr val="bg1"/>
                  </a:solidFill>
                  <a:latin typeface="Arial" panose="020B0604020202020204" pitchFamily="34" charset="0"/>
                  <a:ea typeface="Arial Unicode MS"/>
                  <a:cs typeface="Arial Unicode MS"/>
                </a:defRPr>
              </a:lvl6pPr>
              <a:lvl7pPr marL="2743200" algn="l" defTabSz="914400" rtl="0" eaLnBrk="1" latinLnBrk="0" hangingPunct="1">
                <a:defRPr kern="1200">
                  <a:solidFill>
                    <a:schemeClr val="bg1"/>
                  </a:solidFill>
                  <a:latin typeface="Arial" panose="020B0604020202020204" pitchFamily="34" charset="0"/>
                  <a:ea typeface="Arial Unicode MS"/>
                  <a:cs typeface="Arial Unicode MS"/>
                </a:defRPr>
              </a:lvl7pPr>
              <a:lvl8pPr marL="3200400" algn="l" defTabSz="914400" rtl="0" eaLnBrk="1" latinLnBrk="0" hangingPunct="1">
                <a:defRPr kern="1200">
                  <a:solidFill>
                    <a:schemeClr val="bg1"/>
                  </a:solidFill>
                  <a:latin typeface="Arial" panose="020B0604020202020204" pitchFamily="34" charset="0"/>
                  <a:ea typeface="Arial Unicode MS"/>
                  <a:cs typeface="Arial Unicode MS"/>
                </a:defRPr>
              </a:lvl8pPr>
              <a:lvl9pPr marL="3657600" algn="l" defTabSz="914400" rtl="0" eaLnBrk="1" latinLnBrk="0" hangingPunct="1">
                <a:defRPr kern="1200">
                  <a:solidFill>
                    <a:schemeClr val="bg1"/>
                  </a:solidFill>
                  <a:latin typeface="Arial" panose="020B0604020202020204" pitchFamily="34" charset="0"/>
                  <a:ea typeface="Arial Unicode MS"/>
                  <a:cs typeface="Arial Unicode MS"/>
                </a:defRPr>
              </a:lvl9pPr>
            </a:lstStyle>
            <a:p>
              <a:pPr marL="0" marR="0" lvl="0" indent="0" algn="ctr" defTabSz="920318" rtl="0" eaLnBrk="0" fontAlgn="auto" latinLnBrk="0" hangingPunct="0">
                <a:lnSpc>
                  <a:spcPct val="100000"/>
                </a:lnSpc>
                <a:spcBef>
                  <a:spcPts val="0"/>
                </a:spcBef>
                <a:spcAft>
                  <a:spcPts val="0"/>
                </a:spcAft>
                <a:buClrTx/>
                <a:buSzTx/>
                <a:buFontTx/>
                <a:buNone/>
                <a:tabLst/>
                <a:defRPr/>
              </a:pPr>
              <a:r>
                <a:rPr kumimoji="0" lang="en-US" altLang="en-US" sz="1400"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rPr>
                <a:t>40%</a:t>
              </a:r>
            </a:p>
          </p:txBody>
        </p:sp>
        <p:sp>
          <p:nvSpPr>
            <p:cNvPr id="78" name="TextBox 30">
              <a:extLst>
                <a:ext uri="{FF2B5EF4-FFF2-40B4-BE49-F238E27FC236}">
                  <a16:creationId xmlns:a16="http://schemas.microsoft.com/office/drawing/2014/main" id="{A495B2B3-C6B7-46E3-82D0-CD138BC2517A}"/>
                </a:ext>
              </a:extLst>
            </p:cNvPr>
            <p:cNvSpPr txBox="1">
              <a:spLocks noChangeArrowheads="1"/>
            </p:cNvSpPr>
            <p:nvPr/>
          </p:nvSpPr>
          <p:spPr bwMode="auto">
            <a:xfrm>
              <a:off x="1711681" y="2900362"/>
              <a:ext cx="494674" cy="214370"/>
            </a:xfrm>
            <a:prstGeom prst="rect">
              <a:avLst/>
            </a:prstGeom>
            <a:noFill/>
            <a:ln w="9525">
              <a:noFill/>
              <a:miter lim="800000"/>
              <a:headEnd/>
              <a:tailEnd/>
            </a:ln>
          </p:spPr>
          <p:txBody>
            <a:bodyPr wrap="none">
              <a:spAutoFit/>
            </a:bodyPr>
            <a:lstStyle>
              <a:defPPr>
                <a:defRPr lang="en-GB"/>
              </a:defPPr>
              <a:lvl1pPr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1pPr>
              <a:lvl2pPr marL="742950" indent="-285750"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2pPr>
              <a:lvl3pPr marL="1143000" indent="-228600"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3pPr>
              <a:lvl4pPr marL="1600200" indent="-228600"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4pPr>
              <a:lvl5pPr marL="2057400" indent="-228600"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5pPr>
              <a:lvl6pPr marL="2286000" algn="l" defTabSz="914400" rtl="0" eaLnBrk="1" latinLnBrk="0" hangingPunct="1">
                <a:defRPr kern="1200">
                  <a:solidFill>
                    <a:schemeClr val="bg1"/>
                  </a:solidFill>
                  <a:latin typeface="Arial" panose="020B0604020202020204" pitchFamily="34" charset="0"/>
                  <a:ea typeface="Arial Unicode MS"/>
                  <a:cs typeface="Arial Unicode MS"/>
                </a:defRPr>
              </a:lvl6pPr>
              <a:lvl7pPr marL="2743200" algn="l" defTabSz="914400" rtl="0" eaLnBrk="1" latinLnBrk="0" hangingPunct="1">
                <a:defRPr kern="1200">
                  <a:solidFill>
                    <a:schemeClr val="bg1"/>
                  </a:solidFill>
                  <a:latin typeface="Arial" panose="020B0604020202020204" pitchFamily="34" charset="0"/>
                  <a:ea typeface="Arial Unicode MS"/>
                  <a:cs typeface="Arial Unicode MS"/>
                </a:defRPr>
              </a:lvl7pPr>
              <a:lvl8pPr marL="3200400" algn="l" defTabSz="914400" rtl="0" eaLnBrk="1" latinLnBrk="0" hangingPunct="1">
                <a:defRPr kern="1200">
                  <a:solidFill>
                    <a:schemeClr val="bg1"/>
                  </a:solidFill>
                  <a:latin typeface="Arial" panose="020B0604020202020204" pitchFamily="34" charset="0"/>
                  <a:ea typeface="Arial Unicode MS"/>
                  <a:cs typeface="Arial Unicode MS"/>
                </a:defRPr>
              </a:lvl8pPr>
              <a:lvl9pPr marL="3657600" algn="l" defTabSz="914400" rtl="0" eaLnBrk="1" latinLnBrk="0" hangingPunct="1">
                <a:defRPr kern="1200">
                  <a:solidFill>
                    <a:schemeClr val="bg1"/>
                  </a:solidFill>
                  <a:latin typeface="Arial" panose="020B0604020202020204" pitchFamily="34" charset="0"/>
                  <a:ea typeface="Arial Unicode MS"/>
                  <a:cs typeface="Arial Unicode MS"/>
                </a:defRPr>
              </a:lvl9pPr>
            </a:lstStyle>
            <a:p>
              <a:pPr marL="0" marR="0" lvl="0" indent="0" algn="ctr" defTabSz="920318" rtl="0" eaLnBrk="0" fontAlgn="auto" latinLnBrk="0" hangingPunct="0">
                <a:lnSpc>
                  <a:spcPct val="100000"/>
                </a:lnSpc>
                <a:spcBef>
                  <a:spcPts val="0"/>
                </a:spcBef>
                <a:spcAft>
                  <a:spcPts val="0"/>
                </a:spcAft>
                <a:buClrTx/>
                <a:buSzTx/>
                <a:buFontTx/>
                <a:buNone/>
                <a:tabLst/>
                <a:defRPr/>
              </a:pPr>
              <a:r>
                <a:rPr kumimoji="0" lang="en-US" altLang="en-US" sz="1400"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rPr>
                <a:t>50%</a:t>
              </a:r>
            </a:p>
          </p:txBody>
        </p:sp>
        <p:sp>
          <p:nvSpPr>
            <p:cNvPr id="79" name="TextBox 25">
              <a:extLst>
                <a:ext uri="{FF2B5EF4-FFF2-40B4-BE49-F238E27FC236}">
                  <a16:creationId xmlns:a16="http://schemas.microsoft.com/office/drawing/2014/main" id="{38C41035-975E-473F-8B5A-3D83A45BEEE9}"/>
                </a:ext>
              </a:extLst>
            </p:cNvPr>
            <p:cNvSpPr txBox="1">
              <a:spLocks noChangeArrowheads="1"/>
            </p:cNvSpPr>
            <p:nvPr/>
          </p:nvSpPr>
          <p:spPr bwMode="auto">
            <a:xfrm>
              <a:off x="6883090" y="2884198"/>
              <a:ext cx="494674" cy="214370"/>
            </a:xfrm>
            <a:prstGeom prst="rect">
              <a:avLst/>
            </a:prstGeom>
            <a:noFill/>
            <a:ln w="9525">
              <a:noFill/>
              <a:miter lim="800000"/>
              <a:headEnd/>
              <a:tailEnd/>
            </a:ln>
          </p:spPr>
          <p:txBody>
            <a:bodyPr wrap="none">
              <a:spAutoFit/>
            </a:bodyPr>
            <a:lstStyle>
              <a:defPPr>
                <a:defRPr lang="en-GB"/>
              </a:defPPr>
              <a:lvl1pPr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1pPr>
              <a:lvl2pPr marL="742950" indent="-285750"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2pPr>
              <a:lvl3pPr marL="1143000" indent="-228600"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3pPr>
              <a:lvl4pPr marL="1600200" indent="-228600"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4pPr>
              <a:lvl5pPr marL="2057400" indent="-228600"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5pPr>
              <a:lvl6pPr marL="2286000" algn="l" defTabSz="914400" rtl="0" eaLnBrk="1" latinLnBrk="0" hangingPunct="1">
                <a:defRPr kern="1200">
                  <a:solidFill>
                    <a:schemeClr val="bg1"/>
                  </a:solidFill>
                  <a:latin typeface="Arial" panose="020B0604020202020204" pitchFamily="34" charset="0"/>
                  <a:ea typeface="Arial Unicode MS"/>
                  <a:cs typeface="Arial Unicode MS"/>
                </a:defRPr>
              </a:lvl6pPr>
              <a:lvl7pPr marL="2743200" algn="l" defTabSz="914400" rtl="0" eaLnBrk="1" latinLnBrk="0" hangingPunct="1">
                <a:defRPr kern="1200">
                  <a:solidFill>
                    <a:schemeClr val="bg1"/>
                  </a:solidFill>
                  <a:latin typeface="Arial" panose="020B0604020202020204" pitchFamily="34" charset="0"/>
                  <a:ea typeface="Arial Unicode MS"/>
                  <a:cs typeface="Arial Unicode MS"/>
                </a:defRPr>
              </a:lvl7pPr>
              <a:lvl8pPr marL="3200400" algn="l" defTabSz="914400" rtl="0" eaLnBrk="1" latinLnBrk="0" hangingPunct="1">
                <a:defRPr kern="1200">
                  <a:solidFill>
                    <a:schemeClr val="bg1"/>
                  </a:solidFill>
                  <a:latin typeface="Arial" panose="020B0604020202020204" pitchFamily="34" charset="0"/>
                  <a:ea typeface="Arial Unicode MS"/>
                  <a:cs typeface="Arial Unicode MS"/>
                </a:defRPr>
              </a:lvl8pPr>
              <a:lvl9pPr marL="3657600" algn="l" defTabSz="914400" rtl="0" eaLnBrk="1" latinLnBrk="0" hangingPunct="1">
                <a:defRPr kern="1200">
                  <a:solidFill>
                    <a:schemeClr val="bg1"/>
                  </a:solidFill>
                  <a:latin typeface="Arial" panose="020B0604020202020204" pitchFamily="34" charset="0"/>
                  <a:ea typeface="Arial Unicode MS"/>
                  <a:cs typeface="Arial Unicode MS"/>
                </a:defRPr>
              </a:lvl9pPr>
            </a:lstStyle>
            <a:p>
              <a:pPr marL="0" marR="0" lvl="0" indent="0" algn="ctr" defTabSz="920318" rtl="0" eaLnBrk="0" fontAlgn="auto" latinLnBrk="0" hangingPunct="0">
                <a:lnSpc>
                  <a:spcPct val="100000"/>
                </a:lnSpc>
                <a:spcBef>
                  <a:spcPts val="0"/>
                </a:spcBef>
                <a:spcAft>
                  <a:spcPts val="0"/>
                </a:spcAft>
                <a:buClrTx/>
                <a:buSzTx/>
                <a:buFontTx/>
                <a:buNone/>
                <a:tabLst/>
                <a:defRPr/>
              </a:pPr>
              <a:r>
                <a:rPr kumimoji="0" lang="en-US" altLang="en-US" sz="1400"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rPr>
                <a:t>30%</a:t>
              </a:r>
            </a:p>
          </p:txBody>
        </p:sp>
        <p:sp>
          <p:nvSpPr>
            <p:cNvPr id="80" name="TextBox 29">
              <a:extLst>
                <a:ext uri="{FF2B5EF4-FFF2-40B4-BE49-F238E27FC236}">
                  <a16:creationId xmlns:a16="http://schemas.microsoft.com/office/drawing/2014/main" id="{E80EB491-D484-4135-A40A-380C15583AB2}"/>
                </a:ext>
              </a:extLst>
            </p:cNvPr>
            <p:cNvSpPr txBox="1">
              <a:spLocks noChangeArrowheads="1"/>
            </p:cNvSpPr>
            <p:nvPr/>
          </p:nvSpPr>
          <p:spPr bwMode="auto">
            <a:xfrm>
              <a:off x="8144477" y="2907930"/>
              <a:ext cx="494674" cy="214370"/>
            </a:xfrm>
            <a:prstGeom prst="rect">
              <a:avLst/>
            </a:prstGeom>
            <a:noFill/>
            <a:ln w="9525">
              <a:noFill/>
              <a:miter lim="800000"/>
              <a:headEnd/>
              <a:tailEnd/>
            </a:ln>
          </p:spPr>
          <p:txBody>
            <a:bodyPr wrap="none">
              <a:spAutoFit/>
            </a:bodyPr>
            <a:lstStyle>
              <a:defPPr>
                <a:defRPr lang="en-GB"/>
              </a:defPPr>
              <a:lvl1pPr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1pPr>
              <a:lvl2pPr marL="742950" indent="-285750"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2pPr>
              <a:lvl3pPr marL="1143000" indent="-228600"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3pPr>
              <a:lvl4pPr marL="1600200" indent="-228600"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4pPr>
              <a:lvl5pPr marL="2057400" indent="-228600"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5pPr>
              <a:lvl6pPr marL="2286000" algn="l" defTabSz="914400" rtl="0" eaLnBrk="1" latinLnBrk="0" hangingPunct="1">
                <a:defRPr kern="1200">
                  <a:solidFill>
                    <a:schemeClr val="bg1"/>
                  </a:solidFill>
                  <a:latin typeface="Arial" panose="020B0604020202020204" pitchFamily="34" charset="0"/>
                  <a:ea typeface="Arial Unicode MS"/>
                  <a:cs typeface="Arial Unicode MS"/>
                </a:defRPr>
              </a:lvl6pPr>
              <a:lvl7pPr marL="2743200" algn="l" defTabSz="914400" rtl="0" eaLnBrk="1" latinLnBrk="0" hangingPunct="1">
                <a:defRPr kern="1200">
                  <a:solidFill>
                    <a:schemeClr val="bg1"/>
                  </a:solidFill>
                  <a:latin typeface="Arial" panose="020B0604020202020204" pitchFamily="34" charset="0"/>
                  <a:ea typeface="Arial Unicode MS"/>
                  <a:cs typeface="Arial Unicode MS"/>
                </a:defRPr>
              </a:lvl7pPr>
              <a:lvl8pPr marL="3200400" algn="l" defTabSz="914400" rtl="0" eaLnBrk="1" latinLnBrk="0" hangingPunct="1">
                <a:defRPr kern="1200">
                  <a:solidFill>
                    <a:schemeClr val="bg1"/>
                  </a:solidFill>
                  <a:latin typeface="Arial" panose="020B0604020202020204" pitchFamily="34" charset="0"/>
                  <a:ea typeface="Arial Unicode MS"/>
                  <a:cs typeface="Arial Unicode MS"/>
                </a:defRPr>
              </a:lvl8pPr>
              <a:lvl9pPr marL="3657600" algn="l" defTabSz="914400" rtl="0" eaLnBrk="1" latinLnBrk="0" hangingPunct="1">
                <a:defRPr kern="1200">
                  <a:solidFill>
                    <a:schemeClr val="bg1"/>
                  </a:solidFill>
                  <a:latin typeface="Arial" panose="020B0604020202020204" pitchFamily="34" charset="0"/>
                  <a:ea typeface="Arial Unicode MS"/>
                  <a:cs typeface="Arial Unicode MS"/>
                </a:defRPr>
              </a:lvl9pPr>
            </a:lstStyle>
            <a:p>
              <a:pPr marL="0" marR="0" lvl="0" indent="0" algn="ctr" defTabSz="920318" rtl="0" eaLnBrk="0" fontAlgn="auto" latinLnBrk="0" hangingPunct="0">
                <a:lnSpc>
                  <a:spcPct val="100000"/>
                </a:lnSpc>
                <a:spcBef>
                  <a:spcPts val="0"/>
                </a:spcBef>
                <a:spcAft>
                  <a:spcPts val="0"/>
                </a:spcAft>
                <a:buClrTx/>
                <a:buSzTx/>
                <a:buFontTx/>
                <a:buNone/>
                <a:tabLst/>
                <a:defRPr/>
              </a:pPr>
              <a:r>
                <a:rPr kumimoji="0" lang="en-US" altLang="en-US" sz="1400"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rPr>
                <a:t>50%</a:t>
              </a:r>
            </a:p>
          </p:txBody>
        </p:sp>
        <p:sp>
          <p:nvSpPr>
            <p:cNvPr id="81" name="TextBox 21">
              <a:extLst>
                <a:ext uri="{FF2B5EF4-FFF2-40B4-BE49-F238E27FC236}">
                  <a16:creationId xmlns:a16="http://schemas.microsoft.com/office/drawing/2014/main" id="{64EC86B4-4D18-41C0-BC26-D2140DE5E05E}"/>
                </a:ext>
              </a:extLst>
            </p:cNvPr>
            <p:cNvSpPr txBox="1">
              <a:spLocks noChangeArrowheads="1"/>
            </p:cNvSpPr>
            <p:nvPr/>
          </p:nvSpPr>
          <p:spPr bwMode="auto">
            <a:xfrm>
              <a:off x="4346261" y="2886485"/>
              <a:ext cx="494674" cy="214370"/>
            </a:xfrm>
            <a:prstGeom prst="rect">
              <a:avLst/>
            </a:prstGeom>
            <a:noFill/>
            <a:ln w="9525">
              <a:noFill/>
              <a:miter lim="800000"/>
              <a:headEnd/>
              <a:tailEnd/>
            </a:ln>
          </p:spPr>
          <p:txBody>
            <a:bodyPr wrap="none">
              <a:spAutoFit/>
            </a:bodyPr>
            <a:lstStyle>
              <a:defPPr>
                <a:defRPr lang="en-GB"/>
              </a:defPPr>
              <a:lvl1pPr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1pPr>
              <a:lvl2pPr marL="742950" indent="-285750"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2pPr>
              <a:lvl3pPr marL="1143000" indent="-228600"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3pPr>
              <a:lvl4pPr marL="1600200" indent="-228600"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4pPr>
              <a:lvl5pPr marL="2057400" indent="-228600"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5pPr>
              <a:lvl6pPr marL="2286000" algn="l" defTabSz="914400" rtl="0" eaLnBrk="1" latinLnBrk="0" hangingPunct="1">
                <a:defRPr kern="1200">
                  <a:solidFill>
                    <a:schemeClr val="bg1"/>
                  </a:solidFill>
                  <a:latin typeface="Arial" panose="020B0604020202020204" pitchFamily="34" charset="0"/>
                  <a:ea typeface="Arial Unicode MS"/>
                  <a:cs typeface="Arial Unicode MS"/>
                </a:defRPr>
              </a:lvl6pPr>
              <a:lvl7pPr marL="2743200" algn="l" defTabSz="914400" rtl="0" eaLnBrk="1" latinLnBrk="0" hangingPunct="1">
                <a:defRPr kern="1200">
                  <a:solidFill>
                    <a:schemeClr val="bg1"/>
                  </a:solidFill>
                  <a:latin typeface="Arial" panose="020B0604020202020204" pitchFamily="34" charset="0"/>
                  <a:ea typeface="Arial Unicode MS"/>
                  <a:cs typeface="Arial Unicode MS"/>
                </a:defRPr>
              </a:lvl7pPr>
              <a:lvl8pPr marL="3200400" algn="l" defTabSz="914400" rtl="0" eaLnBrk="1" latinLnBrk="0" hangingPunct="1">
                <a:defRPr kern="1200">
                  <a:solidFill>
                    <a:schemeClr val="bg1"/>
                  </a:solidFill>
                  <a:latin typeface="Arial" panose="020B0604020202020204" pitchFamily="34" charset="0"/>
                  <a:ea typeface="Arial Unicode MS"/>
                  <a:cs typeface="Arial Unicode MS"/>
                </a:defRPr>
              </a:lvl8pPr>
              <a:lvl9pPr marL="3657600" algn="l" defTabSz="914400" rtl="0" eaLnBrk="1" latinLnBrk="0" hangingPunct="1">
                <a:defRPr kern="1200">
                  <a:solidFill>
                    <a:schemeClr val="bg1"/>
                  </a:solidFill>
                  <a:latin typeface="Arial" panose="020B0604020202020204" pitchFamily="34" charset="0"/>
                  <a:ea typeface="Arial Unicode MS"/>
                  <a:cs typeface="Arial Unicode MS"/>
                </a:defRPr>
              </a:lvl9pPr>
            </a:lstStyle>
            <a:p>
              <a:pPr marL="0" marR="0" lvl="0" indent="0" algn="ctr" defTabSz="920318" rtl="0" eaLnBrk="0" fontAlgn="auto" latinLnBrk="0" hangingPunct="0">
                <a:lnSpc>
                  <a:spcPct val="100000"/>
                </a:lnSpc>
                <a:spcBef>
                  <a:spcPts val="0"/>
                </a:spcBef>
                <a:spcAft>
                  <a:spcPts val="0"/>
                </a:spcAft>
                <a:buClrTx/>
                <a:buSzTx/>
                <a:buFontTx/>
                <a:buNone/>
                <a:tabLst/>
                <a:defRPr/>
              </a:pPr>
              <a:r>
                <a:rPr kumimoji="0" lang="en-US" altLang="en-US" sz="1400"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rPr>
                <a:t>10%</a:t>
              </a:r>
            </a:p>
          </p:txBody>
        </p:sp>
        <p:sp>
          <p:nvSpPr>
            <p:cNvPr id="82" name="TextBox 19">
              <a:extLst>
                <a:ext uri="{FF2B5EF4-FFF2-40B4-BE49-F238E27FC236}">
                  <a16:creationId xmlns:a16="http://schemas.microsoft.com/office/drawing/2014/main" id="{C4603ACA-08F8-41DE-A255-51C513D77823}"/>
                </a:ext>
              </a:extLst>
            </p:cNvPr>
            <p:cNvSpPr txBox="1">
              <a:spLocks noChangeArrowheads="1"/>
            </p:cNvSpPr>
            <p:nvPr/>
          </p:nvSpPr>
          <p:spPr bwMode="auto">
            <a:xfrm>
              <a:off x="3032919" y="2907930"/>
              <a:ext cx="494674" cy="214370"/>
            </a:xfrm>
            <a:prstGeom prst="rect">
              <a:avLst/>
            </a:prstGeom>
            <a:noFill/>
            <a:ln w="9525">
              <a:noFill/>
              <a:miter lim="800000"/>
              <a:headEnd/>
              <a:tailEnd/>
            </a:ln>
          </p:spPr>
          <p:txBody>
            <a:bodyPr wrap="none">
              <a:spAutoFit/>
            </a:bodyPr>
            <a:lstStyle>
              <a:defPPr>
                <a:defRPr lang="en-GB"/>
              </a:defPPr>
              <a:lvl1pPr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1pPr>
              <a:lvl2pPr marL="742950" indent="-285750"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2pPr>
              <a:lvl3pPr marL="1143000" indent="-228600"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3pPr>
              <a:lvl4pPr marL="1600200" indent="-228600"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4pPr>
              <a:lvl5pPr marL="2057400" indent="-228600"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5pPr>
              <a:lvl6pPr marL="2286000" algn="l" defTabSz="914400" rtl="0" eaLnBrk="1" latinLnBrk="0" hangingPunct="1">
                <a:defRPr kern="1200">
                  <a:solidFill>
                    <a:schemeClr val="bg1"/>
                  </a:solidFill>
                  <a:latin typeface="Arial" panose="020B0604020202020204" pitchFamily="34" charset="0"/>
                  <a:ea typeface="Arial Unicode MS"/>
                  <a:cs typeface="Arial Unicode MS"/>
                </a:defRPr>
              </a:lvl6pPr>
              <a:lvl7pPr marL="2743200" algn="l" defTabSz="914400" rtl="0" eaLnBrk="1" latinLnBrk="0" hangingPunct="1">
                <a:defRPr kern="1200">
                  <a:solidFill>
                    <a:schemeClr val="bg1"/>
                  </a:solidFill>
                  <a:latin typeface="Arial" panose="020B0604020202020204" pitchFamily="34" charset="0"/>
                  <a:ea typeface="Arial Unicode MS"/>
                  <a:cs typeface="Arial Unicode MS"/>
                </a:defRPr>
              </a:lvl7pPr>
              <a:lvl8pPr marL="3200400" algn="l" defTabSz="914400" rtl="0" eaLnBrk="1" latinLnBrk="0" hangingPunct="1">
                <a:defRPr kern="1200">
                  <a:solidFill>
                    <a:schemeClr val="bg1"/>
                  </a:solidFill>
                  <a:latin typeface="Arial" panose="020B0604020202020204" pitchFamily="34" charset="0"/>
                  <a:ea typeface="Arial Unicode MS"/>
                  <a:cs typeface="Arial Unicode MS"/>
                </a:defRPr>
              </a:lvl8pPr>
              <a:lvl9pPr marL="3657600" algn="l" defTabSz="914400" rtl="0" eaLnBrk="1" latinLnBrk="0" hangingPunct="1">
                <a:defRPr kern="1200">
                  <a:solidFill>
                    <a:schemeClr val="bg1"/>
                  </a:solidFill>
                  <a:latin typeface="Arial" panose="020B0604020202020204" pitchFamily="34" charset="0"/>
                  <a:ea typeface="Arial Unicode MS"/>
                  <a:cs typeface="Arial Unicode MS"/>
                </a:defRPr>
              </a:lvl9pPr>
            </a:lstStyle>
            <a:p>
              <a:pPr marL="0" marR="0" lvl="0" indent="0" algn="ctr" defTabSz="920318" rtl="0" eaLnBrk="0" fontAlgn="auto" latinLnBrk="0" hangingPunct="0">
                <a:lnSpc>
                  <a:spcPct val="100000"/>
                </a:lnSpc>
                <a:spcBef>
                  <a:spcPts val="0"/>
                </a:spcBef>
                <a:spcAft>
                  <a:spcPts val="0"/>
                </a:spcAft>
                <a:buClrTx/>
                <a:buSzTx/>
                <a:buFontTx/>
                <a:buNone/>
                <a:tabLst/>
                <a:defRPr/>
              </a:pPr>
              <a:r>
                <a:rPr kumimoji="0" lang="en-US" altLang="en-US" sz="1400"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rPr>
                <a:t>30%</a:t>
              </a:r>
            </a:p>
          </p:txBody>
        </p:sp>
      </p:grpSp>
      <p:grpSp>
        <p:nvGrpSpPr>
          <p:cNvPr id="45" name="Group 44">
            <a:extLst>
              <a:ext uri="{FF2B5EF4-FFF2-40B4-BE49-F238E27FC236}">
                <a16:creationId xmlns:a16="http://schemas.microsoft.com/office/drawing/2014/main" id="{895E8B3F-B5A5-48F6-B873-C2F77B1A369E}"/>
              </a:ext>
            </a:extLst>
          </p:cNvPr>
          <p:cNvGrpSpPr/>
          <p:nvPr/>
        </p:nvGrpSpPr>
        <p:grpSpPr>
          <a:xfrm>
            <a:off x="3201995" y="1156017"/>
            <a:ext cx="7587762" cy="5053154"/>
            <a:chOff x="1401700" y="719758"/>
            <a:chExt cx="5199088" cy="2732501"/>
          </a:xfrm>
        </p:grpSpPr>
        <p:graphicFrame>
          <p:nvGraphicFramePr>
            <p:cNvPr id="68" name="Content Placeholder 3">
              <a:extLst>
                <a:ext uri="{FF2B5EF4-FFF2-40B4-BE49-F238E27FC236}">
                  <a16:creationId xmlns:a16="http://schemas.microsoft.com/office/drawing/2014/main" id="{5B15FC2F-88D3-436D-9E40-75017781D684}"/>
                </a:ext>
              </a:extLst>
            </p:cNvPr>
            <p:cNvGraphicFramePr>
              <a:graphicFrameLocks/>
            </p:cNvGraphicFramePr>
            <p:nvPr/>
          </p:nvGraphicFramePr>
          <p:xfrm>
            <a:off x="1401700" y="719758"/>
            <a:ext cx="5114600" cy="2732501"/>
          </p:xfrm>
          <a:graphic>
            <a:graphicData uri="http://schemas.openxmlformats.org/drawingml/2006/chart">
              <c:chart xmlns:c="http://schemas.openxmlformats.org/drawingml/2006/chart" xmlns:r="http://schemas.openxmlformats.org/officeDocument/2006/relationships" r:id="rId3"/>
            </a:graphicData>
          </a:graphic>
        </p:graphicFrame>
        <p:sp>
          <p:nvSpPr>
            <p:cNvPr id="69" name="Rectangle 68">
              <a:extLst>
                <a:ext uri="{FF2B5EF4-FFF2-40B4-BE49-F238E27FC236}">
                  <a16:creationId xmlns:a16="http://schemas.microsoft.com/office/drawing/2014/main" id="{D253354F-4E5F-4FA2-B1CA-E631D748809C}"/>
                </a:ext>
              </a:extLst>
            </p:cNvPr>
            <p:cNvSpPr/>
            <p:nvPr/>
          </p:nvSpPr>
          <p:spPr bwMode="auto">
            <a:xfrm>
              <a:off x="1439763" y="845753"/>
              <a:ext cx="5161025" cy="215788"/>
            </a:xfrm>
            <a:prstGeom prst="rect">
              <a:avLst/>
            </a:prstGeom>
            <a:solidFill>
              <a:schemeClr val="bg1"/>
            </a:solidFill>
            <a:ln w="9525" cap="flat" cmpd="sng" algn="ctr">
              <a:noFill/>
              <a:prstDash val="solid"/>
              <a:round/>
              <a:headEnd type="none" w="med" len="med"/>
              <a:tailEnd type="none" w="med" len="med"/>
            </a:ln>
            <a:effectLst/>
          </p:spPr>
          <p:txBody>
            <a:bodyPr vert="horz" wrap="square" lIns="91437" tIns="45719" rIns="91437" bIns="45719" numCol="1" rtlCol="0" anchor="t" anchorCtr="0" compatLnSpc="1">
              <a:prstTxWarp prst="textNoShape">
                <a:avLst/>
              </a:prstTxWarp>
            </a:bodyPr>
            <a:lstStyle>
              <a:defPPr>
                <a:defRPr lang="en-GB"/>
              </a:defPPr>
              <a:lvl1pPr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1pPr>
              <a:lvl2pPr marL="742950" indent="-285750"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2pPr>
              <a:lvl3pPr marL="1143000" indent="-228600"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3pPr>
              <a:lvl4pPr marL="1600200" indent="-228600"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4pPr>
              <a:lvl5pPr marL="2057400" indent="-228600"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5pPr>
              <a:lvl6pPr marL="2286000" algn="l" defTabSz="914400" rtl="0" eaLnBrk="1" latinLnBrk="0" hangingPunct="1">
                <a:defRPr kern="1200">
                  <a:solidFill>
                    <a:schemeClr val="bg1"/>
                  </a:solidFill>
                  <a:latin typeface="Arial" panose="020B0604020202020204" pitchFamily="34" charset="0"/>
                  <a:ea typeface="Arial Unicode MS"/>
                  <a:cs typeface="Arial Unicode MS"/>
                </a:defRPr>
              </a:lvl6pPr>
              <a:lvl7pPr marL="2743200" algn="l" defTabSz="914400" rtl="0" eaLnBrk="1" latinLnBrk="0" hangingPunct="1">
                <a:defRPr kern="1200">
                  <a:solidFill>
                    <a:schemeClr val="bg1"/>
                  </a:solidFill>
                  <a:latin typeface="Arial" panose="020B0604020202020204" pitchFamily="34" charset="0"/>
                  <a:ea typeface="Arial Unicode MS"/>
                  <a:cs typeface="Arial Unicode MS"/>
                </a:defRPr>
              </a:lvl7pPr>
              <a:lvl8pPr marL="3200400" algn="l" defTabSz="914400" rtl="0" eaLnBrk="1" latinLnBrk="0" hangingPunct="1">
                <a:defRPr kern="1200">
                  <a:solidFill>
                    <a:schemeClr val="bg1"/>
                  </a:solidFill>
                  <a:latin typeface="Arial" panose="020B0604020202020204" pitchFamily="34" charset="0"/>
                  <a:ea typeface="Arial Unicode MS"/>
                  <a:cs typeface="Arial Unicode MS"/>
                </a:defRPr>
              </a:lvl8pPr>
              <a:lvl9pPr marL="3657600" algn="l" defTabSz="914400" rtl="0" eaLnBrk="1" latinLnBrk="0" hangingPunct="1">
                <a:defRPr kern="1200">
                  <a:solidFill>
                    <a:schemeClr val="bg1"/>
                  </a:solidFill>
                  <a:latin typeface="Arial" panose="020B0604020202020204" pitchFamily="34" charset="0"/>
                  <a:ea typeface="Arial Unicode MS"/>
                  <a:cs typeface="Arial Unicode MS"/>
                </a:defRPr>
              </a:lvl9pPr>
            </a:lstStyle>
            <a:p>
              <a:pPr marL="0" marR="0" lvl="0" indent="0" algn="l" defTabSz="457194" rtl="0" eaLnBrk="1" fontAlgn="base" latinLnBrk="0" hangingPunct="0">
                <a:lnSpc>
                  <a:spcPct val="93000"/>
                </a:lnSpc>
                <a:spcBef>
                  <a:spcPct val="0"/>
                </a:spcBef>
                <a:spcAft>
                  <a:spcPct val="0"/>
                </a:spcAft>
                <a:buClr>
                  <a:srgbClr val="000000"/>
                </a:buClr>
                <a:buSzPct val="100000"/>
                <a:buFontTx/>
                <a:buNone/>
                <a:tabLst/>
                <a:defRPr/>
              </a:pPr>
              <a:endParaRPr kumimoji="0" lang="en-US" sz="1799" b="0" i="0" u="none" strike="noStrike" kern="1200" cap="none" spc="0" normalizeH="0" baseline="0" noProof="0" dirty="0">
                <a:ln>
                  <a:noFill/>
                </a:ln>
                <a:solidFill>
                  <a:prstClr val="white"/>
                </a:solidFill>
                <a:effectLst/>
                <a:uLnTx/>
                <a:uFillTx/>
                <a:latin typeface="Arial" panose="020B0604020202020204" pitchFamily="34" charset="0"/>
                <a:ea typeface="Arial Unicode MS" panose="020B0604020202020204" pitchFamily="34" charset="-128"/>
                <a:cs typeface="Arial Unicode MS" panose="020B0604020202020204" pitchFamily="34" charset="-128"/>
              </a:endParaRPr>
            </a:p>
          </p:txBody>
        </p:sp>
      </p:grpSp>
      <p:sp>
        <p:nvSpPr>
          <p:cNvPr id="46" name="TextBox 32">
            <a:extLst>
              <a:ext uri="{FF2B5EF4-FFF2-40B4-BE49-F238E27FC236}">
                <a16:creationId xmlns:a16="http://schemas.microsoft.com/office/drawing/2014/main" id="{238F0441-482C-49A9-9838-B04D1C5201C0}"/>
              </a:ext>
            </a:extLst>
          </p:cNvPr>
          <p:cNvSpPr txBox="1">
            <a:spLocks noChangeArrowheads="1"/>
          </p:cNvSpPr>
          <p:nvPr/>
        </p:nvSpPr>
        <p:spPr bwMode="auto">
          <a:xfrm>
            <a:off x="3585437" y="1194811"/>
            <a:ext cx="3348787" cy="276871"/>
          </a:xfrm>
          <a:prstGeom prst="rect">
            <a:avLst/>
          </a:prstGeom>
          <a:noFill/>
          <a:ln>
            <a:noFill/>
          </a:ln>
        </p:spPr>
        <p:txBody>
          <a:bodyPr wrap="square" lIns="0" tIns="0" rIns="0" bIns="0">
            <a:spAutoFit/>
          </a:bodyPr>
          <a:lstStyle>
            <a:defPPr>
              <a:defRPr lang="en-GB"/>
            </a:defPPr>
            <a:lvl1pPr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1pPr>
            <a:lvl2pPr marL="742950" indent="-285750"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2pPr>
            <a:lvl3pPr marL="1143000" indent="-228600"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3pPr>
            <a:lvl4pPr marL="1600200" indent="-228600"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4pPr>
            <a:lvl5pPr marL="2057400" indent="-228600"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5pPr>
            <a:lvl6pPr marL="2286000" algn="l" defTabSz="914400" rtl="0" eaLnBrk="1" latinLnBrk="0" hangingPunct="1">
              <a:defRPr kern="1200">
                <a:solidFill>
                  <a:schemeClr val="bg1"/>
                </a:solidFill>
                <a:latin typeface="Arial" panose="020B0604020202020204" pitchFamily="34" charset="0"/>
                <a:ea typeface="Arial Unicode MS"/>
                <a:cs typeface="Arial Unicode MS"/>
              </a:defRPr>
            </a:lvl6pPr>
            <a:lvl7pPr marL="2743200" algn="l" defTabSz="914400" rtl="0" eaLnBrk="1" latinLnBrk="0" hangingPunct="1">
              <a:defRPr kern="1200">
                <a:solidFill>
                  <a:schemeClr val="bg1"/>
                </a:solidFill>
                <a:latin typeface="Arial" panose="020B0604020202020204" pitchFamily="34" charset="0"/>
                <a:ea typeface="Arial Unicode MS"/>
                <a:cs typeface="Arial Unicode MS"/>
              </a:defRPr>
            </a:lvl7pPr>
            <a:lvl8pPr marL="3200400" algn="l" defTabSz="914400" rtl="0" eaLnBrk="1" latinLnBrk="0" hangingPunct="1">
              <a:defRPr kern="1200">
                <a:solidFill>
                  <a:schemeClr val="bg1"/>
                </a:solidFill>
                <a:latin typeface="Arial" panose="020B0604020202020204" pitchFamily="34" charset="0"/>
                <a:ea typeface="Arial Unicode MS"/>
                <a:cs typeface="Arial Unicode MS"/>
              </a:defRPr>
            </a:lvl8pPr>
            <a:lvl9pPr marL="3657600" algn="l" defTabSz="914400" rtl="0" eaLnBrk="1" latinLnBrk="0" hangingPunct="1">
              <a:defRPr kern="1200">
                <a:solidFill>
                  <a:schemeClr val="bg1"/>
                </a:solidFill>
                <a:latin typeface="Arial" panose="020B0604020202020204" pitchFamily="34" charset="0"/>
                <a:ea typeface="Arial Unicode MS"/>
                <a:cs typeface="Arial Unicode MS"/>
              </a:defRPr>
            </a:lvl9pPr>
          </a:lstStyle>
          <a:p>
            <a:pPr marL="0" marR="0" lvl="0" indent="0" algn="ctr" defTabSz="690256" rtl="0" eaLnBrk="0" fontAlgn="auto" latinLnBrk="0" hangingPunct="0">
              <a:lnSpc>
                <a:spcPct val="100000"/>
              </a:lnSpc>
              <a:spcBef>
                <a:spcPct val="0"/>
              </a:spcBef>
              <a:spcAft>
                <a:spcPts val="0"/>
              </a:spcAft>
              <a:buClrTx/>
              <a:buSzTx/>
              <a:buFontTx/>
              <a:buNone/>
              <a:tabLst/>
              <a:defRPr/>
            </a:pPr>
            <a:r>
              <a:rPr kumimoji="0" lang="en-US" altLang="en-US" sz="1799" b="1" i="0" u="none" strike="noStrike" kern="1200" cap="none" spc="0" normalizeH="0" baseline="0" noProof="0" dirty="0" err="1">
                <a:ln>
                  <a:noFill/>
                </a:ln>
                <a:solidFill>
                  <a:srgbClr val="005383"/>
                </a:solidFill>
                <a:effectLst/>
                <a:uLnTx/>
                <a:uFillTx/>
                <a:latin typeface="Arial" panose="020B0604020202020204" pitchFamily="34" charset="0"/>
                <a:ea typeface="Arial Unicode MS"/>
                <a:cs typeface="Arial" panose="020B0604020202020204" pitchFamily="34" charset="0"/>
              </a:rPr>
              <a:t>Atezo</a:t>
            </a:r>
            <a:r>
              <a:rPr kumimoji="0" lang="en-US" altLang="en-US" sz="1799" b="1" i="0" u="none" strike="noStrike" kern="1200" cap="none" spc="0" normalizeH="0" baseline="0" noProof="0" dirty="0">
                <a:ln>
                  <a:noFill/>
                </a:ln>
                <a:solidFill>
                  <a:srgbClr val="005383"/>
                </a:solidFill>
                <a:effectLst/>
                <a:uLnTx/>
                <a:uFillTx/>
                <a:latin typeface="Arial" panose="020B0604020202020204" pitchFamily="34" charset="0"/>
                <a:ea typeface="Arial Unicode MS"/>
                <a:cs typeface="Arial" panose="020B0604020202020204" pitchFamily="34" charset="0"/>
              </a:rPr>
              <a:t> + Bev (n = 329)</a:t>
            </a:r>
          </a:p>
        </p:txBody>
      </p:sp>
      <p:sp>
        <p:nvSpPr>
          <p:cNvPr id="57" name="TextBox 11">
            <a:extLst>
              <a:ext uri="{FF2B5EF4-FFF2-40B4-BE49-F238E27FC236}">
                <a16:creationId xmlns:a16="http://schemas.microsoft.com/office/drawing/2014/main" id="{6997AA97-042F-4EA1-BB0F-C3230719E725}"/>
              </a:ext>
            </a:extLst>
          </p:cNvPr>
          <p:cNvSpPr txBox="1">
            <a:spLocks noChangeArrowheads="1"/>
          </p:cNvSpPr>
          <p:nvPr/>
        </p:nvSpPr>
        <p:spPr bwMode="auto">
          <a:xfrm>
            <a:off x="2452232" y="3631412"/>
            <a:ext cx="785471" cy="215444"/>
          </a:xfrm>
          <a:prstGeom prst="rect">
            <a:avLst/>
          </a:prstGeom>
          <a:noFill/>
          <a:ln>
            <a:noFill/>
          </a:ln>
        </p:spPr>
        <p:txBody>
          <a:bodyPr wrap="none" lIns="0" tIns="0" rIns="0" bIns="0" anchor="ctr">
            <a:spAutoFit/>
          </a:bodyPr>
          <a:lstStyle>
            <a:defPPr>
              <a:defRPr lang="en-GB"/>
            </a:defPPr>
            <a:lvl1pPr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1pPr>
            <a:lvl2pPr marL="742950" indent="-285750"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2pPr>
            <a:lvl3pPr marL="1143000" indent="-228600"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3pPr>
            <a:lvl4pPr marL="1600200" indent="-228600"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4pPr>
            <a:lvl5pPr marL="2057400" indent="-228600"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5pPr>
            <a:lvl6pPr marL="2286000" algn="l" defTabSz="914400" rtl="0" eaLnBrk="1" latinLnBrk="0" hangingPunct="1">
              <a:defRPr kern="1200">
                <a:solidFill>
                  <a:schemeClr val="bg1"/>
                </a:solidFill>
                <a:latin typeface="Arial" panose="020B0604020202020204" pitchFamily="34" charset="0"/>
                <a:ea typeface="Arial Unicode MS"/>
                <a:cs typeface="Arial Unicode MS"/>
              </a:defRPr>
            </a:lvl6pPr>
            <a:lvl7pPr marL="2743200" algn="l" defTabSz="914400" rtl="0" eaLnBrk="1" latinLnBrk="0" hangingPunct="1">
              <a:defRPr kern="1200">
                <a:solidFill>
                  <a:schemeClr val="bg1"/>
                </a:solidFill>
                <a:latin typeface="Arial" panose="020B0604020202020204" pitchFamily="34" charset="0"/>
                <a:ea typeface="Arial Unicode MS"/>
                <a:cs typeface="Arial Unicode MS"/>
              </a:defRPr>
            </a:lvl7pPr>
            <a:lvl8pPr marL="3200400" algn="l" defTabSz="914400" rtl="0" eaLnBrk="1" latinLnBrk="0" hangingPunct="1">
              <a:defRPr kern="1200">
                <a:solidFill>
                  <a:schemeClr val="bg1"/>
                </a:solidFill>
                <a:latin typeface="Arial" panose="020B0604020202020204" pitchFamily="34" charset="0"/>
                <a:ea typeface="Arial Unicode MS"/>
                <a:cs typeface="Arial Unicode MS"/>
              </a:defRPr>
            </a:lvl8pPr>
            <a:lvl9pPr marL="3657600" algn="l" defTabSz="914400" rtl="0" eaLnBrk="1" latinLnBrk="0" hangingPunct="1">
              <a:defRPr kern="1200">
                <a:solidFill>
                  <a:schemeClr val="bg1"/>
                </a:solidFill>
                <a:latin typeface="Arial" panose="020B0604020202020204" pitchFamily="34" charset="0"/>
                <a:ea typeface="Arial Unicode MS"/>
                <a:cs typeface="Arial Unicode MS"/>
              </a:defRPr>
            </a:lvl9pPr>
          </a:lstStyle>
          <a:p>
            <a:pPr marL="0" marR="0" lvl="0" indent="0" algn="r" defTabSz="690256" rtl="0" eaLnBrk="0" fontAlgn="auto" latinLnBrk="0" hangingPunct="0">
              <a:lnSpc>
                <a:spcPct val="100000"/>
              </a:lnSpc>
              <a:spcBef>
                <a:spcPct val="0"/>
              </a:spcBef>
              <a:spcAft>
                <a:spcPts val="0"/>
              </a:spcAft>
              <a:buClrTx/>
              <a:buSzTx/>
              <a:buFontTx/>
              <a:buNone/>
              <a:tabLst/>
              <a:defRPr/>
            </a:pPr>
            <a:r>
              <a:rPr kumimoji="0" lang="en-US" altLang="en-US" sz="1400"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rPr>
              <a:t>Diarrhoea</a:t>
            </a:r>
          </a:p>
        </p:txBody>
      </p:sp>
      <p:sp>
        <p:nvSpPr>
          <p:cNvPr id="58" name="TextBox 12">
            <a:extLst>
              <a:ext uri="{FF2B5EF4-FFF2-40B4-BE49-F238E27FC236}">
                <a16:creationId xmlns:a16="http://schemas.microsoft.com/office/drawing/2014/main" id="{B60EE8D0-98F5-4A3F-8FAD-0DE9C8D0D7DF}"/>
              </a:ext>
            </a:extLst>
          </p:cNvPr>
          <p:cNvSpPr txBox="1">
            <a:spLocks noChangeArrowheads="1"/>
          </p:cNvSpPr>
          <p:nvPr/>
        </p:nvSpPr>
        <p:spPr bwMode="auto">
          <a:xfrm>
            <a:off x="2182927" y="1756277"/>
            <a:ext cx="1054776" cy="215444"/>
          </a:xfrm>
          <a:prstGeom prst="rect">
            <a:avLst/>
          </a:prstGeom>
          <a:noFill/>
          <a:ln>
            <a:noFill/>
          </a:ln>
        </p:spPr>
        <p:txBody>
          <a:bodyPr wrap="none" lIns="0" tIns="0" rIns="0" bIns="0" anchor="ctr">
            <a:spAutoFit/>
          </a:bodyPr>
          <a:lstStyle>
            <a:defPPr>
              <a:defRPr lang="en-GB"/>
            </a:defPPr>
            <a:lvl1pPr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1pPr>
            <a:lvl2pPr marL="742950" indent="-285750"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2pPr>
            <a:lvl3pPr marL="1143000" indent="-228600"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3pPr>
            <a:lvl4pPr marL="1600200" indent="-228600"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4pPr>
            <a:lvl5pPr marL="2057400" indent="-228600"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5pPr>
            <a:lvl6pPr marL="2286000" algn="l" defTabSz="914400" rtl="0" eaLnBrk="1" latinLnBrk="0" hangingPunct="1">
              <a:defRPr kern="1200">
                <a:solidFill>
                  <a:schemeClr val="bg1"/>
                </a:solidFill>
                <a:latin typeface="Arial" panose="020B0604020202020204" pitchFamily="34" charset="0"/>
                <a:ea typeface="Arial Unicode MS"/>
                <a:cs typeface="Arial Unicode MS"/>
              </a:defRPr>
            </a:lvl6pPr>
            <a:lvl7pPr marL="2743200" algn="l" defTabSz="914400" rtl="0" eaLnBrk="1" latinLnBrk="0" hangingPunct="1">
              <a:defRPr kern="1200">
                <a:solidFill>
                  <a:schemeClr val="bg1"/>
                </a:solidFill>
                <a:latin typeface="Arial" panose="020B0604020202020204" pitchFamily="34" charset="0"/>
                <a:ea typeface="Arial Unicode MS"/>
                <a:cs typeface="Arial Unicode MS"/>
              </a:defRPr>
            </a:lvl7pPr>
            <a:lvl8pPr marL="3200400" algn="l" defTabSz="914400" rtl="0" eaLnBrk="1" latinLnBrk="0" hangingPunct="1">
              <a:defRPr kern="1200">
                <a:solidFill>
                  <a:schemeClr val="bg1"/>
                </a:solidFill>
                <a:latin typeface="Arial" panose="020B0604020202020204" pitchFamily="34" charset="0"/>
                <a:ea typeface="Arial Unicode MS"/>
                <a:cs typeface="Arial Unicode MS"/>
              </a:defRPr>
            </a:lvl8pPr>
            <a:lvl9pPr marL="3657600" algn="l" defTabSz="914400" rtl="0" eaLnBrk="1" latinLnBrk="0" hangingPunct="1">
              <a:defRPr kern="1200">
                <a:solidFill>
                  <a:schemeClr val="bg1"/>
                </a:solidFill>
                <a:latin typeface="Arial" panose="020B0604020202020204" pitchFamily="34" charset="0"/>
                <a:ea typeface="Arial Unicode MS"/>
                <a:cs typeface="Arial Unicode MS"/>
              </a:defRPr>
            </a:lvl9pPr>
          </a:lstStyle>
          <a:p>
            <a:pPr marL="0" marR="0" lvl="0" indent="0" algn="r" defTabSz="690256" rtl="0" eaLnBrk="0" fontAlgn="auto" latinLnBrk="0" hangingPunct="0">
              <a:lnSpc>
                <a:spcPct val="100000"/>
              </a:lnSpc>
              <a:spcBef>
                <a:spcPct val="0"/>
              </a:spcBef>
              <a:spcAft>
                <a:spcPts val="0"/>
              </a:spcAft>
              <a:buClrTx/>
              <a:buSzTx/>
              <a:buFontTx/>
              <a:buNone/>
              <a:tabLst/>
              <a:defRPr/>
            </a:pPr>
            <a:r>
              <a:rPr kumimoji="0" lang="en-US" altLang="en-US" sz="1400"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rPr>
              <a:t>Hypertension</a:t>
            </a:r>
          </a:p>
        </p:txBody>
      </p:sp>
      <p:sp>
        <p:nvSpPr>
          <p:cNvPr id="59" name="TextBox 13">
            <a:extLst>
              <a:ext uri="{FF2B5EF4-FFF2-40B4-BE49-F238E27FC236}">
                <a16:creationId xmlns:a16="http://schemas.microsoft.com/office/drawing/2014/main" id="{74F64D58-787A-43E1-97A5-6EA6F61F6F89}"/>
              </a:ext>
            </a:extLst>
          </p:cNvPr>
          <p:cNvSpPr txBox="1">
            <a:spLocks noChangeArrowheads="1"/>
          </p:cNvSpPr>
          <p:nvPr/>
        </p:nvSpPr>
        <p:spPr bwMode="auto">
          <a:xfrm>
            <a:off x="512598" y="5794840"/>
            <a:ext cx="2725105" cy="215444"/>
          </a:xfrm>
          <a:prstGeom prst="rect">
            <a:avLst/>
          </a:prstGeom>
          <a:noFill/>
          <a:ln>
            <a:noFill/>
          </a:ln>
        </p:spPr>
        <p:txBody>
          <a:bodyPr wrap="none" lIns="0" tIns="0" rIns="0" bIns="0" anchor="ctr">
            <a:spAutoFit/>
          </a:bodyPr>
          <a:lstStyle>
            <a:defPPr>
              <a:defRPr lang="en-GB"/>
            </a:defPPr>
            <a:lvl1pPr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1pPr>
            <a:lvl2pPr marL="742950" indent="-285750"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2pPr>
            <a:lvl3pPr marL="1143000" indent="-228600"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3pPr>
            <a:lvl4pPr marL="1600200" indent="-228600"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4pPr>
            <a:lvl5pPr marL="2057400" indent="-228600"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5pPr>
            <a:lvl6pPr marL="2286000" algn="l" defTabSz="914400" rtl="0" eaLnBrk="1" latinLnBrk="0" hangingPunct="1">
              <a:defRPr kern="1200">
                <a:solidFill>
                  <a:schemeClr val="bg1"/>
                </a:solidFill>
                <a:latin typeface="Arial" panose="020B0604020202020204" pitchFamily="34" charset="0"/>
                <a:ea typeface="Arial Unicode MS"/>
                <a:cs typeface="Arial Unicode MS"/>
              </a:defRPr>
            </a:lvl6pPr>
            <a:lvl7pPr marL="2743200" algn="l" defTabSz="914400" rtl="0" eaLnBrk="1" latinLnBrk="0" hangingPunct="1">
              <a:defRPr kern="1200">
                <a:solidFill>
                  <a:schemeClr val="bg1"/>
                </a:solidFill>
                <a:latin typeface="Arial" panose="020B0604020202020204" pitchFamily="34" charset="0"/>
                <a:ea typeface="Arial Unicode MS"/>
                <a:cs typeface="Arial Unicode MS"/>
              </a:defRPr>
            </a:lvl7pPr>
            <a:lvl8pPr marL="3200400" algn="l" defTabSz="914400" rtl="0" eaLnBrk="1" latinLnBrk="0" hangingPunct="1">
              <a:defRPr kern="1200">
                <a:solidFill>
                  <a:schemeClr val="bg1"/>
                </a:solidFill>
                <a:latin typeface="Arial" panose="020B0604020202020204" pitchFamily="34" charset="0"/>
                <a:ea typeface="Arial Unicode MS"/>
                <a:cs typeface="Arial Unicode MS"/>
              </a:defRPr>
            </a:lvl8pPr>
            <a:lvl9pPr marL="3657600" algn="l" defTabSz="914400" rtl="0" eaLnBrk="1" latinLnBrk="0" hangingPunct="1">
              <a:defRPr kern="1200">
                <a:solidFill>
                  <a:schemeClr val="bg1"/>
                </a:solidFill>
                <a:latin typeface="Arial" panose="020B0604020202020204" pitchFamily="34" charset="0"/>
                <a:ea typeface="Arial Unicode MS"/>
                <a:cs typeface="Arial Unicode MS"/>
              </a:defRPr>
            </a:lvl9pPr>
          </a:lstStyle>
          <a:p>
            <a:pPr marL="0" marR="0" lvl="0" indent="0" algn="r" defTabSz="690256" rtl="0" eaLnBrk="0" fontAlgn="auto" latinLnBrk="0" hangingPunct="0">
              <a:lnSpc>
                <a:spcPct val="100000"/>
              </a:lnSpc>
              <a:spcBef>
                <a:spcPct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Arial Unicode MS" charset="-128"/>
                <a:cs typeface="Arial" panose="020B0604020202020204" pitchFamily="34" charset="0"/>
                <a:sym typeface="Arial"/>
              </a:rPr>
              <a:t>Palmar-plantar erythrodysesthesia</a:t>
            </a:r>
            <a:endParaRPr kumimoji="0" lang="en-US" altLang="en-US" sz="1400"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60" name="TextBox 15">
            <a:extLst>
              <a:ext uri="{FF2B5EF4-FFF2-40B4-BE49-F238E27FC236}">
                <a16:creationId xmlns:a16="http://schemas.microsoft.com/office/drawing/2014/main" id="{0E677DB6-9C08-4695-96DF-24DAE62EAC27}"/>
              </a:ext>
            </a:extLst>
          </p:cNvPr>
          <p:cNvSpPr txBox="1">
            <a:spLocks noChangeArrowheads="1"/>
          </p:cNvSpPr>
          <p:nvPr/>
        </p:nvSpPr>
        <p:spPr bwMode="auto">
          <a:xfrm>
            <a:off x="2620547" y="2989744"/>
            <a:ext cx="617156" cy="215444"/>
          </a:xfrm>
          <a:prstGeom prst="rect">
            <a:avLst/>
          </a:prstGeom>
          <a:noFill/>
          <a:ln>
            <a:noFill/>
          </a:ln>
        </p:spPr>
        <p:txBody>
          <a:bodyPr wrap="none" lIns="0" tIns="0" rIns="0" bIns="0" anchor="ctr">
            <a:spAutoFit/>
          </a:bodyPr>
          <a:lstStyle>
            <a:defPPr>
              <a:defRPr lang="en-GB"/>
            </a:defPPr>
            <a:lvl1pPr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1pPr>
            <a:lvl2pPr marL="742950" indent="-285750"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2pPr>
            <a:lvl3pPr marL="1143000" indent="-228600"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3pPr>
            <a:lvl4pPr marL="1600200" indent="-228600"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4pPr>
            <a:lvl5pPr marL="2057400" indent="-228600"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5pPr>
            <a:lvl6pPr marL="2286000" algn="l" defTabSz="914400" rtl="0" eaLnBrk="1" latinLnBrk="0" hangingPunct="1">
              <a:defRPr kern="1200">
                <a:solidFill>
                  <a:schemeClr val="bg1"/>
                </a:solidFill>
                <a:latin typeface="Arial" panose="020B0604020202020204" pitchFamily="34" charset="0"/>
                <a:ea typeface="Arial Unicode MS"/>
                <a:cs typeface="Arial Unicode MS"/>
              </a:defRPr>
            </a:lvl6pPr>
            <a:lvl7pPr marL="2743200" algn="l" defTabSz="914400" rtl="0" eaLnBrk="1" latinLnBrk="0" hangingPunct="1">
              <a:defRPr kern="1200">
                <a:solidFill>
                  <a:schemeClr val="bg1"/>
                </a:solidFill>
                <a:latin typeface="Arial" panose="020B0604020202020204" pitchFamily="34" charset="0"/>
                <a:ea typeface="Arial Unicode MS"/>
                <a:cs typeface="Arial Unicode MS"/>
              </a:defRPr>
            </a:lvl7pPr>
            <a:lvl8pPr marL="3200400" algn="l" defTabSz="914400" rtl="0" eaLnBrk="1" latinLnBrk="0" hangingPunct="1">
              <a:defRPr kern="1200">
                <a:solidFill>
                  <a:schemeClr val="bg1"/>
                </a:solidFill>
                <a:latin typeface="Arial" panose="020B0604020202020204" pitchFamily="34" charset="0"/>
                <a:ea typeface="Arial Unicode MS"/>
                <a:cs typeface="Arial Unicode MS"/>
              </a:defRPr>
            </a:lvl8pPr>
            <a:lvl9pPr marL="3657600" algn="l" defTabSz="914400" rtl="0" eaLnBrk="1" latinLnBrk="0" hangingPunct="1">
              <a:defRPr kern="1200">
                <a:solidFill>
                  <a:schemeClr val="bg1"/>
                </a:solidFill>
                <a:latin typeface="Arial" panose="020B0604020202020204" pitchFamily="34" charset="0"/>
                <a:ea typeface="Arial Unicode MS"/>
                <a:cs typeface="Arial Unicode MS"/>
              </a:defRPr>
            </a:lvl9pPr>
          </a:lstStyle>
          <a:p>
            <a:pPr marL="0" marR="0" lvl="0" indent="0" algn="r" defTabSz="690256" rtl="0" eaLnBrk="0" fontAlgn="auto" latinLnBrk="0" hangingPunct="0">
              <a:lnSpc>
                <a:spcPct val="100000"/>
              </a:lnSpc>
              <a:spcBef>
                <a:spcPct val="0"/>
              </a:spcBef>
              <a:spcAft>
                <a:spcPts val="0"/>
              </a:spcAft>
              <a:buClrTx/>
              <a:buSzTx/>
              <a:buFontTx/>
              <a:buNone/>
              <a:tabLst/>
              <a:defRPr/>
            </a:pPr>
            <a:r>
              <a:rPr kumimoji="0" lang="en-US" altLang="en-US" sz="1400"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rPr>
              <a:t>Pruritus</a:t>
            </a:r>
          </a:p>
        </p:txBody>
      </p:sp>
      <p:sp>
        <p:nvSpPr>
          <p:cNvPr id="61" name="TextBox 18">
            <a:extLst>
              <a:ext uri="{FF2B5EF4-FFF2-40B4-BE49-F238E27FC236}">
                <a16:creationId xmlns:a16="http://schemas.microsoft.com/office/drawing/2014/main" id="{DC47338C-4B20-48B2-B185-48424735BD6D}"/>
              </a:ext>
            </a:extLst>
          </p:cNvPr>
          <p:cNvSpPr txBox="1">
            <a:spLocks noChangeArrowheads="1"/>
          </p:cNvSpPr>
          <p:nvPr/>
        </p:nvSpPr>
        <p:spPr bwMode="auto">
          <a:xfrm>
            <a:off x="2165358" y="2660763"/>
            <a:ext cx="1072345" cy="215444"/>
          </a:xfrm>
          <a:prstGeom prst="rect">
            <a:avLst/>
          </a:prstGeom>
          <a:noFill/>
          <a:ln>
            <a:noFill/>
          </a:ln>
        </p:spPr>
        <p:txBody>
          <a:bodyPr wrap="none" lIns="0" tIns="0" rIns="0" bIns="0" anchor="ctr">
            <a:spAutoFit/>
          </a:bodyPr>
          <a:lstStyle>
            <a:defPPr>
              <a:defRPr lang="en-GB"/>
            </a:defPPr>
            <a:lvl1pPr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1pPr>
            <a:lvl2pPr marL="742950" indent="-285750"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2pPr>
            <a:lvl3pPr marL="1143000" indent="-228600"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3pPr>
            <a:lvl4pPr marL="1600200" indent="-228600"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4pPr>
            <a:lvl5pPr marL="2057400" indent="-228600"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5pPr>
            <a:lvl6pPr marL="2286000" algn="l" defTabSz="914400" rtl="0" eaLnBrk="1" latinLnBrk="0" hangingPunct="1">
              <a:defRPr kern="1200">
                <a:solidFill>
                  <a:schemeClr val="bg1"/>
                </a:solidFill>
                <a:latin typeface="Arial" panose="020B0604020202020204" pitchFamily="34" charset="0"/>
                <a:ea typeface="Arial Unicode MS"/>
                <a:cs typeface="Arial Unicode MS"/>
              </a:defRPr>
            </a:lvl6pPr>
            <a:lvl7pPr marL="2743200" algn="l" defTabSz="914400" rtl="0" eaLnBrk="1" latinLnBrk="0" hangingPunct="1">
              <a:defRPr kern="1200">
                <a:solidFill>
                  <a:schemeClr val="bg1"/>
                </a:solidFill>
                <a:latin typeface="Arial" panose="020B0604020202020204" pitchFamily="34" charset="0"/>
                <a:ea typeface="Arial Unicode MS"/>
                <a:cs typeface="Arial Unicode MS"/>
              </a:defRPr>
            </a:lvl7pPr>
            <a:lvl8pPr marL="3200400" algn="l" defTabSz="914400" rtl="0" eaLnBrk="1" latinLnBrk="0" hangingPunct="1">
              <a:defRPr kern="1200">
                <a:solidFill>
                  <a:schemeClr val="bg1"/>
                </a:solidFill>
                <a:latin typeface="Arial" panose="020B0604020202020204" pitchFamily="34" charset="0"/>
                <a:ea typeface="Arial Unicode MS"/>
                <a:cs typeface="Arial Unicode MS"/>
              </a:defRPr>
            </a:lvl8pPr>
            <a:lvl9pPr marL="3657600" algn="l" defTabSz="914400" rtl="0" eaLnBrk="1" latinLnBrk="0" hangingPunct="1">
              <a:defRPr kern="1200">
                <a:solidFill>
                  <a:schemeClr val="bg1"/>
                </a:solidFill>
                <a:latin typeface="Arial" panose="020B0604020202020204" pitchFamily="34" charset="0"/>
                <a:ea typeface="Arial Unicode MS"/>
                <a:cs typeface="Arial Unicode MS"/>
              </a:defRPr>
            </a:lvl9pPr>
          </a:lstStyle>
          <a:p>
            <a:pPr marL="0" marR="0" lvl="0" indent="0" algn="r" defTabSz="690256" rtl="0" eaLnBrk="0" fontAlgn="auto" latinLnBrk="0" hangingPunct="0">
              <a:lnSpc>
                <a:spcPct val="100000"/>
              </a:lnSpc>
              <a:spcBef>
                <a:spcPct val="0"/>
              </a:spcBef>
              <a:spcAft>
                <a:spcPts val="0"/>
              </a:spcAft>
              <a:buClrTx/>
              <a:buSzTx/>
              <a:buFontTx/>
              <a:buNone/>
              <a:tabLst/>
              <a:defRPr/>
            </a:pPr>
            <a:r>
              <a:rPr kumimoji="0" lang="en-US" altLang="en-US" sz="1400"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rPr>
              <a:t>AST increase</a:t>
            </a:r>
          </a:p>
        </p:txBody>
      </p:sp>
      <p:sp>
        <p:nvSpPr>
          <p:cNvPr id="62" name="TextBox 16">
            <a:extLst>
              <a:ext uri="{FF2B5EF4-FFF2-40B4-BE49-F238E27FC236}">
                <a16:creationId xmlns:a16="http://schemas.microsoft.com/office/drawing/2014/main" id="{98F27EE9-9AA1-405E-A754-87A0AA0FF434}"/>
              </a:ext>
            </a:extLst>
          </p:cNvPr>
          <p:cNvSpPr txBox="1">
            <a:spLocks noChangeArrowheads="1"/>
          </p:cNvSpPr>
          <p:nvPr/>
        </p:nvSpPr>
        <p:spPr bwMode="auto">
          <a:xfrm>
            <a:off x="2372080" y="2081468"/>
            <a:ext cx="865622" cy="215444"/>
          </a:xfrm>
          <a:prstGeom prst="rect">
            <a:avLst/>
          </a:prstGeom>
          <a:noFill/>
          <a:ln>
            <a:noFill/>
          </a:ln>
        </p:spPr>
        <p:txBody>
          <a:bodyPr wrap="none" lIns="0" tIns="0" rIns="0" bIns="0" anchor="ctr">
            <a:spAutoFit/>
          </a:bodyPr>
          <a:lstStyle>
            <a:defPPr>
              <a:defRPr lang="en-GB"/>
            </a:defPPr>
            <a:lvl1pPr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1pPr>
            <a:lvl2pPr marL="742950" indent="-285750"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2pPr>
            <a:lvl3pPr marL="1143000" indent="-228600"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3pPr>
            <a:lvl4pPr marL="1600200" indent="-228600"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4pPr>
            <a:lvl5pPr marL="2057400" indent="-228600"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5pPr>
            <a:lvl6pPr marL="2286000" algn="l" defTabSz="914400" rtl="0" eaLnBrk="1" latinLnBrk="0" hangingPunct="1">
              <a:defRPr kern="1200">
                <a:solidFill>
                  <a:schemeClr val="bg1"/>
                </a:solidFill>
                <a:latin typeface="Arial" panose="020B0604020202020204" pitchFamily="34" charset="0"/>
                <a:ea typeface="Arial Unicode MS"/>
                <a:cs typeface="Arial Unicode MS"/>
              </a:defRPr>
            </a:lvl6pPr>
            <a:lvl7pPr marL="2743200" algn="l" defTabSz="914400" rtl="0" eaLnBrk="1" latinLnBrk="0" hangingPunct="1">
              <a:defRPr kern="1200">
                <a:solidFill>
                  <a:schemeClr val="bg1"/>
                </a:solidFill>
                <a:latin typeface="Arial" panose="020B0604020202020204" pitchFamily="34" charset="0"/>
                <a:ea typeface="Arial Unicode MS"/>
                <a:cs typeface="Arial Unicode MS"/>
              </a:defRPr>
            </a:lvl7pPr>
            <a:lvl8pPr marL="3200400" algn="l" defTabSz="914400" rtl="0" eaLnBrk="1" latinLnBrk="0" hangingPunct="1">
              <a:defRPr kern="1200">
                <a:solidFill>
                  <a:schemeClr val="bg1"/>
                </a:solidFill>
                <a:latin typeface="Arial" panose="020B0604020202020204" pitchFamily="34" charset="0"/>
                <a:ea typeface="Arial Unicode MS"/>
                <a:cs typeface="Arial Unicode MS"/>
              </a:defRPr>
            </a:lvl8pPr>
            <a:lvl9pPr marL="3657600" algn="l" defTabSz="914400" rtl="0" eaLnBrk="1" latinLnBrk="0" hangingPunct="1">
              <a:defRPr kern="1200">
                <a:solidFill>
                  <a:schemeClr val="bg1"/>
                </a:solidFill>
                <a:latin typeface="Arial" panose="020B0604020202020204" pitchFamily="34" charset="0"/>
                <a:ea typeface="Arial Unicode MS"/>
                <a:cs typeface="Arial Unicode MS"/>
              </a:defRPr>
            </a:lvl9pPr>
          </a:lstStyle>
          <a:p>
            <a:pPr marL="0" marR="0" lvl="0" indent="0" algn="r" defTabSz="690256" rtl="0" eaLnBrk="0" fontAlgn="auto" latinLnBrk="0" hangingPunct="0">
              <a:lnSpc>
                <a:spcPct val="100000"/>
              </a:lnSpc>
              <a:spcBef>
                <a:spcPct val="0"/>
              </a:spcBef>
              <a:spcAft>
                <a:spcPts val="0"/>
              </a:spcAft>
              <a:buClrTx/>
              <a:buSzTx/>
              <a:buFontTx/>
              <a:buNone/>
              <a:tabLst/>
              <a:defRPr/>
            </a:pPr>
            <a:r>
              <a:rPr kumimoji="0" lang="en-US" altLang="en-US" sz="1400"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rPr>
              <a:t>Proteinuria</a:t>
            </a:r>
          </a:p>
        </p:txBody>
      </p:sp>
      <p:sp>
        <p:nvSpPr>
          <p:cNvPr id="63" name="TextBox 11">
            <a:extLst>
              <a:ext uri="{FF2B5EF4-FFF2-40B4-BE49-F238E27FC236}">
                <a16:creationId xmlns:a16="http://schemas.microsoft.com/office/drawing/2014/main" id="{268B35B6-DBED-40C9-A34E-54DD13B9F0DB}"/>
              </a:ext>
            </a:extLst>
          </p:cNvPr>
          <p:cNvSpPr txBox="1">
            <a:spLocks noChangeArrowheads="1"/>
          </p:cNvSpPr>
          <p:nvPr/>
        </p:nvSpPr>
        <p:spPr bwMode="auto">
          <a:xfrm>
            <a:off x="2550014" y="5500342"/>
            <a:ext cx="687689" cy="215444"/>
          </a:xfrm>
          <a:prstGeom prst="rect">
            <a:avLst/>
          </a:prstGeom>
          <a:noFill/>
          <a:ln>
            <a:noFill/>
          </a:ln>
        </p:spPr>
        <p:txBody>
          <a:bodyPr wrap="none" lIns="0" tIns="0" rIns="0" bIns="0" anchor="ctr">
            <a:spAutoFit/>
          </a:bodyPr>
          <a:lstStyle>
            <a:defPPr>
              <a:defRPr lang="en-GB"/>
            </a:defPPr>
            <a:lvl1pPr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1pPr>
            <a:lvl2pPr marL="742950" indent="-285750"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2pPr>
            <a:lvl3pPr marL="1143000" indent="-228600"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3pPr>
            <a:lvl4pPr marL="1600200" indent="-228600"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4pPr>
            <a:lvl5pPr marL="2057400" indent="-228600"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5pPr>
            <a:lvl6pPr marL="2286000" algn="l" defTabSz="914400" rtl="0" eaLnBrk="1" latinLnBrk="0" hangingPunct="1">
              <a:defRPr kern="1200">
                <a:solidFill>
                  <a:schemeClr val="bg1"/>
                </a:solidFill>
                <a:latin typeface="Arial" panose="020B0604020202020204" pitchFamily="34" charset="0"/>
                <a:ea typeface="Arial Unicode MS"/>
                <a:cs typeface="Arial Unicode MS"/>
              </a:defRPr>
            </a:lvl6pPr>
            <a:lvl7pPr marL="2743200" algn="l" defTabSz="914400" rtl="0" eaLnBrk="1" latinLnBrk="0" hangingPunct="1">
              <a:defRPr kern="1200">
                <a:solidFill>
                  <a:schemeClr val="bg1"/>
                </a:solidFill>
                <a:latin typeface="Arial" panose="020B0604020202020204" pitchFamily="34" charset="0"/>
                <a:ea typeface="Arial Unicode MS"/>
                <a:cs typeface="Arial Unicode MS"/>
              </a:defRPr>
            </a:lvl7pPr>
            <a:lvl8pPr marL="3200400" algn="l" defTabSz="914400" rtl="0" eaLnBrk="1" latinLnBrk="0" hangingPunct="1">
              <a:defRPr kern="1200">
                <a:solidFill>
                  <a:schemeClr val="bg1"/>
                </a:solidFill>
                <a:latin typeface="Arial" panose="020B0604020202020204" pitchFamily="34" charset="0"/>
                <a:ea typeface="Arial Unicode MS"/>
                <a:cs typeface="Arial Unicode MS"/>
              </a:defRPr>
            </a:lvl8pPr>
            <a:lvl9pPr marL="3657600" algn="l" defTabSz="914400" rtl="0" eaLnBrk="1" latinLnBrk="0" hangingPunct="1">
              <a:defRPr kern="1200">
                <a:solidFill>
                  <a:schemeClr val="bg1"/>
                </a:solidFill>
                <a:latin typeface="Arial" panose="020B0604020202020204" pitchFamily="34" charset="0"/>
                <a:ea typeface="Arial Unicode MS"/>
                <a:cs typeface="Arial Unicode MS"/>
              </a:defRPr>
            </a:lvl9pPr>
          </a:lstStyle>
          <a:p>
            <a:pPr marL="0" marR="0" lvl="0" indent="0" algn="r" defTabSz="690256" rtl="0" eaLnBrk="0" fontAlgn="auto" latinLnBrk="0" hangingPunct="0">
              <a:lnSpc>
                <a:spcPct val="100000"/>
              </a:lnSpc>
              <a:spcBef>
                <a:spcPct val="0"/>
              </a:spcBef>
              <a:spcAft>
                <a:spcPts val="0"/>
              </a:spcAft>
              <a:buClrTx/>
              <a:buSzTx/>
              <a:buFontTx/>
              <a:buNone/>
              <a:tabLst/>
              <a:defRPr/>
            </a:pPr>
            <a:r>
              <a:rPr kumimoji="0" lang="en-US" altLang="en-US" sz="1400"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rPr>
              <a:t>Alopecia</a:t>
            </a:r>
          </a:p>
        </p:txBody>
      </p:sp>
      <p:sp>
        <p:nvSpPr>
          <p:cNvPr id="64" name="TextBox 11">
            <a:extLst>
              <a:ext uri="{FF2B5EF4-FFF2-40B4-BE49-F238E27FC236}">
                <a16:creationId xmlns:a16="http://schemas.microsoft.com/office/drawing/2014/main" id="{2A1BCF46-DB01-46FC-B877-FB100CC64B8F}"/>
              </a:ext>
            </a:extLst>
          </p:cNvPr>
          <p:cNvSpPr txBox="1">
            <a:spLocks noChangeArrowheads="1"/>
          </p:cNvSpPr>
          <p:nvPr/>
        </p:nvSpPr>
        <p:spPr bwMode="auto">
          <a:xfrm>
            <a:off x="1685996" y="4256068"/>
            <a:ext cx="1551707" cy="215444"/>
          </a:xfrm>
          <a:prstGeom prst="rect">
            <a:avLst/>
          </a:prstGeom>
          <a:noFill/>
          <a:ln>
            <a:noFill/>
          </a:ln>
        </p:spPr>
        <p:txBody>
          <a:bodyPr wrap="none" lIns="0" tIns="0" rIns="0" bIns="0" anchor="ctr">
            <a:spAutoFit/>
          </a:bodyPr>
          <a:lstStyle>
            <a:defPPr>
              <a:defRPr lang="en-GB"/>
            </a:defPPr>
            <a:lvl1pPr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1pPr>
            <a:lvl2pPr marL="742950" indent="-285750"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2pPr>
            <a:lvl3pPr marL="1143000" indent="-228600"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3pPr>
            <a:lvl4pPr marL="1600200" indent="-228600"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4pPr>
            <a:lvl5pPr marL="2057400" indent="-228600"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5pPr>
            <a:lvl6pPr marL="2286000" algn="l" defTabSz="914400" rtl="0" eaLnBrk="1" latinLnBrk="0" hangingPunct="1">
              <a:defRPr kern="1200">
                <a:solidFill>
                  <a:schemeClr val="bg1"/>
                </a:solidFill>
                <a:latin typeface="Arial" panose="020B0604020202020204" pitchFamily="34" charset="0"/>
                <a:ea typeface="Arial Unicode MS"/>
                <a:cs typeface="Arial Unicode MS"/>
              </a:defRPr>
            </a:lvl6pPr>
            <a:lvl7pPr marL="2743200" algn="l" defTabSz="914400" rtl="0" eaLnBrk="1" latinLnBrk="0" hangingPunct="1">
              <a:defRPr kern="1200">
                <a:solidFill>
                  <a:schemeClr val="bg1"/>
                </a:solidFill>
                <a:latin typeface="Arial" panose="020B0604020202020204" pitchFamily="34" charset="0"/>
                <a:ea typeface="Arial Unicode MS"/>
                <a:cs typeface="Arial Unicode MS"/>
              </a:defRPr>
            </a:lvl7pPr>
            <a:lvl8pPr marL="3200400" algn="l" defTabSz="914400" rtl="0" eaLnBrk="1" latinLnBrk="0" hangingPunct="1">
              <a:defRPr kern="1200">
                <a:solidFill>
                  <a:schemeClr val="bg1"/>
                </a:solidFill>
                <a:latin typeface="Arial" panose="020B0604020202020204" pitchFamily="34" charset="0"/>
                <a:ea typeface="Arial Unicode MS"/>
                <a:cs typeface="Arial Unicode MS"/>
              </a:defRPr>
            </a:lvl8pPr>
            <a:lvl9pPr marL="3657600" algn="l" defTabSz="914400" rtl="0" eaLnBrk="1" latinLnBrk="0" hangingPunct="1">
              <a:defRPr kern="1200">
                <a:solidFill>
                  <a:schemeClr val="bg1"/>
                </a:solidFill>
                <a:latin typeface="Arial" panose="020B0604020202020204" pitchFamily="34" charset="0"/>
                <a:ea typeface="Arial Unicode MS"/>
                <a:cs typeface="Arial Unicode MS"/>
              </a:defRPr>
            </a:lvl9pPr>
          </a:lstStyle>
          <a:p>
            <a:pPr marL="0" marR="0" lvl="0" indent="0" algn="r" defTabSz="690256" rtl="0" eaLnBrk="0" fontAlgn="auto" latinLnBrk="0" hangingPunct="0">
              <a:lnSpc>
                <a:spcPct val="100000"/>
              </a:lnSpc>
              <a:spcBef>
                <a:spcPct val="0"/>
              </a:spcBef>
              <a:spcAft>
                <a:spcPts val="0"/>
              </a:spcAft>
              <a:buClrTx/>
              <a:buSzTx/>
              <a:buFontTx/>
              <a:buNone/>
              <a:tabLst/>
              <a:defRPr/>
            </a:pPr>
            <a:r>
              <a:rPr kumimoji="0" lang="en-US" altLang="en-US" sz="1400"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rPr>
              <a:t>Decreased appetite</a:t>
            </a:r>
          </a:p>
        </p:txBody>
      </p:sp>
      <p:sp>
        <p:nvSpPr>
          <p:cNvPr id="65" name="TextBox 11">
            <a:extLst>
              <a:ext uri="{FF2B5EF4-FFF2-40B4-BE49-F238E27FC236}">
                <a16:creationId xmlns:a16="http://schemas.microsoft.com/office/drawing/2014/main" id="{BB392606-1C68-4EC4-BBA4-1A1A3B6AF78F}"/>
              </a:ext>
            </a:extLst>
          </p:cNvPr>
          <p:cNvSpPr txBox="1">
            <a:spLocks noChangeArrowheads="1"/>
          </p:cNvSpPr>
          <p:nvPr/>
        </p:nvSpPr>
        <p:spPr bwMode="auto">
          <a:xfrm>
            <a:off x="2540397" y="5218035"/>
            <a:ext cx="697306" cy="215444"/>
          </a:xfrm>
          <a:prstGeom prst="rect">
            <a:avLst/>
          </a:prstGeom>
          <a:noFill/>
          <a:ln>
            <a:noFill/>
          </a:ln>
        </p:spPr>
        <p:txBody>
          <a:bodyPr wrap="none" lIns="0" tIns="0" rIns="0" bIns="0" anchor="ctr">
            <a:spAutoFit/>
          </a:bodyPr>
          <a:lstStyle>
            <a:defPPr>
              <a:defRPr lang="en-GB"/>
            </a:defPPr>
            <a:lvl1pPr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1pPr>
            <a:lvl2pPr marL="742950" indent="-285750"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2pPr>
            <a:lvl3pPr marL="1143000" indent="-228600"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3pPr>
            <a:lvl4pPr marL="1600200" indent="-228600"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4pPr>
            <a:lvl5pPr marL="2057400" indent="-228600"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5pPr>
            <a:lvl6pPr marL="2286000" algn="l" defTabSz="914400" rtl="0" eaLnBrk="1" latinLnBrk="0" hangingPunct="1">
              <a:defRPr kern="1200">
                <a:solidFill>
                  <a:schemeClr val="bg1"/>
                </a:solidFill>
                <a:latin typeface="Arial" panose="020B0604020202020204" pitchFamily="34" charset="0"/>
                <a:ea typeface="Arial Unicode MS"/>
                <a:cs typeface="Arial Unicode MS"/>
              </a:defRPr>
            </a:lvl6pPr>
            <a:lvl7pPr marL="2743200" algn="l" defTabSz="914400" rtl="0" eaLnBrk="1" latinLnBrk="0" hangingPunct="1">
              <a:defRPr kern="1200">
                <a:solidFill>
                  <a:schemeClr val="bg1"/>
                </a:solidFill>
                <a:latin typeface="Arial" panose="020B0604020202020204" pitchFamily="34" charset="0"/>
                <a:ea typeface="Arial Unicode MS"/>
                <a:cs typeface="Arial Unicode MS"/>
              </a:defRPr>
            </a:lvl7pPr>
            <a:lvl8pPr marL="3200400" algn="l" defTabSz="914400" rtl="0" eaLnBrk="1" latinLnBrk="0" hangingPunct="1">
              <a:defRPr kern="1200">
                <a:solidFill>
                  <a:schemeClr val="bg1"/>
                </a:solidFill>
                <a:latin typeface="Arial" panose="020B0604020202020204" pitchFamily="34" charset="0"/>
                <a:ea typeface="Arial Unicode MS"/>
                <a:cs typeface="Arial Unicode MS"/>
              </a:defRPr>
            </a:lvl8pPr>
            <a:lvl9pPr marL="3657600" algn="l" defTabSz="914400" rtl="0" eaLnBrk="1" latinLnBrk="0" hangingPunct="1">
              <a:defRPr kern="1200">
                <a:solidFill>
                  <a:schemeClr val="bg1"/>
                </a:solidFill>
                <a:latin typeface="Arial" panose="020B0604020202020204" pitchFamily="34" charset="0"/>
                <a:ea typeface="Arial Unicode MS"/>
                <a:cs typeface="Arial Unicode MS"/>
              </a:defRPr>
            </a:lvl9pPr>
          </a:lstStyle>
          <a:p>
            <a:pPr marL="0" marR="0" lvl="0" indent="0" algn="r" defTabSz="690256" rtl="0" eaLnBrk="0" fontAlgn="auto" latinLnBrk="0" hangingPunct="0">
              <a:lnSpc>
                <a:spcPct val="100000"/>
              </a:lnSpc>
              <a:spcBef>
                <a:spcPct val="0"/>
              </a:spcBef>
              <a:spcAft>
                <a:spcPts val="0"/>
              </a:spcAft>
              <a:buClrTx/>
              <a:buSzTx/>
              <a:buFontTx/>
              <a:buNone/>
              <a:tabLst/>
              <a:defRPr/>
            </a:pPr>
            <a:r>
              <a:rPr kumimoji="0" lang="en-US" altLang="en-US" sz="1400"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rPr>
              <a:t>Asthenia</a:t>
            </a:r>
          </a:p>
        </p:txBody>
      </p:sp>
      <p:sp>
        <p:nvSpPr>
          <p:cNvPr id="66" name="TextBox 11">
            <a:extLst>
              <a:ext uri="{FF2B5EF4-FFF2-40B4-BE49-F238E27FC236}">
                <a16:creationId xmlns:a16="http://schemas.microsoft.com/office/drawing/2014/main" id="{72692D58-D8C9-4D2E-818A-BDC195539B81}"/>
              </a:ext>
            </a:extLst>
          </p:cNvPr>
          <p:cNvSpPr txBox="1">
            <a:spLocks noChangeArrowheads="1"/>
          </p:cNvSpPr>
          <p:nvPr/>
        </p:nvSpPr>
        <p:spPr bwMode="auto">
          <a:xfrm>
            <a:off x="2620547" y="4899955"/>
            <a:ext cx="617156" cy="215444"/>
          </a:xfrm>
          <a:prstGeom prst="rect">
            <a:avLst/>
          </a:prstGeom>
          <a:noFill/>
          <a:ln>
            <a:noFill/>
          </a:ln>
        </p:spPr>
        <p:txBody>
          <a:bodyPr wrap="none" lIns="0" tIns="0" rIns="0" bIns="0" anchor="ctr">
            <a:spAutoFit/>
          </a:bodyPr>
          <a:lstStyle>
            <a:defPPr>
              <a:defRPr lang="en-GB"/>
            </a:defPPr>
            <a:lvl1pPr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1pPr>
            <a:lvl2pPr marL="742950" indent="-285750"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2pPr>
            <a:lvl3pPr marL="1143000" indent="-228600"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3pPr>
            <a:lvl4pPr marL="1600200" indent="-228600"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4pPr>
            <a:lvl5pPr marL="2057400" indent="-228600"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5pPr>
            <a:lvl6pPr marL="2286000" algn="l" defTabSz="914400" rtl="0" eaLnBrk="1" latinLnBrk="0" hangingPunct="1">
              <a:defRPr kern="1200">
                <a:solidFill>
                  <a:schemeClr val="bg1"/>
                </a:solidFill>
                <a:latin typeface="Arial" panose="020B0604020202020204" pitchFamily="34" charset="0"/>
                <a:ea typeface="Arial Unicode MS"/>
                <a:cs typeface="Arial Unicode MS"/>
              </a:defRPr>
            </a:lvl6pPr>
            <a:lvl7pPr marL="2743200" algn="l" defTabSz="914400" rtl="0" eaLnBrk="1" latinLnBrk="0" hangingPunct="1">
              <a:defRPr kern="1200">
                <a:solidFill>
                  <a:schemeClr val="bg1"/>
                </a:solidFill>
                <a:latin typeface="Arial" panose="020B0604020202020204" pitchFamily="34" charset="0"/>
                <a:ea typeface="Arial Unicode MS"/>
                <a:cs typeface="Arial Unicode MS"/>
              </a:defRPr>
            </a:lvl7pPr>
            <a:lvl8pPr marL="3200400" algn="l" defTabSz="914400" rtl="0" eaLnBrk="1" latinLnBrk="0" hangingPunct="1">
              <a:defRPr kern="1200">
                <a:solidFill>
                  <a:schemeClr val="bg1"/>
                </a:solidFill>
                <a:latin typeface="Arial" panose="020B0604020202020204" pitchFamily="34" charset="0"/>
                <a:ea typeface="Arial Unicode MS"/>
                <a:cs typeface="Arial Unicode MS"/>
              </a:defRPr>
            </a:lvl8pPr>
            <a:lvl9pPr marL="3657600" algn="l" defTabSz="914400" rtl="0" eaLnBrk="1" latinLnBrk="0" hangingPunct="1">
              <a:defRPr kern="1200">
                <a:solidFill>
                  <a:schemeClr val="bg1"/>
                </a:solidFill>
                <a:latin typeface="Arial" panose="020B0604020202020204" pitchFamily="34" charset="0"/>
                <a:ea typeface="Arial Unicode MS"/>
                <a:cs typeface="Arial Unicode MS"/>
              </a:defRPr>
            </a:lvl9pPr>
          </a:lstStyle>
          <a:p>
            <a:pPr marL="0" marR="0" lvl="0" indent="0" algn="r" defTabSz="690256" rtl="0" eaLnBrk="0" fontAlgn="auto" latinLnBrk="0" hangingPunct="0">
              <a:lnSpc>
                <a:spcPct val="100000"/>
              </a:lnSpc>
              <a:spcBef>
                <a:spcPct val="0"/>
              </a:spcBef>
              <a:spcAft>
                <a:spcPts val="0"/>
              </a:spcAft>
              <a:buClrTx/>
              <a:buSzTx/>
              <a:buFontTx/>
              <a:buNone/>
              <a:tabLst/>
              <a:defRPr/>
            </a:pPr>
            <a:r>
              <a:rPr kumimoji="0" lang="en-US" altLang="en-US" sz="1400"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rPr>
              <a:t>Nausea</a:t>
            </a:r>
          </a:p>
        </p:txBody>
      </p:sp>
      <p:sp>
        <p:nvSpPr>
          <p:cNvPr id="67" name="TextBox 16">
            <a:extLst>
              <a:ext uri="{FF2B5EF4-FFF2-40B4-BE49-F238E27FC236}">
                <a16:creationId xmlns:a16="http://schemas.microsoft.com/office/drawing/2014/main" id="{D6C0EDD0-F318-4299-AE83-80C15EAF3041}"/>
              </a:ext>
            </a:extLst>
          </p:cNvPr>
          <p:cNvSpPr txBox="1">
            <a:spLocks noChangeArrowheads="1"/>
          </p:cNvSpPr>
          <p:nvPr/>
        </p:nvSpPr>
        <p:spPr bwMode="auto">
          <a:xfrm>
            <a:off x="1318908" y="3302010"/>
            <a:ext cx="1918795" cy="215444"/>
          </a:xfrm>
          <a:prstGeom prst="rect">
            <a:avLst/>
          </a:prstGeom>
          <a:noFill/>
          <a:ln>
            <a:noFill/>
          </a:ln>
        </p:spPr>
        <p:txBody>
          <a:bodyPr wrap="none" lIns="0" tIns="0" rIns="0" bIns="0" anchor="ctr">
            <a:spAutoFit/>
          </a:bodyPr>
          <a:lstStyle>
            <a:defPPr>
              <a:defRPr lang="en-GB"/>
            </a:defPPr>
            <a:lvl1pPr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1pPr>
            <a:lvl2pPr marL="742950" indent="-285750"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2pPr>
            <a:lvl3pPr marL="1143000" indent="-228600"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3pPr>
            <a:lvl4pPr marL="1600200" indent="-228600"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4pPr>
            <a:lvl5pPr marL="2057400" indent="-228600"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5pPr>
            <a:lvl6pPr marL="2286000" algn="l" defTabSz="914400" rtl="0" eaLnBrk="1" latinLnBrk="0" hangingPunct="1">
              <a:defRPr kern="1200">
                <a:solidFill>
                  <a:schemeClr val="bg1"/>
                </a:solidFill>
                <a:latin typeface="Arial" panose="020B0604020202020204" pitchFamily="34" charset="0"/>
                <a:ea typeface="Arial Unicode MS"/>
                <a:cs typeface="Arial Unicode MS"/>
              </a:defRPr>
            </a:lvl6pPr>
            <a:lvl7pPr marL="2743200" algn="l" defTabSz="914400" rtl="0" eaLnBrk="1" latinLnBrk="0" hangingPunct="1">
              <a:defRPr kern="1200">
                <a:solidFill>
                  <a:schemeClr val="bg1"/>
                </a:solidFill>
                <a:latin typeface="Arial" panose="020B0604020202020204" pitchFamily="34" charset="0"/>
                <a:ea typeface="Arial Unicode MS"/>
                <a:cs typeface="Arial Unicode MS"/>
              </a:defRPr>
            </a:lvl7pPr>
            <a:lvl8pPr marL="3200400" algn="l" defTabSz="914400" rtl="0" eaLnBrk="1" latinLnBrk="0" hangingPunct="1">
              <a:defRPr kern="1200">
                <a:solidFill>
                  <a:schemeClr val="bg1"/>
                </a:solidFill>
                <a:latin typeface="Arial" panose="020B0604020202020204" pitchFamily="34" charset="0"/>
                <a:ea typeface="Arial Unicode MS"/>
                <a:cs typeface="Arial Unicode MS"/>
              </a:defRPr>
            </a:lvl8pPr>
            <a:lvl9pPr marL="3657600" algn="l" defTabSz="914400" rtl="0" eaLnBrk="1" latinLnBrk="0" hangingPunct="1">
              <a:defRPr kern="1200">
                <a:solidFill>
                  <a:schemeClr val="bg1"/>
                </a:solidFill>
                <a:latin typeface="Arial" panose="020B0604020202020204" pitchFamily="34" charset="0"/>
                <a:ea typeface="Arial Unicode MS"/>
                <a:cs typeface="Arial Unicode MS"/>
              </a:defRPr>
            </a:lvl9pPr>
          </a:lstStyle>
          <a:p>
            <a:pPr marL="0" marR="0" lvl="0" indent="0" algn="r" defTabSz="690256" rtl="0" eaLnBrk="0" fontAlgn="auto" latinLnBrk="0" hangingPunct="0">
              <a:lnSpc>
                <a:spcPct val="100000"/>
              </a:lnSpc>
              <a:spcBef>
                <a:spcPct val="0"/>
              </a:spcBef>
              <a:spcAft>
                <a:spcPts val="0"/>
              </a:spcAft>
              <a:buClrTx/>
              <a:buSzTx/>
              <a:buFontTx/>
              <a:buNone/>
              <a:tabLst/>
              <a:defRPr/>
            </a:pPr>
            <a:r>
              <a:rPr kumimoji="0" lang="en-US" altLang="en-US" sz="1400"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rPr>
              <a:t>Infusion-related reaction</a:t>
            </a:r>
          </a:p>
        </p:txBody>
      </p:sp>
      <p:sp>
        <p:nvSpPr>
          <p:cNvPr id="48" name="TextBox 36">
            <a:extLst>
              <a:ext uri="{FF2B5EF4-FFF2-40B4-BE49-F238E27FC236}">
                <a16:creationId xmlns:a16="http://schemas.microsoft.com/office/drawing/2014/main" id="{7D2D9587-AFA4-4C6F-8B9C-B0D873509D23}"/>
              </a:ext>
            </a:extLst>
          </p:cNvPr>
          <p:cNvSpPr txBox="1">
            <a:spLocks noChangeArrowheads="1"/>
          </p:cNvSpPr>
          <p:nvPr/>
        </p:nvSpPr>
        <p:spPr bwMode="auto">
          <a:xfrm>
            <a:off x="3674799" y="4727975"/>
            <a:ext cx="1585892" cy="276999"/>
          </a:xfrm>
          <a:prstGeom prst="rect">
            <a:avLst/>
          </a:prstGeom>
          <a:solidFill>
            <a:schemeClr val="bg1"/>
          </a:solidFill>
          <a:ln w="9525">
            <a:noFill/>
            <a:miter lim="800000"/>
            <a:headEnd/>
            <a:tailEnd/>
          </a:ln>
        </p:spPr>
        <p:txBody>
          <a:bodyPr wrap="square">
            <a:spAutoFit/>
          </a:bodyPr>
          <a:lstStyle>
            <a:defPPr>
              <a:defRPr lang="en-GB"/>
            </a:defPPr>
            <a:lvl1pPr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1pPr>
            <a:lvl2pPr marL="742950" indent="-285750"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2pPr>
            <a:lvl3pPr marL="1143000" indent="-228600"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3pPr>
            <a:lvl4pPr marL="1600200" indent="-228600"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4pPr>
            <a:lvl5pPr marL="2057400" indent="-228600"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5pPr>
            <a:lvl6pPr marL="2286000" algn="l" defTabSz="914400" rtl="0" eaLnBrk="1" latinLnBrk="0" hangingPunct="1">
              <a:defRPr kern="1200">
                <a:solidFill>
                  <a:schemeClr val="bg1"/>
                </a:solidFill>
                <a:latin typeface="Arial" panose="020B0604020202020204" pitchFamily="34" charset="0"/>
                <a:ea typeface="Arial Unicode MS"/>
                <a:cs typeface="Arial Unicode MS"/>
              </a:defRPr>
            </a:lvl6pPr>
            <a:lvl7pPr marL="2743200" algn="l" defTabSz="914400" rtl="0" eaLnBrk="1" latinLnBrk="0" hangingPunct="1">
              <a:defRPr kern="1200">
                <a:solidFill>
                  <a:schemeClr val="bg1"/>
                </a:solidFill>
                <a:latin typeface="Arial" panose="020B0604020202020204" pitchFamily="34" charset="0"/>
                <a:ea typeface="Arial Unicode MS"/>
                <a:cs typeface="Arial Unicode MS"/>
              </a:defRPr>
            </a:lvl7pPr>
            <a:lvl8pPr marL="3200400" algn="l" defTabSz="914400" rtl="0" eaLnBrk="1" latinLnBrk="0" hangingPunct="1">
              <a:defRPr kern="1200">
                <a:solidFill>
                  <a:schemeClr val="bg1"/>
                </a:solidFill>
                <a:latin typeface="Arial" panose="020B0604020202020204" pitchFamily="34" charset="0"/>
                <a:ea typeface="Arial Unicode MS"/>
                <a:cs typeface="Arial Unicode MS"/>
              </a:defRPr>
            </a:lvl8pPr>
            <a:lvl9pPr marL="3657600" algn="l" defTabSz="914400" rtl="0" eaLnBrk="1" latinLnBrk="0" hangingPunct="1">
              <a:defRPr kern="1200">
                <a:solidFill>
                  <a:schemeClr val="bg1"/>
                </a:solidFill>
                <a:latin typeface="Arial" panose="020B0604020202020204" pitchFamily="34" charset="0"/>
                <a:ea typeface="Arial Unicode MS"/>
                <a:cs typeface="Arial Unicode MS"/>
              </a:defRPr>
            </a:lvl9pPr>
          </a:lstStyle>
          <a:p>
            <a:pPr marL="0" marR="0" lvl="0" indent="0" algn="ctr" defTabSz="920318" rtl="0" eaLnBrk="0" fontAlgn="auto" latinLnBrk="0" hangingPunct="0">
              <a:lnSpc>
                <a:spcPct val="100000"/>
              </a:lnSpc>
              <a:spcBef>
                <a:spcPts val="0"/>
              </a:spcBef>
              <a:spcAft>
                <a:spcPts val="0"/>
              </a:spcAft>
              <a:buClrTx/>
              <a:buSzTx/>
              <a:buFontTx/>
              <a:buNone/>
              <a:tabLst/>
              <a:defRPr/>
            </a:pPr>
            <a:r>
              <a:rPr kumimoji="0" lang="en-US" altLang="en-US" sz="1200"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rPr>
              <a:t>All-grade AEs</a:t>
            </a:r>
          </a:p>
        </p:txBody>
      </p:sp>
      <p:sp>
        <p:nvSpPr>
          <p:cNvPr id="49" name="TextBox 40">
            <a:extLst>
              <a:ext uri="{FF2B5EF4-FFF2-40B4-BE49-F238E27FC236}">
                <a16:creationId xmlns:a16="http://schemas.microsoft.com/office/drawing/2014/main" id="{52E443FA-0C56-4EC8-98CC-C0CE35B2FB59}"/>
              </a:ext>
            </a:extLst>
          </p:cNvPr>
          <p:cNvSpPr txBox="1">
            <a:spLocks noChangeArrowheads="1"/>
          </p:cNvSpPr>
          <p:nvPr/>
        </p:nvSpPr>
        <p:spPr bwMode="auto">
          <a:xfrm>
            <a:off x="9061035" y="4727974"/>
            <a:ext cx="1301870" cy="290756"/>
          </a:xfrm>
          <a:prstGeom prst="rect">
            <a:avLst/>
          </a:prstGeom>
          <a:solidFill>
            <a:schemeClr val="bg1"/>
          </a:solidFill>
          <a:ln w="9525">
            <a:noFill/>
            <a:miter lim="800000"/>
            <a:headEnd/>
            <a:tailEnd/>
          </a:ln>
        </p:spPr>
        <p:txBody>
          <a:bodyPr wrap="none">
            <a:noAutofit/>
          </a:bodyPr>
          <a:lstStyle>
            <a:defPPr>
              <a:defRPr lang="en-GB"/>
            </a:defPPr>
            <a:lvl1pPr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1pPr>
            <a:lvl2pPr marL="742950" indent="-285750"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2pPr>
            <a:lvl3pPr marL="1143000" indent="-228600"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3pPr>
            <a:lvl4pPr marL="1600200" indent="-228600"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4pPr>
            <a:lvl5pPr marL="2057400" indent="-228600"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5pPr>
            <a:lvl6pPr marL="2286000" algn="l" defTabSz="914400" rtl="0" eaLnBrk="1" latinLnBrk="0" hangingPunct="1">
              <a:defRPr kern="1200">
                <a:solidFill>
                  <a:schemeClr val="bg1"/>
                </a:solidFill>
                <a:latin typeface="Arial" panose="020B0604020202020204" pitchFamily="34" charset="0"/>
                <a:ea typeface="Arial Unicode MS"/>
                <a:cs typeface="Arial Unicode MS"/>
              </a:defRPr>
            </a:lvl6pPr>
            <a:lvl7pPr marL="2743200" algn="l" defTabSz="914400" rtl="0" eaLnBrk="1" latinLnBrk="0" hangingPunct="1">
              <a:defRPr kern="1200">
                <a:solidFill>
                  <a:schemeClr val="bg1"/>
                </a:solidFill>
                <a:latin typeface="Arial" panose="020B0604020202020204" pitchFamily="34" charset="0"/>
                <a:ea typeface="Arial Unicode MS"/>
                <a:cs typeface="Arial Unicode MS"/>
              </a:defRPr>
            </a:lvl7pPr>
            <a:lvl8pPr marL="3200400" algn="l" defTabSz="914400" rtl="0" eaLnBrk="1" latinLnBrk="0" hangingPunct="1">
              <a:defRPr kern="1200">
                <a:solidFill>
                  <a:schemeClr val="bg1"/>
                </a:solidFill>
                <a:latin typeface="Arial" panose="020B0604020202020204" pitchFamily="34" charset="0"/>
                <a:ea typeface="Arial Unicode MS"/>
                <a:cs typeface="Arial Unicode MS"/>
              </a:defRPr>
            </a:lvl8pPr>
            <a:lvl9pPr marL="3657600" algn="l" defTabSz="914400" rtl="0" eaLnBrk="1" latinLnBrk="0" hangingPunct="1">
              <a:defRPr kern="1200">
                <a:solidFill>
                  <a:schemeClr val="bg1"/>
                </a:solidFill>
                <a:latin typeface="Arial" panose="020B0604020202020204" pitchFamily="34" charset="0"/>
                <a:ea typeface="Arial Unicode MS"/>
                <a:cs typeface="Arial Unicode MS"/>
              </a:defRPr>
            </a:lvl9pPr>
          </a:lstStyle>
          <a:p>
            <a:pPr marL="0" marR="0" lvl="0" indent="0" algn="ctr" defTabSz="920318"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rPr>
              <a:t>All-grade AEs</a:t>
            </a:r>
          </a:p>
        </p:txBody>
      </p:sp>
      <p:sp>
        <p:nvSpPr>
          <p:cNvPr id="50" name="TextBox 36">
            <a:extLst>
              <a:ext uri="{FF2B5EF4-FFF2-40B4-BE49-F238E27FC236}">
                <a16:creationId xmlns:a16="http://schemas.microsoft.com/office/drawing/2014/main" id="{9A6067A2-5A7A-4FBF-B59A-FB0D4B6170C7}"/>
              </a:ext>
            </a:extLst>
          </p:cNvPr>
          <p:cNvSpPr txBox="1">
            <a:spLocks noChangeArrowheads="1"/>
          </p:cNvSpPr>
          <p:nvPr/>
        </p:nvSpPr>
        <p:spPr bwMode="auto">
          <a:xfrm>
            <a:off x="3676033" y="5023002"/>
            <a:ext cx="1641421" cy="276999"/>
          </a:xfrm>
          <a:prstGeom prst="rect">
            <a:avLst/>
          </a:prstGeom>
          <a:solidFill>
            <a:schemeClr val="bg1"/>
          </a:solidFill>
          <a:ln w="9525">
            <a:noFill/>
            <a:miter lim="800000"/>
            <a:headEnd/>
            <a:tailEnd/>
          </a:ln>
        </p:spPr>
        <p:txBody>
          <a:bodyPr wrap="square">
            <a:spAutoFit/>
          </a:bodyPr>
          <a:lstStyle>
            <a:defPPr>
              <a:defRPr lang="en-GB"/>
            </a:defPPr>
            <a:lvl1pPr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1pPr>
            <a:lvl2pPr marL="742950" indent="-285750"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2pPr>
            <a:lvl3pPr marL="1143000" indent="-228600"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3pPr>
            <a:lvl4pPr marL="1600200" indent="-228600"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4pPr>
            <a:lvl5pPr marL="2057400" indent="-228600"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5pPr>
            <a:lvl6pPr marL="2286000" algn="l" defTabSz="914400" rtl="0" eaLnBrk="1" latinLnBrk="0" hangingPunct="1">
              <a:defRPr kern="1200">
                <a:solidFill>
                  <a:schemeClr val="bg1"/>
                </a:solidFill>
                <a:latin typeface="Arial" panose="020B0604020202020204" pitchFamily="34" charset="0"/>
                <a:ea typeface="Arial Unicode MS"/>
                <a:cs typeface="Arial Unicode MS"/>
              </a:defRPr>
            </a:lvl6pPr>
            <a:lvl7pPr marL="2743200" algn="l" defTabSz="914400" rtl="0" eaLnBrk="1" latinLnBrk="0" hangingPunct="1">
              <a:defRPr kern="1200">
                <a:solidFill>
                  <a:schemeClr val="bg1"/>
                </a:solidFill>
                <a:latin typeface="Arial" panose="020B0604020202020204" pitchFamily="34" charset="0"/>
                <a:ea typeface="Arial Unicode MS"/>
                <a:cs typeface="Arial Unicode MS"/>
              </a:defRPr>
            </a:lvl7pPr>
            <a:lvl8pPr marL="3200400" algn="l" defTabSz="914400" rtl="0" eaLnBrk="1" latinLnBrk="0" hangingPunct="1">
              <a:defRPr kern="1200">
                <a:solidFill>
                  <a:schemeClr val="bg1"/>
                </a:solidFill>
                <a:latin typeface="Arial" panose="020B0604020202020204" pitchFamily="34" charset="0"/>
                <a:ea typeface="Arial Unicode MS"/>
                <a:cs typeface="Arial Unicode MS"/>
              </a:defRPr>
            </a:lvl8pPr>
            <a:lvl9pPr marL="3657600" algn="l" defTabSz="914400" rtl="0" eaLnBrk="1" latinLnBrk="0" hangingPunct="1">
              <a:defRPr kern="1200">
                <a:solidFill>
                  <a:schemeClr val="bg1"/>
                </a:solidFill>
                <a:latin typeface="Arial" panose="020B0604020202020204" pitchFamily="34" charset="0"/>
                <a:ea typeface="Arial Unicode MS"/>
                <a:cs typeface="Arial Unicode MS"/>
              </a:defRPr>
            </a:lvl9pPr>
          </a:lstStyle>
          <a:p>
            <a:pPr marL="0" marR="0" lvl="0" indent="0" algn="ctr" defTabSz="920318" rtl="0" eaLnBrk="0" fontAlgn="auto" latinLnBrk="0" hangingPunct="0">
              <a:lnSpc>
                <a:spcPct val="100000"/>
              </a:lnSpc>
              <a:spcBef>
                <a:spcPts val="0"/>
              </a:spcBef>
              <a:spcAft>
                <a:spcPts val="0"/>
              </a:spcAft>
              <a:buClrTx/>
              <a:buSzTx/>
              <a:buFontTx/>
              <a:buNone/>
              <a:tabLst/>
              <a:defRPr/>
            </a:pPr>
            <a:r>
              <a:rPr kumimoji="0" lang="en-US" altLang="en-US" sz="1200"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rPr>
              <a:t>Grade 3-4 AEs</a:t>
            </a:r>
          </a:p>
        </p:txBody>
      </p:sp>
      <p:sp>
        <p:nvSpPr>
          <p:cNvPr id="51" name="TextBox 36">
            <a:extLst>
              <a:ext uri="{FF2B5EF4-FFF2-40B4-BE49-F238E27FC236}">
                <a16:creationId xmlns:a16="http://schemas.microsoft.com/office/drawing/2014/main" id="{FB5EF03F-B62F-4160-A2A8-A3F69E2124B8}"/>
              </a:ext>
            </a:extLst>
          </p:cNvPr>
          <p:cNvSpPr txBox="1">
            <a:spLocks noChangeArrowheads="1"/>
          </p:cNvSpPr>
          <p:nvPr/>
        </p:nvSpPr>
        <p:spPr bwMode="auto">
          <a:xfrm>
            <a:off x="9063372" y="5060219"/>
            <a:ext cx="1298550" cy="290756"/>
          </a:xfrm>
          <a:prstGeom prst="rect">
            <a:avLst/>
          </a:prstGeom>
          <a:solidFill>
            <a:schemeClr val="bg1"/>
          </a:solidFill>
          <a:ln w="9525">
            <a:noFill/>
            <a:miter lim="800000"/>
            <a:headEnd/>
            <a:tailEnd/>
          </a:ln>
        </p:spPr>
        <p:txBody>
          <a:bodyPr wrap="none">
            <a:noAutofit/>
          </a:bodyPr>
          <a:lstStyle>
            <a:defPPr>
              <a:defRPr lang="en-GB"/>
            </a:defPPr>
            <a:lvl1pPr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1pPr>
            <a:lvl2pPr marL="742950" indent="-285750"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2pPr>
            <a:lvl3pPr marL="1143000" indent="-228600"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3pPr>
            <a:lvl4pPr marL="1600200" indent="-228600"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4pPr>
            <a:lvl5pPr marL="2057400" indent="-228600"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5pPr>
            <a:lvl6pPr marL="2286000" algn="l" defTabSz="914400" rtl="0" eaLnBrk="1" latinLnBrk="0" hangingPunct="1">
              <a:defRPr kern="1200">
                <a:solidFill>
                  <a:schemeClr val="bg1"/>
                </a:solidFill>
                <a:latin typeface="Arial" panose="020B0604020202020204" pitchFamily="34" charset="0"/>
                <a:ea typeface="Arial Unicode MS"/>
                <a:cs typeface="Arial Unicode MS"/>
              </a:defRPr>
            </a:lvl6pPr>
            <a:lvl7pPr marL="2743200" algn="l" defTabSz="914400" rtl="0" eaLnBrk="1" latinLnBrk="0" hangingPunct="1">
              <a:defRPr kern="1200">
                <a:solidFill>
                  <a:schemeClr val="bg1"/>
                </a:solidFill>
                <a:latin typeface="Arial" panose="020B0604020202020204" pitchFamily="34" charset="0"/>
                <a:ea typeface="Arial Unicode MS"/>
                <a:cs typeface="Arial Unicode MS"/>
              </a:defRPr>
            </a:lvl7pPr>
            <a:lvl8pPr marL="3200400" algn="l" defTabSz="914400" rtl="0" eaLnBrk="1" latinLnBrk="0" hangingPunct="1">
              <a:defRPr kern="1200">
                <a:solidFill>
                  <a:schemeClr val="bg1"/>
                </a:solidFill>
                <a:latin typeface="Arial" panose="020B0604020202020204" pitchFamily="34" charset="0"/>
                <a:ea typeface="Arial Unicode MS"/>
                <a:cs typeface="Arial Unicode MS"/>
              </a:defRPr>
            </a:lvl8pPr>
            <a:lvl9pPr marL="3657600" algn="l" defTabSz="914400" rtl="0" eaLnBrk="1" latinLnBrk="0" hangingPunct="1">
              <a:defRPr kern="1200">
                <a:solidFill>
                  <a:schemeClr val="bg1"/>
                </a:solidFill>
                <a:latin typeface="Arial" panose="020B0604020202020204" pitchFamily="34" charset="0"/>
                <a:ea typeface="Arial Unicode MS"/>
                <a:cs typeface="Arial Unicode MS"/>
              </a:defRPr>
            </a:lvl9pPr>
          </a:lstStyle>
          <a:p>
            <a:pPr marL="0" marR="0" lvl="0" indent="0" algn="ctr" defTabSz="920318" rtl="0" eaLnBrk="0" fontAlgn="auto" latinLnBrk="0" hangingPunct="0">
              <a:lnSpc>
                <a:spcPct val="100000"/>
              </a:lnSpc>
              <a:spcBef>
                <a:spcPts val="0"/>
              </a:spcBef>
              <a:spcAft>
                <a:spcPts val="0"/>
              </a:spcAft>
              <a:buClrTx/>
              <a:buSzTx/>
              <a:buFontTx/>
              <a:buNone/>
              <a:tabLst/>
              <a:defRPr/>
            </a:pPr>
            <a:r>
              <a:rPr kumimoji="0" lang="en-US" altLang="en-US" sz="1200"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rPr>
              <a:t>Grade 3-4 AEs</a:t>
            </a:r>
          </a:p>
        </p:txBody>
      </p:sp>
      <p:sp>
        <p:nvSpPr>
          <p:cNvPr id="52" name="TextBox 31">
            <a:extLst>
              <a:ext uri="{FF2B5EF4-FFF2-40B4-BE49-F238E27FC236}">
                <a16:creationId xmlns:a16="http://schemas.microsoft.com/office/drawing/2014/main" id="{BA6C629C-70AE-414B-B82E-26F44E11CCD9}"/>
              </a:ext>
            </a:extLst>
          </p:cNvPr>
          <p:cNvSpPr txBox="1">
            <a:spLocks noChangeArrowheads="1"/>
          </p:cNvSpPr>
          <p:nvPr/>
        </p:nvSpPr>
        <p:spPr bwMode="auto">
          <a:xfrm>
            <a:off x="7348619" y="1194811"/>
            <a:ext cx="2476579" cy="276871"/>
          </a:xfrm>
          <a:prstGeom prst="rect">
            <a:avLst/>
          </a:prstGeom>
          <a:noFill/>
          <a:ln>
            <a:noFill/>
          </a:ln>
        </p:spPr>
        <p:txBody>
          <a:bodyPr wrap="square" lIns="0" tIns="0" rIns="0" bIns="0">
            <a:spAutoFit/>
          </a:bodyPr>
          <a:lstStyle>
            <a:defPPr>
              <a:defRPr lang="en-GB"/>
            </a:defPPr>
            <a:lvl1pPr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1pPr>
            <a:lvl2pPr marL="742950" indent="-285750"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2pPr>
            <a:lvl3pPr marL="1143000" indent="-228600"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3pPr>
            <a:lvl4pPr marL="1600200" indent="-228600"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4pPr>
            <a:lvl5pPr marL="2057400" indent="-228600"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5pPr>
            <a:lvl6pPr marL="2286000" algn="l" defTabSz="914400" rtl="0" eaLnBrk="1" latinLnBrk="0" hangingPunct="1">
              <a:defRPr kern="1200">
                <a:solidFill>
                  <a:schemeClr val="bg1"/>
                </a:solidFill>
                <a:latin typeface="Arial" panose="020B0604020202020204" pitchFamily="34" charset="0"/>
                <a:ea typeface="Arial Unicode MS"/>
                <a:cs typeface="Arial Unicode MS"/>
              </a:defRPr>
            </a:lvl6pPr>
            <a:lvl7pPr marL="2743200" algn="l" defTabSz="914400" rtl="0" eaLnBrk="1" latinLnBrk="0" hangingPunct="1">
              <a:defRPr kern="1200">
                <a:solidFill>
                  <a:schemeClr val="bg1"/>
                </a:solidFill>
                <a:latin typeface="Arial" panose="020B0604020202020204" pitchFamily="34" charset="0"/>
                <a:ea typeface="Arial Unicode MS"/>
                <a:cs typeface="Arial Unicode MS"/>
              </a:defRPr>
            </a:lvl7pPr>
            <a:lvl8pPr marL="3200400" algn="l" defTabSz="914400" rtl="0" eaLnBrk="1" latinLnBrk="0" hangingPunct="1">
              <a:defRPr kern="1200">
                <a:solidFill>
                  <a:schemeClr val="bg1"/>
                </a:solidFill>
                <a:latin typeface="Arial" panose="020B0604020202020204" pitchFamily="34" charset="0"/>
                <a:ea typeface="Arial Unicode MS"/>
                <a:cs typeface="Arial Unicode MS"/>
              </a:defRPr>
            </a:lvl8pPr>
            <a:lvl9pPr marL="3657600" algn="l" defTabSz="914400" rtl="0" eaLnBrk="1" latinLnBrk="0" hangingPunct="1">
              <a:defRPr kern="1200">
                <a:solidFill>
                  <a:schemeClr val="bg1"/>
                </a:solidFill>
                <a:latin typeface="Arial" panose="020B0604020202020204" pitchFamily="34" charset="0"/>
                <a:ea typeface="Arial Unicode MS"/>
                <a:cs typeface="Arial Unicode MS"/>
              </a:defRPr>
            </a:lvl9pPr>
          </a:lstStyle>
          <a:p>
            <a:pPr marL="0" marR="0" lvl="0" indent="0" algn="ctr" defTabSz="690256" rtl="0" eaLnBrk="0" fontAlgn="auto" latinLnBrk="0" hangingPunct="0">
              <a:lnSpc>
                <a:spcPct val="100000"/>
              </a:lnSpc>
              <a:spcBef>
                <a:spcPct val="0"/>
              </a:spcBef>
              <a:spcAft>
                <a:spcPts val="0"/>
              </a:spcAft>
              <a:buClrTx/>
              <a:buSzTx/>
              <a:buFontTx/>
              <a:buNone/>
              <a:tabLst/>
              <a:defRPr/>
            </a:pPr>
            <a:r>
              <a:rPr kumimoji="0" lang="en-US" altLang="en-US" sz="1799" b="1" i="0" u="none" strike="noStrike" kern="1200" cap="none" spc="0" normalizeH="0" baseline="0" noProof="0" dirty="0">
                <a:ln>
                  <a:noFill/>
                </a:ln>
                <a:solidFill>
                  <a:srgbClr val="EC541E"/>
                </a:solidFill>
                <a:effectLst/>
                <a:uLnTx/>
                <a:uFillTx/>
                <a:latin typeface="Arial" panose="020B0604020202020204" pitchFamily="34" charset="0"/>
                <a:ea typeface="Arial Unicode MS"/>
                <a:cs typeface="Arial" panose="020B0604020202020204" pitchFamily="34" charset="0"/>
              </a:rPr>
              <a:t>Sorafenib (n = 156)</a:t>
            </a:r>
          </a:p>
        </p:txBody>
      </p:sp>
      <p:sp>
        <p:nvSpPr>
          <p:cNvPr id="53" name="Rectangle 52">
            <a:extLst>
              <a:ext uri="{FF2B5EF4-FFF2-40B4-BE49-F238E27FC236}">
                <a16:creationId xmlns:a16="http://schemas.microsoft.com/office/drawing/2014/main" id="{E1990356-0225-4591-A93E-378C44987AF2}"/>
              </a:ext>
            </a:extLst>
          </p:cNvPr>
          <p:cNvSpPr>
            <a:spLocks noChangeAspect="1"/>
          </p:cNvSpPr>
          <p:nvPr/>
        </p:nvSpPr>
        <p:spPr>
          <a:xfrm>
            <a:off x="3634191" y="4797456"/>
            <a:ext cx="255595" cy="186884"/>
          </a:xfrm>
          <a:prstGeom prst="rect">
            <a:avLst/>
          </a:prstGeom>
          <a:solidFill>
            <a:srgbClr val="8BCDE3"/>
          </a:solidFill>
          <a:ln>
            <a:noFill/>
          </a:ln>
          <a:effectLst/>
        </p:spPr>
        <p:style>
          <a:lnRef idx="1">
            <a:schemeClr val="accent1"/>
          </a:lnRef>
          <a:fillRef idx="3">
            <a:schemeClr val="accent1"/>
          </a:fillRef>
          <a:effectRef idx="2">
            <a:schemeClr val="accent1"/>
          </a:effectRef>
          <a:fontRef idx="minor">
            <a:schemeClr val="lt1"/>
          </a:fontRef>
        </p:style>
        <p:txBody>
          <a:bodyPr anchor="ctr"/>
          <a:lstStyle>
            <a:defPPr>
              <a:defRPr lang="en-GB"/>
            </a:defPPr>
            <a:lvl1pPr algn="l" defTabSz="457200" rtl="0" eaLnBrk="0" fontAlgn="base" hangingPunct="0">
              <a:spcBef>
                <a:spcPct val="0"/>
              </a:spcBef>
              <a:spcAft>
                <a:spcPct val="0"/>
              </a:spcAft>
              <a:defRPr kern="1200">
                <a:solidFill>
                  <a:schemeClr val="lt1"/>
                </a:solidFill>
                <a:latin typeface="+mn-lt"/>
                <a:ea typeface="+mn-ea"/>
                <a:cs typeface="+mn-cs"/>
              </a:defRPr>
            </a:lvl1pPr>
            <a:lvl2pPr marL="742950" indent="-285750" algn="l" defTabSz="457200" rtl="0" eaLnBrk="0" fontAlgn="base" hangingPunct="0">
              <a:spcBef>
                <a:spcPct val="0"/>
              </a:spcBef>
              <a:spcAft>
                <a:spcPct val="0"/>
              </a:spcAft>
              <a:defRPr kern="1200">
                <a:solidFill>
                  <a:schemeClr val="lt1"/>
                </a:solidFill>
                <a:latin typeface="+mn-lt"/>
                <a:ea typeface="+mn-ea"/>
                <a:cs typeface="+mn-cs"/>
              </a:defRPr>
            </a:lvl2pPr>
            <a:lvl3pPr marL="1143000" indent="-228600" algn="l" defTabSz="457200" rtl="0" eaLnBrk="0" fontAlgn="base" hangingPunct="0">
              <a:spcBef>
                <a:spcPct val="0"/>
              </a:spcBef>
              <a:spcAft>
                <a:spcPct val="0"/>
              </a:spcAft>
              <a:defRPr kern="1200">
                <a:solidFill>
                  <a:schemeClr val="lt1"/>
                </a:solidFill>
                <a:latin typeface="+mn-lt"/>
                <a:ea typeface="+mn-ea"/>
                <a:cs typeface="+mn-cs"/>
              </a:defRPr>
            </a:lvl3pPr>
            <a:lvl4pPr marL="1600200" indent="-228600" algn="l" defTabSz="457200" rtl="0" eaLnBrk="0" fontAlgn="base" hangingPunct="0">
              <a:spcBef>
                <a:spcPct val="0"/>
              </a:spcBef>
              <a:spcAft>
                <a:spcPct val="0"/>
              </a:spcAft>
              <a:defRPr kern="1200">
                <a:solidFill>
                  <a:schemeClr val="lt1"/>
                </a:solidFill>
                <a:latin typeface="+mn-lt"/>
                <a:ea typeface="+mn-ea"/>
                <a:cs typeface="+mn-cs"/>
              </a:defRPr>
            </a:lvl4pPr>
            <a:lvl5pPr marL="2057400" indent="-228600" algn="l" defTabSz="457200"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marL="0" marR="0" lvl="0" indent="0" algn="ctr" defTabSz="921470" rtl="0" eaLnBrk="0" fontAlgn="auto" latinLnBrk="0" hangingPunct="0">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54" name="Rectangle 53">
            <a:extLst>
              <a:ext uri="{FF2B5EF4-FFF2-40B4-BE49-F238E27FC236}">
                <a16:creationId xmlns:a16="http://schemas.microsoft.com/office/drawing/2014/main" id="{995860DA-3226-4FF8-B84C-FA82059AA071}"/>
              </a:ext>
            </a:extLst>
          </p:cNvPr>
          <p:cNvSpPr>
            <a:spLocks noChangeAspect="1"/>
          </p:cNvSpPr>
          <p:nvPr/>
        </p:nvSpPr>
        <p:spPr>
          <a:xfrm>
            <a:off x="3634191" y="5104475"/>
            <a:ext cx="255595" cy="186884"/>
          </a:xfrm>
          <a:prstGeom prst="rect">
            <a:avLst/>
          </a:prstGeom>
          <a:solidFill>
            <a:srgbClr val="005383"/>
          </a:solidFill>
          <a:ln>
            <a:noFill/>
          </a:ln>
          <a:effectLst/>
        </p:spPr>
        <p:style>
          <a:lnRef idx="1">
            <a:schemeClr val="accent1"/>
          </a:lnRef>
          <a:fillRef idx="3">
            <a:schemeClr val="accent1"/>
          </a:fillRef>
          <a:effectRef idx="2">
            <a:schemeClr val="accent1"/>
          </a:effectRef>
          <a:fontRef idx="minor">
            <a:schemeClr val="lt1"/>
          </a:fontRef>
        </p:style>
        <p:txBody>
          <a:bodyPr anchor="ctr"/>
          <a:lstStyle>
            <a:defPPr>
              <a:defRPr lang="en-GB"/>
            </a:defPPr>
            <a:lvl1pPr algn="l" defTabSz="457200" rtl="0" eaLnBrk="0" fontAlgn="base" hangingPunct="0">
              <a:spcBef>
                <a:spcPct val="0"/>
              </a:spcBef>
              <a:spcAft>
                <a:spcPct val="0"/>
              </a:spcAft>
              <a:defRPr kern="1200">
                <a:solidFill>
                  <a:schemeClr val="lt1"/>
                </a:solidFill>
                <a:latin typeface="+mn-lt"/>
                <a:ea typeface="+mn-ea"/>
                <a:cs typeface="+mn-cs"/>
              </a:defRPr>
            </a:lvl1pPr>
            <a:lvl2pPr marL="742950" indent="-285750" algn="l" defTabSz="457200" rtl="0" eaLnBrk="0" fontAlgn="base" hangingPunct="0">
              <a:spcBef>
                <a:spcPct val="0"/>
              </a:spcBef>
              <a:spcAft>
                <a:spcPct val="0"/>
              </a:spcAft>
              <a:defRPr kern="1200">
                <a:solidFill>
                  <a:schemeClr val="lt1"/>
                </a:solidFill>
                <a:latin typeface="+mn-lt"/>
                <a:ea typeface="+mn-ea"/>
                <a:cs typeface="+mn-cs"/>
              </a:defRPr>
            </a:lvl2pPr>
            <a:lvl3pPr marL="1143000" indent="-228600" algn="l" defTabSz="457200" rtl="0" eaLnBrk="0" fontAlgn="base" hangingPunct="0">
              <a:spcBef>
                <a:spcPct val="0"/>
              </a:spcBef>
              <a:spcAft>
                <a:spcPct val="0"/>
              </a:spcAft>
              <a:defRPr kern="1200">
                <a:solidFill>
                  <a:schemeClr val="lt1"/>
                </a:solidFill>
                <a:latin typeface="+mn-lt"/>
                <a:ea typeface="+mn-ea"/>
                <a:cs typeface="+mn-cs"/>
              </a:defRPr>
            </a:lvl3pPr>
            <a:lvl4pPr marL="1600200" indent="-228600" algn="l" defTabSz="457200" rtl="0" eaLnBrk="0" fontAlgn="base" hangingPunct="0">
              <a:spcBef>
                <a:spcPct val="0"/>
              </a:spcBef>
              <a:spcAft>
                <a:spcPct val="0"/>
              </a:spcAft>
              <a:defRPr kern="1200">
                <a:solidFill>
                  <a:schemeClr val="lt1"/>
                </a:solidFill>
                <a:latin typeface="+mn-lt"/>
                <a:ea typeface="+mn-ea"/>
                <a:cs typeface="+mn-cs"/>
              </a:defRPr>
            </a:lvl4pPr>
            <a:lvl5pPr marL="2057400" indent="-228600" algn="l" defTabSz="457200"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marL="0" marR="0" lvl="0" indent="0" algn="ctr" defTabSz="921470" rtl="0" eaLnBrk="0" fontAlgn="auto" latinLnBrk="0" hangingPunct="0">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55" name="Rectangle 54">
            <a:extLst>
              <a:ext uri="{FF2B5EF4-FFF2-40B4-BE49-F238E27FC236}">
                <a16:creationId xmlns:a16="http://schemas.microsoft.com/office/drawing/2014/main" id="{84AE46AF-4A2D-4C5D-9ED7-0422A5F2239F}"/>
              </a:ext>
            </a:extLst>
          </p:cNvPr>
          <p:cNvSpPr>
            <a:spLocks noChangeAspect="1"/>
          </p:cNvSpPr>
          <p:nvPr/>
        </p:nvSpPr>
        <p:spPr>
          <a:xfrm>
            <a:off x="8854986" y="4797456"/>
            <a:ext cx="293560" cy="214898"/>
          </a:xfrm>
          <a:prstGeom prst="rect">
            <a:avLst/>
          </a:prstGeom>
          <a:solidFill>
            <a:srgbClr val="F7BA83"/>
          </a:solidFill>
          <a:ln>
            <a:noFill/>
          </a:ln>
          <a:effectLst/>
        </p:spPr>
        <p:style>
          <a:lnRef idx="1">
            <a:schemeClr val="accent1"/>
          </a:lnRef>
          <a:fillRef idx="3">
            <a:schemeClr val="accent1"/>
          </a:fillRef>
          <a:effectRef idx="2">
            <a:schemeClr val="accent1"/>
          </a:effectRef>
          <a:fontRef idx="minor">
            <a:schemeClr val="lt1"/>
          </a:fontRef>
        </p:style>
        <p:txBody>
          <a:bodyPr anchor="ctr"/>
          <a:lstStyle>
            <a:defPPr>
              <a:defRPr lang="en-GB"/>
            </a:defPPr>
            <a:lvl1pPr algn="l" defTabSz="457200" rtl="0" eaLnBrk="0" fontAlgn="base" hangingPunct="0">
              <a:spcBef>
                <a:spcPct val="0"/>
              </a:spcBef>
              <a:spcAft>
                <a:spcPct val="0"/>
              </a:spcAft>
              <a:defRPr kern="1200">
                <a:solidFill>
                  <a:schemeClr val="lt1"/>
                </a:solidFill>
                <a:latin typeface="+mn-lt"/>
                <a:ea typeface="+mn-ea"/>
                <a:cs typeface="+mn-cs"/>
              </a:defRPr>
            </a:lvl1pPr>
            <a:lvl2pPr marL="742950" indent="-285750" algn="l" defTabSz="457200" rtl="0" eaLnBrk="0" fontAlgn="base" hangingPunct="0">
              <a:spcBef>
                <a:spcPct val="0"/>
              </a:spcBef>
              <a:spcAft>
                <a:spcPct val="0"/>
              </a:spcAft>
              <a:defRPr kern="1200">
                <a:solidFill>
                  <a:schemeClr val="lt1"/>
                </a:solidFill>
                <a:latin typeface="+mn-lt"/>
                <a:ea typeface="+mn-ea"/>
                <a:cs typeface="+mn-cs"/>
              </a:defRPr>
            </a:lvl2pPr>
            <a:lvl3pPr marL="1143000" indent="-228600" algn="l" defTabSz="457200" rtl="0" eaLnBrk="0" fontAlgn="base" hangingPunct="0">
              <a:spcBef>
                <a:spcPct val="0"/>
              </a:spcBef>
              <a:spcAft>
                <a:spcPct val="0"/>
              </a:spcAft>
              <a:defRPr kern="1200">
                <a:solidFill>
                  <a:schemeClr val="lt1"/>
                </a:solidFill>
                <a:latin typeface="+mn-lt"/>
                <a:ea typeface="+mn-ea"/>
                <a:cs typeface="+mn-cs"/>
              </a:defRPr>
            </a:lvl3pPr>
            <a:lvl4pPr marL="1600200" indent="-228600" algn="l" defTabSz="457200" rtl="0" eaLnBrk="0" fontAlgn="base" hangingPunct="0">
              <a:spcBef>
                <a:spcPct val="0"/>
              </a:spcBef>
              <a:spcAft>
                <a:spcPct val="0"/>
              </a:spcAft>
              <a:defRPr kern="1200">
                <a:solidFill>
                  <a:schemeClr val="lt1"/>
                </a:solidFill>
                <a:latin typeface="+mn-lt"/>
                <a:ea typeface="+mn-ea"/>
                <a:cs typeface="+mn-cs"/>
              </a:defRPr>
            </a:lvl4pPr>
            <a:lvl5pPr marL="2057400" indent="-228600" algn="l" defTabSz="457200"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marL="0" marR="0" lvl="0" indent="0" algn="ctr" defTabSz="921470" rtl="0" eaLnBrk="0" fontAlgn="auto" latinLnBrk="0" hangingPunct="0">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4C8A"/>
              </a:solidFill>
              <a:effectLst/>
              <a:uLnTx/>
              <a:uFillTx/>
              <a:latin typeface="Calibri" panose="020F0502020204030204" pitchFamily="34" charset="0"/>
              <a:ea typeface="+mn-ea"/>
              <a:cs typeface="Calibri" panose="020F0502020204030204" pitchFamily="34" charset="0"/>
            </a:endParaRPr>
          </a:p>
        </p:txBody>
      </p:sp>
      <p:sp>
        <p:nvSpPr>
          <p:cNvPr id="56" name="Rectangle 55">
            <a:extLst>
              <a:ext uri="{FF2B5EF4-FFF2-40B4-BE49-F238E27FC236}">
                <a16:creationId xmlns:a16="http://schemas.microsoft.com/office/drawing/2014/main" id="{069A07A1-A492-4FE9-B5C7-759C0809640A}"/>
              </a:ext>
            </a:extLst>
          </p:cNvPr>
          <p:cNvSpPr>
            <a:spLocks noChangeAspect="1"/>
          </p:cNvSpPr>
          <p:nvPr/>
        </p:nvSpPr>
        <p:spPr>
          <a:xfrm>
            <a:off x="8854986" y="5123027"/>
            <a:ext cx="293560" cy="214898"/>
          </a:xfrm>
          <a:prstGeom prst="rect">
            <a:avLst/>
          </a:prstGeom>
          <a:solidFill>
            <a:srgbClr val="EC541E"/>
          </a:solidFill>
          <a:ln>
            <a:noFill/>
          </a:ln>
          <a:effectLst/>
        </p:spPr>
        <p:style>
          <a:lnRef idx="1">
            <a:schemeClr val="accent1"/>
          </a:lnRef>
          <a:fillRef idx="3">
            <a:schemeClr val="accent1"/>
          </a:fillRef>
          <a:effectRef idx="2">
            <a:schemeClr val="accent1"/>
          </a:effectRef>
          <a:fontRef idx="minor">
            <a:schemeClr val="lt1"/>
          </a:fontRef>
        </p:style>
        <p:txBody>
          <a:bodyPr anchor="ctr"/>
          <a:lstStyle>
            <a:defPPr>
              <a:defRPr lang="en-GB"/>
            </a:defPPr>
            <a:lvl1pPr algn="l" defTabSz="457200" rtl="0" eaLnBrk="0" fontAlgn="base" hangingPunct="0">
              <a:spcBef>
                <a:spcPct val="0"/>
              </a:spcBef>
              <a:spcAft>
                <a:spcPct val="0"/>
              </a:spcAft>
              <a:defRPr kern="1200">
                <a:solidFill>
                  <a:schemeClr val="lt1"/>
                </a:solidFill>
                <a:latin typeface="+mn-lt"/>
                <a:ea typeface="+mn-ea"/>
                <a:cs typeface="+mn-cs"/>
              </a:defRPr>
            </a:lvl1pPr>
            <a:lvl2pPr marL="742950" indent="-285750" algn="l" defTabSz="457200" rtl="0" eaLnBrk="0" fontAlgn="base" hangingPunct="0">
              <a:spcBef>
                <a:spcPct val="0"/>
              </a:spcBef>
              <a:spcAft>
                <a:spcPct val="0"/>
              </a:spcAft>
              <a:defRPr kern="1200">
                <a:solidFill>
                  <a:schemeClr val="lt1"/>
                </a:solidFill>
                <a:latin typeface="+mn-lt"/>
                <a:ea typeface="+mn-ea"/>
                <a:cs typeface="+mn-cs"/>
              </a:defRPr>
            </a:lvl2pPr>
            <a:lvl3pPr marL="1143000" indent="-228600" algn="l" defTabSz="457200" rtl="0" eaLnBrk="0" fontAlgn="base" hangingPunct="0">
              <a:spcBef>
                <a:spcPct val="0"/>
              </a:spcBef>
              <a:spcAft>
                <a:spcPct val="0"/>
              </a:spcAft>
              <a:defRPr kern="1200">
                <a:solidFill>
                  <a:schemeClr val="lt1"/>
                </a:solidFill>
                <a:latin typeface="+mn-lt"/>
                <a:ea typeface="+mn-ea"/>
                <a:cs typeface="+mn-cs"/>
              </a:defRPr>
            </a:lvl3pPr>
            <a:lvl4pPr marL="1600200" indent="-228600" algn="l" defTabSz="457200" rtl="0" eaLnBrk="0" fontAlgn="base" hangingPunct="0">
              <a:spcBef>
                <a:spcPct val="0"/>
              </a:spcBef>
              <a:spcAft>
                <a:spcPct val="0"/>
              </a:spcAft>
              <a:defRPr kern="1200">
                <a:solidFill>
                  <a:schemeClr val="lt1"/>
                </a:solidFill>
                <a:latin typeface="+mn-lt"/>
                <a:ea typeface="+mn-ea"/>
                <a:cs typeface="+mn-cs"/>
              </a:defRPr>
            </a:lvl4pPr>
            <a:lvl5pPr marL="2057400" indent="-228600" algn="l" defTabSz="457200"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marL="0" marR="0" lvl="0" indent="0" algn="ctr" defTabSz="921470" rtl="0" eaLnBrk="0" fontAlgn="auto" latinLnBrk="0" hangingPunct="0">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4C8A"/>
              </a:solidFill>
              <a:effectLst/>
              <a:uLnTx/>
              <a:uFillTx/>
              <a:latin typeface="Calibri" panose="020F0502020204030204" pitchFamily="34" charset="0"/>
              <a:ea typeface="+mn-ea"/>
              <a:cs typeface="Calibri" panose="020F0502020204030204" pitchFamily="34" charset="0"/>
            </a:endParaRPr>
          </a:p>
        </p:txBody>
      </p:sp>
      <p:sp>
        <p:nvSpPr>
          <p:cNvPr id="83" name="TextBox 16">
            <a:extLst>
              <a:ext uri="{FF2B5EF4-FFF2-40B4-BE49-F238E27FC236}">
                <a16:creationId xmlns:a16="http://schemas.microsoft.com/office/drawing/2014/main" id="{66A2B16B-A4BC-454E-A423-CC83468A9318}"/>
              </a:ext>
            </a:extLst>
          </p:cNvPr>
          <p:cNvSpPr txBox="1">
            <a:spLocks noChangeArrowheads="1"/>
          </p:cNvSpPr>
          <p:nvPr/>
        </p:nvSpPr>
        <p:spPr bwMode="auto">
          <a:xfrm>
            <a:off x="2613487" y="2365736"/>
            <a:ext cx="596317" cy="215444"/>
          </a:xfrm>
          <a:prstGeom prst="rect">
            <a:avLst/>
          </a:prstGeom>
          <a:noFill/>
          <a:ln>
            <a:noFill/>
          </a:ln>
        </p:spPr>
        <p:txBody>
          <a:bodyPr wrap="none" lIns="0" tIns="0" rIns="0" bIns="0" anchor="ctr">
            <a:spAutoFit/>
          </a:bodyPr>
          <a:lstStyle>
            <a:defPPr>
              <a:defRPr lang="en-GB"/>
            </a:defPPr>
            <a:lvl1pPr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1pPr>
            <a:lvl2pPr marL="742950" indent="-285750"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2pPr>
            <a:lvl3pPr marL="1143000" indent="-228600"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3pPr>
            <a:lvl4pPr marL="1600200" indent="-228600"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4pPr>
            <a:lvl5pPr marL="2057400" indent="-228600"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5pPr>
            <a:lvl6pPr marL="2286000" algn="l" defTabSz="914400" rtl="0" eaLnBrk="1" latinLnBrk="0" hangingPunct="1">
              <a:defRPr kern="1200">
                <a:solidFill>
                  <a:schemeClr val="bg1"/>
                </a:solidFill>
                <a:latin typeface="Arial" panose="020B0604020202020204" pitchFamily="34" charset="0"/>
                <a:ea typeface="Arial Unicode MS"/>
                <a:cs typeface="Arial Unicode MS"/>
              </a:defRPr>
            </a:lvl6pPr>
            <a:lvl7pPr marL="2743200" algn="l" defTabSz="914400" rtl="0" eaLnBrk="1" latinLnBrk="0" hangingPunct="1">
              <a:defRPr kern="1200">
                <a:solidFill>
                  <a:schemeClr val="bg1"/>
                </a:solidFill>
                <a:latin typeface="Arial" panose="020B0604020202020204" pitchFamily="34" charset="0"/>
                <a:ea typeface="Arial Unicode MS"/>
                <a:cs typeface="Arial Unicode MS"/>
              </a:defRPr>
            </a:lvl7pPr>
            <a:lvl8pPr marL="3200400" algn="l" defTabSz="914400" rtl="0" eaLnBrk="1" latinLnBrk="0" hangingPunct="1">
              <a:defRPr kern="1200">
                <a:solidFill>
                  <a:schemeClr val="bg1"/>
                </a:solidFill>
                <a:latin typeface="Arial" panose="020B0604020202020204" pitchFamily="34" charset="0"/>
                <a:ea typeface="Arial Unicode MS"/>
                <a:cs typeface="Arial Unicode MS"/>
              </a:defRPr>
            </a:lvl8pPr>
            <a:lvl9pPr marL="3657600" algn="l" defTabSz="914400" rtl="0" eaLnBrk="1" latinLnBrk="0" hangingPunct="1">
              <a:defRPr kern="1200">
                <a:solidFill>
                  <a:schemeClr val="bg1"/>
                </a:solidFill>
                <a:latin typeface="Arial" panose="020B0604020202020204" pitchFamily="34" charset="0"/>
                <a:ea typeface="Arial Unicode MS"/>
                <a:cs typeface="Arial Unicode MS"/>
              </a:defRPr>
            </a:lvl9pPr>
          </a:lstStyle>
          <a:p>
            <a:pPr marL="0" marR="0" lvl="0" indent="0" algn="r" defTabSz="690256" rtl="0" eaLnBrk="0" fontAlgn="auto" latinLnBrk="0" hangingPunct="0">
              <a:lnSpc>
                <a:spcPct val="100000"/>
              </a:lnSpc>
              <a:spcBef>
                <a:spcPct val="0"/>
              </a:spcBef>
              <a:spcAft>
                <a:spcPts val="0"/>
              </a:spcAft>
              <a:buClrTx/>
              <a:buSzTx/>
              <a:buFontTx/>
              <a:buNone/>
              <a:tabLst/>
              <a:defRPr/>
            </a:pPr>
            <a:r>
              <a:rPr kumimoji="0" lang="en-US" altLang="en-US" sz="1400"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rPr>
              <a:t>Fatigue</a:t>
            </a:r>
          </a:p>
        </p:txBody>
      </p:sp>
      <p:sp>
        <p:nvSpPr>
          <p:cNvPr id="84" name="TextBox 18">
            <a:extLst>
              <a:ext uri="{FF2B5EF4-FFF2-40B4-BE49-F238E27FC236}">
                <a16:creationId xmlns:a16="http://schemas.microsoft.com/office/drawing/2014/main" id="{A2039A3D-1BCB-4589-A300-C5F70817F83C}"/>
              </a:ext>
            </a:extLst>
          </p:cNvPr>
          <p:cNvSpPr txBox="1">
            <a:spLocks noChangeArrowheads="1"/>
          </p:cNvSpPr>
          <p:nvPr/>
        </p:nvSpPr>
        <p:spPr bwMode="auto">
          <a:xfrm>
            <a:off x="2151697" y="3951407"/>
            <a:ext cx="1038168" cy="215444"/>
          </a:xfrm>
          <a:prstGeom prst="rect">
            <a:avLst/>
          </a:prstGeom>
          <a:noFill/>
          <a:ln>
            <a:noFill/>
          </a:ln>
        </p:spPr>
        <p:txBody>
          <a:bodyPr wrap="none" lIns="0" tIns="0" rIns="0" bIns="0" anchor="ctr">
            <a:spAutoFit/>
          </a:bodyPr>
          <a:lstStyle>
            <a:defPPr>
              <a:defRPr lang="en-GB"/>
            </a:defPPr>
            <a:lvl1pPr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1pPr>
            <a:lvl2pPr marL="742950" indent="-285750"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2pPr>
            <a:lvl3pPr marL="1143000" indent="-228600"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3pPr>
            <a:lvl4pPr marL="1600200" indent="-228600"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4pPr>
            <a:lvl5pPr marL="2057400" indent="-228600"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5pPr>
            <a:lvl6pPr marL="2286000" algn="l" defTabSz="914400" rtl="0" eaLnBrk="1" latinLnBrk="0" hangingPunct="1">
              <a:defRPr kern="1200">
                <a:solidFill>
                  <a:schemeClr val="bg1"/>
                </a:solidFill>
                <a:latin typeface="Arial" panose="020B0604020202020204" pitchFamily="34" charset="0"/>
                <a:ea typeface="Arial Unicode MS"/>
                <a:cs typeface="Arial Unicode MS"/>
              </a:defRPr>
            </a:lvl6pPr>
            <a:lvl7pPr marL="2743200" algn="l" defTabSz="914400" rtl="0" eaLnBrk="1" latinLnBrk="0" hangingPunct="1">
              <a:defRPr kern="1200">
                <a:solidFill>
                  <a:schemeClr val="bg1"/>
                </a:solidFill>
                <a:latin typeface="Arial" panose="020B0604020202020204" pitchFamily="34" charset="0"/>
                <a:ea typeface="Arial Unicode MS"/>
                <a:cs typeface="Arial Unicode MS"/>
              </a:defRPr>
            </a:lvl7pPr>
            <a:lvl8pPr marL="3200400" algn="l" defTabSz="914400" rtl="0" eaLnBrk="1" latinLnBrk="0" hangingPunct="1">
              <a:defRPr kern="1200">
                <a:solidFill>
                  <a:schemeClr val="bg1"/>
                </a:solidFill>
                <a:latin typeface="Arial" panose="020B0604020202020204" pitchFamily="34" charset="0"/>
                <a:ea typeface="Arial Unicode MS"/>
                <a:cs typeface="Arial Unicode MS"/>
              </a:defRPr>
            </a:lvl8pPr>
            <a:lvl9pPr marL="3657600" algn="l" defTabSz="914400" rtl="0" eaLnBrk="1" latinLnBrk="0" hangingPunct="1">
              <a:defRPr kern="1200">
                <a:solidFill>
                  <a:schemeClr val="bg1"/>
                </a:solidFill>
                <a:latin typeface="Arial" panose="020B0604020202020204" pitchFamily="34" charset="0"/>
                <a:ea typeface="Arial Unicode MS"/>
                <a:cs typeface="Arial Unicode MS"/>
              </a:defRPr>
            </a:lvl9pPr>
          </a:lstStyle>
          <a:p>
            <a:pPr marL="0" marR="0" lvl="0" indent="0" algn="r" defTabSz="690256" rtl="0" eaLnBrk="0" fontAlgn="auto" latinLnBrk="0" hangingPunct="0">
              <a:lnSpc>
                <a:spcPct val="100000"/>
              </a:lnSpc>
              <a:spcBef>
                <a:spcPct val="0"/>
              </a:spcBef>
              <a:spcAft>
                <a:spcPts val="0"/>
              </a:spcAft>
              <a:buClrTx/>
              <a:buSzTx/>
              <a:buFontTx/>
              <a:buNone/>
              <a:tabLst/>
              <a:defRPr/>
            </a:pPr>
            <a:r>
              <a:rPr kumimoji="0" lang="en-US" altLang="en-US" sz="1400"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rPr>
              <a:t>ALT increase</a:t>
            </a:r>
          </a:p>
        </p:txBody>
      </p:sp>
      <p:sp>
        <p:nvSpPr>
          <p:cNvPr id="85" name="TextBox 11">
            <a:extLst>
              <a:ext uri="{FF2B5EF4-FFF2-40B4-BE49-F238E27FC236}">
                <a16:creationId xmlns:a16="http://schemas.microsoft.com/office/drawing/2014/main" id="{02F6C342-3367-4C02-BC1B-491D0175DF6D}"/>
              </a:ext>
            </a:extLst>
          </p:cNvPr>
          <p:cNvSpPr txBox="1">
            <a:spLocks noChangeArrowheads="1"/>
          </p:cNvSpPr>
          <p:nvPr/>
        </p:nvSpPr>
        <p:spPr bwMode="auto">
          <a:xfrm>
            <a:off x="2756078" y="4577458"/>
            <a:ext cx="418383" cy="215444"/>
          </a:xfrm>
          <a:prstGeom prst="rect">
            <a:avLst/>
          </a:prstGeom>
          <a:noFill/>
          <a:ln>
            <a:noFill/>
          </a:ln>
        </p:spPr>
        <p:txBody>
          <a:bodyPr wrap="none" lIns="0" tIns="0" rIns="0" bIns="0" anchor="ctr">
            <a:spAutoFit/>
          </a:bodyPr>
          <a:lstStyle>
            <a:defPPr>
              <a:defRPr lang="en-GB"/>
            </a:defPPr>
            <a:lvl1pPr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1pPr>
            <a:lvl2pPr marL="742950" indent="-285750"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2pPr>
            <a:lvl3pPr marL="1143000" indent="-228600"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3pPr>
            <a:lvl4pPr marL="1600200" indent="-228600"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4pPr>
            <a:lvl5pPr marL="2057400" indent="-228600" algn="l" defTabSz="457200" rtl="0" eaLnBrk="0" fontAlgn="base" hangingPunct="0">
              <a:spcBef>
                <a:spcPct val="0"/>
              </a:spcBef>
              <a:spcAft>
                <a:spcPct val="0"/>
              </a:spcAft>
              <a:defRPr kern="1200">
                <a:solidFill>
                  <a:schemeClr val="bg1"/>
                </a:solidFill>
                <a:latin typeface="Arial" panose="020B0604020202020204" pitchFamily="34" charset="0"/>
                <a:ea typeface="Arial Unicode MS"/>
                <a:cs typeface="Arial Unicode MS"/>
              </a:defRPr>
            </a:lvl5pPr>
            <a:lvl6pPr marL="2286000" algn="l" defTabSz="914400" rtl="0" eaLnBrk="1" latinLnBrk="0" hangingPunct="1">
              <a:defRPr kern="1200">
                <a:solidFill>
                  <a:schemeClr val="bg1"/>
                </a:solidFill>
                <a:latin typeface="Arial" panose="020B0604020202020204" pitchFamily="34" charset="0"/>
                <a:ea typeface="Arial Unicode MS"/>
                <a:cs typeface="Arial Unicode MS"/>
              </a:defRPr>
            </a:lvl6pPr>
            <a:lvl7pPr marL="2743200" algn="l" defTabSz="914400" rtl="0" eaLnBrk="1" latinLnBrk="0" hangingPunct="1">
              <a:defRPr kern="1200">
                <a:solidFill>
                  <a:schemeClr val="bg1"/>
                </a:solidFill>
                <a:latin typeface="Arial" panose="020B0604020202020204" pitchFamily="34" charset="0"/>
                <a:ea typeface="Arial Unicode MS"/>
                <a:cs typeface="Arial Unicode MS"/>
              </a:defRPr>
            </a:lvl7pPr>
            <a:lvl8pPr marL="3200400" algn="l" defTabSz="914400" rtl="0" eaLnBrk="1" latinLnBrk="0" hangingPunct="1">
              <a:defRPr kern="1200">
                <a:solidFill>
                  <a:schemeClr val="bg1"/>
                </a:solidFill>
                <a:latin typeface="Arial" panose="020B0604020202020204" pitchFamily="34" charset="0"/>
                <a:ea typeface="Arial Unicode MS"/>
                <a:cs typeface="Arial Unicode MS"/>
              </a:defRPr>
            </a:lvl8pPr>
            <a:lvl9pPr marL="3657600" algn="l" defTabSz="914400" rtl="0" eaLnBrk="1" latinLnBrk="0" hangingPunct="1">
              <a:defRPr kern="1200">
                <a:solidFill>
                  <a:schemeClr val="bg1"/>
                </a:solidFill>
                <a:latin typeface="Arial" panose="020B0604020202020204" pitchFamily="34" charset="0"/>
                <a:ea typeface="Arial Unicode MS"/>
                <a:cs typeface="Arial Unicode MS"/>
              </a:defRPr>
            </a:lvl9pPr>
          </a:lstStyle>
          <a:p>
            <a:pPr marL="0" marR="0" lvl="0" indent="0" algn="r" defTabSz="690256" rtl="0" eaLnBrk="0" fontAlgn="auto" latinLnBrk="0" hangingPunct="0">
              <a:lnSpc>
                <a:spcPct val="100000"/>
              </a:lnSpc>
              <a:spcBef>
                <a:spcPct val="0"/>
              </a:spcBef>
              <a:spcAft>
                <a:spcPts val="0"/>
              </a:spcAft>
              <a:buClrTx/>
              <a:buSzTx/>
              <a:buFontTx/>
              <a:buNone/>
              <a:tabLst/>
              <a:defRPr/>
            </a:pPr>
            <a:r>
              <a:rPr kumimoji="0" lang="en-SG" altLang="en-US" sz="1400"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rPr>
              <a:t>R</a:t>
            </a:r>
            <a:r>
              <a:rPr kumimoji="0" lang="en-US" altLang="en-US" sz="1400"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rPr>
              <a:t>ash</a:t>
            </a:r>
          </a:p>
        </p:txBody>
      </p:sp>
    </p:spTree>
    <p:extLst>
      <p:ext uri="{BB962C8B-B14F-4D97-AF65-F5344CB8AC3E}">
        <p14:creationId xmlns:p14="http://schemas.microsoft.com/office/powerpoint/2010/main" val="91626233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2" name="Straight Connector 41">
            <a:extLst>
              <a:ext uri="{FF2B5EF4-FFF2-40B4-BE49-F238E27FC236}">
                <a16:creationId xmlns:a16="http://schemas.microsoft.com/office/drawing/2014/main" id="{00BC39CE-FE6C-4E6B-AF03-B6F2298A61D3}"/>
              </a:ext>
            </a:extLst>
          </p:cNvPr>
          <p:cNvCxnSpPr>
            <a:cxnSpLocks/>
          </p:cNvCxnSpPr>
          <p:nvPr/>
        </p:nvCxnSpPr>
        <p:spPr>
          <a:xfrm flipV="1">
            <a:off x="2831894" y="3424867"/>
            <a:ext cx="860618" cy="4722"/>
          </a:xfrm>
          <a:prstGeom prst="line">
            <a:avLst/>
          </a:prstGeom>
          <a:ln w="19050">
            <a:solidFill>
              <a:srgbClr val="002557"/>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5D42E892-367A-4AD8-AAB1-EC26DEA10224}"/>
              </a:ext>
            </a:extLst>
          </p:cNvPr>
          <p:cNvCxnSpPr>
            <a:cxnSpLocks/>
          </p:cNvCxnSpPr>
          <p:nvPr/>
        </p:nvCxnSpPr>
        <p:spPr>
          <a:xfrm>
            <a:off x="3680355" y="2283653"/>
            <a:ext cx="471474" cy="0"/>
          </a:xfrm>
          <a:prstGeom prst="line">
            <a:avLst/>
          </a:prstGeom>
          <a:ln w="19050">
            <a:solidFill>
              <a:srgbClr val="002557"/>
            </a:solidFill>
            <a:tailEnd type="triangl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ACF9514F-C3ED-4DE1-A809-4A4388B8F40C}"/>
              </a:ext>
            </a:extLst>
          </p:cNvPr>
          <p:cNvCxnSpPr>
            <a:cxnSpLocks/>
          </p:cNvCxnSpPr>
          <p:nvPr/>
        </p:nvCxnSpPr>
        <p:spPr>
          <a:xfrm>
            <a:off x="3692512" y="3064093"/>
            <a:ext cx="457200" cy="0"/>
          </a:xfrm>
          <a:prstGeom prst="line">
            <a:avLst/>
          </a:prstGeom>
          <a:ln w="19050">
            <a:solidFill>
              <a:srgbClr val="002557"/>
            </a:solidFill>
            <a:tailEnd type="triangl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177C2328-EAFB-431B-BB15-FD0F1D7BDC31}"/>
              </a:ext>
            </a:extLst>
          </p:cNvPr>
          <p:cNvCxnSpPr>
            <a:cxnSpLocks/>
          </p:cNvCxnSpPr>
          <p:nvPr/>
        </p:nvCxnSpPr>
        <p:spPr>
          <a:xfrm>
            <a:off x="3692512" y="3790936"/>
            <a:ext cx="457200" cy="0"/>
          </a:xfrm>
          <a:prstGeom prst="line">
            <a:avLst/>
          </a:prstGeom>
          <a:ln w="19050">
            <a:solidFill>
              <a:srgbClr val="002557"/>
            </a:solidFill>
            <a:tailEnd type="triangl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4A38DD2A-9EBE-45E7-BCC2-FCB963CDAD94}"/>
              </a:ext>
            </a:extLst>
          </p:cNvPr>
          <p:cNvCxnSpPr>
            <a:cxnSpLocks/>
          </p:cNvCxnSpPr>
          <p:nvPr/>
        </p:nvCxnSpPr>
        <p:spPr>
          <a:xfrm>
            <a:off x="3679826" y="4557912"/>
            <a:ext cx="471474" cy="0"/>
          </a:xfrm>
          <a:prstGeom prst="line">
            <a:avLst/>
          </a:prstGeom>
          <a:ln w="19050">
            <a:solidFill>
              <a:srgbClr val="002557"/>
            </a:solidFill>
            <a:tailEnd type="triangl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C28963DF-3DCE-4B95-BE68-F0827529A342}"/>
              </a:ext>
            </a:extLst>
          </p:cNvPr>
          <p:cNvCxnSpPr>
            <a:cxnSpLocks/>
          </p:cNvCxnSpPr>
          <p:nvPr/>
        </p:nvCxnSpPr>
        <p:spPr>
          <a:xfrm>
            <a:off x="3687748" y="2275864"/>
            <a:ext cx="0" cy="2289988"/>
          </a:xfrm>
          <a:prstGeom prst="line">
            <a:avLst/>
          </a:prstGeom>
          <a:ln w="19050">
            <a:solidFill>
              <a:srgbClr val="002557"/>
            </a:solidFill>
          </a:ln>
        </p:spPr>
        <p:style>
          <a:lnRef idx="1">
            <a:schemeClr val="accent1"/>
          </a:lnRef>
          <a:fillRef idx="0">
            <a:schemeClr val="accent1"/>
          </a:fillRef>
          <a:effectRef idx="0">
            <a:schemeClr val="accent1"/>
          </a:effectRef>
          <a:fontRef idx="minor">
            <a:schemeClr val="tx1"/>
          </a:fontRef>
        </p:style>
      </p:cxnSp>
      <p:sp>
        <p:nvSpPr>
          <p:cNvPr id="39" name="Rectangle: Rounded Corners 38">
            <a:extLst>
              <a:ext uri="{FF2B5EF4-FFF2-40B4-BE49-F238E27FC236}">
                <a16:creationId xmlns:a16="http://schemas.microsoft.com/office/drawing/2014/main" id="{88D06282-8A64-4A9C-9814-1A33B13227A2}"/>
              </a:ext>
            </a:extLst>
          </p:cNvPr>
          <p:cNvSpPr/>
          <p:nvPr/>
        </p:nvSpPr>
        <p:spPr>
          <a:xfrm>
            <a:off x="9417590" y="2785306"/>
            <a:ext cx="2593625" cy="684803"/>
          </a:xfrm>
          <a:prstGeom prst="roundRect">
            <a:avLst>
              <a:gd name="adj" fmla="val 12546"/>
            </a:avLst>
          </a:prstGeom>
          <a:solidFill>
            <a:srgbClr val="008764"/>
          </a:solidFill>
          <a:ln w="12700">
            <a:noFill/>
          </a:ln>
        </p:spPr>
        <p:txBody>
          <a:bodyPr wrap="square" lIns="62400" rIns="624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panose="020B0604020202020204"/>
                <a:ea typeface="+mn-ea"/>
                <a:cs typeface="+mn-cs"/>
              </a:rPr>
              <a:t>OS </a:t>
            </a:r>
            <a:r>
              <a:rPr kumimoji="0" lang="en-US" sz="1400" b="1" i="1" u="none" strike="noStrike" kern="1200" cap="none" spc="0" normalizeH="0" baseline="0" noProof="0" dirty="0">
                <a:ln>
                  <a:noFill/>
                </a:ln>
                <a:solidFill>
                  <a:prstClr val="white"/>
                </a:solidFill>
                <a:effectLst/>
                <a:uLnTx/>
                <a:uFillTx/>
                <a:latin typeface="Arial" panose="020B0604020202020204"/>
                <a:ea typeface="+mn-ea"/>
                <a:cs typeface="+mn-cs"/>
              </a:rPr>
              <a:t>noninferiority</a:t>
            </a:r>
            <a:r>
              <a:rPr kumimoji="0" lang="en-US" sz="1400" b="1" i="0" u="none" strike="noStrike" kern="1200" cap="none" spc="0" normalizeH="0" baseline="0" noProof="0" dirty="0">
                <a:ln>
                  <a:noFill/>
                </a:ln>
                <a:solidFill>
                  <a:prstClr val="white"/>
                </a:solidFill>
                <a:effectLst/>
                <a:uLnTx/>
                <a:uFillTx/>
                <a:latin typeface="Arial" panose="020B0604020202020204"/>
                <a:ea typeface="+mn-ea"/>
                <a:cs typeface="+mn-cs"/>
              </a:rPr>
              <a:t> for durvalumab vs sorafenib</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prstClr val="white"/>
                </a:solidFill>
                <a:effectLst/>
                <a:uLnTx/>
                <a:uFillTx/>
                <a:latin typeface="Arial" panose="020B0604020202020204"/>
                <a:ea typeface="+mn-ea"/>
                <a:cs typeface="+mn-cs"/>
              </a:rPr>
              <a:t>Noninferiority margin: 1.08</a:t>
            </a:r>
            <a:endParaRPr kumimoji="0" lang="da-DK" sz="1200" b="0" i="1" u="none" strike="noStrike" kern="1200" cap="none" spc="0" normalizeH="0" baseline="0" noProof="0" dirty="0">
              <a:ln>
                <a:noFill/>
              </a:ln>
              <a:solidFill>
                <a:prstClr val="white"/>
              </a:solidFill>
              <a:effectLst/>
              <a:uLnTx/>
              <a:uFillTx/>
              <a:latin typeface="Arial" panose="020B0604020202020204"/>
              <a:ea typeface="+mn-ea"/>
              <a:cs typeface="+mn-cs"/>
            </a:endParaRPr>
          </a:p>
        </p:txBody>
      </p:sp>
      <p:graphicFrame>
        <p:nvGraphicFramePr>
          <p:cNvPr id="10" name="Object 9" hidden="1">
            <a:extLst>
              <a:ext uri="{FF2B5EF4-FFF2-40B4-BE49-F238E27FC236}">
                <a16:creationId xmlns:a16="http://schemas.microsoft.com/office/drawing/2014/main" id="{B7A982FB-68EB-442B-B79D-A3418D3DC01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3" name="think-cell Slide" r:id="rId5" imgW="592" imgH="591" progId="TCLayout.ActiveDocument.1">
                  <p:embed/>
                </p:oleObj>
              </mc:Choice>
              <mc:Fallback>
                <p:oleObj name="think-cell Slide" r:id="rId5" imgW="592" imgH="591" progId="TCLayout.ActiveDocument.1">
                  <p:embed/>
                  <p:pic>
                    <p:nvPicPr>
                      <p:cNvPr id="10" name="Object 9" hidden="1">
                        <a:extLst>
                          <a:ext uri="{FF2B5EF4-FFF2-40B4-BE49-F238E27FC236}">
                            <a16:creationId xmlns:a16="http://schemas.microsoft.com/office/drawing/2014/main" id="{B7A982FB-68EB-442B-B79D-A3418D3DC01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F2FC63C4-9546-4F05-9029-FE1C04D16035}"/>
              </a:ext>
            </a:extLst>
          </p:cNvPr>
          <p:cNvSpPr>
            <a:spLocks noGrp="1"/>
          </p:cNvSpPr>
          <p:nvPr>
            <p:ph type="title"/>
          </p:nvPr>
        </p:nvSpPr>
        <p:spPr>
          <a:xfrm>
            <a:off x="640080" y="156647"/>
            <a:ext cx="10972800" cy="1371600"/>
          </a:xfrm>
        </p:spPr>
        <p:txBody>
          <a:bodyPr vert="horz"/>
          <a:lstStyle/>
          <a:p>
            <a:r>
              <a:rPr lang="en-GB" sz="3200" dirty="0">
                <a:solidFill>
                  <a:srgbClr val="002557"/>
                </a:solidFill>
              </a:rPr>
              <a:t>HIMALAYA study design</a:t>
            </a:r>
            <a:br>
              <a:rPr lang="en-GB" sz="3200" dirty="0">
                <a:solidFill>
                  <a:srgbClr val="002557"/>
                </a:solidFill>
              </a:rPr>
            </a:br>
            <a:endParaRPr lang="en-GB" sz="3200" dirty="0"/>
          </a:p>
        </p:txBody>
      </p:sp>
      <p:sp>
        <p:nvSpPr>
          <p:cNvPr id="28" name="Text Placeholder 4">
            <a:extLst>
              <a:ext uri="{FF2B5EF4-FFF2-40B4-BE49-F238E27FC236}">
                <a16:creationId xmlns:a16="http://schemas.microsoft.com/office/drawing/2014/main" id="{1EA08C5F-A6BB-49D5-BF7E-2921E7F20E90}"/>
              </a:ext>
            </a:extLst>
          </p:cNvPr>
          <p:cNvSpPr>
            <a:spLocks noGrp="1"/>
          </p:cNvSpPr>
          <p:nvPr>
            <p:ph type="body" sz="quarter" idx="15"/>
          </p:nvPr>
        </p:nvSpPr>
        <p:spPr/>
        <p:txBody>
          <a:bodyPr/>
          <a:lstStyle/>
          <a:p>
            <a:r>
              <a:rPr lang="en-US" dirty="0"/>
              <a:t>Ghassan K Abou-Alfa, MD, MBA     NEJM Evidence 2022</a:t>
            </a:r>
          </a:p>
        </p:txBody>
      </p:sp>
      <p:sp>
        <p:nvSpPr>
          <p:cNvPr id="29" name="TextBox 28">
            <a:extLst>
              <a:ext uri="{FF2B5EF4-FFF2-40B4-BE49-F238E27FC236}">
                <a16:creationId xmlns:a16="http://schemas.microsoft.com/office/drawing/2014/main" id="{63E662A8-A00C-4012-BA1A-F3A9A6D9D016}"/>
              </a:ext>
            </a:extLst>
          </p:cNvPr>
          <p:cNvSpPr txBox="1"/>
          <p:nvPr/>
        </p:nvSpPr>
        <p:spPr>
          <a:xfrm>
            <a:off x="2003885" y="1201279"/>
            <a:ext cx="8290560" cy="4001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2557"/>
                </a:solidFill>
                <a:effectLst/>
                <a:uLnTx/>
                <a:uFillTx/>
                <a:latin typeface="Arial" panose="020B0604020202020204"/>
                <a:ea typeface="+mn-ea"/>
                <a:cs typeface="+mn-cs"/>
              </a:rPr>
              <a:t>HIMALAYA was an open-label, multicenter, global, Phase 3 trial</a:t>
            </a:r>
          </a:p>
        </p:txBody>
      </p:sp>
      <p:sp>
        <p:nvSpPr>
          <p:cNvPr id="30" name="Rectangle: Rounded Corners 29">
            <a:extLst>
              <a:ext uri="{FF2B5EF4-FFF2-40B4-BE49-F238E27FC236}">
                <a16:creationId xmlns:a16="http://schemas.microsoft.com/office/drawing/2014/main" id="{A4DEB7B8-D5F8-41E7-8C78-EF188652DEC3}"/>
              </a:ext>
            </a:extLst>
          </p:cNvPr>
          <p:cNvSpPr/>
          <p:nvPr/>
        </p:nvSpPr>
        <p:spPr>
          <a:xfrm>
            <a:off x="197257" y="1737066"/>
            <a:ext cx="2634637" cy="3383868"/>
          </a:xfrm>
          <a:prstGeom prst="roundRect">
            <a:avLst>
              <a:gd name="adj" fmla="val 4507"/>
            </a:avLst>
          </a:prstGeom>
          <a:solidFill>
            <a:schemeClr val="bg1">
              <a:lumMod val="95000"/>
            </a:schemeClr>
          </a:solidFill>
          <a:ln>
            <a:solidFill>
              <a:srgbClr val="0025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IN" sz="1200" b="1" i="0" u="none" strike="noStrike" kern="1200" cap="none" spc="0" normalizeH="0" baseline="0" noProof="0" dirty="0">
                <a:ln>
                  <a:noFill/>
                </a:ln>
                <a:solidFill>
                  <a:srgbClr val="002557"/>
                </a:solidFill>
                <a:effectLst/>
                <a:uLnTx/>
                <a:uFillTx/>
                <a:latin typeface="Arial"/>
                <a:ea typeface="+mn-ea"/>
                <a:cs typeface="+mn-cs"/>
              </a:rPr>
              <a:t>Study population </a:t>
            </a:r>
          </a:p>
          <a:p>
            <a:pPr marL="171450" marR="0" lvl="0" indent="-171450" algn="l" defTabSz="121917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02557"/>
                </a:solidFill>
                <a:effectLst/>
                <a:uLnTx/>
                <a:uFillTx/>
                <a:latin typeface="Arial" panose="020B0604020202020204"/>
                <a:ea typeface="+mn-ea"/>
                <a:cs typeface="+mn-cs"/>
              </a:rPr>
              <a:t>Patients with confirmed </a:t>
            </a:r>
            <a:r>
              <a:rPr kumimoji="0" lang="en-GB" sz="1200" b="0" i="0" u="none" strike="noStrike" kern="1200" cap="none" spc="0" normalizeH="0" baseline="0" noProof="0" dirty="0" err="1">
                <a:ln>
                  <a:noFill/>
                </a:ln>
                <a:solidFill>
                  <a:srgbClr val="002557"/>
                </a:solidFill>
                <a:effectLst/>
                <a:uLnTx/>
                <a:uFillTx/>
                <a:latin typeface="Arial" panose="020B0604020202020204"/>
                <a:ea typeface="+mn-ea"/>
                <a:cs typeface="+mn-cs"/>
              </a:rPr>
              <a:t>uHCC</a:t>
            </a:r>
            <a:endParaRPr kumimoji="0" lang="en-GB" sz="1200" b="0" i="0" u="none" strike="noStrike" kern="1200" cap="none" spc="0" normalizeH="0" baseline="0" noProof="0" dirty="0">
              <a:ln>
                <a:noFill/>
              </a:ln>
              <a:solidFill>
                <a:srgbClr val="002557"/>
              </a:solidFill>
              <a:effectLst/>
              <a:uLnTx/>
              <a:uFillTx/>
              <a:latin typeface="Arial" panose="020B0604020202020204"/>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02557"/>
                </a:solidFill>
                <a:effectLst/>
                <a:uLnTx/>
                <a:uFillTx/>
                <a:latin typeface="Arial" panose="020B0604020202020204"/>
                <a:ea typeface="+mn-ea"/>
                <a:cs typeface="+mn-cs"/>
              </a:rPr>
              <a:t>BCLC B (not eligible for locoregional therapy) and C</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02557"/>
                </a:solidFill>
                <a:effectLst/>
                <a:uLnTx/>
                <a:uFillTx/>
                <a:latin typeface="Arial" panose="020B0604020202020204"/>
                <a:ea typeface="+mn-ea"/>
                <a:cs typeface="+mn-cs"/>
              </a:rPr>
              <a:t>No prior systemic therap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02557"/>
                </a:solidFill>
                <a:effectLst/>
                <a:uLnTx/>
                <a:uFillTx/>
                <a:latin typeface="Arial" panose="020B0604020202020204"/>
                <a:ea typeface="+mn-ea"/>
                <a:cs typeface="+mn-cs"/>
              </a:rPr>
              <a:t>ECOG PS 0–1</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02557"/>
                </a:solidFill>
                <a:effectLst/>
                <a:uLnTx/>
                <a:uFillTx/>
                <a:latin typeface="Arial" panose="020B0604020202020204"/>
                <a:ea typeface="+mn-ea"/>
                <a:cs typeface="+mn-cs"/>
              </a:rPr>
              <a:t>Child-Pugh 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02557"/>
                </a:solidFill>
                <a:effectLst/>
                <a:uLnTx/>
                <a:uFillTx/>
                <a:latin typeface="Arial" panose="020B0604020202020204"/>
                <a:ea typeface="+mn-ea"/>
                <a:cs typeface="+mn-cs"/>
              </a:rPr>
              <a:t>No main portal vein thrombosi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02557"/>
                </a:solidFill>
                <a:effectLst/>
                <a:uLnTx/>
                <a:uFillTx/>
                <a:latin typeface="Arial" panose="020B0604020202020204"/>
                <a:ea typeface="+mn-ea"/>
                <a:cs typeface="+mn-cs"/>
              </a:rPr>
              <a:t>EGD was not require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2557"/>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2557"/>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2557"/>
                </a:solidFill>
                <a:effectLst/>
                <a:uLnTx/>
                <a:uFillTx/>
                <a:latin typeface="Arial" panose="020B0604020202020204"/>
                <a:ea typeface="+mn-ea"/>
                <a:cs typeface="+mn-cs"/>
              </a:rPr>
              <a:t>Stratification factors</a:t>
            </a:r>
          </a:p>
          <a:p>
            <a:pPr marL="154513" marR="0" lvl="0" indent="-154513" algn="l" defTabSz="121917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IN" sz="1200" b="0" i="0" u="none" strike="noStrike" kern="0" cap="none" spc="0" normalizeH="0" baseline="0" noProof="0" dirty="0">
                <a:ln>
                  <a:noFill/>
                </a:ln>
                <a:solidFill>
                  <a:srgbClr val="002557"/>
                </a:solidFill>
                <a:effectLst/>
                <a:uLnTx/>
                <a:uFillTx/>
                <a:latin typeface="Arial"/>
                <a:ea typeface="+mn-ea"/>
                <a:cs typeface="+mn-cs"/>
              </a:rPr>
              <a:t>Macrovascular </a:t>
            </a:r>
            <a:r>
              <a:rPr kumimoji="0" lang="en-GB" sz="1200" b="0" i="0" u="none" strike="noStrike" kern="0" cap="none" spc="0" normalizeH="0" baseline="0" noProof="0" dirty="0">
                <a:ln>
                  <a:noFill/>
                </a:ln>
                <a:solidFill>
                  <a:srgbClr val="002557"/>
                </a:solidFill>
                <a:effectLst/>
                <a:uLnTx/>
                <a:uFillTx/>
                <a:latin typeface="Arial"/>
                <a:ea typeface="+mn-ea"/>
                <a:cs typeface="+mn-cs"/>
              </a:rPr>
              <a:t>invasion</a:t>
            </a:r>
            <a:r>
              <a:rPr kumimoji="0" lang="en-IN" sz="1200" b="0" i="0" u="none" strike="noStrike" kern="0" cap="none" spc="0" normalizeH="0" baseline="0" noProof="0" dirty="0">
                <a:ln>
                  <a:noFill/>
                </a:ln>
                <a:solidFill>
                  <a:srgbClr val="002557"/>
                </a:solidFill>
                <a:effectLst/>
                <a:uLnTx/>
                <a:uFillTx/>
                <a:latin typeface="Arial"/>
                <a:ea typeface="+mn-ea"/>
                <a:cs typeface="+mn-cs"/>
              </a:rPr>
              <a:t>: Y / N</a:t>
            </a:r>
          </a:p>
          <a:p>
            <a:pPr marL="154513" marR="0" lvl="0" indent="-154513" algn="l" defTabSz="121917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IN" sz="1200" b="0" i="0" u="none" strike="noStrike" kern="0" cap="none" spc="0" normalizeH="0" baseline="0" noProof="0" dirty="0" err="1">
                <a:ln>
                  <a:noFill/>
                </a:ln>
                <a:solidFill>
                  <a:srgbClr val="002557"/>
                </a:solidFill>
                <a:effectLst/>
                <a:uLnTx/>
                <a:uFillTx/>
                <a:latin typeface="Arial"/>
                <a:ea typeface="+mn-ea"/>
                <a:cs typeface="+mn-cs"/>
              </a:rPr>
              <a:t>Etiology</a:t>
            </a:r>
            <a:r>
              <a:rPr kumimoji="0" lang="en-IN" sz="1200" b="0" i="0" u="none" strike="noStrike" kern="0" cap="none" spc="0" normalizeH="0" baseline="0" noProof="0" dirty="0">
                <a:ln>
                  <a:noFill/>
                </a:ln>
                <a:solidFill>
                  <a:srgbClr val="002557"/>
                </a:solidFill>
                <a:effectLst/>
                <a:uLnTx/>
                <a:uFillTx/>
                <a:latin typeface="Arial"/>
                <a:ea typeface="+mn-ea"/>
                <a:cs typeface="+mn-cs"/>
              </a:rPr>
              <a:t> of liver disease: HBV / HCV / others</a:t>
            </a:r>
          </a:p>
          <a:p>
            <a:pPr marL="154513" marR="0" lvl="0" indent="-154513" algn="l" defTabSz="121917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IN" sz="1200" b="0" i="0" u="none" strike="noStrike" kern="0" cap="none" spc="0" normalizeH="0" baseline="0" noProof="0" dirty="0">
                <a:ln>
                  <a:noFill/>
                </a:ln>
                <a:solidFill>
                  <a:srgbClr val="002557"/>
                </a:solidFill>
                <a:effectLst/>
                <a:uLnTx/>
                <a:uFillTx/>
                <a:latin typeface="Arial"/>
                <a:ea typeface="+mn-ea"/>
                <a:cs typeface="+mn-cs"/>
              </a:rPr>
              <a:t>Performance status: ECOG 0 / 1</a:t>
            </a:r>
            <a:endParaRPr kumimoji="0" lang="en-US" sz="1200" b="0" i="0" u="none" strike="noStrike" kern="0" cap="none" spc="0" normalizeH="0" baseline="0" noProof="0" dirty="0">
              <a:ln>
                <a:noFill/>
              </a:ln>
              <a:solidFill>
                <a:srgbClr val="002557"/>
              </a:solidFill>
              <a:effectLst/>
              <a:uLnTx/>
              <a:uFillTx/>
              <a:latin typeface="Arial"/>
              <a:ea typeface="+mn-ea"/>
              <a:cs typeface="+mn-cs"/>
            </a:endParaRPr>
          </a:p>
        </p:txBody>
      </p:sp>
      <p:sp>
        <p:nvSpPr>
          <p:cNvPr id="31" name="Oval 30">
            <a:extLst>
              <a:ext uri="{FF2B5EF4-FFF2-40B4-BE49-F238E27FC236}">
                <a16:creationId xmlns:a16="http://schemas.microsoft.com/office/drawing/2014/main" id="{6952CB48-107F-47B9-8BB8-2FAF76514024}"/>
              </a:ext>
            </a:extLst>
          </p:cNvPr>
          <p:cNvSpPr/>
          <p:nvPr/>
        </p:nvSpPr>
        <p:spPr>
          <a:xfrm>
            <a:off x="2918710" y="3064093"/>
            <a:ext cx="684002" cy="726843"/>
          </a:xfrm>
          <a:prstGeom prst="ellipse">
            <a:avLst/>
          </a:prstGeom>
          <a:solidFill>
            <a:schemeClr val="bg1">
              <a:lumMod val="95000"/>
            </a:schemeClr>
          </a:solidFill>
          <a:ln>
            <a:solidFill>
              <a:srgbClr val="0025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02557"/>
              </a:solidFill>
              <a:effectLst/>
              <a:uLnTx/>
              <a:uFillTx/>
              <a:latin typeface="Arial" panose="020B0604020202020204"/>
              <a:ea typeface="+mn-ea"/>
              <a:cs typeface="+mn-cs"/>
            </a:endParaRPr>
          </a:p>
        </p:txBody>
      </p:sp>
      <p:sp>
        <p:nvSpPr>
          <p:cNvPr id="49" name="Rectangle: Rounded Corners 48">
            <a:extLst>
              <a:ext uri="{FF2B5EF4-FFF2-40B4-BE49-F238E27FC236}">
                <a16:creationId xmlns:a16="http://schemas.microsoft.com/office/drawing/2014/main" id="{DF7A0E7A-730B-4937-A715-98DFBEA9D379}"/>
              </a:ext>
            </a:extLst>
          </p:cNvPr>
          <p:cNvSpPr/>
          <p:nvPr/>
        </p:nvSpPr>
        <p:spPr>
          <a:xfrm>
            <a:off x="4147593" y="1979413"/>
            <a:ext cx="2405930" cy="640080"/>
          </a:xfrm>
          <a:prstGeom prst="roundRect">
            <a:avLst>
              <a:gd name="adj" fmla="val 15805"/>
            </a:avLst>
          </a:prstGeom>
          <a:solidFill>
            <a:schemeClr val="accent1"/>
          </a:solidFill>
          <a:ln w="12700">
            <a:noFill/>
          </a:ln>
        </p:spPr>
        <p:txBody>
          <a:bodyPr wrap="square" lIns="62400" rIns="62400" rtlCol="0" anchor="ctr" anchorCtr="0">
            <a:noAutofit/>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IN" sz="1200" b="1" i="0" u="none" strike="noStrike" kern="1200" cap="none" spc="0" normalizeH="0" baseline="0" noProof="0" dirty="0">
                <a:ln>
                  <a:noFill/>
                </a:ln>
                <a:solidFill>
                  <a:prstClr val="white"/>
                </a:solidFill>
                <a:effectLst/>
                <a:uLnTx/>
                <a:uFillTx/>
                <a:latin typeface="Arial" panose="020B0604020202020204"/>
                <a:ea typeface="+mn-ea"/>
                <a:cs typeface="+mn-cs"/>
              </a:rPr>
              <a:t>T300+D (n=393): </a:t>
            </a:r>
          </a:p>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Arial" panose="020B0604020202020204"/>
                <a:ea typeface="+mn-ea"/>
                <a:cs typeface="+mn-cs"/>
              </a:rPr>
              <a:t>T</a:t>
            </a:r>
            <a:r>
              <a:rPr kumimoji="0" lang="en-US" sz="1200" b="0" i="0" u="none" strike="noStrike" kern="0" cap="none" spc="0" normalizeH="0" baseline="0" noProof="0" dirty="0" err="1">
                <a:ln>
                  <a:noFill/>
                </a:ln>
                <a:solidFill>
                  <a:prstClr val="white"/>
                </a:solidFill>
                <a:effectLst/>
                <a:uLnTx/>
                <a:uFillTx/>
                <a:latin typeface="Arial" panose="020B0604020202020204"/>
                <a:ea typeface="+mn-ea"/>
                <a:cs typeface="+mn-cs"/>
              </a:rPr>
              <a:t>remelimumab</a:t>
            </a:r>
            <a:r>
              <a:rPr kumimoji="0" lang="en-US" sz="1200" b="0" i="0" u="none" strike="noStrike" kern="0" cap="none" spc="0" normalizeH="0" baseline="0" noProof="0" dirty="0">
                <a:ln>
                  <a:noFill/>
                </a:ln>
                <a:solidFill>
                  <a:prstClr val="white"/>
                </a:solidFill>
                <a:effectLst/>
                <a:uLnTx/>
                <a:uFillTx/>
                <a:latin typeface="Arial" panose="020B0604020202020204"/>
                <a:ea typeface="+mn-ea"/>
                <a:cs typeface="+mn-cs"/>
              </a:rPr>
              <a:t> 300 mg × 1 dose + </a:t>
            </a:r>
            <a:r>
              <a:rPr kumimoji="0" lang="en-GB" sz="1200" b="0" i="0" u="none" strike="noStrike" kern="0" cap="none" spc="0" normalizeH="0" baseline="0" noProof="0" dirty="0">
                <a:ln>
                  <a:noFill/>
                </a:ln>
                <a:solidFill>
                  <a:prstClr val="white"/>
                </a:solidFill>
                <a:effectLst/>
                <a:uLnTx/>
                <a:uFillTx/>
                <a:latin typeface="Arial" panose="020B0604020202020204"/>
                <a:ea typeface="+mn-ea"/>
                <a:cs typeface="+mn-cs"/>
              </a:rPr>
              <a:t>durvalumab 1500 mg Q4W*</a:t>
            </a:r>
            <a:endParaRPr kumimoji="0" lang="en-IN" sz="12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34" name="Rectangle: Rounded Corners 33">
            <a:extLst>
              <a:ext uri="{FF2B5EF4-FFF2-40B4-BE49-F238E27FC236}">
                <a16:creationId xmlns:a16="http://schemas.microsoft.com/office/drawing/2014/main" id="{CD565C63-1E52-4C2D-9DFC-184C43A35AA5}"/>
              </a:ext>
            </a:extLst>
          </p:cNvPr>
          <p:cNvSpPr/>
          <p:nvPr/>
        </p:nvSpPr>
        <p:spPr>
          <a:xfrm>
            <a:off x="4147593" y="4240792"/>
            <a:ext cx="2405930" cy="642251"/>
          </a:xfrm>
          <a:prstGeom prst="roundRect">
            <a:avLst>
              <a:gd name="adj" fmla="val 15805"/>
            </a:avLst>
          </a:prstGeom>
          <a:solidFill>
            <a:srgbClr val="F2F2F2"/>
          </a:solidFill>
          <a:ln>
            <a:solidFill>
              <a:srgbClr val="0025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2557"/>
                </a:solidFill>
                <a:effectLst/>
                <a:uLnTx/>
                <a:uFillTx/>
                <a:latin typeface="Arial" panose="020B0604020202020204"/>
                <a:ea typeface="+mn-ea"/>
                <a:cs typeface="+mn-cs"/>
              </a:rPr>
              <a:t>T75+D (n=153): </a:t>
            </a:r>
            <a:r>
              <a:rPr kumimoji="0" lang="en-GB" sz="1200" b="1" i="1" u="none" strike="noStrike" kern="1200" cap="none" spc="0" normalizeH="0" baseline="0" noProof="0" dirty="0">
                <a:ln>
                  <a:noFill/>
                </a:ln>
                <a:solidFill>
                  <a:srgbClr val="002557"/>
                </a:solidFill>
                <a:effectLst/>
                <a:uLnTx/>
                <a:uFillTx/>
                <a:latin typeface="Arial" panose="020B0604020202020204"/>
                <a:ea typeface="+mn-ea"/>
                <a:cs typeface="+mn-cs"/>
              </a:rPr>
              <a:t>arm closed</a:t>
            </a:r>
            <a:r>
              <a:rPr kumimoji="0" lang="en-US" sz="1200" b="0" i="0" u="none" strike="noStrike" kern="1200" cap="none" spc="0" normalizeH="0" baseline="30000" noProof="0" dirty="0">
                <a:ln>
                  <a:noFill/>
                </a:ln>
                <a:solidFill>
                  <a:prstClr val="white"/>
                </a:solidFill>
                <a:effectLst/>
                <a:uLnTx/>
                <a:uFillTx/>
                <a:latin typeface="Arial" panose="020B0604020202020204"/>
                <a:ea typeface="+mn-ea"/>
                <a:cs typeface="+mn-cs"/>
              </a:rPr>
              <a:t> </a:t>
            </a:r>
            <a:r>
              <a:rPr kumimoji="0" lang="en-US" sz="1200" b="0" i="0" u="none" strike="noStrike" kern="1200" cap="none" spc="0" normalizeH="0" baseline="30000" noProof="0" dirty="0">
                <a:ln>
                  <a:noFill/>
                </a:ln>
                <a:solidFill>
                  <a:srgbClr val="002557"/>
                </a:solidFill>
                <a:effectLst/>
                <a:uLnTx/>
                <a:uFillTx/>
                <a:latin typeface="Arial" panose="020B0604020202020204"/>
                <a:ea typeface="+mn-ea"/>
                <a:cs typeface="+mn-cs"/>
              </a:rPr>
              <a:t>†</a:t>
            </a:r>
            <a:endParaRPr kumimoji="0" lang="en-GB" sz="1200" b="1" i="1" u="none" strike="noStrike" kern="1200" cap="none" spc="0" normalizeH="0" baseline="0" noProof="0" dirty="0">
              <a:ln>
                <a:noFill/>
              </a:ln>
              <a:solidFill>
                <a:srgbClr val="002557"/>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557"/>
                </a:solidFill>
                <a:effectLst/>
                <a:uLnTx/>
                <a:uFillTx/>
                <a:latin typeface="Arial" panose="020B0604020202020204"/>
                <a:ea typeface="+mn-ea"/>
                <a:cs typeface="+mn-cs"/>
              </a:rPr>
              <a:t>Tremelimumab 75 mg Q4W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557"/>
                </a:solidFill>
                <a:effectLst/>
                <a:uLnTx/>
                <a:uFillTx/>
                <a:latin typeface="Arial" panose="020B0604020202020204"/>
                <a:ea typeface="+mn-ea"/>
                <a:cs typeface="+mn-cs"/>
              </a:rPr>
              <a:t>× 4 doses + durvalumab Q4W*</a:t>
            </a:r>
            <a:endParaRPr kumimoji="0" lang="en-GB" sz="1200" b="1" i="0" u="none" strike="noStrike" kern="1200" cap="none" spc="0" normalizeH="0" baseline="0" noProof="0" dirty="0">
              <a:ln>
                <a:noFill/>
              </a:ln>
              <a:solidFill>
                <a:srgbClr val="002557"/>
              </a:solidFill>
              <a:effectLst/>
              <a:uLnTx/>
              <a:uFillTx/>
              <a:latin typeface="Arial" panose="020B0604020202020204"/>
              <a:ea typeface="+mn-ea"/>
              <a:cs typeface="+mn-cs"/>
            </a:endParaRPr>
          </a:p>
        </p:txBody>
      </p:sp>
      <p:sp>
        <p:nvSpPr>
          <p:cNvPr id="47" name="Rectangle: Rounded Corners 46">
            <a:extLst>
              <a:ext uri="{FF2B5EF4-FFF2-40B4-BE49-F238E27FC236}">
                <a16:creationId xmlns:a16="http://schemas.microsoft.com/office/drawing/2014/main" id="{4194A192-AFBC-465F-8D85-1B38231A1FBC}"/>
              </a:ext>
            </a:extLst>
          </p:cNvPr>
          <p:cNvSpPr/>
          <p:nvPr/>
        </p:nvSpPr>
        <p:spPr>
          <a:xfrm>
            <a:off x="4147593" y="3489125"/>
            <a:ext cx="2405930" cy="640080"/>
          </a:xfrm>
          <a:prstGeom prst="roundRect">
            <a:avLst>
              <a:gd name="adj" fmla="val 15805"/>
            </a:avLst>
          </a:prstGeom>
          <a:solidFill>
            <a:srgbClr val="830051"/>
          </a:solidFill>
          <a:ln w="12700">
            <a:noFill/>
          </a:ln>
        </p:spPr>
        <p:txBody>
          <a:bodyPr wrap="square" lIns="62400" rIns="62400" rtlCol="0" anchor="ctr" anchorCtr="0">
            <a:no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IN" sz="1200" b="1" i="0" u="none" strike="noStrike" kern="0" cap="none" spc="0" normalizeH="0" baseline="0" noProof="0" dirty="0">
                <a:ln>
                  <a:noFill/>
                </a:ln>
                <a:solidFill>
                  <a:prstClr val="white"/>
                </a:solidFill>
                <a:effectLst/>
                <a:uLnTx/>
                <a:uFillTx/>
                <a:latin typeface="Arial" panose="020B0604020202020204"/>
                <a:ea typeface="+mn-ea"/>
                <a:cs typeface="+mn-cs"/>
              </a:rPr>
              <a:t>Sorafenib (n=389):</a:t>
            </a:r>
          </a:p>
          <a:p>
            <a:pPr marL="0" marR="0" lvl="0" indent="0" algn="l" defTabSz="609585" rtl="0" eaLnBrk="1" fontAlgn="base" latinLnBrk="0" hangingPunct="1">
              <a:lnSpc>
                <a:spcPct val="100000"/>
              </a:lnSpc>
              <a:spcBef>
                <a:spcPct val="0"/>
              </a:spcBef>
              <a:spcAft>
                <a:spcPct val="0"/>
              </a:spcAft>
              <a:buClrTx/>
              <a:buSzTx/>
              <a:buFontTx/>
              <a:buNone/>
              <a:tabLst/>
              <a:defRPr/>
            </a:pPr>
            <a:r>
              <a:rPr kumimoji="0" lang="en-GB" sz="1200" b="0" i="0" u="none" strike="noStrike" kern="0" cap="none" spc="0" normalizeH="0" baseline="0" noProof="0" dirty="0">
                <a:ln>
                  <a:noFill/>
                </a:ln>
                <a:solidFill>
                  <a:prstClr val="white"/>
                </a:solidFill>
                <a:effectLst/>
                <a:uLnTx/>
                <a:uFillTx/>
                <a:latin typeface="Arial" panose="020B0604020202020204"/>
                <a:ea typeface="+mn-ea"/>
                <a:cs typeface="+mn-cs"/>
              </a:rPr>
              <a:t>S</a:t>
            </a:r>
            <a:r>
              <a:rPr kumimoji="0" lang="en-GB" sz="1200" b="0" i="0" u="none" strike="noStrike" kern="0" cap="none" spc="0" normalizeH="0" baseline="0" noProof="0" dirty="0" err="1">
                <a:ln>
                  <a:noFill/>
                </a:ln>
                <a:solidFill>
                  <a:prstClr val="white"/>
                </a:solidFill>
                <a:effectLst/>
                <a:uLnTx/>
                <a:uFillTx/>
                <a:latin typeface="Arial" panose="020B0604020202020204"/>
                <a:ea typeface="+mn-ea"/>
                <a:cs typeface="+mn-cs"/>
              </a:rPr>
              <a:t>orafenib</a:t>
            </a:r>
            <a:r>
              <a:rPr kumimoji="0" lang="en-GB" sz="1200" b="0" i="0" u="none" strike="noStrike" kern="0" cap="none" spc="0" normalizeH="0" baseline="0" noProof="0" dirty="0">
                <a:ln>
                  <a:noFill/>
                </a:ln>
                <a:solidFill>
                  <a:prstClr val="white"/>
                </a:solidFill>
                <a:effectLst/>
                <a:uLnTx/>
                <a:uFillTx/>
                <a:latin typeface="Arial" panose="020B0604020202020204"/>
                <a:ea typeface="+mn-ea"/>
                <a:cs typeface="+mn-cs"/>
              </a:rPr>
              <a:t> 400 mg BID*</a:t>
            </a:r>
            <a:endParaRPr kumimoji="0" lang="en-IN" sz="1200" b="1" i="0" u="none" strike="noStrike" kern="0" cap="none" spc="0" normalizeH="0" baseline="0" noProof="0" dirty="0">
              <a:ln>
                <a:noFill/>
              </a:ln>
              <a:solidFill>
                <a:prstClr val="white"/>
              </a:solidFill>
              <a:effectLst/>
              <a:uLnTx/>
              <a:uFillTx/>
              <a:latin typeface="Arial" panose="020B0604020202020204"/>
              <a:ea typeface="+mn-ea"/>
              <a:cs typeface="+mn-cs"/>
            </a:endParaRPr>
          </a:p>
        </p:txBody>
      </p:sp>
      <p:sp>
        <p:nvSpPr>
          <p:cNvPr id="48" name="Rectangle: Rounded Corners 47">
            <a:extLst>
              <a:ext uri="{FF2B5EF4-FFF2-40B4-BE49-F238E27FC236}">
                <a16:creationId xmlns:a16="http://schemas.microsoft.com/office/drawing/2014/main" id="{6894750A-CA80-4A95-ABD0-2D047D12E866}"/>
              </a:ext>
            </a:extLst>
          </p:cNvPr>
          <p:cNvSpPr/>
          <p:nvPr/>
        </p:nvSpPr>
        <p:spPr>
          <a:xfrm>
            <a:off x="4147593" y="2757561"/>
            <a:ext cx="2404872" cy="640080"/>
          </a:xfrm>
          <a:prstGeom prst="roundRect">
            <a:avLst>
              <a:gd name="adj" fmla="val 15805"/>
            </a:avLst>
          </a:prstGeom>
          <a:solidFill>
            <a:srgbClr val="008764"/>
          </a:solidFill>
          <a:ln w="12700">
            <a:noFill/>
          </a:ln>
        </p:spPr>
        <p:txBody>
          <a:bodyPr wrap="square" lIns="62400" rIns="62400" rtlCol="0" anchor="ctr" anchorCtr="0">
            <a:noAutofit/>
          </a:bodyPr>
          <a:lstStyle/>
          <a:p>
            <a:pPr marL="0" marR="0" lvl="0" indent="0" algn="l" defTabSz="609585" rtl="0" eaLnBrk="1" fontAlgn="base" latinLnBrk="0" hangingPunct="1">
              <a:lnSpc>
                <a:spcPct val="100000"/>
              </a:lnSpc>
              <a:spcBef>
                <a:spcPct val="0"/>
              </a:spcBef>
              <a:spcAft>
                <a:spcPct val="0"/>
              </a:spcAft>
              <a:buClrTx/>
              <a:buSzTx/>
              <a:buFontTx/>
              <a:buNone/>
              <a:tabLst/>
              <a:defRPr/>
            </a:pPr>
            <a:r>
              <a:rPr kumimoji="0" lang="en-IN" sz="1200" b="1" i="0" u="none" strike="noStrike" kern="0" cap="none" spc="0" normalizeH="0" baseline="0" noProof="0" dirty="0">
                <a:ln>
                  <a:noFill/>
                </a:ln>
                <a:solidFill>
                  <a:prstClr val="white"/>
                </a:solidFill>
                <a:effectLst/>
                <a:uLnTx/>
                <a:uFillTx/>
                <a:latin typeface="Arial" panose="020B0604020202020204"/>
                <a:ea typeface="+mn-ea"/>
                <a:cs typeface="+mn-cs"/>
              </a:rPr>
              <a:t>Durvalumab (n=389): </a:t>
            </a:r>
          </a:p>
          <a:p>
            <a:pPr marL="0" marR="0" lvl="0" indent="0" algn="l" defTabSz="609585" rtl="0" eaLnBrk="1" fontAlgn="base" latinLnBrk="0" hangingPunct="1">
              <a:lnSpc>
                <a:spcPct val="100000"/>
              </a:lnSpc>
              <a:spcBef>
                <a:spcPct val="0"/>
              </a:spcBef>
              <a:spcAft>
                <a:spcPct val="0"/>
              </a:spcAft>
              <a:buClrTx/>
              <a:buSzTx/>
              <a:buFontTx/>
              <a:buNone/>
              <a:tabLst/>
              <a:defRPr/>
            </a:pPr>
            <a:r>
              <a:rPr kumimoji="0" lang="en-IN" sz="1200" b="0" i="0" u="none" strike="noStrike" kern="0" cap="none" spc="0" normalizeH="0" baseline="0" noProof="0" dirty="0">
                <a:ln>
                  <a:noFill/>
                </a:ln>
                <a:solidFill>
                  <a:prstClr val="white"/>
                </a:solidFill>
                <a:effectLst/>
                <a:uLnTx/>
                <a:uFillTx/>
                <a:latin typeface="Arial" panose="020B0604020202020204"/>
                <a:ea typeface="+mn-ea"/>
                <a:cs typeface="+mn-cs"/>
              </a:rPr>
              <a:t>D</a:t>
            </a:r>
            <a:r>
              <a:rPr kumimoji="0" lang="en-US" sz="1200" b="0" i="0" u="none" strike="noStrike" kern="0" cap="none" spc="0" normalizeH="0" baseline="0" noProof="0" dirty="0" err="1">
                <a:ln>
                  <a:noFill/>
                </a:ln>
                <a:solidFill>
                  <a:prstClr val="white"/>
                </a:solidFill>
                <a:effectLst/>
                <a:uLnTx/>
                <a:uFillTx/>
                <a:latin typeface="Arial" panose="020B0604020202020204"/>
                <a:ea typeface="+mn-ea"/>
                <a:cs typeface="+mn-cs"/>
              </a:rPr>
              <a:t>urvalumab</a:t>
            </a:r>
            <a:r>
              <a:rPr kumimoji="0" lang="en-US" sz="1200" b="0" i="0" u="none" strike="noStrike" kern="0" cap="none" spc="0" normalizeH="0" baseline="0" noProof="0" dirty="0">
                <a:ln>
                  <a:noFill/>
                </a:ln>
                <a:solidFill>
                  <a:prstClr val="white"/>
                </a:solidFill>
                <a:effectLst/>
                <a:uLnTx/>
                <a:uFillTx/>
                <a:latin typeface="Arial" panose="020B0604020202020204"/>
                <a:ea typeface="+mn-ea"/>
                <a:cs typeface="+mn-cs"/>
              </a:rPr>
              <a:t> monotherapy </a:t>
            </a:r>
          </a:p>
          <a:p>
            <a:pPr marL="0" marR="0" lvl="0" indent="0" algn="l" defTabSz="609585"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Arial" panose="020B0604020202020204"/>
                <a:ea typeface="+mn-ea"/>
                <a:cs typeface="+mn-cs"/>
              </a:rPr>
              <a:t>1500 mg Q4W*</a:t>
            </a:r>
          </a:p>
        </p:txBody>
      </p:sp>
      <p:sp>
        <p:nvSpPr>
          <p:cNvPr id="2" name="TextBox 1">
            <a:extLst>
              <a:ext uri="{FF2B5EF4-FFF2-40B4-BE49-F238E27FC236}">
                <a16:creationId xmlns:a16="http://schemas.microsoft.com/office/drawing/2014/main" id="{FADC2206-4663-4C59-8379-165BC68D4E35}"/>
              </a:ext>
            </a:extLst>
          </p:cNvPr>
          <p:cNvSpPr txBox="1"/>
          <p:nvPr/>
        </p:nvSpPr>
        <p:spPr>
          <a:xfrm>
            <a:off x="2725322" y="3071774"/>
            <a:ext cx="1075108" cy="5539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2557"/>
                </a:solidFill>
                <a:effectLst/>
                <a:uLnTx/>
                <a:uFillTx/>
                <a:latin typeface="Arial" panose="020B0604020202020204"/>
                <a:ea typeface="+mn-ea"/>
                <a:cs typeface="+mn-cs"/>
              </a:rPr>
              <a:t>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2557"/>
                </a:solidFill>
                <a:effectLst/>
                <a:uLnTx/>
                <a:uFillTx/>
                <a:latin typeface="Arial" panose="020B0604020202020204"/>
                <a:ea typeface="+mn-ea"/>
                <a:cs typeface="+mn-cs"/>
              </a:rPr>
              <a:t>N=1324</a:t>
            </a:r>
          </a:p>
        </p:txBody>
      </p:sp>
      <p:sp>
        <p:nvSpPr>
          <p:cNvPr id="37" name="TextBox 36">
            <a:extLst>
              <a:ext uri="{FF2B5EF4-FFF2-40B4-BE49-F238E27FC236}">
                <a16:creationId xmlns:a16="http://schemas.microsoft.com/office/drawing/2014/main" id="{043BD9E8-0977-4F16-80B9-F1A2AFA4C48F}"/>
              </a:ext>
            </a:extLst>
          </p:cNvPr>
          <p:cNvSpPr txBox="1"/>
          <p:nvPr/>
        </p:nvSpPr>
        <p:spPr>
          <a:xfrm>
            <a:off x="238124" y="5551651"/>
            <a:ext cx="11719925" cy="684803"/>
          </a:xfrm>
          <a:prstGeom prst="rect">
            <a:avLst/>
          </a:prstGeom>
          <a:noFill/>
        </p:spPr>
        <p:txBody>
          <a:bodyPr wrap="square" rtlCol="0" anchor="b" anchorCtr="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900" b="0" i="0" u="none" strike="noStrike" kern="1200" cap="none" spc="0" normalizeH="0" baseline="0" noProof="0" dirty="0">
                <a:ln>
                  <a:noFill/>
                </a:ln>
                <a:solidFill>
                  <a:srgbClr val="002557"/>
                </a:solidFill>
                <a:effectLst/>
                <a:uLnTx/>
                <a:uFillTx/>
                <a:latin typeface="Arial" panose="020B0604020202020204"/>
                <a:ea typeface="+mn-ea"/>
                <a:cs typeface="+mn-cs"/>
              </a:rPr>
              <a:t>*Treatment continued until disease progression. Patients with progressive disease who, in the investigator’s opinion, continued to benefit from treatment and met the criteria for treatment in the setting of progressive disease could continue treatment. </a:t>
            </a:r>
            <a:r>
              <a:rPr kumimoji="0" lang="en-US" sz="900" b="0" i="0" u="none" strike="noStrike" kern="1200" cap="none" spc="0" normalizeH="0" baseline="30000" noProof="0" dirty="0">
                <a:ln>
                  <a:noFill/>
                </a:ln>
                <a:solidFill>
                  <a:srgbClr val="002557"/>
                </a:solidFill>
                <a:effectLst/>
                <a:uLnTx/>
                <a:uFillTx/>
                <a:latin typeface="Arial" panose="020B0604020202020204"/>
                <a:ea typeface="+mn-ea"/>
                <a:cs typeface="+mn-cs"/>
              </a:rPr>
              <a:t>†</a:t>
            </a:r>
            <a:r>
              <a:rPr kumimoji="0" lang="en-US" sz="900" b="0" i="0" u="none" strike="noStrike" kern="1200" cap="none" spc="0" normalizeH="0" baseline="0" noProof="0" dirty="0">
                <a:ln>
                  <a:noFill/>
                </a:ln>
                <a:solidFill>
                  <a:srgbClr val="002557"/>
                </a:solidFill>
                <a:effectLst/>
                <a:uLnTx/>
                <a:uFillTx/>
                <a:latin typeface="Arial" panose="020B0604020202020204"/>
                <a:ea typeface="+mn-ea"/>
                <a:cs typeface="+mn-cs"/>
              </a:rPr>
              <a:t>The T75+D arm was closed following a preplanned analysis of a Phase 2 study. Patients randomized to this arm (n=153) could continue treatment following arm closure. Results from this arm are not reported in this presentation.</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900" b="0" i="0" u="none" strike="noStrike" kern="1200" cap="none" spc="0" normalizeH="0" baseline="0" noProof="0" dirty="0">
                <a:ln>
                  <a:noFill/>
                </a:ln>
                <a:solidFill>
                  <a:srgbClr val="002557"/>
                </a:solidFill>
                <a:effectLst/>
                <a:uLnTx/>
                <a:uFillTx/>
                <a:latin typeface="Arial" panose="020B0604020202020204"/>
                <a:ea typeface="+mn-ea"/>
                <a:cs typeface="+mn-cs"/>
              </a:rPr>
              <a:t>BID, twice a day; EGD, esophagogastroduodenoscopy; Q4W, every 4 weeks.</a:t>
            </a:r>
          </a:p>
        </p:txBody>
      </p:sp>
      <p:sp>
        <p:nvSpPr>
          <p:cNvPr id="24" name="Rectangle: Rounded Corners 23">
            <a:extLst>
              <a:ext uri="{FF2B5EF4-FFF2-40B4-BE49-F238E27FC236}">
                <a16:creationId xmlns:a16="http://schemas.microsoft.com/office/drawing/2014/main" id="{3B552670-9DA7-46F2-988D-3F1C20B00C58}"/>
              </a:ext>
            </a:extLst>
          </p:cNvPr>
          <p:cNvSpPr/>
          <p:nvPr/>
        </p:nvSpPr>
        <p:spPr>
          <a:xfrm>
            <a:off x="6669150" y="1737360"/>
            <a:ext cx="2633472" cy="3383280"/>
          </a:xfrm>
          <a:prstGeom prst="roundRect">
            <a:avLst>
              <a:gd name="adj" fmla="val 3498"/>
            </a:avLst>
          </a:prstGeom>
          <a:solidFill>
            <a:schemeClr val="bg1">
              <a:lumMod val="95000"/>
            </a:schemeClr>
          </a:solidFill>
          <a:ln>
            <a:solidFill>
              <a:srgbClr val="0025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2557"/>
                </a:solidFill>
                <a:effectLst/>
                <a:uLnTx/>
                <a:uFillTx/>
                <a:latin typeface="Arial" panose="020B0604020202020204"/>
                <a:ea typeface="+mn-ea"/>
                <a:cs typeface="+mn-cs"/>
              </a:rPr>
              <a:t>Primary objectiv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1400" b="0" i="0" u="none" strike="noStrike" kern="1200" cap="none" spc="0" normalizeH="0" baseline="0" noProof="0" dirty="0">
                <a:ln>
                  <a:noFill/>
                </a:ln>
                <a:solidFill>
                  <a:srgbClr val="002557"/>
                </a:solidFill>
                <a:effectLst/>
                <a:uLnTx/>
                <a:uFillTx/>
                <a:latin typeface="Arial" panose="020B0604020202020204"/>
                <a:ea typeface="+mn-ea"/>
                <a:cs typeface="+mn-cs"/>
              </a:rPr>
              <a:t>OS for T300+D vs sorafenib</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da-DK" sz="1400" b="0" i="0" u="none" strike="noStrike" kern="1200" cap="none" spc="0" normalizeH="0" baseline="0" noProof="0" dirty="0">
              <a:ln>
                <a:noFill/>
              </a:ln>
              <a:solidFill>
                <a:srgbClr val="002557"/>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2557"/>
                </a:solidFill>
                <a:effectLst/>
                <a:uLnTx/>
                <a:uFillTx/>
                <a:latin typeface="Arial" panose="020B0604020202020204"/>
                <a:ea typeface="+mn-ea"/>
                <a:cs typeface="+mn-cs"/>
              </a:rPr>
              <a:t>Key secondary objectiv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srgbClr val="002557"/>
                </a:solidFill>
                <a:effectLst/>
                <a:uLnTx/>
                <a:uFillTx/>
                <a:latin typeface="Arial" panose="020B0604020202020204"/>
                <a:ea typeface="+mn-ea"/>
                <a:cs typeface="+mn-cs"/>
              </a:rPr>
              <a:t>OS for durvalumab vs sorafenib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400" b="0" i="0" u="none" strike="noStrike" kern="1200" cap="none" spc="0" normalizeH="0" baseline="0" noProof="0" dirty="0">
              <a:ln>
                <a:noFill/>
              </a:ln>
              <a:solidFill>
                <a:srgbClr val="002557"/>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2557"/>
                </a:solidFill>
                <a:effectLst/>
                <a:uLnTx/>
                <a:uFillTx/>
                <a:latin typeface="Arial" panose="020B0604020202020204"/>
                <a:ea typeface="+mn-ea"/>
                <a:cs typeface="+mn-cs"/>
              </a:rPr>
              <a:t>Additional secondary objectiv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srgbClr val="002557"/>
                </a:solidFill>
                <a:effectLst/>
                <a:uLnTx/>
                <a:uFillTx/>
                <a:latin typeface="Arial" panose="020B0604020202020204"/>
                <a:ea typeface="+mn-ea"/>
                <a:cs typeface="+mn-cs"/>
              </a:rPr>
              <a:t>PFS, ORR, and </a:t>
            </a:r>
            <a:r>
              <a:rPr kumimoji="0" lang="en-GB" sz="1400" b="0" i="0" u="none" strike="noStrike" kern="1200" cap="none" spc="0" normalizeH="0" baseline="0" noProof="0" dirty="0" err="1">
                <a:ln>
                  <a:noFill/>
                </a:ln>
                <a:solidFill>
                  <a:srgbClr val="002557"/>
                </a:solidFill>
                <a:effectLst/>
                <a:uLnTx/>
                <a:uFillTx/>
                <a:latin typeface="Arial" panose="020B0604020202020204"/>
                <a:ea typeface="+mn-ea"/>
                <a:cs typeface="+mn-cs"/>
              </a:rPr>
              <a:t>DoR</a:t>
            </a:r>
            <a:r>
              <a:rPr kumimoji="0" lang="en-GB" sz="1400" b="0" i="0" u="none" strike="noStrike" kern="1200" cap="none" spc="0" normalizeH="0" baseline="0" noProof="0" dirty="0">
                <a:ln>
                  <a:noFill/>
                </a:ln>
                <a:solidFill>
                  <a:srgbClr val="002557"/>
                </a:solidFill>
                <a:effectLst/>
                <a:uLnTx/>
                <a:uFillTx/>
                <a:latin typeface="Arial" panose="020B0604020202020204"/>
                <a:ea typeface="+mn-ea"/>
                <a:cs typeface="+mn-cs"/>
              </a:rPr>
              <a:t> as assessed by </a:t>
            </a:r>
            <a:r>
              <a:rPr kumimoji="0" lang="en-US" sz="1400" b="0" i="0" u="none" strike="noStrike" kern="1200" cap="none" spc="0" normalizeH="0" baseline="0" noProof="0" dirty="0">
                <a:ln>
                  <a:noFill/>
                </a:ln>
                <a:solidFill>
                  <a:srgbClr val="002557"/>
                </a:solidFill>
                <a:effectLst/>
                <a:uLnTx/>
                <a:uFillTx/>
                <a:latin typeface="Arial" panose="020B0604020202020204"/>
                <a:ea typeface="+mn-ea"/>
                <a:cs typeface="+mn-cs"/>
              </a:rPr>
              <a:t>investigator per RECIST v1.1</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2557"/>
                </a:solidFill>
                <a:effectLst/>
                <a:uLnTx/>
                <a:uFillTx/>
                <a:latin typeface="Arial" panose="020B0604020202020204"/>
                <a:ea typeface="+mn-ea"/>
                <a:cs typeface="+mn-cs"/>
              </a:rPr>
              <a:t>S</a:t>
            </a:r>
            <a:r>
              <a:rPr kumimoji="0" lang="en-GB" sz="1400" b="0" i="0" u="none" strike="noStrike" kern="1200" cap="none" spc="0" normalizeH="0" baseline="0" noProof="0" dirty="0" err="1">
                <a:ln>
                  <a:noFill/>
                </a:ln>
                <a:solidFill>
                  <a:srgbClr val="002557"/>
                </a:solidFill>
                <a:effectLst/>
                <a:uLnTx/>
                <a:uFillTx/>
                <a:latin typeface="Arial" panose="020B0604020202020204"/>
                <a:ea typeface="+mn-ea"/>
                <a:cs typeface="+mn-cs"/>
              </a:rPr>
              <a:t>afety</a:t>
            </a:r>
            <a:endParaRPr kumimoji="0" lang="en-GB" sz="1400" b="0" i="0" u="none" strike="noStrike" kern="1200" cap="none" spc="0" normalizeH="0" baseline="0" noProof="0" dirty="0">
              <a:ln>
                <a:noFill/>
              </a:ln>
              <a:solidFill>
                <a:srgbClr val="002557"/>
              </a:solidFill>
              <a:effectLst/>
              <a:uLnTx/>
              <a:uFillTx/>
              <a:latin typeface="Arial" panose="020B0604020202020204"/>
              <a:ea typeface="+mn-ea"/>
              <a:cs typeface="+mn-cs"/>
            </a:endParaRPr>
          </a:p>
        </p:txBody>
      </p:sp>
      <p:sp>
        <p:nvSpPr>
          <p:cNvPr id="25" name="TextBox 24">
            <a:extLst>
              <a:ext uri="{FF2B5EF4-FFF2-40B4-BE49-F238E27FC236}">
                <a16:creationId xmlns:a16="http://schemas.microsoft.com/office/drawing/2014/main" id="{FB68D02A-7D88-4074-B2CF-2FBAD82DA8B4}"/>
              </a:ext>
            </a:extLst>
          </p:cNvPr>
          <p:cNvSpPr txBox="1"/>
          <p:nvPr/>
        </p:nvSpPr>
        <p:spPr>
          <a:xfrm>
            <a:off x="9477704" y="1693431"/>
            <a:ext cx="2593626"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557"/>
                </a:solidFill>
                <a:effectLst/>
                <a:uLnTx/>
                <a:uFillTx/>
                <a:latin typeface="Arial" panose="020B0604020202020204"/>
                <a:ea typeface="+mn-ea"/>
                <a:cs typeface="+mn-cs"/>
              </a:rPr>
              <a:t>Multiple testing procedure</a:t>
            </a:r>
          </a:p>
        </p:txBody>
      </p:sp>
      <p:sp>
        <p:nvSpPr>
          <p:cNvPr id="26" name="Rectangle: Rounded Corners 25">
            <a:extLst>
              <a:ext uri="{FF2B5EF4-FFF2-40B4-BE49-F238E27FC236}">
                <a16:creationId xmlns:a16="http://schemas.microsoft.com/office/drawing/2014/main" id="{C5AE1E4A-7D1A-4B54-A674-0E6E818C7F9E}"/>
              </a:ext>
            </a:extLst>
          </p:cNvPr>
          <p:cNvSpPr/>
          <p:nvPr/>
        </p:nvSpPr>
        <p:spPr>
          <a:xfrm>
            <a:off x="9430923" y="1933076"/>
            <a:ext cx="2593624" cy="684803"/>
          </a:xfrm>
          <a:prstGeom prst="roundRect">
            <a:avLst>
              <a:gd name="adj" fmla="val 12546"/>
            </a:avLst>
          </a:prstGeom>
          <a:solidFill>
            <a:schemeClr val="accent1"/>
          </a:solidFill>
          <a:ln w="12700">
            <a:noFill/>
          </a:ln>
        </p:spPr>
        <p:txBody>
          <a:bodyPr wrap="square" lIns="62400" rIns="62400" rtlCol="0" anchor="ctr" anchorCtr="0">
            <a:noAutofit/>
          </a:bodyP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panose="020B0604020202020204"/>
                <a:ea typeface="+mn-ea"/>
                <a:cs typeface="+mn-cs"/>
              </a:rPr>
              <a:t>OS </a:t>
            </a:r>
            <a:r>
              <a:rPr kumimoji="0" lang="en-US" sz="1400" b="1" i="1" u="none" strike="noStrike" kern="1200" cap="none" spc="0" normalizeH="0" baseline="0" noProof="0" dirty="0">
                <a:ln>
                  <a:noFill/>
                </a:ln>
                <a:solidFill>
                  <a:prstClr val="white"/>
                </a:solidFill>
                <a:effectLst/>
                <a:uLnTx/>
                <a:uFillTx/>
                <a:latin typeface="Arial" panose="020B0604020202020204"/>
                <a:ea typeface="+mn-ea"/>
                <a:cs typeface="+mn-cs"/>
              </a:rPr>
              <a:t>superiority</a:t>
            </a:r>
            <a:r>
              <a:rPr kumimoji="0" lang="en-US" sz="1400" b="1" i="0" u="none" strike="noStrike" kern="1200" cap="none" spc="0" normalizeH="0" baseline="0" noProof="0" dirty="0">
                <a:ln>
                  <a:noFill/>
                </a:ln>
                <a:solidFill>
                  <a:prstClr val="white"/>
                </a:solidFill>
                <a:effectLst/>
                <a:uLnTx/>
                <a:uFillTx/>
                <a:latin typeface="Arial" panose="020B0604020202020204"/>
                <a:ea typeface="+mn-ea"/>
                <a:cs typeface="+mn-cs"/>
              </a:rPr>
              <a:t> for T300+D vs sorafenib</a:t>
            </a:r>
          </a:p>
        </p:txBody>
      </p:sp>
      <p:sp>
        <p:nvSpPr>
          <p:cNvPr id="40" name="Rectangle: Rounded Corners 39">
            <a:extLst>
              <a:ext uri="{FF2B5EF4-FFF2-40B4-BE49-F238E27FC236}">
                <a16:creationId xmlns:a16="http://schemas.microsoft.com/office/drawing/2014/main" id="{B2EBDAE2-6F51-44D1-8271-D205BE8CB604}"/>
              </a:ext>
            </a:extLst>
          </p:cNvPr>
          <p:cNvSpPr/>
          <p:nvPr/>
        </p:nvSpPr>
        <p:spPr>
          <a:xfrm>
            <a:off x="9417590" y="3645540"/>
            <a:ext cx="2593624" cy="684803"/>
          </a:xfrm>
          <a:prstGeom prst="roundRect">
            <a:avLst>
              <a:gd name="adj" fmla="val 12546"/>
            </a:avLst>
          </a:prstGeom>
          <a:solidFill>
            <a:srgbClr val="008764"/>
          </a:solidFill>
          <a:ln w="12700">
            <a:noFill/>
          </a:ln>
        </p:spPr>
        <p:txBody>
          <a:bodyPr wrap="square" lIns="62400" rIns="62400" rtlCol="0" anchor="ctr" anchorCtr="0">
            <a:noAutofit/>
          </a:bodyP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Arial" panose="020B0604020202020204"/>
                <a:ea typeface="+mn-ea"/>
                <a:cs typeface="+mn-cs"/>
              </a:rPr>
              <a:t>OS </a:t>
            </a:r>
            <a:r>
              <a:rPr kumimoji="0" lang="en-US" sz="1400" b="1" i="1" u="none" strike="noStrike" kern="0" cap="none" spc="0" normalizeH="0" baseline="0" noProof="0" dirty="0">
                <a:ln>
                  <a:noFill/>
                </a:ln>
                <a:solidFill>
                  <a:prstClr val="white"/>
                </a:solidFill>
                <a:effectLst/>
                <a:uLnTx/>
                <a:uFillTx/>
                <a:latin typeface="Arial" panose="020B0604020202020204"/>
                <a:ea typeface="+mn-ea"/>
                <a:cs typeface="+mn-cs"/>
              </a:rPr>
              <a:t>superiority</a:t>
            </a:r>
            <a:r>
              <a:rPr kumimoji="0" lang="en-US" sz="1400" b="1" i="0" u="none" strike="noStrike" kern="0" cap="none" spc="0" normalizeH="0" baseline="0" noProof="0" dirty="0">
                <a:ln>
                  <a:noFill/>
                </a:ln>
                <a:solidFill>
                  <a:prstClr val="white"/>
                </a:solidFill>
                <a:effectLst/>
                <a:uLnTx/>
                <a:uFillTx/>
                <a:latin typeface="Arial" panose="020B0604020202020204"/>
                <a:ea typeface="+mn-ea"/>
                <a:cs typeface="+mn-cs"/>
              </a:rPr>
              <a:t> for durvalumab vs sorafenib</a:t>
            </a:r>
            <a:endParaRPr kumimoji="0" lang="da-DK" sz="1400" b="1" i="0" u="none" strike="noStrike" kern="0" cap="none" spc="0" normalizeH="0" baseline="0" noProof="0" dirty="0">
              <a:ln>
                <a:noFill/>
              </a:ln>
              <a:solidFill>
                <a:prstClr val="white"/>
              </a:solidFill>
              <a:effectLst/>
              <a:uLnTx/>
              <a:uFillTx/>
              <a:latin typeface="Arial" panose="020B0604020202020204"/>
              <a:ea typeface="+mn-ea"/>
              <a:cs typeface="+mn-cs"/>
            </a:endParaRPr>
          </a:p>
        </p:txBody>
      </p:sp>
      <p:cxnSp>
        <p:nvCxnSpPr>
          <p:cNvPr id="41" name="Straight Arrow Connector 40">
            <a:extLst>
              <a:ext uri="{FF2B5EF4-FFF2-40B4-BE49-F238E27FC236}">
                <a16:creationId xmlns:a16="http://schemas.microsoft.com/office/drawing/2014/main" id="{BC05423A-EB7F-4D3D-8F5D-37566B508F4A}"/>
              </a:ext>
            </a:extLst>
          </p:cNvPr>
          <p:cNvCxnSpPr>
            <a:cxnSpLocks/>
            <a:stCxn id="26" idx="2"/>
          </p:cNvCxnSpPr>
          <p:nvPr/>
        </p:nvCxnSpPr>
        <p:spPr>
          <a:xfrm>
            <a:off x="10727735" y="2617879"/>
            <a:ext cx="0" cy="180849"/>
          </a:xfrm>
          <a:prstGeom prst="straightConnector1">
            <a:avLst/>
          </a:prstGeom>
          <a:ln w="19050">
            <a:solidFill>
              <a:srgbClr val="002557"/>
            </a:solidFill>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5837B3E5-F6AA-4911-97B7-E06CDE582727}"/>
              </a:ext>
            </a:extLst>
          </p:cNvPr>
          <p:cNvCxnSpPr>
            <a:cxnSpLocks/>
          </p:cNvCxnSpPr>
          <p:nvPr/>
        </p:nvCxnSpPr>
        <p:spPr>
          <a:xfrm>
            <a:off x="10759705" y="3470109"/>
            <a:ext cx="0" cy="180849"/>
          </a:xfrm>
          <a:prstGeom prst="straightConnector1">
            <a:avLst/>
          </a:prstGeom>
          <a:ln w="19050">
            <a:solidFill>
              <a:srgbClr val="002557"/>
            </a:solidFill>
            <a:tailEnd type="triangle"/>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D6B70578-740F-4BF4-B44E-A5ACD413182D}"/>
              </a:ext>
            </a:extLst>
          </p:cNvPr>
          <p:cNvCxnSpPr/>
          <p:nvPr/>
        </p:nvCxnSpPr>
        <p:spPr>
          <a:xfrm>
            <a:off x="197257" y="3822591"/>
            <a:ext cx="2634637" cy="0"/>
          </a:xfrm>
          <a:prstGeom prst="line">
            <a:avLst/>
          </a:prstGeom>
          <a:ln>
            <a:solidFill>
              <a:srgbClr val="002557"/>
            </a:solidFill>
          </a:ln>
        </p:spPr>
        <p:style>
          <a:lnRef idx="1">
            <a:schemeClr val="accent1"/>
          </a:lnRef>
          <a:fillRef idx="0">
            <a:schemeClr val="accent1"/>
          </a:fillRef>
          <a:effectRef idx="0">
            <a:schemeClr val="accent1"/>
          </a:effectRef>
          <a:fontRef idx="minor">
            <a:schemeClr val="tx1"/>
          </a:fontRef>
        </p:style>
      </p:cxnSp>
      <p:sp>
        <p:nvSpPr>
          <p:cNvPr id="4" name="Oval 3">
            <a:extLst>
              <a:ext uri="{FF2B5EF4-FFF2-40B4-BE49-F238E27FC236}">
                <a16:creationId xmlns:a16="http://schemas.microsoft.com/office/drawing/2014/main" id="{B0137303-9241-4861-85F3-D1121AF74DE7}"/>
              </a:ext>
            </a:extLst>
          </p:cNvPr>
          <p:cNvSpPr/>
          <p:nvPr/>
        </p:nvSpPr>
        <p:spPr>
          <a:xfrm>
            <a:off x="238124" y="3244082"/>
            <a:ext cx="2465469" cy="282732"/>
          </a:xfrm>
          <a:prstGeom prst="ellipse">
            <a:avLst/>
          </a:prstGeom>
          <a:noFill/>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Tree>
    <p:extLst>
      <p:ext uri="{BB962C8B-B14F-4D97-AF65-F5344CB8AC3E}">
        <p14:creationId xmlns:p14="http://schemas.microsoft.com/office/powerpoint/2010/main" val="212063489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971CF798-00BB-44AF-AE31-7787B41C7D0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7" name="think-cell Slide" r:id="rId5" imgW="592" imgH="591" progId="TCLayout.ActiveDocument.1">
                  <p:embed/>
                </p:oleObj>
              </mc:Choice>
              <mc:Fallback>
                <p:oleObj name="think-cell Slide" r:id="rId5" imgW="592" imgH="591" progId="TCLayout.ActiveDocument.1">
                  <p:embed/>
                  <p:pic>
                    <p:nvPicPr>
                      <p:cNvPr id="11" name="Object 10" hidden="1">
                        <a:extLst>
                          <a:ext uri="{FF2B5EF4-FFF2-40B4-BE49-F238E27FC236}">
                            <a16:creationId xmlns:a16="http://schemas.microsoft.com/office/drawing/2014/main" id="{971CF798-00BB-44AF-AE31-7787B41C7D0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16" name="Table 15">
            <a:extLst>
              <a:ext uri="{FF2B5EF4-FFF2-40B4-BE49-F238E27FC236}">
                <a16:creationId xmlns:a16="http://schemas.microsoft.com/office/drawing/2014/main" id="{3A430315-28F2-4295-AE6A-6089C1CD6ACF}"/>
              </a:ext>
            </a:extLst>
          </p:cNvPr>
          <p:cNvGraphicFramePr>
            <a:graphicFrameLocks noGrp="1"/>
          </p:cNvGraphicFramePr>
          <p:nvPr/>
        </p:nvGraphicFramePr>
        <p:xfrm>
          <a:off x="395263" y="990600"/>
          <a:ext cx="5802729" cy="4297619"/>
        </p:xfrm>
        <a:graphic>
          <a:graphicData uri="http://schemas.openxmlformats.org/drawingml/2006/table">
            <a:tbl>
              <a:tblPr firstRow="1" bandRow="1">
                <a:tableStyleId>{0505E3EF-67EA-436B-97B2-0124C06EBD24}</a:tableStyleId>
              </a:tblPr>
              <a:tblGrid>
                <a:gridCol w="2519343">
                  <a:extLst>
                    <a:ext uri="{9D8B030D-6E8A-4147-A177-3AD203B41FA5}">
                      <a16:colId xmlns:a16="http://schemas.microsoft.com/office/drawing/2014/main" val="683402423"/>
                    </a:ext>
                  </a:extLst>
                </a:gridCol>
                <a:gridCol w="1094462">
                  <a:extLst>
                    <a:ext uri="{9D8B030D-6E8A-4147-A177-3AD203B41FA5}">
                      <a16:colId xmlns:a16="http://schemas.microsoft.com/office/drawing/2014/main" val="1461441399"/>
                    </a:ext>
                  </a:extLst>
                </a:gridCol>
                <a:gridCol w="1094462">
                  <a:extLst>
                    <a:ext uri="{9D8B030D-6E8A-4147-A177-3AD203B41FA5}">
                      <a16:colId xmlns:a16="http://schemas.microsoft.com/office/drawing/2014/main" val="1157028237"/>
                    </a:ext>
                  </a:extLst>
                </a:gridCol>
                <a:gridCol w="1094462">
                  <a:extLst>
                    <a:ext uri="{9D8B030D-6E8A-4147-A177-3AD203B41FA5}">
                      <a16:colId xmlns:a16="http://schemas.microsoft.com/office/drawing/2014/main" val="4201646895"/>
                    </a:ext>
                  </a:extLst>
                </a:gridCol>
              </a:tblGrid>
              <a:tr h="524099">
                <a:tc>
                  <a:txBody>
                    <a:bodyPr/>
                    <a:lstStyle/>
                    <a:p>
                      <a:pPr>
                        <a:spcBef>
                          <a:spcPts val="0"/>
                        </a:spcBef>
                        <a:spcAft>
                          <a:spcPts val="0"/>
                        </a:spcAft>
                      </a:pPr>
                      <a:r>
                        <a:rPr lang="en-US" sz="1200" dirty="0">
                          <a:solidFill>
                            <a:srgbClr val="002557"/>
                          </a:solidFill>
                        </a:rPr>
                        <a:t>Characteristic</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N" sz="1200" b="1" dirty="0">
                          <a:solidFill>
                            <a:prstClr val="white"/>
                          </a:solidFill>
                          <a:latin typeface="+mn-lt"/>
                        </a:rPr>
                        <a:t>T300+D</a:t>
                      </a:r>
                      <a:r>
                        <a:rPr lang="en-US" sz="1200" dirty="0">
                          <a:solidFill>
                            <a:schemeClr val="bg1"/>
                          </a:solidFill>
                        </a:rPr>
                        <a:t> (n=393)</a:t>
                      </a:r>
                    </a:p>
                  </a:txBody>
                  <a:tcPr anchor="ctr">
                    <a:solidFill>
                      <a:srgbClr val="4472C4"/>
                    </a:solidFill>
                  </a:tcPr>
                </a:tc>
                <a:tc>
                  <a:txBody>
                    <a:bodyPr/>
                    <a:lstStyle/>
                    <a:p>
                      <a:pPr algn="ctr">
                        <a:spcBef>
                          <a:spcPts val="0"/>
                        </a:spcBef>
                        <a:spcAft>
                          <a:spcPts val="0"/>
                        </a:spcAft>
                      </a:pPr>
                      <a:r>
                        <a:rPr lang="en-US" sz="1200" dirty="0">
                          <a:solidFill>
                            <a:schemeClr val="bg1"/>
                          </a:solidFill>
                        </a:rPr>
                        <a:t>Durvalumab (n=389)</a:t>
                      </a:r>
                    </a:p>
                  </a:txBody>
                  <a:tcPr anchor="ctr">
                    <a:solidFill>
                      <a:srgbClr val="008764"/>
                    </a:solidFill>
                  </a:tcPr>
                </a:tc>
                <a:tc>
                  <a:txBody>
                    <a:bodyPr/>
                    <a:lstStyle/>
                    <a:p>
                      <a:pPr algn="ctr">
                        <a:spcBef>
                          <a:spcPts val="0"/>
                        </a:spcBef>
                        <a:spcAft>
                          <a:spcPts val="0"/>
                        </a:spcAft>
                      </a:pPr>
                      <a:r>
                        <a:rPr lang="en-US" sz="1200" dirty="0">
                          <a:solidFill>
                            <a:schemeClr val="bg1"/>
                          </a:solidFill>
                        </a:rPr>
                        <a:t>Sorafenib (n=389)</a:t>
                      </a:r>
                    </a:p>
                  </a:txBody>
                  <a:tcPr anchor="ctr">
                    <a:solidFill>
                      <a:srgbClr val="830051"/>
                    </a:solidFill>
                  </a:tcPr>
                </a:tc>
                <a:extLst>
                  <a:ext uri="{0D108BD9-81ED-4DB2-BD59-A6C34878D82A}">
                    <a16:rowId xmlns:a16="http://schemas.microsoft.com/office/drawing/2014/main" val="3856136383"/>
                  </a:ext>
                </a:extLst>
              </a:tr>
              <a:tr h="314460">
                <a:tc>
                  <a:txBody>
                    <a:bodyPr/>
                    <a:lstStyle/>
                    <a:p>
                      <a:pPr>
                        <a:spcBef>
                          <a:spcPts val="0"/>
                        </a:spcBef>
                        <a:spcAft>
                          <a:spcPts val="0"/>
                        </a:spcAft>
                      </a:pPr>
                      <a:r>
                        <a:rPr lang="en-US" sz="1200" dirty="0">
                          <a:solidFill>
                            <a:srgbClr val="002557"/>
                          </a:solidFill>
                        </a:rPr>
                        <a:t>Male sex, n (%)</a:t>
                      </a:r>
                    </a:p>
                  </a:txBody>
                  <a:tcPr anchor="ctr"/>
                </a:tc>
                <a:tc>
                  <a:txBody>
                    <a:bodyPr/>
                    <a:lstStyle/>
                    <a:p>
                      <a:pPr algn="ctr">
                        <a:spcBef>
                          <a:spcPts val="0"/>
                        </a:spcBef>
                        <a:spcAft>
                          <a:spcPts val="0"/>
                        </a:spcAft>
                      </a:pPr>
                      <a:r>
                        <a:rPr lang="en-US" sz="1200" dirty="0">
                          <a:solidFill>
                            <a:srgbClr val="002557"/>
                          </a:solidFill>
                        </a:rPr>
                        <a:t>327 (83.2)</a:t>
                      </a:r>
                    </a:p>
                  </a:txBody>
                  <a:tcPr anchor="ctr"/>
                </a:tc>
                <a:tc>
                  <a:txBody>
                    <a:bodyPr/>
                    <a:lstStyle/>
                    <a:p>
                      <a:pPr algn="ctr">
                        <a:spcBef>
                          <a:spcPts val="0"/>
                        </a:spcBef>
                        <a:spcAft>
                          <a:spcPts val="0"/>
                        </a:spcAft>
                      </a:pPr>
                      <a:r>
                        <a:rPr lang="en-US" sz="1200" dirty="0">
                          <a:solidFill>
                            <a:srgbClr val="002557"/>
                          </a:solidFill>
                        </a:rPr>
                        <a:t>323 (83.0)</a:t>
                      </a:r>
                    </a:p>
                  </a:txBody>
                  <a:tcPr anchor="ctr"/>
                </a:tc>
                <a:tc>
                  <a:txBody>
                    <a:bodyPr/>
                    <a:lstStyle/>
                    <a:p>
                      <a:pPr algn="ctr">
                        <a:spcBef>
                          <a:spcPts val="0"/>
                        </a:spcBef>
                        <a:spcAft>
                          <a:spcPts val="0"/>
                        </a:spcAft>
                      </a:pPr>
                      <a:r>
                        <a:rPr lang="en-US" sz="1200" dirty="0">
                          <a:solidFill>
                            <a:srgbClr val="002557"/>
                          </a:solidFill>
                        </a:rPr>
                        <a:t>337 (86.6)</a:t>
                      </a:r>
                    </a:p>
                  </a:txBody>
                  <a:tcPr anchor="ctr"/>
                </a:tc>
                <a:extLst>
                  <a:ext uri="{0D108BD9-81ED-4DB2-BD59-A6C34878D82A}">
                    <a16:rowId xmlns:a16="http://schemas.microsoft.com/office/drawing/2014/main" val="157701012"/>
                  </a:ext>
                </a:extLst>
              </a:tr>
              <a:tr h="314460">
                <a:tc>
                  <a:txBody>
                    <a:bodyPr/>
                    <a:lstStyle/>
                    <a:p>
                      <a:pPr>
                        <a:spcBef>
                          <a:spcPts val="0"/>
                        </a:spcBef>
                        <a:spcAft>
                          <a:spcPts val="0"/>
                        </a:spcAft>
                      </a:pPr>
                      <a:r>
                        <a:rPr lang="en-US" sz="1200" dirty="0">
                          <a:solidFill>
                            <a:srgbClr val="002557"/>
                          </a:solidFill>
                        </a:rPr>
                        <a:t>Median age (range), years</a:t>
                      </a:r>
                    </a:p>
                  </a:txBody>
                  <a:tcPr anchor="ctr"/>
                </a:tc>
                <a:tc>
                  <a:txBody>
                    <a:bodyPr/>
                    <a:lstStyle/>
                    <a:p>
                      <a:pPr algn="ctr">
                        <a:spcBef>
                          <a:spcPts val="0"/>
                        </a:spcBef>
                        <a:spcAft>
                          <a:spcPts val="0"/>
                        </a:spcAft>
                      </a:pPr>
                      <a:r>
                        <a:rPr lang="en-US" sz="1200" dirty="0">
                          <a:solidFill>
                            <a:srgbClr val="002557"/>
                          </a:solidFill>
                        </a:rPr>
                        <a:t>65.0 (22–86)</a:t>
                      </a:r>
                    </a:p>
                  </a:txBody>
                  <a:tcPr anchor="ctr"/>
                </a:tc>
                <a:tc>
                  <a:txBody>
                    <a:bodyPr/>
                    <a:lstStyle/>
                    <a:p>
                      <a:pPr algn="ctr">
                        <a:spcBef>
                          <a:spcPts val="0"/>
                        </a:spcBef>
                        <a:spcAft>
                          <a:spcPts val="0"/>
                        </a:spcAft>
                      </a:pPr>
                      <a:r>
                        <a:rPr lang="en-US" sz="1200" dirty="0">
                          <a:solidFill>
                            <a:srgbClr val="002557"/>
                          </a:solidFill>
                        </a:rPr>
                        <a:t>64.0 (20–86)</a:t>
                      </a:r>
                    </a:p>
                  </a:txBody>
                  <a:tcPr anchor="ctr"/>
                </a:tc>
                <a:tc>
                  <a:txBody>
                    <a:bodyPr/>
                    <a:lstStyle/>
                    <a:p>
                      <a:pPr algn="ctr">
                        <a:spcBef>
                          <a:spcPts val="0"/>
                        </a:spcBef>
                        <a:spcAft>
                          <a:spcPts val="0"/>
                        </a:spcAft>
                      </a:pPr>
                      <a:r>
                        <a:rPr lang="en-US" sz="1200" dirty="0">
                          <a:solidFill>
                            <a:srgbClr val="002557"/>
                          </a:solidFill>
                        </a:rPr>
                        <a:t>64.0 (18–88)</a:t>
                      </a:r>
                    </a:p>
                  </a:txBody>
                  <a:tcPr anchor="ctr"/>
                </a:tc>
                <a:extLst>
                  <a:ext uri="{0D108BD9-81ED-4DB2-BD59-A6C34878D82A}">
                    <a16:rowId xmlns:a16="http://schemas.microsoft.com/office/drawing/2014/main" val="4144509572"/>
                  </a:ext>
                </a:extLst>
              </a:tr>
              <a:tr h="733740">
                <a:tc>
                  <a:txBody>
                    <a:bodyPr/>
                    <a:lstStyle/>
                    <a:p>
                      <a:pPr>
                        <a:spcBef>
                          <a:spcPts val="0"/>
                        </a:spcBef>
                        <a:spcAft>
                          <a:spcPts val="0"/>
                        </a:spcAft>
                      </a:pPr>
                      <a:r>
                        <a:rPr lang="en-US" sz="1200" dirty="0">
                          <a:solidFill>
                            <a:srgbClr val="002557"/>
                          </a:solidFill>
                        </a:rPr>
                        <a:t>Region, n (%)</a:t>
                      </a:r>
                    </a:p>
                    <a:p>
                      <a:pPr>
                        <a:spcBef>
                          <a:spcPts val="0"/>
                        </a:spcBef>
                        <a:spcAft>
                          <a:spcPts val="0"/>
                        </a:spcAft>
                      </a:pPr>
                      <a:r>
                        <a:rPr lang="en-US" sz="1200" dirty="0">
                          <a:solidFill>
                            <a:srgbClr val="002557"/>
                          </a:solidFill>
                        </a:rPr>
                        <a:t>   Asia (excluding Japan)</a:t>
                      </a:r>
                    </a:p>
                    <a:p>
                      <a:pPr>
                        <a:spcBef>
                          <a:spcPts val="0"/>
                        </a:spcBef>
                        <a:spcAft>
                          <a:spcPts val="0"/>
                        </a:spcAft>
                      </a:pPr>
                      <a:r>
                        <a:rPr lang="en-US" sz="1200" dirty="0">
                          <a:solidFill>
                            <a:srgbClr val="002557"/>
                          </a:solidFill>
                        </a:rPr>
                        <a:t>   Rest of world (including Japan)</a:t>
                      </a:r>
                    </a:p>
                  </a:txBody>
                  <a:tcPr anchor="ctr">
                    <a:solidFill>
                      <a:schemeClr val="bg2"/>
                    </a:solidFill>
                  </a:tcPr>
                </a:tc>
                <a:tc>
                  <a:txBody>
                    <a:bodyPr/>
                    <a:lstStyle/>
                    <a:p>
                      <a:pPr algn="ctr">
                        <a:spcBef>
                          <a:spcPts val="0"/>
                        </a:spcBef>
                        <a:spcAft>
                          <a:spcPts val="0"/>
                        </a:spcAft>
                      </a:pPr>
                      <a:endParaRPr lang="en-US" sz="1200" dirty="0">
                        <a:solidFill>
                          <a:srgbClr val="002557"/>
                        </a:solidFill>
                      </a:endParaRPr>
                    </a:p>
                    <a:p>
                      <a:pPr algn="ctr">
                        <a:spcBef>
                          <a:spcPts val="0"/>
                        </a:spcBef>
                        <a:spcAft>
                          <a:spcPts val="0"/>
                        </a:spcAft>
                      </a:pPr>
                      <a:r>
                        <a:rPr lang="en-US" sz="1200" dirty="0">
                          <a:solidFill>
                            <a:srgbClr val="002557"/>
                          </a:solidFill>
                        </a:rPr>
                        <a:t>156 (39.7)</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rgbClr val="002557"/>
                          </a:solidFill>
                        </a:rPr>
                        <a:t>237 (60.3)</a:t>
                      </a:r>
                    </a:p>
                  </a:txBody>
                  <a:tcPr anchor="ctr">
                    <a:solidFill>
                      <a:schemeClr val="bg2"/>
                    </a:solidFill>
                  </a:tcPr>
                </a:tc>
                <a:tc>
                  <a:txBody>
                    <a:bodyPr/>
                    <a:lstStyle/>
                    <a:p>
                      <a:pPr algn="ctr">
                        <a:spcBef>
                          <a:spcPts val="0"/>
                        </a:spcBef>
                        <a:spcAft>
                          <a:spcPts val="0"/>
                        </a:spcAft>
                      </a:pPr>
                      <a:endParaRPr lang="en-US" sz="1200" dirty="0">
                        <a:solidFill>
                          <a:srgbClr val="002557"/>
                        </a:solidFill>
                      </a:endParaRPr>
                    </a:p>
                    <a:p>
                      <a:pPr algn="ctr">
                        <a:spcBef>
                          <a:spcPts val="0"/>
                        </a:spcBef>
                        <a:spcAft>
                          <a:spcPts val="0"/>
                        </a:spcAft>
                      </a:pPr>
                      <a:r>
                        <a:rPr lang="en-US" sz="1200" dirty="0">
                          <a:solidFill>
                            <a:srgbClr val="002557"/>
                          </a:solidFill>
                        </a:rPr>
                        <a:t>167 (42.9)</a:t>
                      </a:r>
                    </a:p>
                    <a:p>
                      <a:pPr algn="ctr">
                        <a:spcBef>
                          <a:spcPts val="0"/>
                        </a:spcBef>
                        <a:spcAft>
                          <a:spcPts val="0"/>
                        </a:spcAft>
                      </a:pPr>
                      <a:r>
                        <a:rPr lang="en-US" sz="1200" dirty="0">
                          <a:solidFill>
                            <a:srgbClr val="002557"/>
                          </a:solidFill>
                        </a:rPr>
                        <a:t>222 (57.1)</a:t>
                      </a:r>
                    </a:p>
                  </a:txBody>
                  <a:tcPr anchor="ctr">
                    <a:solidFill>
                      <a:schemeClr val="bg2"/>
                    </a:solidFill>
                  </a:tcPr>
                </a:tc>
                <a:tc>
                  <a:txBody>
                    <a:bodyPr/>
                    <a:lstStyle/>
                    <a:p>
                      <a:pPr algn="ctr">
                        <a:spcBef>
                          <a:spcPts val="0"/>
                        </a:spcBef>
                        <a:spcAft>
                          <a:spcPts val="0"/>
                        </a:spcAft>
                      </a:pPr>
                      <a:endParaRPr lang="en-US" sz="1200" dirty="0">
                        <a:solidFill>
                          <a:srgbClr val="002557"/>
                        </a:solidFill>
                      </a:endParaRPr>
                    </a:p>
                    <a:p>
                      <a:pPr algn="ctr">
                        <a:spcBef>
                          <a:spcPts val="0"/>
                        </a:spcBef>
                        <a:spcAft>
                          <a:spcPts val="0"/>
                        </a:spcAft>
                      </a:pPr>
                      <a:r>
                        <a:rPr lang="en-US" sz="1200" dirty="0">
                          <a:solidFill>
                            <a:srgbClr val="002557"/>
                          </a:solidFill>
                        </a:rPr>
                        <a:t>156 (40.1)</a:t>
                      </a:r>
                    </a:p>
                    <a:p>
                      <a:pPr algn="ctr">
                        <a:spcBef>
                          <a:spcPts val="0"/>
                        </a:spcBef>
                        <a:spcAft>
                          <a:spcPts val="0"/>
                        </a:spcAft>
                      </a:pPr>
                      <a:r>
                        <a:rPr lang="en-US" sz="1200" dirty="0">
                          <a:solidFill>
                            <a:srgbClr val="002557"/>
                          </a:solidFill>
                        </a:rPr>
                        <a:t>233 (59.9)</a:t>
                      </a:r>
                    </a:p>
                  </a:txBody>
                  <a:tcPr anchor="ctr">
                    <a:solidFill>
                      <a:schemeClr val="bg2"/>
                    </a:solidFill>
                  </a:tcPr>
                </a:tc>
                <a:extLst>
                  <a:ext uri="{0D108BD9-81ED-4DB2-BD59-A6C34878D82A}">
                    <a16:rowId xmlns:a16="http://schemas.microsoft.com/office/drawing/2014/main" val="2595467933"/>
                  </a:ext>
                </a:extLst>
              </a:tr>
              <a:tr h="943380">
                <a:tc>
                  <a:txBody>
                    <a:bodyPr/>
                    <a:lstStyle/>
                    <a:p>
                      <a:pPr>
                        <a:spcBef>
                          <a:spcPts val="0"/>
                        </a:spcBef>
                        <a:spcAft>
                          <a:spcPts val="0"/>
                        </a:spcAft>
                      </a:pPr>
                      <a:r>
                        <a:rPr lang="en-US" sz="1200" dirty="0">
                          <a:solidFill>
                            <a:srgbClr val="002557"/>
                          </a:solidFill>
                        </a:rPr>
                        <a:t>Viral etiology,</a:t>
                      </a:r>
                      <a:r>
                        <a:rPr lang="en-US" sz="1200" baseline="0" dirty="0">
                          <a:solidFill>
                            <a:srgbClr val="002557"/>
                          </a:solidFill>
                        </a:rPr>
                        <a:t>*</a:t>
                      </a:r>
                      <a:r>
                        <a:rPr lang="en-US" sz="1200" baseline="30000" dirty="0">
                          <a:solidFill>
                            <a:srgbClr val="002557"/>
                          </a:solidFill>
                        </a:rPr>
                        <a:t>,</a:t>
                      </a:r>
                      <a:r>
                        <a:rPr kumimoji="0" lang="en-US" sz="1200" b="0" i="0" u="none" strike="noStrike" kern="1200" cap="none" spc="0" normalizeH="0" baseline="30000" noProof="0" dirty="0">
                          <a:ln>
                            <a:noFill/>
                          </a:ln>
                          <a:solidFill>
                            <a:srgbClr val="002557"/>
                          </a:solidFill>
                          <a:effectLst/>
                          <a:uLnTx/>
                          <a:uFillTx/>
                          <a:latin typeface="+mn-lt"/>
                          <a:ea typeface="+mn-ea"/>
                          <a:cs typeface="+mn-cs"/>
                        </a:rPr>
                        <a:t>† </a:t>
                      </a:r>
                      <a:r>
                        <a:rPr lang="en-US" sz="1200" dirty="0">
                          <a:solidFill>
                            <a:srgbClr val="002557"/>
                          </a:solidFill>
                        </a:rPr>
                        <a:t>n (%)</a:t>
                      </a:r>
                    </a:p>
                    <a:p>
                      <a:pPr>
                        <a:spcBef>
                          <a:spcPts val="0"/>
                        </a:spcBef>
                        <a:spcAft>
                          <a:spcPts val="0"/>
                        </a:spcAft>
                      </a:pPr>
                      <a:r>
                        <a:rPr lang="en-US" sz="1200" dirty="0">
                          <a:solidFill>
                            <a:srgbClr val="002557"/>
                          </a:solidFill>
                        </a:rPr>
                        <a:t>   HBV </a:t>
                      </a:r>
                    </a:p>
                    <a:p>
                      <a:pPr>
                        <a:spcBef>
                          <a:spcPts val="0"/>
                        </a:spcBef>
                        <a:spcAft>
                          <a:spcPts val="0"/>
                        </a:spcAft>
                      </a:pPr>
                      <a:r>
                        <a:rPr lang="en-US" sz="1200" dirty="0">
                          <a:solidFill>
                            <a:srgbClr val="002557"/>
                          </a:solidFill>
                        </a:rPr>
                        <a:t>   HCV</a:t>
                      </a:r>
                    </a:p>
                    <a:p>
                      <a:pPr>
                        <a:spcBef>
                          <a:spcPts val="0"/>
                        </a:spcBef>
                        <a:spcAft>
                          <a:spcPts val="0"/>
                        </a:spcAft>
                      </a:pPr>
                      <a:r>
                        <a:rPr lang="en-US" sz="1200" dirty="0">
                          <a:solidFill>
                            <a:srgbClr val="002557"/>
                          </a:solidFill>
                        </a:rPr>
                        <a:t>   Nonviral</a:t>
                      </a:r>
                      <a:endParaRPr lang="en-US" sz="1200" baseline="30000" dirty="0">
                        <a:solidFill>
                          <a:srgbClr val="002557"/>
                        </a:solidFill>
                      </a:endParaRPr>
                    </a:p>
                  </a:txBody>
                  <a:tcPr anchor="ctr">
                    <a:solidFill>
                      <a:schemeClr val="bg1">
                        <a:lumMod val="95000"/>
                      </a:schemeClr>
                    </a:solidFill>
                  </a:tcPr>
                </a:tc>
                <a:tc>
                  <a:txBody>
                    <a:bodyPr/>
                    <a:lstStyle/>
                    <a:p>
                      <a:pPr algn="ctr">
                        <a:spcBef>
                          <a:spcPts val="0"/>
                        </a:spcBef>
                        <a:spcAft>
                          <a:spcPts val="0"/>
                        </a:spcAft>
                      </a:pPr>
                      <a:endParaRPr lang="en-US" sz="1200" dirty="0">
                        <a:solidFill>
                          <a:srgbClr val="002557"/>
                        </a:solidFill>
                      </a:endParaRPr>
                    </a:p>
                    <a:p>
                      <a:pPr algn="ctr">
                        <a:spcBef>
                          <a:spcPts val="0"/>
                        </a:spcBef>
                        <a:spcAft>
                          <a:spcPts val="0"/>
                        </a:spcAft>
                      </a:pPr>
                      <a:r>
                        <a:rPr lang="en-US" sz="1200" dirty="0">
                          <a:solidFill>
                            <a:srgbClr val="002557"/>
                          </a:solidFill>
                        </a:rPr>
                        <a:t>122 (31.0)</a:t>
                      </a:r>
                    </a:p>
                    <a:p>
                      <a:pPr algn="ctr">
                        <a:spcBef>
                          <a:spcPts val="0"/>
                        </a:spcBef>
                        <a:spcAft>
                          <a:spcPts val="0"/>
                        </a:spcAft>
                      </a:pPr>
                      <a:r>
                        <a:rPr lang="en-US" sz="1200" dirty="0">
                          <a:solidFill>
                            <a:srgbClr val="002557"/>
                          </a:solidFill>
                        </a:rPr>
                        <a:t>110 (28.0)</a:t>
                      </a:r>
                    </a:p>
                    <a:p>
                      <a:pPr algn="ctr">
                        <a:spcBef>
                          <a:spcPts val="0"/>
                        </a:spcBef>
                        <a:spcAft>
                          <a:spcPts val="0"/>
                        </a:spcAft>
                      </a:pPr>
                      <a:r>
                        <a:rPr lang="en-US" sz="1200" dirty="0">
                          <a:solidFill>
                            <a:srgbClr val="002557"/>
                          </a:solidFill>
                        </a:rPr>
                        <a:t>161 (41.0)</a:t>
                      </a:r>
                    </a:p>
                  </a:txBody>
                  <a:tcPr anchor="ctr">
                    <a:solidFill>
                      <a:schemeClr val="bg1">
                        <a:lumMod val="95000"/>
                      </a:schemeClr>
                    </a:solidFill>
                  </a:tcPr>
                </a:tc>
                <a:tc>
                  <a:txBody>
                    <a:bodyPr/>
                    <a:lstStyle/>
                    <a:p>
                      <a:pPr algn="ctr">
                        <a:spcBef>
                          <a:spcPts val="0"/>
                        </a:spcBef>
                        <a:spcAft>
                          <a:spcPts val="0"/>
                        </a:spcAft>
                      </a:pPr>
                      <a:endParaRPr lang="en-US" sz="1200" dirty="0">
                        <a:solidFill>
                          <a:srgbClr val="002557"/>
                        </a:solidFill>
                      </a:endParaRPr>
                    </a:p>
                    <a:p>
                      <a:pPr algn="ctr">
                        <a:spcBef>
                          <a:spcPts val="0"/>
                        </a:spcBef>
                        <a:spcAft>
                          <a:spcPts val="0"/>
                        </a:spcAft>
                      </a:pPr>
                      <a:r>
                        <a:rPr lang="en-US" sz="1200" dirty="0">
                          <a:solidFill>
                            <a:srgbClr val="002557"/>
                          </a:solidFill>
                        </a:rPr>
                        <a:t>119 (30.6)</a:t>
                      </a:r>
                    </a:p>
                    <a:p>
                      <a:pPr algn="ctr">
                        <a:spcBef>
                          <a:spcPts val="0"/>
                        </a:spcBef>
                        <a:spcAft>
                          <a:spcPts val="0"/>
                        </a:spcAft>
                      </a:pPr>
                      <a:r>
                        <a:rPr lang="en-US" sz="1200" dirty="0">
                          <a:solidFill>
                            <a:srgbClr val="002557"/>
                          </a:solidFill>
                        </a:rPr>
                        <a:t>107 (27.5)</a:t>
                      </a:r>
                    </a:p>
                    <a:p>
                      <a:pPr algn="ctr">
                        <a:spcBef>
                          <a:spcPts val="0"/>
                        </a:spcBef>
                        <a:spcAft>
                          <a:spcPts val="0"/>
                        </a:spcAft>
                      </a:pPr>
                      <a:r>
                        <a:rPr lang="en-US" sz="1200" dirty="0">
                          <a:solidFill>
                            <a:srgbClr val="002557"/>
                          </a:solidFill>
                        </a:rPr>
                        <a:t>163 (41.9)</a:t>
                      </a:r>
                    </a:p>
                  </a:txBody>
                  <a:tcPr anchor="ctr">
                    <a:solidFill>
                      <a:schemeClr val="bg1">
                        <a:lumMod val="95000"/>
                      </a:schemeClr>
                    </a:solidFill>
                  </a:tcPr>
                </a:tc>
                <a:tc>
                  <a:txBody>
                    <a:bodyPr/>
                    <a:lstStyle/>
                    <a:p>
                      <a:pPr algn="ctr">
                        <a:spcBef>
                          <a:spcPts val="0"/>
                        </a:spcBef>
                        <a:spcAft>
                          <a:spcPts val="0"/>
                        </a:spcAft>
                      </a:pPr>
                      <a:endParaRPr lang="en-US" sz="1200" dirty="0">
                        <a:solidFill>
                          <a:srgbClr val="002557"/>
                        </a:solidFill>
                      </a:endParaRPr>
                    </a:p>
                    <a:p>
                      <a:pPr algn="ctr">
                        <a:spcBef>
                          <a:spcPts val="0"/>
                        </a:spcBef>
                        <a:spcAft>
                          <a:spcPts val="0"/>
                        </a:spcAft>
                      </a:pPr>
                      <a:r>
                        <a:rPr lang="en-US" sz="1200" dirty="0">
                          <a:solidFill>
                            <a:srgbClr val="002557"/>
                          </a:solidFill>
                        </a:rPr>
                        <a:t>119 (30.6)</a:t>
                      </a:r>
                    </a:p>
                    <a:p>
                      <a:pPr algn="ctr">
                        <a:spcBef>
                          <a:spcPts val="0"/>
                        </a:spcBef>
                        <a:spcAft>
                          <a:spcPts val="0"/>
                        </a:spcAft>
                      </a:pPr>
                      <a:r>
                        <a:rPr lang="en-US" sz="1200" dirty="0">
                          <a:solidFill>
                            <a:srgbClr val="002557"/>
                          </a:solidFill>
                        </a:rPr>
                        <a:t>104 (26.7)</a:t>
                      </a:r>
                    </a:p>
                    <a:p>
                      <a:pPr algn="ctr">
                        <a:spcBef>
                          <a:spcPts val="0"/>
                        </a:spcBef>
                        <a:spcAft>
                          <a:spcPts val="0"/>
                        </a:spcAft>
                      </a:pPr>
                      <a:r>
                        <a:rPr lang="en-US" sz="1200" dirty="0">
                          <a:solidFill>
                            <a:srgbClr val="002557"/>
                          </a:solidFill>
                        </a:rPr>
                        <a:t>166 (42.7)</a:t>
                      </a:r>
                    </a:p>
                  </a:txBody>
                  <a:tcPr anchor="ctr">
                    <a:solidFill>
                      <a:schemeClr val="bg1">
                        <a:lumMod val="95000"/>
                      </a:schemeClr>
                    </a:solidFill>
                  </a:tcPr>
                </a:tc>
                <a:extLst>
                  <a:ext uri="{0D108BD9-81ED-4DB2-BD59-A6C34878D82A}">
                    <a16:rowId xmlns:a16="http://schemas.microsoft.com/office/drawing/2014/main" val="3311284908"/>
                  </a:ext>
                </a:extLst>
              </a:tr>
              <a:tr h="733740">
                <a:tc>
                  <a:txBody>
                    <a:bodyPr/>
                    <a:lstStyle/>
                    <a:p>
                      <a:pPr>
                        <a:spcBef>
                          <a:spcPts val="0"/>
                        </a:spcBef>
                        <a:spcAft>
                          <a:spcPts val="0"/>
                        </a:spcAft>
                      </a:pPr>
                      <a:r>
                        <a:rPr lang="en-US" sz="1200" dirty="0">
                          <a:solidFill>
                            <a:srgbClr val="002557"/>
                          </a:solidFill>
                        </a:rPr>
                        <a:t>ECOG PS, n (%)</a:t>
                      </a:r>
                    </a:p>
                    <a:p>
                      <a:pPr>
                        <a:spcBef>
                          <a:spcPts val="0"/>
                        </a:spcBef>
                        <a:spcAft>
                          <a:spcPts val="0"/>
                        </a:spcAft>
                      </a:pPr>
                      <a:r>
                        <a:rPr lang="en-US" sz="1200" dirty="0">
                          <a:solidFill>
                            <a:srgbClr val="002557"/>
                          </a:solidFill>
                        </a:rPr>
                        <a:t>   0</a:t>
                      </a:r>
                    </a:p>
                    <a:p>
                      <a:pPr>
                        <a:spcBef>
                          <a:spcPts val="0"/>
                        </a:spcBef>
                        <a:spcAft>
                          <a:spcPts val="0"/>
                        </a:spcAft>
                      </a:pPr>
                      <a:r>
                        <a:rPr lang="en-US" sz="1200" dirty="0">
                          <a:solidFill>
                            <a:srgbClr val="002557"/>
                          </a:solidFill>
                        </a:rPr>
                        <a:t>   1</a:t>
                      </a:r>
                    </a:p>
                  </a:txBody>
                  <a:tcPr anchor="ctr">
                    <a:solidFill>
                      <a:schemeClr val="bg2"/>
                    </a:solidFill>
                  </a:tcPr>
                </a:tc>
                <a:tc>
                  <a:txBody>
                    <a:bodyPr/>
                    <a:lstStyle/>
                    <a:p>
                      <a:pPr algn="ctr">
                        <a:spcBef>
                          <a:spcPts val="0"/>
                        </a:spcBef>
                        <a:spcAft>
                          <a:spcPts val="0"/>
                        </a:spcAft>
                      </a:pPr>
                      <a:endParaRPr lang="en-US" sz="1200" dirty="0">
                        <a:solidFill>
                          <a:srgbClr val="002557"/>
                        </a:solidFill>
                      </a:endParaRPr>
                    </a:p>
                    <a:p>
                      <a:pPr algn="ctr">
                        <a:spcBef>
                          <a:spcPts val="0"/>
                        </a:spcBef>
                        <a:spcAft>
                          <a:spcPts val="0"/>
                        </a:spcAft>
                      </a:pPr>
                      <a:r>
                        <a:rPr lang="en-US" sz="1200" dirty="0">
                          <a:solidFill>
                            <a:srgbClr val="002557"/>
                          </a:solidFill>
                        </a:rPr>
                        <a:t>244 (62.1)</a:t>
                      </a:r>
                    </a:p>
                    <a:p>
                      <a:pPr algn="ctr">
                        <a:spcBef>
                          <a:spcPts val="0"/>
                        </a:spcBef>
                        <a:spcAft>
                          <a:spcPts val="0"/>
                        </a:spcAft>
                      </a:pPr>
                      <a:r>
                        <a:rPr lang="en-US" sz="1200" dirty="0">
                          <a:solidFill>
                            <a:srgbClr val="002557"/>
                          </a:solidFill>
                        </a:rPr>
                        <a:t>148 (37.7)</a:t>
                      </a:r>
                    </a:p>
                  </a:txBody>
                  <a:tcPr anchor="ctr">
                    <a:solidFill>
                      <a:schemeClr val="bg2"/>
                    </a:solidFill>
                  </a:tcPr>
                </a:tc>
                <a:tc>
                  <a:txBody>
                    <a:bodyPr/>
                    <a:lstStyle/>
                    <a:p>
                      <a:pPr algn="ctr">
                        <a:spcBef>
                          <a:spcPts val="0"/>
                        </a:spcBef>
                        <a:spcAft>
                          <a:spcPts val="0"/>
                        </a:spcAft>
                      </a:pPr>
                      <a:endParaRPr lang="en-US" sz="1200" dirty="0">
                        <a:solidFill>
                          <a:srgbClr val="002557"/>
                        </a:solidFill>
                      </a:endParaRPr>
                    </a:p>
                    <a:p>
                      <a:pPr algn="ctr">
                        <a:spcBef>
                          <a:spcPts val="0"/>
                        </a:spcBef>
                        <a:spcAft>
                          <a:spcPts val="0"/>
                        </a:spcAft>
                      </a:pPr>
                      <a:r>
                        <a:rPr lang="en-US" sz="1200" dirty="0">
                          <a:solidFill>
                            <a:srgbClr val="002557"/>
                          </a:solidFill>
                        </a:rPr>
                        <a:t>237 (60.9)</a:t>
                      </a:r>
                    </a:p>
                    <a:p>
                      <a:pPr algn="ctr">
                        <a:spcBef>
                          <a:spcPts val="0"/>
                        </a:spcBef>
                        <a:spcAft>
                          <a:spcPts val="0"/>
                        </a:spcAft>
                      </a:pPr>
                      <a:r>
                        <a:rPr lang="en-US" sz="1200" dirty="0">
                          <a:solidFill>
                            <a:srgbClr val="002557"/>
                          </a:solidFill>
                        </a:rPr>
                        <a:t>150 (38.6)</a:t>
                      </a:r>
                    </a:p>
                  </a:txBody>
                  <a:tcPr anchor="ctr">
                    <a:solidFill>
                      <a:schemeClr val="bg2"/>
                    </a:solidFill>
                  </a:tcPr>
                </a:tc>
                <a:tc>
                  <a:txBody>
                    <a:bodyPr/>
                    <a:lstStyle/>
                    <a:p>
                      <a:pPr algn="ctr">
                        <a:spcBef>
                          <a:spcPts val="0"/>
                        </a:spcBef>
                        <a:spcAft>
                          <a:spcPts val="0"/>
                        </a:spcAft>
                      </a:pPr>
                      <a:endParaRPr lang="en-US" sz="1200" dirty="0">
                        <a:solidFill>
                          <a:srgbClr val="002557"/>
                        </a:solidFill>
                      </a:endParaRPr>
                    </a:p>
                    <a:p>
                      <a:pPr algn="ctr">
                        <a:spcBef>
                          <a:spcPts val="0"/>
                        </a:spcBef>
                        <a:spcAft>
                          <a:spcPts val="0"/>
                        </a:spcAft>
                      </a:pPr>
                      <a:r>
                        <a:rPr lang="en-US" sz="1200" dirty="0">
                          <a:solidFill>
                            <a:srgbClr val="002557"/>
                          </a:solidFill>
                        </a:rPr>
                        <a:t>241 (62.0)</a:t>
                      </a:r>
                    </a:p>
                    <a:p>
                      <a:pPr algn="ctr">
                        <a:spcBef>
                          <a:spcPts val="0"/>
                        </a:spcBef>
                        <a:spcAft>
                          <a:spcPts val="0"/>
                        </a:spcAft>
                      </a:pPr>
                      <a:r>
                        <a:rPr lang="en-US" sz="1200" dirty="0">
                          <a:solidFill>
                            <a:srgbClr val="002557"/>
                          </a:solidFill>
                        </a:rPr>
                        <a:t>147 (37.8)</a:t>
                      </a:r>
                    </a:p>
                  </a:txBody>
                  <a:tcPr anchor="ctr">
                    <a:solidFill>
                      <a:schemeClr val="bg2"/>
                    </a:solidFill>
                  </a:tcPr>
                </a:tc>
                <a:extLst>
                  <a:ext uri="{0D108BD9-81ED-4DB2-BD59-A6C34878D82A}">
                    <a16:rowId xmlns:a16="http://schemas.microsoft.com/office/drawing/2014/main" val="1199111773"/>
                  </a:ext>
                </a:extLst>
              </a:tr>
              <a:tr h="733740">
                <a:tc>
                  <a:txBody>
                    <a:bodyPr/>
                    <a:lstStyle/>
                    <a:p>
                      <a:pPr>
                        <a:spcBef>
                          <a:spcPts val="0"/>
                        </a:spcBef>
                        <a:spcAft>
                          <a:spcPts val="0"/>
                        </a:spcAft>
                      </a:pPr>
                      <a:r>
                        <a:rPr lang="en-US" sz="1200" dirty="0">
                          <a:solidFill>
                            <a:srgbClr val="002557"/>
                          </a:solidFill>
                        </a:rPr>
                        <a:t>BCLC,</a:t>
                      </a:r>
                      <a:r>
                        <a:rPr kumimoji="0" lang="en-US" sz="1200" b="0" i="0" u="none" strike="noStrike" kern="1200" cap="none" spc="0" normalizeH="0" baseline="30000" noProof="0" dirty="0">
                          <a:ln>
                            <a:noFill/>
                          </a:ln>
                          <a:solidFill>
                            <a:srgbClr val="002557"/>
                          </a:solidFill>
                          <a:effectLst/>
                          <a:uLnTx/>
                          <a:uFillTx/>
                          <a:latin typeface="+mn-lt"/>
                          <a:ea typeface="+mn-ea"/>
                          <a:cs typeface="+mn-cs"/>
                        </a:rPr>
                        <a:t>†</a:t>
                      </a:r>
                      <a:r>
                        <a:rPr lang="en-US" sz="1200" dirty="0">
                          <a:solidFill>
                            <a:srgbClr val="002557"/>
                          </a:solidFill>
                        </a:rPr>
                        <a:t> n (%)</a:t>
                      </a:r>
                    </a:p>
                    <a:p>
                      <a:pPr>
                        <a:spcBef>
                          <a:spcPts val="0"/>
                        </a:spcBef>
                        <a:spcAft>
                          <a:spcPts val="0"/>
                        </a:spcAft>
                      </a:pPr>
                      <a:r>
                        <a:rPr lang="en-US" sz="1200" dirty="0">
                          <a:solidFill>
                            <a:srgbClr val="002557"/>
                          </a:solidFill>
                        </a:rPr>
                        <a:t>   B</a:t>
                      </a:r>
                    </a:p>
                    <a:p>
                      <a:pPr>
                        <a:spcBef>
                          <a:spcPts val="0"/>
                        </a:spcBef>
                        <a:spcAft>
                          <a:spcPts val="0"/>
                        </a:spcAft>
                      </a:pPr>
                      <a:r>
                        <a:rPr lang="en-US" sz="1200" dirty="0">
                          <a:solidFill>
                            <a:srgbClr val="002557"/>
                          </a:solidFill>
                        </a:rPr>
                        <a:t>   C</a:t>
                      </a:r>
                    </a:p>
                  </a:txBody>
                  <a:tcPr anchor="ctr">
                    <a:solidFill>
                      <a:schemeClr val="bg1">
                        <a:lumMod val="95000"/>
                      </a:schemeClr>
                    </a:solidFill>
                  </a:tcPr>
                </a:tc>
                <a:tc>
                  <a:txBody>
                    <a:bodyPr/>
                    <a:lstStyle/>
                    <a:p>
                      <a:pPr algn="ctr">
                        <a:spcBef>
                          <a:spcPts val="0"/>
                        </a:spcBef>
                        <a:spcAft>
                          <a:spcPts val="0"/>
                        </a:spcAft>
                      </a:pPr>
                      <a:endParaRPr lang="en-US" sz="1200" dirty="0">
                        <a:solidFill>
                          <a:srgbClr val="002557"/>
                        </a:solidFill>
                      </a:endParaRPr>
                    </a:p>
                    <a:p>
                      <a:pPr algn="ctr">
                        <a:spcBef>
                          <a:spcPts val="0"/>
                        </a:spcBef>
                        <a:spcAft>
                          <a:spcPts val="0"/>
                        </a:spcAft>
                      </a:pPr>
                      <a:r>
                        <a:rPr lang="en-US" sz="1200" dirty="0">
                          <a:solidFill>
                            <a:srgbClr val="002557"/>
                          </a:solidFill>
                        </a:rPr>
                        <a:t>77 (19.6)</a:t>
                      </a:r>
                    </a:p>
                    <a:p>
                      <a:pPr algn="ctr">
                        <a:spcBef>
                          <a:spcPts val="0"/>
                        </a:spcBef>
                        <a:spcAft>
                          <a:spcPts val="0"/>
                        </a:spcAft>
                      </a:pPr>
                      <a:r>
                        <a:rPr lang="en-US" sz="1200" dirty="0">
                          <a:solidFill>
                            <a:srgbClr val="002557"/>
                          </a:solidFill>
                        </a:rPr>
                        <a:t> 316 (80.4)</a:t>
                      </a:r>
                    </a:p>
                  </a:txBody>
                  <a:tcPr anchor="ctr">
                    <a:solidFill>
                      <a:schemeClr val="bg1">
                        <a:lumMod val="95000"/>
                      </a:schemeClr>
                    </a:solidFill>
                  </a:tcPr>
                </a:tc>
                <a:tc>
                  <a:txBody>
                    <a:bodyPr/>
                    <a:lstStyle/>
                    <a:p>
                      <a:pPr algn="ctr">
                        <a:spcBef>
                          <a:spcPts val="0"/>
                        </a:spcBef>
                        <a:spcAft>
                          <a:spcPts val="0"/>
                        </a:spcAft>
                      </a:pPr>
                      <a:endParaRPr lang="en-US" sz="1200" dirty="0">
                        <a:solidFill>
                          <a:srgbClr val="002557"/>
                        </a:solidFill>
                      </a:endParaRPr>
                    </a:p>
                    <a:p>
                      <a:pPr algn="ctr">
                        <a:spcBef>
                          <a:spcPts val="0"/>
                        </a:spcBef>
                        <a:spcAft>
                          <a:spcPts val="0"/>
                        </a:spcAft>
                      </a:pPr>
                      <a:r>
                        <a:rPr lang="en-US" sz="1200" dirty="0">
                          <a:solidFill>
                            <a:srgbClr val="002557"/>
                          </a:solidFill>
                        </a:rPr>
                        <a:t>80 (20.6)</a:t>
                      </a:r>
                    </a:p>
                    <a:p>
                      <a:pPr algn="ctr">
                        <a:spcBef>
                          <a:spcPts val="0"/>
                        </a:spcBef>
                        <a:spcAft>
                          <a:spcPts val="0"/>
                        </a:spcAft>
                      </a:pPr>
                      <a:r>
                        <a:rPr lang="en-US" sz="1200" dirty="0">
                          <a:solidFill>
                            <a:srgbClr val="002557"/>
                          </a:solidFill>
                        </a:rPr>
                        <a:t>309 (79.4)</a:t>
                      </a:r>
                    </a:p>
                  </a:txBody>
                  <a:tcPr anchor="ctr">
                    <a:solidFill>
                      <a:schemeClr val="bg1">
                        <a:lumMod val="95000"/>
                      </a:schemeClr>
                    </a:solidFill>
                  </a:tcPr>
                </a:tc>
                <a:tc>
                  <a:txBody>
                    <a:bodyPr/>
                    <a:lstStyle/>
                    <a:p>
                      <a:pPr algn="ctr">
                        <a:spcBef>
                          <a:spcPts val="0"/>
                        </a:spcBef>
                        <a:spcAft>
                          <a:spcPts val="0"/>
                        </a:spcAft>
                      </a:pPr>
                      <a:endParaRPr lang="en-US" sz="1200" dirty="0">
                        <a:solidFill>
                          <a:srgbClr val="002557"/>
                        </a:solidFill>
                      </a:endParaRPr>
                    </a:p>
                    <a:p>
                      <a:pPr algn="ctr">
                        <a:spcBef>
                          <a:spcPts val="0"/>
                        </a:spcBef>
                        <a:spcAft>
                          <a:spcPts val="0"/>
                        </a:spcAft>
                      </a:pPr>
                      <a:r>
                        <a:rPr lang="en-US" sz="1200" dirty="0">
                          <a:solidFill>
                            <a:srgbClr val="002557"/>
                          </a:solidFill>
                        </a:rPr>
                        <a:t>66 (17.0)</a:t>
                      </a:r>
                    </a:p>
                    <a:p>
                      <a:pPr algn="ctr">
                        <a:spcBef>
                          <a:spcPts val="0"/>
                        </a:spcBef>
                        <a:spcAft>
                          <a:spcPts val="0"/>
                        </a:spcAft>
                      </a:pPr>
                      <a:r>
                        <a:rPr lang="en-US" sz="1200" dirty="0">
                          <a:solidFill>
                            <a:srgbClr val="002557"/>
                          </a:solidFill>
                        </a:rPr>
                        <a:t>323 (83.0)</a:t>
                      </a:r>
                    </a:p>
                  </a:txBody>
                  <a:tcPr anchor="ctr">
                    <a:solidFill>
                      <a:schemeClr val="bg1">
                        <a:lumMod val="95000"/>
                      </a:schemeClr>
                    </a:solidFill>
                  </a:tcPr>
                </a:tc>
                <a:extLst>
                  <a:ext uri="{0D108BD9-81ED-4DB2-BD59-A6C34878D82A}">
                    <a16:rowId xmlns:a16="http://schemas.microsoft.com/office/drawing/2014/main" val="3935501343"/>
                  </a:ext>
                </a:extLst>
              </a:tr>
            </a:tbl>
          </a:graphicData>
        </a:graphic>
      </p:graphicFrame>
      <p:sp>
        <p:nvSpPr>
          <p:cNvPr id="18" name="TextBox 17">
            <a:extLst>
              <a:ext uri="{FF2B5EF4-FFF2-40B4-BE49-F238E27FC236}">
                <a16:creationId xmlns:a16="http://schemas.microsoft.com/office/drawing/2014/main" id="{48999F8F-00CC-4F36-8BF1-D870DEB9E609}"/>
              </a:ext>
            </a:extLst>
          </p:cNvPr>
          <p:cNvSpPr txBox="1"/>
          <p:nvPr/>
        </p:nvSpPr>
        <p:spPr>
          <a:xfrm>
            <a:off x="238124" y="5401702"/>
            <a:ext cx="11719925" cy="546303"/>
          </a:xfrm>
          <a:prstGeom prst="rect">
            <a:avLst/>
          </a:prstGeom>
          <a:noFill/>
        </p:spPr>
        <p:txBody>
          <a:bodyPr wrap="square" rtlCol="0" anchor="b" anchorCtr="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900" b="0" i="0" u="none" strike="noStrike" kern="1200" cap="none" spc="0" normalizeH="0" baseline="0" noProof="0" dirty="0">
                <a:ln>
                  <a:noFill/>
                </a:ln>
                <a:solidFill>
                  <a:srgbClr val="002557"/>
                </a:solidFill>
                <a:effectLst/>
                <a:uLnTx/>
                <a:uFillTx/>
                <a:latin typeface="Arial" panose="020B0604020202020204"/>
                <a:ea typeface="+mn-ea"/>
                <a:cs typeface="+mn-cs"/>
              </a:rPr>
              <a:t>*HBV: patients who tested positive for HBsAg or anti-HBc with detectable HBV DNA; HCV: patients who tested positive for HCV or had history of HCV infection; Nonviral: no active viral hepatitis identified. </a:t>
            </a:r>
            <a:r>
              <a:rPr kumimoji="0" lang="en-US" sz="900" b="0" i="0" u="none" strike="noStrike" kern="1200" cap="none" spc="0" normalizeH="0" baseline="30000" noProof="0" dirty="0">
                <a:ln>
                  <a:noFill/>
                </a:ln>
                <a:solidFill>
                  <a:srgbClr val="002557"/>
                </a:solidFill>
                <a:effectLst/>
                <a:uLnTx/>
                <a:uFillTx/>
                <a:latin typeface="Arial" panose="020B0604020202020204"/>
                <a:ea typeface="+mn-ea"/>
                <a:cs typeface="+mn-cs"/>
              </a:rPr>
              <a:t>†</a:t>
            </a:r>
            <a:r>
              <a:rPr kumimoji="0" lang="en-US" sz="900" b="0" i="0" u="none" strike="noStrike" kern="1200" cap="none" spc="0" normalizeH="0" baseline="0" noProof="0" dirty="0">
                <a:ln>
                  <a:noFill/>
                </a:ln>
                <a:solidFill>
                  <a:srgbClr val="002557"/>
                </a:solidFill>
                <a:effectLst/>
                <a:uLnTx/>
                <a:uFillTx/>
                <a:latin typeface="Arial" panose="020B0604020202020204"/>
                <a:ea typeface="+mn-ea"/>
                <a:cs typeface="+mn-cs"/>
              </a:rPr>
              <a:t>Determined at screening. </a:t>
            </a:r>
            <a:r>
              <a:rPr kumimoji="0" lang="en-US" sz="900" b="0" i="0" u="none" strike="noStrike" kern="1200" cap="none" spc="0" normalizeH="0" baseline="30000" noProof="0" dirty="0">
                <a:ln>
                  <a:noFill/>
                </a:ln>
                <a:solidFill>
                  <a:srgbClr val="002557"/>
                </a:solidFill>
                <a:effectLst/>
                <a:uLnTx/>
                <a:uFillTx/>
                <a:latin typeface="Arial" panose="020B0604020202020204"/>
                <a:ea typeface="+mn-ea"/>
                <a:cs typeface="+mn-cs"/>
              </a:rPr>
              <a:t>‡</a:t>
            </a:r>
            <a:r>
              <a:rPr kumimoji="0" lang="en-US" sz="900" b="0" i="0" u="none" strike="noStrike" kern="1200" cap="none" spc="0" normalizeH="0" baseline="0" noProof="0" dirty="0">
                <a:ln>
                  <a:noFill/>
                </a:ln>
                <a:solidFill>
                  <a:srgbClr val="002557"/>
                </a:solidFill>
                <a:effectLst/>
                <a:uLnTx/>
                <a:uFillTx/>
                <a:latin typeface="Arial" panose="020B0604020202020204"/>
                <a:ea typeface="+mn-ea"/>
                <a:cs typeface="+mn-cs"/>
              </a:rPr>
              <a:t>Defined as t</a:t>
            </a:r>
            <a:r>
              <a:rPr kumimoji="0" lang="en-US" sz="900" b="0" i="0" u="none" strike="noStrike" kern="1200" cap="none" spc="0" normalizeH="0" baseline="0" noProof="0" dirty="0" err="1">
                <a:ln>
                  <a:noFill/>
                </a:ln>
                <a:solidFill>
                  <a:srgbClr val="002557"/>
                </a:solidFill>
                <a:effectLst/>
                <a:uLnTx/>
                <a:uFillTx/>
                <a:latin typeface="Arial" panose="020B0604020202020204"/>
                <a:ea typeface="+mn-ea"/>
                <a:cs typeface="+mn-cs"/>
              </a:rPr>
              <a:t>umor</a:t>
            </a:r>
            <a:r>
              <a:rPr kumimoji="0" lang="en-US" sz="900" b="0" i="0" u="none" strike="noStrike" kern="1200" cap="none" spc="0" normalizeH="0" baseline="0" noProof="0" dirty="0">
                <a:ln>
                  <a:noFill/>
                </a:ln>
                <a:solidFill>
                  <a:srgbClr val="002557"/>
                </a:solidFill>
                <a:effectLst/>
                <a:uLnTx/>
                <a:uFillTx/>
                <a:latin typeface="Arial" panose="020B0604020202020204"/>
                <a:ea typeface="+mn-ea"/>
                <a:cs typeface="+mn-cs"/>
              </a:rPr>
              <a:t> area p</a:t>
            </a:r>
            <a:r>
              <a:rPr kumimoji="0" lang="en-US" sz="900" b="0" i="0" u="none" strike="noStrike" kern="1200" cap="none" spc="0" normalizeH="0" baseline="0" noProof="0" dirty="0" err="1">
                <a:ln>
                  <a:noFill/>
                </a:ln>
                <a:solidFill>
                  <a:srgbClr val="002557"/>
                </a:solidFill>
                <a:effectLst/>
                <a:uLnTx/>
                <a:uFillTx/>
                <a:latin typeface="Arial" panose="020B0604020202020204"/>
                <a:ea typeface="+mn-ea"/>
                <a:cs typeface="+mn-cs"/>
              </a:rPr>
              <a:t>ositivity</a:t>
            </a:r>
            <a:r>
              <a:rPr kumimoji="0" lang="en-US" sz="900" b="0" i="0" u="none" strike="noStrike" kern="1200" cap="none" spc="0" normalizeH="0" baseline="0" noProof="0" dirty="0">
                <a:ln>
                  <a:noFill/>
                </a:ln>
                <a:solidFill>
                  <a:srgbClr val="002557"/>
                </a:solidFill>
                <a:effectLst/>
                <a:uLnTx/>
                <a:uFillTx/>
                <a:latin typeface="Arial" panose="020B0604020202020204"/>
                <a:ea typeface="+mn-ea"/>
                <a:cs typeface="+mn-cs"/>
              </a:rPr>
              <a:t> score ≥1%. </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it-IT" sz="900" b="0" i="0" u="none" strike="noStrike" kern="1200" cap="none" spc="0" normalizeH="0" baseline="0" noProof="0" dirty="0">
                <a:ln>
                  <a:noFill/>
                </a:ln>
                <a:solidFill>
                  <a:srgbClr val="002557"/>
                </a:solidFill>
                <a:effectLst/>
                <a:uLnTx/>
                <a:uFillTx/>
                <a:latin typeface="Arial" panose="020B0604020202020204"/>
                <a:ea typeface="+mn-ea"/>
                <a:cs typeface="+mn-cs"/>
              </a:rPr>
              <a:t>T300+D, t</a:t>
            </a:r>
            <a:r>
              <a:rPr kumimoji="0" lang="en-US" sz="900" b="0" i="0" u="none" strike="noStrike" kern="1200" cap="none" spc="0" normalizeH="0" baseline="0" noProof="0" dirty="0" err="1">
                <a:ln>
                  <a:noFill/>
                </a:ln>
                <a:solidFill>
                  <a:srgbClr val="002557"/>
                </a:solidFill>
                <a:effectLst/>
                <a:uLnTx/>
                <a:uFillTx/>
                <a:latin typeface="Arial" panose="020B0604020202020204"/>
                <a:ea typeface="+mn-ea"/>
                <a:cs typeface="+mn-cs"/>
              </a:rPr>
              <a:t>remelimumab</a:t>
            </a:r>
            <a:r>
              <a:rPr kumimoji="0" lang="en-US" sz="900" b="0" i="0" u="none" strike="noStrike" kern="1200" cap="none" spc="0" normalizeH="0" baseline="0" noProof="0" dirty="0">
                <a:ln>
                  <a:noFill/>
                </a:ln>
                <a:solidFill>
                  <a:srgbClr val="002557"/>
                </a:solidFill>
                <a:effectLst/>
                <a:uLnTx/>
                <a:uFillTx/>
                <a:latin typeface="Arial" panose="020B0604020202020204"/>
                <a:ea typeface="+mn-ea"/>
                <a:cs typeface="+mn-cs"/>
              </a:rPr>
              <a:t> 300 mg × 1 dose + durvalumab 1500 mg Q4W.</a:t>
            </a:r>
          </a:p>
        </p:txBody>
      </p:sp>
      <p:sp>
        <p:nvSpPr>
          <p:cNvPr id="19" name="Text Placeholder 4">
            <a:extLst>
              <a:ext uri="{FF2B5EF4-FFF2-40B4-BE49-F238E27FC236}">
                <a16:creationId xmlns:a16="http://schemas.microsoft.com/office/drawing/2014/main" id="{02836A88-1AB7-4358-BA34-9D219885C605}"/>
              </a:ext>
            </a:extLst>
          </p:cNvPr>
          <p:cNvSpPr>
            <a:spLocks noGrp="1"/>
          </p:cNvSpPr>
          <p:nvPr>
            <p:ph type="body" sz="quarter" idx="15"/>
          </p:nvPr>
        </p:nvSpPr>
        <p:spPr>
          <a:xfrm>
            <a:off x="3959671" y="6271847"/>
            <a:ext cx="5852160" cy="281354"/>
          </a:xfrm>
        </p:spPr>
        <p:txBody>
          <a:bodyPr/>
          <a:lstStyle/>
          <a:p>
            <a:r>
              <a:rPr lang="en-US" dirty="0"/>
              <a:t>Ghassan K Abou-Alfa, MD, MBA</a:t>
            </a:r>
          </a:p>
        </p:txBody>
      </p:sp>
      <p:graphicFrame>
        <p:nvGraphicFramePr>
          <p:cNvPr id="8" name="Table 7">
            <a:extLst>
              <a:ext uri="{FF2B5EF4-FFF2-40B4-BE49-F238E27FC236}">
                <a16:creationId xmlns:a16="http://schemas.microsoft.com/office/drawing/2014/main" id="{1A558E39-7661-4EA3-9CA7-2AB07D5B32E7}"/>
              </a:ext>
            </a:extLst>
          </p:cNvPr>
          <p:cNvGraphicFramePr>
            <a:graphicFrameLocks noGrp="1"/>
          </p:cNvGraphicFramePr>
          <p:nvPr/>
        </p:nvGraphicFramePr>
        <p:xfrm>
          <a:off x="6415059" y="990601"/>
          <a:ext cx="5435018" cy="4284705"/>
        </p:xfrm>
        <a:graphic>
          <a:graphicData uri="http://schemas.openxmlformats.org/drawingml/2006/table">
            <a:tbl>
              <a:tblPr firstRow="1" bandRow="1">
                <a:tableStyleId>{0505E3EF-67EA-436B-97B2-0124C06EBD24}</a:tableStyleId>
              </a:tblPr>
              <a:tblGrid>
                <a:gridCol w="1884098">
                  <a:extLst>
                    <a:ext uri="{9D8B030D-6E8A-4147-A177-3AD203B41FA5}">
                      <a16:colId xmlns:a16="http://schemas.microsoft.com/office/drawing/2014/main" val="683402423"/>
                    </a:ext>
                  </a:extLst>
                </a:gridCol>
                <a:gridCol w="1183640">
                  <a:extLst>
                    <a:ext uri="{9D8B030D-6E8A-4147-A177-3AD203B41FA5}">
                      <a16:colId xmlns:a16="http://schemas.microsoft.com/office/drawing/2014/main" val="1461441399"/>
                    </a:ext>
                  </a:extLst>
                </a:gridCol>
                <a:gridCol w="1183640">
                  <a:extLst>
                    <a:ext uri="{9D8B030D-6E8A-4147-A177-3AD203B41FA5}">
                      <a16:colId xmlns:a16="http://schemas.microsoft.com/office/drawing/2014/main" val="1157028237"/>
                    </a:ext>
                  </a:extLst>
                </a:gridCol>
                <a:gridCol w="1183640">
                  <a:extLst>
                    <a:ext uri="{9D8B030D-6E8A-4147-A177-3AD203B41FA5}">
                      <a16:colId xmlns:a16="http://schemas.microsoft.com/office/drawing/2014/main" val="4201646895"/>
                    </a:ext>
                  </a:extLst>
                </a:gridCol>
              </a:tblGrid>
              <a:tr h="551027">
                <a:tc>
                  <a:txBody>
                    <a:bodyPr/>
                    <a:lstStyle/>
                    <a:p>
                      <a:pPr>
                        <a:spcBef>
                          <a:spcPts val="0"/>
                        </a:spcBef>
                        <a:spcAft>
                          <a:spcPts val="0"/>
                        </a:spcAft>
                      </a:pPr>
                      <a:r>
                        <a:rPr lang="en-US" sz="1200" dirty="0">
                          <a:solidFill>
                            <a:srgbClr val="002557"/>
                          </a:solidFill>
                        </a:rPr>
                        <a:t>Characteristic</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N" sz="1200" b="1" dirty="0">
                          <a:solidFill>
                            <a:prstClr val="white"/>
                          </a:solidFill>
                          <a:latin typeface="+mn-lt"/>
                        </a:rPr>
                        <a:t>T300+D</a:t>
                      </a:r>
                      <a:r>
                        <a:rPr lang="en-US" sz="1200" dirty="0">
                          <a:solidFill>
                            <a:schemeClr val="bg1"/>
                          </a:solidFill>
                        </a:rPr>
                        <a:t> (n=393)</a:t>
                      </a:r>
                    </a:p>
                  </a:txBody>
                  <a:tcPr anchor="ctr">
                    <a:solidFill>
                      <a:srgbClr val="4472C4"/>
                    </a:solidFill>
                  </a:tcPr>
                </a:tc>
                <a:tc>
                  <a:txBody>
                    <a:bodyPr/>
                    <a:lstStyle/>
                    <a:p>
                      <a:pPr algn="ctr">
                        <a:spcBef>
                          <a:spcPts val="0"/>
                        </a:spcBef>
                        <a:spcAft>
                          <a:spcPts val="0"/>
                        </a:spcAft>
                      </a:pPr>
                      <a:r>
                        <a:rPr lang="en-US" sz="1200" dirty="0">
                          <a:solidFill>
                            <a:schemeClr val="bg1"/>
                          </a:solidFill>
                        </a:rPr>
                        <a:t>Durvalumab (n=389)</a:t>
                      </a:r>
                    </a:p>
                  </a:txBody>
                  <a:tcPr anchor="ctr">
                    <a:solidFill>
                      <a:srgbClr val="008764"/>
                    </a:solidFill>
                  </a:tcPr>
                </a:tc>
                <a:tc>
                  <a:txBody>
                    <a:bodyPr/>
                    <a:lstStyle/>
                    <a:p>
                      <a:pPr algn="ctr">
                        <a:spcBef>
                          <a:spcPts val="0"/>
                        </a:spcBef>
                        <a:spcAft>
                          <a:spcPts val="0"/>
                        </a:spcAft>
                      </a:pPr>
                      <a:r>
                        <a:rPr lang="en-US" sz="1200" dirty="0">
                          <a:solidFill>
                            <a:schemeClr val="bg1"/>
                          </a:solidFill>
                        </a:rPr>
                        <a:t>Sorafenib (n=389)</a:t>
                      </a:r>
                    </a:p>
                  </a:txBody>
                  <a:tcPr anchor="ctr">
                    <a:solidFill>
                      <a:srgbClr val="830051"/>
                    </a:solidFill>
                  </a:tcPr>
                </a:tc>
                <a:extLst>
                  <a:ext uri="{0D108BD9-81ED-4DB2-BD59-A6C34878D82A}">
                    <a16:rowId xmlns:a16="http://schemas.microsoft.com/office/drawing/2014/main" val="3856136383"/>
                  </a:ext>
                </a:extLst>
              </a:tr>
              <a:tr h="1038917">
                <a:tc>
                  <a:txBody>
                    <a:bodyPr/>
                    <a:lstStyle/>
                    <a:p>
                      <a:pPr>
                        <a:spcBef>
                          <a:spcPts val="0"/>
                        </a:spcBef>
                        <a:spcAft>
                          <a:spcPts val="0"/>
                        </a:spcAft>
                      </a:pPr>
                      <a:r>
                        <a:rPr lang="en-US" sz="1200" dirty="0">
                          <a:solidFill>
                            <a:srgbClr val="002557"/>
                          </a:solidFill>
                        </a:rPr>
                        <a:t>Child-Pugh classification,</a:t>
                      </a:r>
                      <a:r>
                        <a:rPr kumimoji="0" lang="en-US" sz="1200" b="0" i="0" u="none" strike="noStrike" kern="1200" cap="none" spc="0" normalizeH="0" baseline="30000" noProof="0" dirty="0">
                          <a:ln>
                            <a:noFill/>
                          </a:ln>
                          <a:solidFill>
                            <a:srgbClr val="002557"/>
                          </a:solidFill>
                          <a:effectLst/>
                          <a:uLnTx/>
                          <a:uFillTx/>
                          <a:latin typeface="+mn-lt"/>
                          <a:ea typeface="+mn-ea"/>
                          <a:cs typeface="+mn-cs"/>
                        </a:rPr>
                        <a:t>†</a:t>
                      </a:r>
                      <a:r>
                        <a:rPr lang="en-US" sz="1200" dirty="0">
                          <a:solidFill>
                            <a:srgbClr val="002557"/>
                          </a:solidFill>
                        </a:rPr>
                        <a:t> n (%)</a:t>
                      </a:r>
                    </a:p>
                    <a:p>
                      <a:pPr>
                        <a:spcBef>
                          <a:spcPts val="0"/>
                        </a:spcBef>
                        <a:spcAft>
                          <a:spcPts val="0"/>
                        </a:spcAft>
                      </a:pPr>
                      <a:r>
                        <a:rPr lang="en-US" sz="1200" dirty="0">
                          <a:solidFill>
                            <a:srgbClr val="002557"/>
                          </a:solidFill>
                        </a:rPr>
                        <a:t>   A</a:t>
                      </a:r>
                    </a:p>
                    <a:p>
                      <a:pPr>
                        <a:spcBef>
                          <a:spcPts val="0"/>
                        </a:spcBef>
                        <a:spcAft>
                          <a:spcPts val="0"/>
                        </a:spcAft>
                      </a:pPr>
                      <a:r>
                        <a:rPr lang="en-US" sz="1200" dirty="0">
                          <a:solidFill>
                            <a:srgbClr val="002557"/>
                          </a:solidFill>
                        </a:rPr>
                        <a:t>   B</a:t>
                      </a:r>
                    </a:p>
                    <a:p>
                      <a:pPr>
                        <a:spcBef>
                          <a:spcPts val="0"/>
                        </a:spcBef>
                        <a:spcAft>
                          <a:spcPts val="0"/>
                        </a:spcAft>
                      </a:pPr>
                      <a:r>
                        <a:rPr lang="en-US" sz="1200" dirty="0">
                          <a:solidFill>
                            <a:srgbClr val="002557"/>
                          </a:solidFill>
                        </a:rPr>
                        <a:t>   Missing</a:t>
                      </a:r>
                    </a:p>
                  </a:txBody>
                  <a:tcPr anchor="ctr">
                    <a:solidFill>
                      <a:srgbClr val="E1E1E1"/>
                    </a:solidFill>
                  </a:tcPr>
                </a:tc>
                <a:tc>
                  <a:txBody>
                    <a:bodyPr/>
                    <a:lstStyle/>
                    <a:p>
                      <a:pPr algn="ctr">
                        <a:spcBef>
                          <a:spcPts val="0"/>
                        </a:spcBef>
                        <a:spcAft>
                          <a:spcPts val="0"/>
                        </a:spcAft>
                      </a:pPr>
                      <a:endParaRPr lang="en-US" sz="1200" dirty="0">
                        <a:solidFill>
                          <a:srgbClr val="002557"/>
                        </a:solidFill>
                      </a:endParaRPr>
                    </a:p>
                    <a:p>
                      <a:pPr algn="ctr">
                        <a:spcBef>
                          <a:spcPts val="0"/>
                        </a:spcBef>
                        <a:spcAft>
                          <a:spcPts val="0"/>
                        </a:spcAft>
                      </a:pPr>
                      <a:endParaRPr lang="en-US" sz="1200" dirty="0">
                        <a:solidFill>
                          <a:srgbClr val="002557"/>
                        </a:solidFill>
                      </a:endParaRPr>
                    </a:p>
                    <a:p>
                      <a:pPr algn="ctr">
                        <a:spcBef>
                          <a:spcPts val="0"/>
                        </a:spcBef>
                        <a:spcAft>
                          <a:spcPts val="0"/>
                        </a:spcAft>
                      </a:pPr>
                      <a:r>
                        <a:rPr lang="en-US" sz="1200" dirty="0">
                          <a:solidFill>
                            <a:srgbClr val="002557"/>
                          </a:solidFill>
                        </a:rPr>
                        <a:t>392 (99.7)</a:t>
                      </a:r>
                    </a:p>
                    <a:p>
                      <a:pPr algn="ctr">
                        <a:spcBef>
                          <a:spcPts val="0"/>
                        </a:spcBef>
                        <a:spcAft>
                          <a:spcPts val="0"/>
                        </a:spcAft>
                      </a:pPr>
                      <a:r>
                        <a:rPr lang="en-US" sz="1200" dirty="0">
                          <a:solidFill>
                            <a:srgbClr val="002557"/>
                          </a:solidFill>
                        </a:rPr>
                        <a:t>0</a:t>
                      </a:r>
                    </a:p>
                    <a:p>
                      <a:pPr algn="ctr">
                        <a:spcBef>
                          <a:spcPts val="0"/>
                        </a:spcBef>
                        <a:spcAft>
                          <a:spcPts val="0"/>
                        </a:spcAft>
                      </a:pPr>
                      <a:r>
                        <a:rPr lang="en-US" sz="1200" dirty="0">
                          <a:solidFill>
                            <a:srgbClr val="002557"/>
                          </a:solidFill>
                        </a:rPr>
                        <a:t>1 (0.3)</a:t>
                      </a:r>
                    </a:p>
                  </a:txBody>
                  <a:tcPr anchor="ctr">
                    <a:solidFill>
                      <a:schemeClr val="bg2"/>
                    </a:solidFill>
                  </a:tcPr>
                </a:tc>
                <a:tc>
                  <a:txBody>
                    <a:bodyPr/>
                    <a:lstStyle/>
                    <a:p>
                      <a:pPr algn="ctr">
                        <a:spcBef>
                          <a:spcPts val="0"/>
                        </a:spcBef>
                        <a:spcAft>
                          <a:spcPts val="0"/>
                        </a:spcAft>
                      </a:pPr>
                      <a:endParaRPr lang="en-US" sz="1200" dirty="0">
                        <a:solidFill>
                          <a:srgbClr val="002557"/>
                        </a:solidFil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dirty="0">
                        <a:solidFill>
                          <a:srgbClr val="002557"/>
                        </a:solidFil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rgbClr val="002557"/>
                          </a:solidFill>
                        </a:rPr>
                        <a:t>388 (99.7)</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rgbClr val="002557"/>
                          </a:solidFill>
                        </a:rPr>
                        <a:t>1 (0.3)</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rgbClr val="002557"/>
                          </a:solidFill>
                        </a:rPr>
                        <a:t>0</a:t>
                      </a:r>
                    </a:p>
                  </a:txBody>
                  <a:tcPr anchor="ctr">
                    <a:solidFill>
                      <a:schemeClr val="bg2"/>
                    </a:solidFill>
                  </a:tcPr>
                </a:tc>
                <a:tc>
                  <a:txBody>
                    <a:bodyPr/>
                    <a:lstStyle/>
                    <a:p>
                      <a:pPr algn="ctr">
                        <a:spcBef>
                          <a:spcPts val="0"/>
                        </a:spcBef>
                        <a:spcAft>
                          <a:spcPts val="0"/>
                        </a:spcAft>
                      </a:pPr>
                      <a:endParaRPr lang="en-US" sz="1200" dirty="0">
                        <a:solidFill>
                          <a:srgbClr val="002557"/>
                        </a:solidFill>
                      </a:endParaRPr>
                    </a:p>
                    <a:p>
                      <a:pPr algn="ctr">
                        <a:spcBef>
                          <a:spcPts val="0"/>
                        </a:spcBef>
                        <a:spcAft>
                          <a:spcPts val="0"/>
                        </a:spcAft>
                      </a:pPr>
                      <a:endParaRPr lang="en-US" sz="1200" dirty="0">
                        <a:solidFill>
                          <a:srgbClr val="002557"/>
                        </a:solidFill>
                      </a:endParaRPr>
                    </a:p>
                    <a:p>
                      <a:pPr algn="ctr">
                        <a:spcBef>
                          <a:spcPts val="0"/>
                        </a:spcBef>
                        <a:spcAft>
                          <a:spcPts val="0"/>
                        </a:spcAft>
                      </a:pPr>
                      <a:r>
                        <a:rPr lang="en-US" sz="1200" kern="1200" dirty="0">
                          <a:solidFill>
                            <a:srgbClr val="002557"/>
                          </a:solidFill>
                          <a:latin typeface="+mn-lt"/>
                          <a:ea typeface="+mn-ea"/>
                          <a:cs typeface="+mn-cs"/>
                        </a:rPr>
                        <a:t>386 (99.2) </a:t>
                      </a:r>
                    </a:p>
                    <a:p>
                      <a:pPr algn="ctr">
                        <a:spcBef>
                          <a:spcPts val="0"/>
                        </a:spcBef>
                        <a:spcAft>
                          <a:spcPts val="0"/>
                        </a:spcAft>
                      </a:pPr>
                      <a:r>
                        <a:rPr lang="en-US" sz="1200" kern="1200" dirty="0">
                          <a:solidFill>
                            <a:srgbClr val="002557"/>
                          </a:solidFill>
                          <a:latin typeface="+mn-lt"/>
                          <a:ea typeface="+mn-ea"/>
                          <a:cs typeface="+mn-cs"/>
                        </a:rPr>
                        <a:t>3 (0.8)</a:t>
                      </a:r>
                    </a:p>
                    <a:p>
                      <a:pPr algn="ctr">
                        <a:spcBef>
                          <a:spcPts val="0"/>
                        </a:spcBef>
                        <a:spcAft>
                          <a:spcPts val="0"/>
                        </a:spcAft>
                      </a:pPr>
                      <a:r>
                        <a:rPr lang="en-US" sz="1200" kern="1200" dirty="0">
                          <a:solidFill>
                            <a:srgbClr val="002557"/>
                          </a:solidFill>
                          <a:latin typeface="+mn-lt"/>
                          <a:ea typeface="+mn-ea"/>
                          <a:cs typeface="+mn-cs"/>
                        </a:rPr>
                        <a:t>0</a:t>
                      </a:r>
                    </a:p>
                  </a:txBody>
                  <a:tcPr anchor="ctr">
                    <a:solidFill>
                      <a:schemeClr val="bg2"/>
                    </a:solidFill>
                  </a:tcPr>
                </a:tc>
                <a:extLst>
                  <a:ext uri="{0D108BD9-81ED-4DB2-BD59-A6C34878D82A}">
                    <a16:rowId xmlns:a16="http://schemas.microsoft.com/office/drawing/2014/main" val="3341874927"/>
                  </a:ext>
                </a:extLst>
              </a:tr>
              <a:tr h="991846">
                <a:tc>
                  <a:txBody>
                    <a:bodyPr/>
                    <a:lstStyle/>
                    <a:p>
                      <a:pPr marL="0" marR="0" lvl="0" indent="0" algn="l" rtl="0" eaLnBrk="1" fontAlgn="auto" latinLnBrk="0" hangingPunct="1">
                        <a:lnSpc>
                          <a:spcPct val="100000"/>
                        </a:lnSpc>
                        <a:spcBef>
                          <a:spcPts val="0"/>
                        </a:spcBef>
                        <a:spcAft>
                          <a:spcPts val="0"/>
                        </a:spcAft>
                        <a:buClrTx/>
                        <a:buSzTx/>
                        <a:buFontTx/>
                        <a:buNone/>
                      </a:pPr>
                      <a:r>
                        <a:rPr lang="en-US" sz="1200" dirty="0">
                          <a:solidFill>
                            <a:srgbClr val="002557"/>
                          </a:solidFill>
                        </a:rPr>
                        <a:t>ALBI grade, n (%)</a:t>
                      </a:r>
                    </a:p>
                    <a:p>
                      <a:pPr marL="0" marR="0" lvl="0" indent="0" algn="l">
                        <a:lnSpc>
                          <a:spcPct val="100000"/>
                        </a:lnSpc>
                        <a:spcBef>
                          <a:spcPts val="0"/>
                        </a:spcBef>
                        <a:spcAft>
                          <a:spcPts val="0"/>
                        </a:spcAft>
                        <a:buClrTx/>
                        <a:buSzTx/>
                        <a:buFontTx/>
                        <a:buNone/>
                      </a:pPr>
                      <a:r>
                        <a:rPr lang="en-US" sz="1200" dirty="0">
                          <a:solidFill>
                            <a:srgbClr val="002557"/>
                          </a:solidFill>
                        </a:rPr>
                        <a:t>   1</a:t>
                      </a:r>
                    </a:p>
                    <a:p>
                      <a:pPr marL="0" marR="0" lvl="0" indent="0" algn="l">
                        <a:lnSpc>
                          <a:spcPct val="100000"/>
                        </a:lnSpc>
                        <a:spcBef>
                          <a:spcPts val="0"/>
                        </a:spcBef>
                        <a:spcAft>
                          <a:spcPts val="0"/>
                        </a:spcAft>
                        <a:buClrTx/>
                        <a:buSzTx/>
                        <a:buFontTx/>
                        <a:buNone/>
                      </a:pPr>
                      <a:r>
                        <a:rPr lang="en-US" sz="1200" dirty="0">
                          <a:solidFill>
                            <a:srgbClr val="002557"/>
                          </a:solidFill>
                        </a:rPr>
                        <a:t>   2</a:t>
                      </a:r>
                    </a:p>
                    <a:p>
                      <a:pPr marL="0" marR="0" lvl="0" indent="0" algn="l">
                        <a:lnSpc>
                          <a:spcPct val="100000"/>
                        </a:lnSpc>
                        <a:spcBef>
                          <a:spcPts val="0"/>
                        </a:spcBef>
                        <a:spcAft>
                          <a:spcPts val="0"/>
                        </a:spcAft>
                        <a:buClrTx/>
                        <a:buSzTx/>
                        <a:buFontTx/>
                        <a:buNone/>
                      </a:pPr>
                      <a:r>
                        <a:rPr lang="en-US" sz="1200" dirty="0">
                          <a:solidFill>
                            <a:srgbClr val="002557"/>
                          </a:solidFill>
                        </a:rPr>
                        <a:t>   3</a:t>
                      </a:r>
                    </a:p>
                  </a:txBody>
                  <a:tcPr anchor="ctr">
                    <a:solidFill>
                      <a:srgbClr val="F0F0F0"/>
                    </a:solidFill>
                  </a:tcPr>
                </a:tc>
                <a:tc>
                  <a:txBody>
                    <a:bodyPr/>
                    <a:lstStyle/>
                    <a:p>
                      <a:pPr algn="ctr"/>
                      <a:endParaRPr lang="en-US" sz="1200" dirty="0">
                        <a:solidFill>
                          <a:srgbClr val="002557"/>
                        </a:solidFill>
                      </a:endParaRPr>
                    </a:p>
                    <a:p>
                      <a:pPr lvl="0" algn="ctr">
                        <a:buNone/>
                      </a:pPr>
                      <a:r>
                        <a:rPr lang="en-US" sz="1200" dirty="0">
                          <a:solidFill>
                            <a:srgbClr val="002557"/>
                          </a:solidFill>
                        </a:rPr>
                        <a:t>217 (55.2)</a:t>
                      </a:r>
                    </a:p>
                    <a:p>
                      <a:pPr lvl="0" algn="ctr">
                        <a:buNone/>
                      </a:pPr>
                      <a:r>
                        <a:rPr lang="en-US" sz="1200" dirty="0">
                          <a:solidFill>
                            <a:srgbClr val="002557"/>
                          </a:solidFill>
                        </a:rPr>
                        <a:t>174 (44.3)</a:t>
                      </a:r>
                    </a:p>
                    <a:p>
                      <a:pPr lvl="0" algn="ctr">
                        <a:buNone/>
                      </a:pPr>
                      <a:r>
                        <a:rPr lang="en-US" sz="1200" dirty="0">
                          <a:solidFill>
                            <a:srgbClr val="002557"/>
                          </a:solidFill>
                        </a:rPr>
                        <a:t>1 (0.3)</a:t>
                      </a:r>
                    </a:p>
                  </a:txBody>
                  <a:tcPr anchor="ctr">
                    <a:solidFill>
                      <a:srgbClr val="F0F0F0"/>
                    </a:solidFill>
                  </a:tcPr>
                </a:tc>
                <a:tc>
                  <a:txBody>
                    <a:bodyPr/>
                    <a:lstStyle/>
                    <a:p>
                      <a:pPr algn="ctr"/>
                      <a:endParaRPr lang="en-US" sz="1200" dirty="0">
                        <a:solidFill>
                          <a:srgbClr val="002557"/>
                        </a:solidFill>
                      </a:endParaRPr>
                    </a:p>
                    <a:p>
                      <a:pPr lvl="0" algn="ctr">
                        <a:buNone/>
                      </a:pPr>
                      <a:r>
                        <a:rPr lang="en-US" sz="1200" dirty="0">
                          <a:solidFill>
                            <a:srgbClr val="002557"/>
                          </a:solidFill>
                        </a:rPr>
                        <a:t>198 (50.9)</a:t>
                      </a:r>
                    </a:p>
                    <a:p>
                      <a:pPr lvl="0" algn="ctr">
                        <a:buNone/>
                      </a:pPr>
                      <a:r>
                        <a:rPr lang="en-US" sz="1200" dirty="0">
                          <a:solidFill>
                            <a:srgbClr val="002557"/>
                          </a:solidFill>
                        </a:rPr>
                        <a:t>189 (48.6)</a:t>
                      </a:r>
                    </a:p>
                    <a:p>
                      <a:pPr lvl="0" algn="ctr">
                        <a:buNone/>
                      </a:pPr>
                      <a:r>
                        <a:rPr lang="en-US" sz="1200" dirty="0">
                          <a:solidFill>
                            <a:srgbClr val="002557"/>
                          </a:solidFill>
                        </a:rPr>
                        <a:t>2 (0.5)</a:t>
                      </a:r>
                    </a:p>
                  </a:txBody>
                  <a:tcPr anchor="ctr">
                    <a:solidFill>
                      <a:srgbClr val="F0F0F0"/>
                    </a:solidFill>
                  </a:tcPr>
                </a:tc>
                <a:tc>
                  <a:txBody>
                    <a:bodyPr/>
                    <a:lstStyle/>
                    <a:p>
                      <a:pPr algn="ctr"/>
                      <a:endParaRPr lang="en-US" sz="1200" dirty="0">
                        <a:solidFill>
                          <a:srgbClr val="002557"/>
                        </a:solidFill>
                      </a:endParaRPr>
                    </a:p>
                    <a:p>
                      <a:pPr lvl="0" algn="ctr">
                        <a:buNone/>
                      </a:pPr>
                      <a:r>
                        <a:rPr lang="en-US" sz="1200" dirty="0">
                          <a:solidFill>
                            <a:srgbClr val="002557"/>
                          </a:solidFill>
                        </a:rPr>
                        <a:t>203 (52.2)</a:t>
                      </a:r>
                    </a:p>
                    <a:p>
                      <a:pPr lvl="0" algn="ctr">
                        <a:buNone/>
                      </a:pPr>
                      <a:r>
                        <a:rPr lang="en-US" sz="1200" dirty="0">
                          <a:solidFill>
                            <a:srgbClr val="002557"/>
                          </a:solidFill>
                        </a:rPr>
                        <a:t>185 (47.6)</a:t>
                      </a:r>
                    </a:p>
                    <a:p>
                      <a:pPr lvl="0" algn="ctr">
                        <a:buNone/>
                      </a:pPr>
                      <a:r>
                        <a:rPr lang="en-US" sz="1200" dirty="0">
                          <a:solidFill>
                            <a:srgbClr val="002557"/>
                          </a:solidFill>
                        </a:rPr>
                        <a:t>1 (0.3)</a:t>
                      </a:r>
                    </a:p>
                  </a:txBody>
                  <a:tcPr anchor="ctr">
                    <a:solidFill>
                      <a:srgbClr val="F0F0F0"/>
                    </a:solidFill>
                  </a:tcPr>
                </a:tc>
                <a:extLst>
                  <a:ext uri="{0D108BD9-81ED-4DB2-BD59-A6C34878D82A}">
                    <a16:rowId xmlns:a16="http://schemas.microsoft.com/office/drawing/2014/main" val="2522016349"/>
                  </a:ext>
                </a:extLst>
              </a:tr>
              <a:tr h="31770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rgbClr val="002557"/>
                          </a:solidFill>
                        </a:rPr>
                        <a:t>MVI,</a:t>
                      </a:r>
                      <a:r>
                        <a:rPr kumimoji="0" lang="en-US" sz="1200" b="0" i="0" u="none" strike="noStrike" kern="1200" cap="none" spc="0" normalizeH="0" baseline="30000" noProof="0" dirty="0">
                          <a:ln>
                            <a:noFill/>
                          </a:ln>
                          <a:solidFill>
                            <a:srgbClr val="002557"/>
                          </a:solidFill>
                          <a:effectLst/>
                          <a:uLnTx/>
                          <a:uFillTx/>
                          <a:latin typeface="+mn-lt"/>
                          <a:ea typeface="+mn-ea"/>
                          <a:cs typeface="+mn-cs"/>
                        </a:rPr>
                        <a:t>†</a:t>
                      </a:r>
                      <a:r>
                        <a:rPr lang="en-US" sz="1200" dirty="0">
                          <a:solidFill>
                            <a:srgbClr val="002557"/>
                          </a:solidFill>
                        </a:rPr>
                        <a:t> n (%)</a:t>
                      </a:r>
                    </a:p>
                  </a:txBody>
                  <a:tcPr anchor="ctr">
                    <a:solidFill>
                      <a:srgbClr val="E1E1E1"/>
                    </a:solidFill>
                  </a:tcPr>
                </a:tc>
                <a:tc>
                  <a:txBody>
                    <a:bodyPr/>
                    <a:lstStyle/>
                    <a:p>
                      <a:pPr algn="ctr">
                        <a:spcBef>
                          <a:spcPts val="0"/>
                        </a:spcBef>
                        <a:spcAft>
                          <a:spcPts val="0"/>
                        </a:spcAft>
                      </a:pPr>
                      <a:r>
                        <a:rPr lang="en-US" sz="1200" dirty="0">
                          <a:solidFill>
                            <a:srgbClr val="002557"/>
                          </a:solidFill>
                        </a:rPr>
                        <a:t>103 (26.2)</a:t>
                      </a:r>
                    </a:p>
                  </a:txBody>
                  <a:tcPr anchor="ctr">
                    <a:solidFill>
                      <a:srgbClr val="E1E1E1"/>
                    </a:solidFill>
                  </a:tcPr>
                </a:tc>
                <a:tc>
                  <a:txBody>
                    <a:bodyPr/>
                    <a:lstStyle/>
                    <a:p>
                      <a:pPr algn="ctr">
                        <a:spcBef>
                          <a:spcPts val="0"/>
                        </a:spcBef>
                        <a:spcAft>
                          <a:spcPts val="0"/>
                        </a:spcAft>
                      </a:pPr>
                      <a:r>
                        <a:rPr lang="en-US" sz="1200" dirty="0">
                          <a:solidFill>
                            <a:srgbClr val="002557"/>
                          </a:solidFill>
                        </a:rPr>
                        <a:t>94 (24.2)</a:t>
                      </a:r>
                    </a:p>
                  </a:txBody>
                  <a:tcPr anchor="ctr">
                    <a:solidFill>
                      <a:srgbClr val="E1E1E1"/>
                    </a:solidFill>
                  </a:tcPr>
                </a:tc>
                <a:tc>
                  <a:txBody>
                    <a:bodyPr/>
                    <a:lstStyle/>
                    <a:p>
                      <a:pPr algn="ctr">
                        <a:spcBef>
                          <a:spcPts val="0"/>
                        </a:spcBef>
                        <a:spcAft>
                          <a:spcPts val="0"/>
                        </a:spcAft>
                      </a:pPr>
                      <a:r>
                        <a:rPr lang="en-US" sz="1200" dirty="0">
                          <a:solidFill>
                            <a:srgbClr val="002557"/>
                          </a:solidFill>
                        </a:rPr>
                        <a:t>100 (25.7)</a:t>
                      </a:r>
                    </a:p>
                  </a:txBody>
                  <a:tcPr anchor="ctr">
                    <a:solidFill>
                      <a:srgbClr val="E1E1E1"/>
                    </a:solidFill>
                  </a:tcPr>
                </a:tc>
                <a:extLst>
                  <a:ext uri="{0D108BD9-81ED-4DB2-BD59-A6C34878D82A}">
                    <a16:rowId xmlns:a16="http://schemas.microsoft.com/office/drawing/2014/main" val="1272719697"/>
                  </a:ext>
                </a:extLst>
              </a:tr>
              <a:tr h="3306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rgbClr val="002557"/>
                          </a:solidFill>
                        </a:rPr>
                        <a:t>EHS,</a:t>
                      </a:r>
                      <a:r>
                        <a:rPr kumimoji="0" lang="en-US" sz="1200" b="0" i="0" u="none" strike="noStrike" kern="1200" cap="none" spc="0" normalizeH="0" baseline="30000" noProof="0" dirty="0">
                          <a:ln>
                            <a:noFill/>
                          </a:ln>
                          <a:solidFill>
                            <a:srgbClr val="002557"/>
                          </a:solidFill>
                          <a:effectLst/>
                          <a:uLnTx/>
                          <a:uFillTx/>
                          <a:latin typeface="+mn-lt"/>
                          <a:ea typeface="+mn-ea"/>
                          <a:cs typeface="+mn-cs"/>
                        </a:rPr>
                        <a:t>†</a:t>
                      </a:r>
                      <a:r>
                        <a:rPr lang="en-US" sz="1200" dirty="0">
                          <a:solidFill>
                            <a:srgbClr val="002557"/>
                          </a:solidFill>
                        </a:rPr>
                        <a:t> n (%)</a:t>
                      </a:r>
                    </a:p>
                  </a:txBody>
                  <a:tcPr anchor="ctr">
                    <a:solidFill>
                      <a:srgbClr val="F0F0F0"/>
                    </a:solidFill>
                  </a:tcPr>
                </a:tc>
                <a:tc>
                  <a:txBody>
                    <a:bodyPr/>
                    <a:lstStyle/>
                    <a:p>
                      <a:pPr algn="ctr">
                        <a:spcBef>
                          <a:spcPts val="0"/>
                        </a:spcBef>
                        <a:spcAft>
                          <a:spcPts val="0"/>
                        </a:spcAft>
                      </a:pPr>
                      <a:r>
                        <a:rPr lang="en-US" sz="1200" dirty="0">
                          <a:solidFill>
                            <a:srgbClr val="002557"/>
                          </a:solidFill>
                        </a:rPr>
                        <a:t>209 (53.2)</a:t>
                      </a:r>
                    </a:p>
                  </a:txBody>
                  <a:tcPr anchor="ctr">
                    <a:solidFill>
                      <a:srgbClr val="F0F0F0"/>
                    </a:solidFill>
                  </a:tcPr>
                </a:tc>
                <a:tc>
                  <a:txBody>
                    <a:bodyPr/>
                    <a:lstStyle/>
                    <a:p>
                      <a:pPr algn="ctr">
                        <a:spcBef>
                          <a:spcPts val="0"/>
                        </a:spcBef>
                        <a:spcAft>
                          <a:spcPts val="0"/>
                        </a:spcAft>
                      </a:pPr>
                      <a:r>
                        <a:rPr lang="en-US" sz="1200" dirty="0">
                          <a:solidFill>
                            <a:srgbClr val="002557"/>
                          </a:solidFill>
                        </a:rPr>
                        <a:t>212 (54.5)</a:t>
                      </a:r>
                    </a:p>
                  </a:txBody>
                  <a:tcPr anchor="ctr">
                    <a:solidFill>
                      <a:srgbClr val="F0F0F0"/>
                    </a:solidFill>
                  </a:tcPr>
                </a:tc>
                <a:tc>
                  <a:txBody>
                    <a:bodyPr/>
                    <a:lstStyle/>
                    <a:p>
                      <a:pPr algn="ctr">
                        <a:spcBef>
                          <a:spcPts val="0"/>
                        </a:spcBef>
                        <a:spcAft>
                          <a:spcPts val="0"/>
                        </a:spcAft>
                      </a:pPr>
                      <a:r>
                        <a:rPr lang="en-US" sz="1200" dirty="0">
                          <a:solidFill>
                            <a:srgbClr val="002557"/>
                          </a:solidFill>
                        </a:rPr>
                        <a:t>203 (52.2)</a:t>
                      </a:r>
                    </a:p>
                  </a:txBody>
                  <a:tcPr anchor="ctr">
                    <a:solidFill>
                      <a:srgbClr val="F0F0F0"/>
                    </a:solidFill>
                  </a:tcPr>
                </a:tc>
                <a:extLst>
                  <a:ext uri="{0D108BD9-81ED-4DB2-BD59-A6C34878D82A}">
                    <a16:rowId xmlns:a16="http://schemas.microsoft.com/office/drawing/2014/main" val="4060818973"/>
                  </a:ext>
                </a:extLst>
              </a:tr>
              <a:tr h="5273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rgbClr val="002557"/>
                          </a:solidFill>
                        </a:rPr>
                        <a:t>PD-L1 positive,</a:t>
                      </a:r>
                      <a:r>
                        <a:rPr kumimoji="0" lang="en-US" sz="1200" b="0" i="0" u="none" strike="noStrike" kern="1200" cap="none" spc="0" normalizeH="0" baseline="30000" noProof="0" dirty="0">
                          <a:ln>
                            <a:noFill/>
                          </a:ln>
                          <a:solidFill>
                            <a:srgbClr val="002557"/>
                          </a:solidFill>
                          <a:effectLst/>
                          <a:uLnTx/>
                          <a:uFillTx/>
                          <a:latin typeface="+mn-lt"/>
                          <a:ea typeface="+mn-ea"/>
                          <a:cs typeface="+mn-cs"/>
                        </a:rPr>
                        <a:t>‡</a:t>
                      </a:r>
                      <a:r>
                        <a:rPr lang="en-US" sz="1200" dirty="0">
                          <a:solidFill>
                            <a:srgbClr val="002557"/>
                          </a:solidFill>
                        </a:rPr>
                        <a:t> n (%)</a:t>
                      </a:r>
                    </a:p>
                  </a:txBody>
                  <a:tcPr anchor="ctr">
                    <a:solidFill>
                      <a:srgbClr val="E1E1E1"/>
                    </a:solidFill>
                  </a:tcPr>
                </a:tc>
                <a:tc>
                  <a:txBody>
                    <a:bodyPr/>
                    <a:lstStyle/>
                    <a:p>
                      <a:pPr algn="ctr">
                        <a:spcBef>
                          <a:spcPts val="0"/>
                        </a:spcBef>
                        <a:spcAft>
                          <a:spcPts val="0"/>
                        </a:spcAft>
                      </a:pPr>
                      <a:r>
                        <a:rPr lang="en-US" sz="1200" dirty="0">
                          <a:solidFill>
                            <a:srgbClr val="002557"/>
                          </a:solidFill>
                        </a:rPr>
                        <a:t>148 (37.7)</a:t>
                      </a:r>
                    </a:p>
                  </a:txBody>
                  <a:tcPr anchor="ctr">
                    <a:solidFill>
                      <a:srgbClr val="E1E1E1"/>
                    </a:solidFill>
                  </a:tcPr>
                </a:tc>
                <a:tc>
                  <a:txBody>
                    <a:bodyPr/>
                    <a:lstStyle/>
                    <a:p>
                      <a:pPr algn="ctr">
                        <a:spcBef>
                          <a:spcPts val="0"/>
                        </a:spcBef>
                        <a:spcAft>
                          <a:spcPts val="0"/>
                        </a:spcAft>
                      </a:pPr>
                      <a:r>
                        <a:rPr lang="en-US" sz="1200" dirty="0">
                          <a:solidFill>
                            <a:srgbClr val="002557"/>
                          </a:solidFill>
                        </a:rPr>
                        <a:t>154 (39.6)</a:t>
                      </a:r>
                    </a:p>
                  </a:txBody>
                  <a:tcPr anchor="ctr">
                    <a:solidFill>
                      <a:srgbClr val="E1E1E1"/>
                    </a:solidFill>
                  </a:tcPr>
                </a:tc>
                <a:tc>
                  <a:txBody>
                    <a:bodyPr/>
                    <a:lstStyle/>
                    <a:p>
                      <a:pPr algn="ctr">
                        <a:spcBef>
                          <a:spcPts val="0"/>
                        </a:spcBef>
                        <a:spcAft>
                          <a:spcPts val="0"/>
                        </a:spcAft>
                      </a:pPr>
                      <a:r>
                        <a:rPr lang="en-US" sz="1200" dirty="0">
                          <a:solidFill>
                            <a:srgbClr val="002557"/>
                          </a:solidFill>
                        </a:rPr>
                        <a:t>148 (38.0)</a:t>
                      </a:r>
                    </a:p>
                  </a:txBody>
                  <a:tcPr anchor="ctr">
                    <a:solidFill>
                      <a:srgbClr val="E1E1E1"/>
                    </a:solidFill>
                  </a:tcPr>
                </a:tc>
                <a:extLst>
                  <a:ext uri="{0D108BD9-81ED-4DB2-BD59-A6C34878D82A}">
                    <a16:rowId xmlns:a16="http://schemas.microsoft.com/office/drawing/2014/main" val="408182543"/>
                  </a:ext>
                </a:extLst>
              </a:tr>
              <a:tr h="5273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rgbClr val="002557"/>
                          </a:solidFill>
                        </a:rPr>
                        <a:t>AFP ≥400 ng/ml,</a:t>
                      </a:r>
                      <a:r>
                        <a:rPr kumimoji="0" lang="en-US" sz="1200" b="0" i="0" u="none" strike="noStrike" kern="1200" cap="none" spc="0" normalizeH="0" baseline="30000" noProof="0" dirty="0">
                          <a:ln>
                            <a:noFill/>
                          </a:ln>
                          <a:solidFill>
                            <a:srgbClr val="002557"/>
                          </a:solidFill>
                          <a:effectLst/>
                          <a:uLnTx/>
                          <a:uFillTx/>
                          <a:latin typeface="+mn-lt"/>
                          <a:ea typeface="+mn-ea"/>
                          <a:cs typeface="+mn-cs"/>
                        </a:rPr>
                        <a:t>†</a:t>
                      </a:r>
                      <a:r>
                        <a:rPr lang="en-US" sz="1200" dirty="0">
                          <a:solidFill>
                            <a:srgbClr val="002557"/>
                          </a:solidFill>
                        </a:rPr>
                        <a:t> n (%)</a:t>
                      </a:r>
                    </a:p>
                  </a:txBody>
                  <a:tcPr anchor="ctr">
                    <a:solidFill>
                      <a:srgbClr val="F0F0F0"/>
                    </a:solidFill>
                  </a:tcPr>
                </a:tc>
                <a:tc>
                  <a:txBody>
                    <a:bodyPr/>
                    <a:lstStyle/>
                    <a:p>
                      <a:pPr algn="ctr">
                        <a:spcBef>
                          <a:spcPts val="0"/>
                        </a:spcBef>
                        <a:spcAft>
                          <a:spcPts val="0"/>
                        </a:spcAft>
                      </a:pPr>
                      <a:r>
                        <a:rPr lang="en-US" sz="1200" dirty="0">
                          <a:solidFill>
                            <a:srgbClr val="002557"/>
                          </a:solidFill>
                        </a:rPr>
                        <a:t>145 (36.9)</a:t>
                      </a:r>
                    </a:p>
                  </a:txBody>
                  <a:tcPr anchor="ctr">
                    <a:solidFill>
                      <a:srgbClr val="F0F0F0"/>
                    </a:solidFill>
                  </a:tcPr>
                </a:tc>
                <a:tc>
                  <a:txBody>
                    <a:bodyPr/>
                    <a:lstStyle/>
                    <a:p>
                      <a:pPr algn="ctr">
                        <a:spcBef>
                          <a:spcPts val="0"/>
                        </a:spcBef>
                        <a:spcAft>
                          <a:spcPts val="0"/>
                        </a:spcAft>
                      </a:pPr>
                      <a:r>
                        <a:rPr lang="en-US" sz="1200" dirty="0">
                          <a:solidFill>
                            <a:srgbClr val="002557"/>
                          </a:solidFill>
                        </a:rPr>
                        <a:t>137 (35.2)</a:t>
                      </a:r>
                    </a:p>
                  </a:txBody>
                  <a:tcPr anchor="ctr">
                    <a:solidFill>
                      <a:srgbClr val="F0F0F0"/>
                    </a:solidFill>
                  </a:tcPr>
                </a:tc>
                <a:tc>
                  <a:txBody>
                    <a:bodyPr/>
                    <a:lstStyle/>
                    <a:p>
                      <a:pPr algn="ctr">
                        <a:spcBef>
                          <a:spcPts val="0"/>
                        </a:spcBef>
                        <a:spcAft>
                          <a:spcPts val="0"/>
                        </a:spcAft>
                      </a:pPr>
                      <a:r>
                        <a:rPr lang="en-US" sz="1200" dirty="0">
                          <a:solidFill>
                            <a:srgbClr val="002557"/>
                          </a:solidFill>
                        </a:rPr>
                        <a:t>124 (31.9)</a:t>
                      </a:r>
                    </a:p>
                  </a:txBody>
                  <a:tcPr anchor="ctr">
                    <a:solidFill>
                      <a:srgbClr val="F0F0F0"/>
                    </a:solidFill>
                  </a:tcPr>
                </a:tc>
                <a:extLst>
                  <a:ext uri="{0D108BD9-81ED-4DB2-BD59-A6C34878D82A}">
                    <a16:rowId xmlns:a16="http://schemas.microsoft.com/office/drawing/2014/main" val="4210647278"/>
                  </a:ext>
                </a:extLst>
              </a:tr>
            </a:tbl>
          </a:graphicData>
        </a:graphic>
      </p:graphicFrame>
      <p:sp>
        <p:nvSpPr>
          <p:cNvPr id="9" name="Title 2">
            <a:extLst>
              <a:ext uri="{FF2B5EF4-FFF2-40B4-BE49-F238E27FC236}">
                <a16:creationId xmlns:a16="http://schemas.microsoft.com/office/drawing/2014/main" id="{E9EDF8B0-B510-4E1B-AB8A-BDFC33F8EFFA}"/>
              </a:ext>
            </a:extLst>
          </p:cNvPr>
          <p:cNvSpPr txBox="1">
            <a:spLocks/>
          </p:cNvSpPr>
          <p:nvPr/>
        </p:nvSpPr>
        <p:spPr>
          <a:xfrm>
            <a:off x="640080" y="0"/>
            <a:ext cx="10972800" cy="1371600"/>
          </a:xfrm>
          <a:prstGeom prst="rect">
            <a:avLst/>
          </a:prstGeom>
        </p:spPr>
        <p:txBody>
          <a:bodyPr vert="horz" lIns="91440" tIns="45720" rIns="91440" bIns="45720" rtlCol="0" anchor="ctr" anchorCtr="0">
            <a:normAutofit/>
          </a:bodyPr>
          <a:lstStyle>
            <a:lvl1pPr algn="l" defTabSz="914400" rtl="0" eaLnBrk="1" latinLnBrk="0" hangingPunct="1">
              <a:lnSpc>
                <a:spcPct val="90000"/>
              </a:lnSpc>
              <a:spcBef>
                <a:spcPct val="0"/>
              </a:spcBef>
              <a:buNone/>
              <a:defRPr sz="4000" b="1" kern="1200">
                <a:solidFill>
                  <a:srgbClr val="002557"/>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3200" b="1" i="0" u="none" strike="noStrike" kern="1200" cap="none" spc="0" normalizeH="0" baseline="0" noProof="0" dirty="0">
                <a:ln>
                  <a:noFill/>
                </a:ln>
                <a:solidFill>
                  <a:srgbClr val="002557"/>
                </a:solidFill>
                <a:effectLst/>
                <a:uLnTx/>
                <a:uFillTx/>
                <a:latin typeface="Arial" panose="020B0604020202020204" pitchFamily="34" charset="0"/>
                <a:ea typeface="+mj-ea"/>
                <a:cs typeface="Arial" panose="020B0604020202020204" pitchFamily="34" charset="0"/>
              </a:rPr>
              <a:t>Baseline characteristics</a:t>
            </a: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GB" sz="3200" b="1" i="0" u="none" strike="noStrike" kern="1200" cap="none" spc="0" normalizeH="0" baseline="0" noProof="0" dirty="0">
              <a:ln>
                <a:noFill/>
              </a:ln>
              <a:solidFill>
                <a:srgbClr val="002557"/>
              </a:solidFill>
              <a:effectLst/>
              <a:uLnTx/>
              <a:uFillTx/>
              <a:latin typeface="Arial" panose="020B0604020202020204" pitchFamily="34" charset="0"/>
              <a:ea typeface="+mj-ea"/>
              <a:cs typeface="Arial" panose="020B0604020202020204" pitchFamily="34" charset="0"/>
            </a:endParaRPr>
          </a:p>
        </p:txBody>
      </p:sp>
    </p:spTree>
    <p:extLst>
      <p:ext uri="{BB962C8B-B14F-4D97-AF65-F5344CB8AC3E}">
        <p14:creationId xmlns:p14="http://schemas.microsoft.com/office/powerpoint/2010/main" val="151794881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345F73FA-172B-4A5E-9CE7-0B3BF72AC00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1" name="think-cell Slide" r:id="rId5" imgW="592" imgH="591" progId="TCLayout.ActiveDocument.1">
                  <p:embed/>
                </p:oleObj>
              </mc:Choice>
              <mc:Fallback>
                <p:oleObj name="think-cell Slide" r:id="rId5" imgW="592" imgH="591" progId="TCLayout.ActiveDocument.1">
                  <p:embed/>
                  <p:pic>
                    <p:nvPicPr>
                      <p:cNvPr id="12" name="Object 11" hidden="1">
                        <a:extLst>
                          <a:ext uri="{FF2B5EF4-FFF2-40B4-BE49-F238E27FC236}">
                            <a16:creationId xmlns:a16="http://schemas.microsoft.com/office/drawing/2014/main" id="{345F73FA-172B-4A5E-9CE7-0B3BF72AC00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Title 12">
            <a:extLst>
              <a:ext uri="{FF2B5EF4-FFF2-40B4-BE49-F238E27FC236}">
                <a16:creationId xmlns:a16="http://schemas.microsoft.com/office/drawing/2014/main" id="{D692AF01-BF98-4AA5-AAA5-1A2ACA95A264}"/>
              </a:ext>
            </a:extLst>
          </p:cNvPr>
          <p:cNvSpPr>
            <a:spLocks noGrp="1"/>
          </p:cNvSpPr>
          <p:nvPr>
            <p:ph type="title"/>
          </p:nvPr>
        </p:nvSpPr>
        <p:spPr>
          <a:xfrm>
            <a:off x="640080" y="97939"/>
            <a:ext cx="10972800" cy="1371600"/>
          </a:xfrm>
        </p:spPr>
        <p:txBody>
          <a:bodyPr vert="horz"/>
          <a:lstStyle/>
          <a:p>
            <a:r>
              <a:rPr lang="en-US" sz="3200" dirty="0"/>
              <a:t>Primary objective: overall survival for T300+D vs sorafenib</a:t>
            </a:r>
            <a:endParaRPr lang="en-GB" sz="3200" dirty="0"/>
          </a:p>
        </p:txBody>
      </p:sp>
      <p:sp>
        <p:nvSpPr>
          <p:cNvPr id="11" name="Text Placeholder 10">
            <a:extLst>
              <a:ext uri="{FF2B5EF4-FFF2-40B4-BE49-F238E27FC236}">
                <a16:creationId xmlns:a16="http://schemas.microsoft.com/office/drawing/2014/main" id="{0E1DD130-DFD0-4386-94A1-BBC314966961}"/>
              </a:ext>
            </a:extLst>
          </p:cNvPr>
          <p:cNvSpPr>
            <a:spLocks noGrp="1"/>
          </p:cNvSpPr>
          <p:nvPr>
            <p:ph type="body" sz="quarter" idx="15"/>
          </p:nvPr>
        </p:nvSpPr>
        <p:spPr>
          <a:xfrm>
            <a:off x="3959671" y="6013320"/>
            <a:ext cx="5852160" cy="281354"/>
          </a:xfrm>
        </p:spPr>
        <p:txBody>
          <a:bodyPr/>
          <a:lstStyle/>
          <a:p>
            <a:r>
              <a:rPr lang="en-US" dirty="0"/>
              <a:t>Ghassan K Abou-Alfa, MD, MBA	        NEJM Evidence 2022</a:t>
            </a:r>
          </a:p>
        </p:txBody>
      </p:sp>
      <p:sp>
        <p:nvSpPr>
          <p:cNvPr id="107" name="TextBox 106">
            <a:extLst>
              <a:ext uri="{FF2B5EF4-FFF2-40B4-BE49-F238E27FC236}">
                <a16:creationId xmlns:a16="http://schemas.microsoft.com/office/drawing/2014/main" id="{74DF7FF8-BDA0-4D57-A0E4-52EE14662E9B}"/>
              </a:ext>
            </a:extLst>
          </p:cNvPr>
          <p:cNvSpPr txBox="1"/>
          <p:nvPr/>
        </p:nvSpPr>
        <p:spPr>
          <a:xfrm>
            <a:off x="238124" y="5570123"/>
            <a:ext cx="11719925" cy="407804"/>
          </a:xfrm>
          <a:prstGeom prst="rect">
            <a:avLst/>
          </a:prstGeom>
          <a:noFill/>
        </p:spPr>
        <p:txBody>
          <a:bodyPr wrap="square" rtlCol="0" anchor="b" anchorCtr="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900" b="0" i="0" u="none" strike="noStrike" kern="1200" cap="none" spc="0" normalizeH="0" baseline="0" noProof="0" dirty="0">
                <a:ln>
                  <a:noFill/>
                </a:ln>
                <a:solidFill>
                  <a:srgbClr val="002557"/>
                </a:solidFill>
                <a:effectLst/>
                <a:uLnTx/>
                <a:uFillTx/>
                <a:latin typeface="Arial" panose="020B0604020202020204"/>
                <a:ea typeface="+mn-ea"/>
                <a:cs typeface="+mn-cs"/>
              </a:rPr>
              <a:t>Data cut-off: August 27, 2021. Median duration of follow-up was 33.18 (95% CI, 31.74</a:t>
            </a:r>
            <a:r>
              <a:rPr kumimoji="0" lang="en-GB" sz="900" b="0" i="0" u="none" strike="noStrike" kern="1200" cap="none" spc="0" normalizeH="0" baseline="0" noProof="0" dirty="0">
                <a:ln>
                  <a:noFill/>
                </a:ln>
                <a:solidFill>
                  <a:srgbClr val="002557"/>
                </a:solidFill>
                <a:effectLst/>
                <a:uLnTx/>
                <a:uFillTx/>
                <a:latin typeface="Arial" panose="020B0604020202020204"/>
                <a:ea typeface="+mn-ea"/>
                <a:cs typeface="+mn-cs"/>
              </a:rPr>
              <a:t>–</a:t>
            </a:r>
            <a:r>
              <a:rPr kumimoji="0" lang="en-US" sz="900" b="0" i="0" u="none" strike="noStrike" kern="1200" cap="none" spc="0" normalizeH="0" baseline="0" noProof="0" dirty="0">
                <a:ln>
                  <a:noFill/>
                </a:ln>
                <a:solidFill>
                  <a:srgbClr val="002557"/>
                </a:solidFill>
                <a:effectLst/>
                <a:uLnTx/>
                <a:uFillTx/>
                <a:latin typeface="Arial" panose="020B0604020202020204"/>
                <a:ea typeface="+mn-ea"/>
                <a:cs typeface="+mn-cs"/>
              </a:rPr>
              <a:t>34.53) months for T300+D and 32.23 (95% CI, 30.42</a:t>
            </a:r>
            <a:r>
              <a:rPr kumimoji="0" lang="en-GB" sz="900" b="0" i="0" u="none" strike="noStrike" kern="1200" cap="none" spc="0" normalizeH="0" baseline="0" noProof="0" dirty="0">
                <a:ln>
                  <a:noFill/>
                </a:ln>
                <a:solidFill>
                  <a:srgbClr val="002557"/>
                </a:solidFill>
                <a:effectLst/>
                <a:uLnTx/>
                <a:uFillTx/>
                <a:latin typeface="Arial" panose="020B0604020202020204"/>
                <a:ea typeface="+mn-ea"/>
                <a:cs typeface="+mn-cs"/>
              </a:rPr>
              <a:t>–</a:t>
            </a:r>
            <a:r>
              <a:rPr kumimoji="0" lang="en-US" sz="900" b="0" i="0" u="none" strike="noStrike" kern="1200" cap="none" spc="0" normalizeH="0" baseline="0" noProof="0" dirty="0">
                <a:ln>
                  <a:noFill/>
                </a:ln>
                <a:solidFill>
                  <a:srgbClr val="002557"/>
                </a:solidFill>
                <a:effectLst/>
                <a:uLnTx/>
                <a:uFillTx/>
                <a:latin typeface="Arial" panose="020B0604020202020204"/>
                <a:ea typeface="+mn-ea"/>
                <a:cs typeface="+mn-cs"/>
              </a:rPr>
              <a:t>33.71) months for sorafenib.</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900" b="0" i="0" u="none" strike="noStrike" kern="1200" cap="none" spc="0" normalizeH="0" baseline="0" noProof="0" dirty="0">
                <a:ln>
                  <a:noFill/>
                </a:ln>
                <a:solidFill>
                  <a:srgbClr val="002557"/>
                </a:solidFill>
                <a:effectLst/>
                <a:uLnTx/>
                <a:uFillTx/>
                <a:latin typeface="Arial" panose="020B0604020202020204"/>
                <a:ea typeface="+mn-ea"/>
                <a:cs typeface="+mn-cs"/>
              </a:rPr>
              <a:t>CI, confidence interval; HR, hazard ratio; OS, overall survival; </a:t>
            </a:r>
            <a:r>
              <a:rPr kumimoji="0" lang="it-IT" sz="900" b="0" i="0" u="none" strike="noStrike" kern="1200" cap="none" spc="0" normalizeH="0" baseline="0" noProof="0" dirty="0">
                <a:ln>
                  <a:noFill/>
                </a:ln>
                <a:solidFill>
                  <a:srgbClr val="002557"/>
                </a:solidFill>
                <a:effectLst/>
                <a:uLnTx/>
                <a:uFillTx/>
                <a:latin typeface="Arial" panose="020B0604020202020204"/>
                <a:ea typeface="+mn-ea"/>
                <a:cs typeface="+mn-cs"/>
              </a:rPr>
              <a:t>T300+D, t</a:t>
            </a:r>
            <a:r>
              <a:rPr kumimoji="0" lang="en-US" sz="900" b="0" i="0" u="none" strike="noStrike" kern="1200" cap="none" spc="0" normalizeH="0" baseline="0" noProof="0" dirty="0" err="1">
                <a:ln>
                  <a:noFill/>
                </a:ln>
                <a:solidFill>
                  <a:srgbClr val="002557"/>
                </a:solidFill>
                <a:effectLst/>
                <a:uLnTx/>
                <a:uFillTx/>
                <a:latin typeface="Arial" panose="020B0604020202020204"/>
                <a:ea typeface="+mn-ea"/>
                <a:cs typeface="+mn-cs"/>
              </a:rPr>
              <a:t>remelimumab</a:t>
            </a:r>
            <a:r>
              <a:rPr kumimoji="0" lang="en-US" sz="900" b="0" i="0" u="none" strike="noStrike" kern="1200" cap="none" spc="0" normalizeH="0" baseline="0" noProof="0" dirty="0">
                <a:ln>
                  <a:noFill/>
                </a:ln>
                <a:solidFill>
                  <a:srgbClr val="002557"/>
                </a:solidFill>
                <a:effectLst/>
                <a:uLnTx/>
                <a:uFillTx/>
                <a:latin typeface="Arial" panose="020B0604020202020204"/>
                <a:ea typeface="+mn-ea"/>
                <a:cs typeface="+mn-cs"/>
              </a:rPr>
              <a:t> 300 mg × 1 dose + durvalumab 1500 mg Q4W.</a:t>
            </a:r>
          </a:p>
        </p:txBody>
      </p:sp>
      <p:sp>
        <p:nvSpPr>
          <p:cNvPr id="131" name="TextBox 130">
            <a:extLst>
              <a:ext uri="{FF2B5EF4-FFF2-40B4-BE49-F238E27FC236}">
                <a16:creationId xmlns:a16="http://schemas.microsoft.com/office/drawing/2014/main" id="{DE46998B-7CFB-4D26-8007-FF199034B33A}"/>
              </a:ext>
            </a:extLst>
          </p:cNvPr>
          <p:cNvSpPr txBox="1"/>
          <p:nvPr/>
        </p:nvSpPr>
        <p:spPr>
          <a:xfrm>
            <a:off x="228990" y="4945831"/>
            <a:ext cx="1170513" cy="2616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defPPr>
              <a:defRPr lang="en-US"/>
            </a:defPPr>
            <a:lvl1pPr>
              <a:defRPr sz="1200" b="1" spc="0" baseline="0">
                <a:solidFill>
                  <a:schemeClr val="bg1"/>
                </a:solidFill>
                <a:latin typeface="+mj-lt"/>
                <a:rtl val="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002557"/>
                </a:solidFill>
                <a:effectLst/>
                <a:uLnTx/>
                <a:uFillTx/>
                <a:latin typeface="Arial" panose="020B0604020202020204"/>
                <a:ea typeface="+mn-ea"/>
                <a:cs typeface="+mn-cs"/>
                <a:sym typeface="HelveticaNeue-Bold"/>
                <a:rtl val="0"/>
              </a:rPr>
              <a:t>No. at risk</a:t>
            </a:r>
          </a:p>
        </p:txBody>
      </p:sp>
      <p:sp>
        <p:nvSpPr>
          <p:cNvPr id="132" name="TextBox 131">
            <a:extLst>
              <a:ext uri="{FF2B5EF4-FFF2-40B4-BE49-F238E27FC236}">
                <a16:creationId xmlns:a16="http://schemas.microsoft.com/office/drawing/2014/main" id="{5486C59F-033D-42FA-8C05-ADC63AD36FFC}"/>
              </a:ext>
            </a:extLst>
          </p:cNvPr>
          <p:cNvSpPr txBox="1"/>
          <p:nvPr/>
        </p:nvSpPr>
        <p:spPr>
          <a:xfrm>
            <a:off x="228990" y="5133240"/>
            <a:ext cx="704039"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002557"/>
                </a:solidFill>
                <a:effectLst/>
                <a:uLnTx/>
                <a:uFillTx/>
                <a:latin typeface="Arial" panose="020B0604020202020204"/>
                <a:ea typeface="+mn-ea"/>
                <a:cs typeface="+mn-cs"/>
                <a:sym typeface="HelveticaNeueCE-Roman"/>
                <a:rtl val="0"/>
              </a:rPr>
              <a:t>T300+D</a:t>
            </a:r>
          </a:p>
        </p:txBody>
      </p:sp>
      <p:sp>
        <p:nvSpPr>
          <p:cNvPr id="133" name="TextBox 132">
            <a:extLst>
              <a:ext uri="{FF2B5EF4-FFF2-40B4-BE49-F238E27FC236}">
                <a16:creationId xmlns:a16="http://schemas.microsoft.com/office/drawing/2014/main" id="{54F76571-408A-4451-B5EF-D0BE186B85C8}"/>
              </a:ext>
            </a:extLst>
          </p:cNvPr>
          <p:cNvSpPr txBox="1"/>
          <p:nvPr/>
        </p:nvSpPr>
        <p:spPr>
          <a:xfrm>
            <a:off x="228990" y="5320799"/>
            <a:ext cx="835485"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002557"/>
                </a:solidFill>
                <a:effectLst/>
                <a:uLnTx/>
                <a:uFillTx/>
                <a:latin typeface="Arial" panose="020B0604020202020204"/>
                <a:ea typeface="+mn-ea"/>
                <a:cs typeface="+mn-cs"/>
                <a:sym typeface="HelveticaNeueCE-Roman"/>
                <a:rtl val="0"/>
              </a:rPr>
              <a:t>Sorafenib</a:t>
            </a:r>
          </a:p>
        </p:txBody>
      </p:sp>
      <p:sp>
        <p:nvSpPr>
          <p:cNvPr id="135" name="Freeform: Shape 134">
            <a:extLst>
              <a:ext uri="{FF2B5EF4-FFF2-40B4-BE49-F238E27FC236}">
                <a16:creationId xmlns:a16="http://schemas.microsoft.com/office/drawing/2014/main" id="{9220AE6B-A007-4124-B3FD-734782D978B8}"/>
              </a:ext>
            </a:extLst>
          </p:cNvPr>
          <p:cNvSpPr/>
          <p:nvPr/>
        </p:nvSpPr>
        <p:spPr>
          <a:xfrm>
            <a:off x="1126628" y="4550367"/>
            <a:ext cx="72000" cy="14815"/>
          </a:xfrm>
          <a:custGeom>
            <a:avLst/>
            <a:gdLst>
              <a:gd name="connsiteX0" fmla="*/ 121278 w 121278"/>
              <a:gd name="connsiteY0" fmla="*/ 0 h 12349"/>
              <a:gd name="connsiteX1" fmla="*/ 0 w 121278"/>
              <a:gd name="connsiteY1" fmla="*/ 0 h 12349"/>
            </a:gdLst>
            <a:ahLst/>
            <a:cxnLst>
              <a:cxn ang="0">
                <a:pos x="connsiteX0" y="connsiteY0"/>
              </a:cxn>
              <a:cxn ang="0">
                <a:pos x="connsiteX1" y="connsiteY1"/>
              </a:cxn>
            </a:cxnLst>
            <a:rect l="l" t="t" r="r" b="b"/>
            <a:pathLst>
              <a:path w="121278" h="12349">
                <a:moveTo>
                  <a:pt x="121278" y="0"/>
                </a:moveTo>
                <a:lnTo>
                  <a:pt x="0" y="0"/>
                </a:lnTo>
              </a:path>
            </a:pathLst>
          </a:custGeom>
          <a:ln w="19050"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136" name="TextBox 135">
            <a:extLst>
              <a:ext uri="{FF2B5EF4-FFF2-40B4-BE49-F238E27FC236}">
                <a16:creationId xmlns:a16="http://schemas.microsoft.com/office/drawing/2014/main" id="{631E64F8-E3B4-4FE8-99C5-C01338DCAFB5}"/>
              </a:ext>
            </a:extLst>
          </p:cNvPr>
          <p:cNvSpPr txBox="1"/>
          <p:nvPr/>
        </p:nvSpPr>
        <p:spPr>
          <a:xfrm>
            <a:off x="761927" y="4410498"/>
            <a:ext cx="397866"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2557"/>
                </a:solidFill>
                <a:effectLst/>
                <a:uLnTx/>
                <a:uFillTx/>
                <a:latin typeface="Arial" panose="020B0604020202020204"/>
                <a:ea typeface="+mn-ea"/>
                <a:cs typeface="+mn-cs"/>
                <a:sym typeface="HelveticaNeueCE-Roman"/>
                <a:rtl val="0"/>
              </a:rPr>
              <a:t>0.0</a:t>
            </a:r>
          </a:p>
        </p:txBody>
      </p:sp>
      <p:sp>
        <p:nvSpPr>
          <p:cNvPr id="137" name="Freeform: Shape 136">
            <a:extLst>
              <a:ext uri="{FF2B5EF4-FFF2-40B4-BE49-F238E27FC236}">
                <a16:creationId xmlns:a16="http://schemas.microsoft.com/office/drawing/2014/main" id="{D339ED66-525C-4DAD-BD89-4507DCC6E8F4}"/>
              </a:ext>
            </a:extLst>
          </p:cNvPr>
          <p:cNvSpPr/>
          <p:nvPr/>
        </p:nvSpPr>
        <p:spPr>
          <a:xfrm>
            <a:off x="1126628" y="4261599"/>
            <a:ext cx="72000" cy="14815"/>
          </a:xfrm>
          <a:custGeom>
            <a:avLst/>
            <a:gdLst>
              <a:gd name="connsiteX0" fmla="*/ 121278 w 121278"/>
              <a:gd name="connsiteY0" fmla="*/ 0 h 12349"/>
              <a:gd name="connsiteX1" fmla="*/ 0 w 121278"/>
              <a:gd name="connsiteY1" fmla="*/ 0 h 12349"/>
            </a:gdLst>
            <a:ahLst/>
            <a:cxnLst>
              <a:cxn ang="0">
                <a:pos x="connsiteX0" y="connsiteY0"/>
              </a:cxn>
              <a:cxn ang="0">
                <a:pos x="connsiteX1" y="connsiteY1"/>
              </a:cxn>
            </a:cxnLst>
            <a:rect l="l" t="t" r="r" b="b"/>
            <a:pathLst>
              <a:path w="121278" h="12349">
                <a:moveTo>
                  <a:pt x="121278" y="0"/>
                </a:moveTo>
                <a:lnTo>
                  <a:pt x="0" y="0"/>
                </a:lnTo>
              </a:path>
            </a:pathLst>
          </a:custGeom>
          <a:ln w="19050"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138" name="TextBox 137">
            <a:extLst>
              <a:ext uri="{FF2B5EF4-FFF2-40B4-BE49-F238E27FC236}">
                <a16:creationId xmlns:a16="http://schemas.microsoft.com/office/drawing/2014/main" id="{C1D1BEB2-ED30-414E-98C7-A03AD4B4AD13}"/>
              </a:ext>
            </a:extLst>
          </p:cNvPr>
          <p:cNvSpPr txBox="1"/>
          <p:nvPr/>
        </p:nvSpPr>
        <p:spPr>
          <a:xfrm>
            <a:off x="761927" y="4121878"/>
            <a:ext cx="397866"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2557"/>
                </a:solidFill>
                <a:effectLst/>
                <a:uLnTx/>
                <a:uFillTx/>
                <a:latin typeface="Arial" panose="020B0604020202020204"/>
                <a:ea typeface="+mn-ea"/>
                <a:cs typeface="+mn-cs"/>
                <a:sym typeface="HelveticaNeueCE-Roman"/>
                <a:rtl val="0"/>
              </a:rPr>
              <a:t>0.1</a:t>
            </a:r>
          </a:p>
        </p:txBody>
      </p:sp>
      <p:sp>
        <p:nvSpPr>
          <p:cNvPr id="139" name="Freeform: Shape 138">
            <a:extLst>
              <a:ext uri="{FF2B5EF4-FFF2-40B4-BE49-F238E27FC236}">
                <a16:creationId xmlns:a16="http://schemas.microsoft.com/office/drawing/2014/main" id="{58483AB2-D546-4EEF-96A2-1DB994F05588}"/>
              </a:ext>
            </a:extLst>
          </p:cNvPr>
          <p:cNvSpPr/>
          <p:nvPr/>
        </p:nvSpPr>
        <p:spPr>
          <a:xfrm>
            <a:off x="1126628" y="3972979"/>
            <a:ext cx="72000" cy="14815"/>
          </a:xfrm>
          <a:custGeom>
            <a:avLst/>
            <a:gdLst>
              <a:gd name="connsiteX0" fmla="*/ 121278 w 121278"/>
              <a:gd name="connsiteY0" fmla="*/ 0 h 12349"/>
              <a:gd name="connsiteX1" fmla="*/ 0 w 121278"/>
              <a:gd name="connsiteY1" fmla="*/ 0 h 12349"/>
            </a:gdLst>
            <a:ahLst/>
            <a:cxnLst>
              <a:cxn ang="0">
                <a:pos x="connsiteX0" y="connsiteY0"/>
              </a:cxn>
              <a:cxn ang="0">
                <a:pos x="connsiteX1" y="connsiteY1"/>
              </a:cxn>
            </a:cxnLst>
            <a:rect l="l" t="t" r="r" b="b"/>
            <a:pathLst>
              <a:path w="121278" h="12349">
                <a:moveTo>
                  <a:pt x="121278" y="0"/>
                </a:moveTo>
                <a:lnTo>
                  <a:pt x="0" y="0"/>
                </a:lnTo>
              </a:path>
            </a:pathLst>
          </a:custGeom>
          <a:ln w="19050"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140" name="TextBox 139">
            <a:extLst>
              <a:ext uri="{FF2B5EF4-FFF2-40B4-BE49-F238E27FC236}">
                <a16:creationId xmlns:a16="http://schemas.microsoft.com/office/drawing/2014/main" id="{9F842D9C-0EC0-4FF1-8F78-F4F72B46B7D9}"/>
              </a:ext>
            </a:extLst>
          </p:cNvPr>
          <p:cNvSpPr txBox="1"/>
          <p:nvPr/>
        </p:nvSpPr>
        <p:spPr>
          <a:xfrm>
            <a:off x="761927" y="3833258"/>
            <a:ext cx="397866"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2557"/>
                </a:solidFill>
                <a:effectLst/>
                <a:uLnTx/>
                <a:uFillTx/>
                <a:latin typeface="Arial" panose="020B0604020202020204"/>
                <a:ea typeface="+mn-ea"/>
                <a:cs typeface="+mn-cs"/>
                <a:sym typeface="HelveticaNeueCE-Roman"/>
                <a:rtl val="0"/>
              </a:rPr>
              <a:t>0.2</a:t>
            </a:r>
          </a:p>
        </p:txBody>
      </p:sp>
      <p:sp>
        <p:nvSpPr>
          <p:cNvPr id="141" name="Freeform: Shape 140">
            <a:extLst>
              <a:ext uri="{FF2B5EF4-FFF2-40B4-BE49-F238E27FC236}">
                <a16:creationId xmlns:a16="http://schemas.microsoft.com/office/drawing/2014/main" id="{E59C2A38-085A-4B37-8169-8455C041EDB7}"/>
              </a:ext>
            </a:extLst>
          </p:cNvPr>
          <p:cNvSpPr/>
          <p:nvPr/>
        </p:nvSpPr>
        <p:spPr>
          <a:xfrm>
            <a:off x="1126628" y="3684359"/>
            <a:ext cx="72000" cy="14815"/>
          </a:xfrm>
          <a:custGeom>
            <a:avLst/>
            <a:gdLst>
              <a:gd name="connsiteX0" fmla="*/ 121278 w 121278"/>
              <a:gd name="connsiteY0" fmla="*/ 0 h 12349"/>
              <a:gd name="connsiteX1" fmla="*/ 0 w 121278"/>
              <a:gd name="connsiteY1" fmla="*/ 0 h 12349"/>
            </a:gdLst>
            <a:ahLst/>
            <a:cxnLst>
              <a:cxn ang="0">
                <a:pos x="connsiteX0" y="connsiteY0"/>
              </a:cxn>
              <a:cxn ang="0">
                <a:pos x="connsiteX1" y="connsiteY1"/>
              </a:cxn>
            </a:cxnLst>
            <a:rect l="l" t="t" r="r" b="b"/>
            <a:pathLst>
              <a:path w="121278" h="12349">
                <a:moveTo>
                  <a:pt x="121278" y="0"/>
                </a:moveTo>
                <a:lnTo>
                  <a:pt x="0" y="0"/>
                </a:lnTo>
              </a:path>
            </a:pathLst>
          </a:custGeom>
          <a:ln w="19050"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142" name="TextBox 141">
            <a:extLst>
              <a:ext uri="{FF2B5EF4-FFF2-40B4-BE49-F238E27FC236}">
                <a16:creationId xmlns:a16="http://schemas.microsoft.com/office/drawing/2014/main" id="{90134957-45C3-4A6D-A392-FB0FC9C9CAAB}"/>
              </a:ext>
            </a:extLst>
          </p:cNvPr>
          <p:cNvSpPr txBox="1"/>
          <p:nvPr/>
        </p:nvSpPr>
        <p:spPr>
          <a:xfrm>
            <a:off x="761927" y="3544638"/>
            <a:ext cx="397866"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2557"/>
                </a:solidFill>
                <a:effectLst/>
                <a:uLnTx/>
                <a:uFillTx/>
                <a:latin typeface="Arial" panose="020B0604020202020204"/>
                <a:ea typeface="+mn-ea"/>
                <a:cs typeface="+mn-cs"/>
                <a:sym typeface="HelveticaNeueCE-Roman"/>
                <a:rtl val="0"/>
              </a:rPr>
              <a:t>0.3</a:t>
            </a:r>
          </a:p>
        </p:txBody>
      </p:sp>
      <p:sp>
        <p:nvSpPr>
          <p:cNvPr id="143" name="Freeform: Shape 142">
            <a:extLst>
              <a:ext uri="{FF2B5EF4-FFF2-40B4-BE49-F238E27FC236}">
                <a16:creationId xmlns:a16="http://schemas.microsoft.com/office/drawing/2014/main" id="{0EA7437F-D6F2-4186-8653-C35DB286527B}"/>
              </a:ext>
            </a:extLst>
          </p:cNvPr>
          <p:cNvSpPr/>
          <p:nvPr/>
        </p:nvSpPr>
        <p:spPr>
          <a:xfrm>
            <a:off x="1126628" y="3395590"/>
            <a:ext cx="72000" cy="14815"/>
          </a:xfrm>
          <a:custGeom>
            <a:avLst/>
            <a:gdLst>
              <a:gd name="connsiteX0" fmla="*/ 121278 w 121278"/>
              <a:gd name="connsiteY0" fmla="*/ 0 h 12349"/>
              <a:gd name="connsiteX1" fmla="*/ 0 w 121278"/>
              <a:gd name="connsiteY1" fmla="*/ 0 h 12349"/>
            </a:gdLst>
            <a:ahLst/>
            <a:cxnLst>
              <a:cxn ang="0">
                <a:pos x="connsiteX0" y="connsiteY0"/>
              </a:cxn>
              <a:cxn ang="0">
                <a:pos x="connsiteX1" y="connsiteY1"/>
              </a:cxn>
            </a:cxnLst>
            <a:rect l="l" t="t" r="r" b="b"/>
            <a:pathLst>
              <a:path w="121278" h="12349">
                <a:moveTo>
                  <a:pt x="121278" y="0"/>
                </a:moveTo>
                <a:lnTo>
                  <a:pt x="0" y="0"/>
                </a:lnTo>
              </a:path>
            </a:pathLst>
          </a:custGeom>
          <a:ln w="19050"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144" name="TextBox 143">
            <a:extLst>
              <a:ext uri="{FF2B5EF4-FFF2-40B4-BE49-F238E27FC236}">
                <a16:creationId xmlns:a16="http://schemas.microsoft.com/office/drawing/2014/main" id="{E9683BA6-BF2A-4C21-952C-6567851A536E}"/>
              </a:ext>
            </a:extLst>
          </p:cNvPr>
          <p:cNvSpPr txBox="1"/>
          <p:nvPr/>
        </p:nvSpPr>
        <p:spPr>
          <a:xfrm>
            <a:off x="761927" y="3255869"/>
            <a:ext cx="397866"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2557"/>
                </a:solidFill>
                <a:effectLst/>
                <a:uLnTx/>
                <a:uFillTx/>
                <a:latin typeface="Arial" panose="020B0604020202020204"/>
                <a:ea typeface="+mn-ea"/>
                <a:cs typeface="+mn-cs"/>
                <a:sym typeface="HelveticaNeueCE-Roman"/>
                <a:rtl val="0"/>
              </a:rPr>
              <a:t>0.4</a:t>
            </a:r>
          </a:p>
        </p:txBody>
      </p:sp>
      <p:sp>
        <p:nvSpPr>
          <p:cNvPr id="145" name="Freeform: Shape 144">
            <a:extLst>
              <a:ext uri="{FF2B5EF4-FFF2-40B4-BE49-F238E27FC236}">
                <a16:creationId xmlns:a16="http://schemas.microsoft.com/office/drawing/2014/main" id="{8D919356-0D3F-412A-A1B1-59DA76006C90}"/>
              </a:ext>
            </a:extLst>
          </p:cNvPr>
          <p:cNvSpPr/>
          <p:nvPr/>
        </p:nvSpPr>
        <p:spPr>
          <a:xfrm>
            <a:off x="1126628" y="3106971"/>
            <a:ext cx="72000" cy="14815"/>
          </a:xfrm>
          <a:custGeom>
            <a:avLst/>
            <a:gdLst>
              <a:gd name="connsiteX0" fmla="*/ 121278 w 121278"/>
              <a:gd name="connsiteY0" fmla="*/ 0 h 12349"/>
              <a:gd name="connsiteX1" fmla="*/ 0 w 121278"/>
              <a:gd name="connsiteY1" fmla="*/ 0 h 12349"/>
            </a:gdLst>
            <a:ahLst/>
            <a:cxnLst>
              <a:cxn ang="0">
                <a:pos x="connsiteX0" y="connsiteY0"/>
              </a:cxn>
              <a:cxn ang="0">
                <a:pos x="connsiteX1" y="connsiteY1"/>
              </a:cxn>
            </a:cxnLst>
            <a:rect l="l" t="t" r="r" b="b"/>
            <a:pathLst>
              <a:path w="121278" h="12349">
                <a:moveTo>
                  <a:pt x="121278" y="0"/>
                </a:moveTo>
                <a:lnTo>
                  <a:pt x="0" y="0"/>
                </a:lnTo>
              </a:path>
            </a:pathLst>
          </a:custGeom>
          <a:ln w="19050"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146" name="TextBox 145">
            <a:extLst>
              <a:ext uri="{FF2B5EF4-FFF2-40B4-BE49-F238E27FC236}">
                <a16:creationId xmlns:a16="http://schemas.microsoft.com/office/drawing/2014/main" id="{787F3109-F668-408A-8086-349BE6B8C985}"/>
              </a:ext>
            </a:extLst>
          </p:cNvPr>
          <p:cNvSpPr txBox="1"/>
          <p:nvPr/>
        </p:nvSpPr>
        <p:spPr>
          <a:xfrm>
            <a:off x="761927" y="2967249"/>
            <a:ext cx="397866"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2557"/>
                </a:solidFill>
                <a:effectLst/>
                <a:uLnTx/>
                <a:uFillTx/>
                <a:latin typeface="Arial" panose="020B0604020202020204"/>
                <a:ea typeface="+mn-ea"/>
                <a:cs typeface="+mn-cs"/>
                <a:sym typeface="HelveticaNeueCE-Roman"/>
                <a:rtl val="0"/>
              </a:rPr>
              <a:t>0.5</a:t>
            </a:r>
          </a:p>
        </p:txBody>
      </p:sp>
      <p:sp>
        <p:nvSpPr>
          <p:cNvPr id="147" name="TextBox 146">
            <a:extLst>
              <a:ext uri="{FF2B5EF4-FFF2-40B4-BE49-F238E27FC236}">
                <a16:creationId xmlns:a16="http://schemas.microsoft.com/office/drawing/2014/main" id="{9DC27B9B-3F7E-4C21-A04C-880A457D1BC5}"/>
              </a:ext>
            </a:extLst>
          </p:cNvPr>
          <p:cNvSpPr txBox="1"/>
          <p:nvPr/>
        </p:nvSpPr>
        <p:spPr>
          <a:xfrm rot="16200000">
            <a:off x="-899871" y="3010974"/>
            <a:ext cx="2948219"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27" normalizeH="0" baseline="0" noProof="0" dirty="0">
                <a:ln>
                  <a:noFill/>
                </a:ln>
                <a:solidFill>
                  <a:srgbClr val="002557"/>
                </a:solidFill>
                <a:effectLst/>
                <a:uLnTx/>
                <a:uFillTx/>
                <a:latin typeface="Arial" panose="020B0604020202020204"/>
                <a:ea typeface="+mn-ea"/>
                <a:cs typeface="+mn-cs"/>
                <a:sym typeface="HelveticaNeueCE-Roman"/>
                <a:rtl val="0"/>
              </a:rPr>
              <a:t>Probability of overall survival</a:t>
            </a:r>
          </a:p>
        </p:txBody>
      </p:sp>
      <p:sp>
        <p:nvSpPr>
          <p:cNvPr id="148" name="Freeform: Shape 147">
            <a:extLst>
              <a:ext uri="{FF2B5EF4-FFF2-40B4-BE49-F238E27FC236}">
                <a16:creationId xmlns:a16="http://schemas.microsoft.com/office/drawing/2014/main" id="{E4FACC7D-4744-42EB-8F58-30F32A6A6940}"/>
              </a:ext>
            </a:extLst>
          </p:cNvPr>
          <p:cNvSpPr/>
          <p:nvPr/>
        </p:nvSpPr>
        <p:spPr>
          <a:xfrm>
            <a:off x="1126628" y="2818350"/>
            <a:ext cx="72000" cy="14815"/>
          </a:xfrm>
          <a:custGeom>
            <a:avLst/>
            <a:gdLst>
              <a:gd name="connsiteX0" fmla="*/ 121278 w 121278"/>
              <a:gd name="connsiteY0" fmla="*/ 0 h 12349"/>
              <a:gd name="connsiteX1" fmla="*/ 0 w 121278"/>
              <a:gd name="connsiteY1" fmla="*/ 0 h 12349"/>
            </a:gdLst>
            <a:ahLst/>
            <a:cxnLst>
              <a:cxn ang="0">
                <a:pos x="connsiteX0" y="connsiteY0"/>
              </a:cxn>
              <a:cxn ang="0">
                <a:pos x="connsiteX1" y="connsiteY1"/>
              </a:cxn>
            </a:cxnLst>
            <a:rect l="l" t="t" r="r" b="b"/>
            <a:pathLst>
              <a:path w="121278" h="12349">
                <a:moveTo>
                  <a:pt x="121278" y="0"/>
                </a:moveTo>
                <a:lnTo>
                  <a:pt x="0" y="0"/>
                </a:lnTo>
              </a:path>
            </a:pathLst>
          </a:custGeom>
          <a:ln w="19050"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149" name="TextBox 148">
            <a:extLst>
              <a:ext uri="{FF2B5EF4-FFF2-40B4-BE49-F238E27FC236}">
                <a16:creationId xmlns:a16="http://schemas.microsoft.com/office/drawing/2014/main" id="{AC467CB2-A4E8-4E52-85D0-65D71DF3A6E1}"/>
              </a:ext>
            </a:extLst>
          </p:cNvPr>
          <p:cNvSpPr txBox="1"/>
          <p:nvPr/>
        </p:nvSpPr>
        <p:spPr>
          <a:xfrm>
            <a:off x="761927" y="2678629"/>
            <a:ext cx="397866"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2557"/>
                </a:solidFill>
                <a:effectLst/>
                <a:uLnTx/>
                <a:uFillTx/>
                <a:latin typeface="Arial" panose="020B0604020202020204"/>
                <a:ea typeface="+mn-ea"/>
                <a:cs typeface="+mn-cs"/>
                <a:sym typeface="HelveticaNeueCE-Roman"/>
                <a:rtl val="0"/>
              </a:rPr>
              <a:t>0.6</a:t>
            </a:r>
          </a:p>
        </p:txBody>
      </p:sp>
      <p:sp>
        <p:nvSpPr>
          <p:cNvPr id="150" name="Freeform: Shape 149">
            <a:extLst>
              <a:ext uri="{FF2B5EF4-FFF2-40B4-BE49-F238E27FC236}">
                <a16:creationId xmlns:a16="http://schemas.microsoft.com/office/drawing/2014/main" id="{BB90FF1D-C470-454B-A089-18677D6AA7B0}"/>
              </a:ext>
            </a:extLst>
          </p:cNvPr>
          <p:cNvSpPr/>
          <p:nvPr/>
        </p:nvSpPr>
        <p:spPr>
          <a:xfrm>
            <a:off x="1126628" y="2529731"/>
            <a:ext cx="72000" cy="14815"/>
          </a:xfrm>
          <a:custGeom>
            <a:avLst/>
            <a:gdLst>
              <a:gd name="connsiteX0" fmla="*/ 121278 w 121278"/>
              <a:gd name="connsiteY0" fmla="*/ 0 h 12349"/>
              <a:gd name="connsiteX1" fmla="*/ 0 w 121278"/>
              <a:gd name="connsiteY1" fmla="*/ 0 h 12349"/>
            </a:gdLst>
            <a:ahLst/>
            <a:cxnLst>
              <a:cxn ang="0">
                <a:pos x="connsiteX0" y="connsiteY0"/>
              </a:cxn>
              <a:cxn ang="0">
                <a:pos x="connsiteX1" y="connsiteY1"/>
              </a:cxn>
            </a:cxnLst>
            <a:rect l="l" t="t" r="r" b="b"/>
            <a:pathLst>
              <a:path w="121278" h="12349">
                <a:moveTo>
                  <a:pt x="121278" y="0"/>
                </a:moveTo>
                <a:lnTo>
                  <a:pt x="0" y="0"/>
                </a:lnTo>
              </a:path>
            </a:pathLst>
          </a:custGeom>
          <a:ln w="19050"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151" name="TextBox 150">
            <a:extLst>
              <a:ext uri="{FF2B5EF4-FFF2-40B4-BE49-F238E27FC236}">
                <a16:creationId xmlns:a16="http://schemas.microsoft.com/office/drawing/2014/main" id="{F0803BC2-75BE-42B8-93AE-D863BC2DE6F6}"/>
              </a:ext>
            </a:extLst>
          </p:cNvPr>
          <p:cNvSpPr txBox="1"/>
          <p:nvPr/>
        </p:nvSpPr>
        <p:spPr>
          <a:xfrm>
            <a:off x="761927" y="2390008"/>
            <a:ext cx="397866"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2557"/>
                </a:solidFill>
                <a:effectLst/>
                <a:uLnTx/>
                <a:uFillTx/>
                <a:latin typeface="Arial" panose="020B0604020202020204"/>
                <a:ea typeface="+mn-ea"/>
                <a:cs typeface="+mn-cs"/>
                <a:sym typeface="HelveticaNeueCE-Roman"/>
                <a:rtl val="0"/>
              </a:rPr>
              <a:t>0.7</a:t>
            </a:r>
          </a:p>
        </p:txBody>
      </p:sp>
      <p:sp>
        <p:nvSpPr>
          <p:cNvPr id="152" name="Freeform: Shape 151">
            <a:extLst>
              <a:ext uri="{FF2B5EF4-FFF2-40B4-BE49-F238E27FC236}">
                <a16:creationId xmlns:a16="http://schemas.microsoft.com/office/drawing/2014/main" id="{2716895A-B94D-4237-AB4A-0E49E4AE4028}"/>
              </a:ext>
            </a:extLst>
          </p:cNvPr>
          <p:cNvSpPr/>
          <p:nvPr/>
        </p:nvSpPr>
        <p:spPr>
          <a:xfrm>
            <a:off x="1126628" y="2240962"/>
            <a:ext cx="72000" cy="14815"/>
          </a:xfrm>
          <a:custGeom>
            <a:avLst/>
            <a:gdLst>
              <a:gd name="connsiteX0" fmla="*/ 121278 w 121278"/>
              <a:gd name="connsiteY0" fmla="*/ 0 h 12349"/>
              <a:gd name="connsiteX1" fmla="*/ 0 w 121278"/>
              <a:gd name="connsiteY1" fmla="*/ 0 h 12349"/>
            </a:gdLst>
            <a:ahLst/>
            <a:cxnLst>
              <a:cxn ang="0">
                <a:pos x="connsiteX0" y="connsiteY0"/>
              </a:cxn>
              <a:cxn ang="0">
                <a:pos x="connsiteX1" y="connsiteY1"/>
              </a:cxn>
            </a:cxnLst>
            <a:rect l="l" t="t" r="r" b="b"/>
            <a:pathLst>
              <a:path w="121278" h="12349">
                <a:moveTo>
                  <a:pt x="121278" y="0"/>
                </a:moveTo>
                <a:lnTo>
                  <a:pt x="0" y="0"/>
                </a:lnTo>
              </a:path>
            </a:pathLst>
          </a:custGeom>
          <a:ln w="19050"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153" name="TextBox 152">
            <a:extLst>
              <a:ext uri="{FF2B5EF4-FFF2-40B4-BE49-F238E27FC236}">
                <a16:creationId xmlns:a16="http://schemas.microsoft.com/office/drawing/2014/main" id="{F58D39D8-44E2-424B-BD70-0F9FCB65C71E}"/>
              </a:ext>
            </a:extLst>
          </p:cNvPr>
          <p:cNvSpPr txBox="1"/>
          <p:nvPr/>
        </p:nvSpPr>
        <p:spPr>
          <a:xfrm>
            <a:off x="761927" y="2101240"/>
            <a:ext cx="397866"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2557"/>
                </a:solidFill>
                <a:effectLst/>
                <a:uLnTx/>
                <a:uFillTx/>
                <a:latin typeface="Arial" panose="020B0604020202020204"/>
                <a:ea typeface="+mn-ea"/>
                <a:cs typeface="+mn-cs"/>
                <a:sym typeface="HelveticaNeueCE-Roman"/>
                <a:rtl val="0"/>
              </a:rPr>
              <a:t>0.8</a:t>
            </a:r>
          </a:p>
        </p:txBody>
      </p:sp>
      <p:sp>
        <p:nvSpPr>
          <p:cNvPr id="154" name="Freeform: Shape 153">
            <a:extLst>
              <a:ext uri="{FF2B5EF4-FFF2-40B4-BE49-F238E27FC236}">
                <a16:creationId xmlns:a16="http://schemas.microsoft.com/office/drawing/2014/main" id="{6233B38D-0B5E-43A5-A9AE-0979263A6239}"/>
              </a:ext>
            </a:extLst>
          </p:cNvPr>
          <p:cNvSpPr/>
          <p:nvPr/>
        </p:nvSpPr>
        <p:spPr>
          <a:xfrm>
            <a:off x="1126628" y="1952342"/>
            <a:ext cx="72000" cy="14815"/>
          </a:xfrm>
          <a:custGeom>
            <a:avLst/>
            <a:gdLst>
              <a:gd name="connsiteX0" fmla="*/ 121278 w 121278"/>
              <a:gd name="connsiteY0" fmla="*/ 0 h 12349"/>
              <a:gd name="connsiteX1" fmla="*/ 0 w 121278"/>
              <a:gd name="connsiteY1" fmla="*/ 0 h 12349"/>
            </a:gdLst>
            <a:ahLst/>
            <a:cxnLst>
              <a:cxn ang="0">
                <a:pos x="connsiteX0" y="connsiteY0"/>
              </a:cxn>
              <a:cxn ang="0">
                <a:pos x="connsiteX1" y="connsiteY1"/>
              </a:cxn>
            </a:cxnLst>
            <a:rect l="l" t="t" r="r" b="b"/>
            <a:pathLst>
              <a:path w="121278" h="12349">
                <a:moveTo>
                  <a:pt x="121278" y="0"/>
                </a:moveTo>
                <a:lnTo>
                  <a:pt x="0" y="0"/>
                </a:lnTo>
              </a:path>
            </a:pathLst>
          </a:custGeom>
          <a:ln w="19050"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155" name="TextBox 154">
            <a:extLst>
              <a:ext uri="{FF2B5EF4-FFF2-40B4-BE49-F238E27FC236}">
                <a16:creationId xmlns:a16="http://schemas.microsoft.com/office/drawing/2014/main" id="{33731687-9679-4C55-9FEB-C66B5565BCFF}"/>
              </a:ext>
            </a:extLst>
          </p:cNvPr>
          <p:cNvSpPr txBox="1"/>
          <p:nvPr/>
        </p:nvSpPr>
        <p:spPr>
          <a:xfrm>
            <a:off x="761927" y="1812621"/>
            <a:ext cx="397866"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2557"/>
                </a:solidFill>
                <a:effectLst/>
                <a:uLnTx/>
                <a:uFillTx/>
                <a:latin typeface="Arial" panose="020B0604020202020204"/>
                <a:ea typeface="+mn-ea"/>
                <a:cs typeface="+mn-cs"/>
                <a:sym typeface="HelveticaNeueCE-Roman"/>
                <a:rtl val="0"/>
              </a:rPr>
              <a:t>0.9</a:t>
            </a:r>
          </a:p>
        </p:txBody>
      </p:sp>
      <p:sp>
        <p:nvSpPr>
          <p:cNvPr id="156" name="Freeform: Shape 155">
            <a:extLst>
              <a:ext uri="{FF2B5EF4-FFF2-40B4-BE49-F238E27FC236}">
                <a16:creationId xmlns:a16="http://schemas.microsoft.com/office/drawing/2014/main" id="{F81819D8-D082-4DC4-81EE-D8C0FB758650}"/>
              </a:ext>
            </a:extLst>
          </p:cNvPr>
          <p:cNvSpPr/>
          <p:nvPr/>
        </p:nvSpPr>
        <p:spPr>
          <a:xfrm>
            <a:off x="1126628" y="1660546"/>
            <a:ext cx="72000" cy="14815"/>
          </a:xfrm>
          <a:custGeom>
            <a:avLst/>
            <a:gdLst>
              <a:gd name="connsiteX0" fmla="*/ 121278 w 121278"/>
              <a:gd name="connsiteY0" fmla="*/ 0 h 12349"/>
              <a:gd name="connsiteX1" fmla="*/ 0 w 121278"/>
              <a:gd name="connsiteY1" fmla="*/ 0 h 12349"/>
            </a:gdLst>
            <a:ahLst/>
            <a:cxnLst>
              <a:cxn ang="0">
                <a:pos x="connsiteX0" y="connsiteY0"/>
              </a:cxn>
              <a:cxn ang="0">
                <a:pos x="connsiteX1" y="connsiteY1"/>
              </a:cxn>
            </a:cxnLst>
            <a:rect l="l" t="t" r="r" b="b"/>
            <a:pathLst>
              <a:path w="121278" h="12349">
                <a:moveTo>
                  <a:pt x="121278" y="0"/>
                </a:moveTo>
                <a:lnTo>
                  <a:pt x="0" y="0"/>
                </a:lnTo>
              </a:path>
            </a:pathLst>
          </a:custGeom>
          <a:ln w="19050"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157" name="TextBox 156">
            <a:extLst>
              <a:ext uri="{FF2B5EF4-FFF2-40B4-BE49-F238E27FC236}">
                <a16:creationId xmlns:a16="http://schemas.microsoft.com/office/drawing/2014/main" id="{0A7D8561-0CA5-427F-9311-FB737915A251}"/>
              </a:ext>
            </a:extLst>
          </p:cNvPr>
          <p:cNvSpPr txBox="1"/>
          <p:nvPr/>
        </p:nvSpPr>
        <p:spPr>
          <a:xfrm>
            <a:off x="761927" y="1524000"/>
            <a:ext cx="397866"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2557"/>
                </a:solidFill>
                <a:effectLst/>
                <a:uLnTx/>
                <a:uFillTx/>
                <a:latin typeface="Arial" panose="020B0604020202020204"/>
                <a:ea typeface="+mn-ea"/>
                <a:cs typeface="+mn-cs"/>
                <a:sym typeface="HelveticaNeueCE-Roman"/>
                <a:rtl val="0"/>
              </a:rPr>
              <a:t>1.0</a:t>
            </a:r>
          </a:p>
        </p:txBody>
      </p:sp>
      <p:sp>
        <p:nvSpPr>
          <p:cNvPr id="517" name="Freeform: Shape 516">
            <a:extLst>
              <a:ext uri="{FF2B5EF4-FFF2-40B4-BE49-F238E27FC236}">
                <a16:creationId xmlns:a16="http://schemas.microsoft.com/office/drawing/2014/main" id="{E07C8570-AD60-4658-A2D7-81473521FF79}"/>
              </a:ext>
            </a:extLst>
          </p:cNvPr>
          <p:cNvSpPr/>
          <p:nvPr/>
        </p:nvSpPr>
        <p:spPr>
          <a:xfrm>
            <a:off x="3598344" y="2786803"/>
            <a:ext cx="40196" cy="97056"/>
          </a:xfrm>
          <a:custGeom>
            <a:avLst/>
            <a:gdLst>
              <a:gd name="connsiteX0" fmla="*/ 0 w 17005"/>
              <a:gd name="connsiteY0" fmla="*/ 0 h 97056"/>
              <a:gd name="connsiteX1" fmla="*/ 0 w 17005"/>
              <a:gd name="connsiteY1" fmla="*/ 97057 h 97056"/>
            </a:gdLst>
            <a:ahLst/>
            <a:cxnLst>
              <a:cxn ang="0">
                <a:pos x="connsiteX0" y="connsiteY0"/>
              </a:cxn>
              <a:cxn ang="0">
                <a:pos x="connsiteX1" y="connsiteY1"/>
              </a:cxn>
            </a:cxnLst>
            <a:rect l="l" t="t" r="r" b="b"/>
            <a:pathLst>
              <a:path w="17005" h="97056">
                <a:moveTo>
                  <a:pt x="0" y="0"/>
                </a:moveTo>
                <a:lnTo>
                  <a:pt x="0" y="97057"/>
                </a:lnTo>
              </a:path>
            </a:pathLst>
          </a:custGeom>
          <a:ln w="28575"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518" name="Freeform: Shape 517">
            <a:extLst>
              <a:ext uri="{FF2B5EF4-FFF2-40B4-BE49-F238E27FC236}">
                <a16:creationId xmlns:a16="http://schemas.microsoft.com/office/drawing/2014/main" id="{C040840E-2FBB-4E24-8696-B2DE79114954}"/>
              </a:ext>
            </a:extLst>
          </p:cNvPr>
          <p:cNvSpPr/>
          <p:nvPr/>
        </p:nvSpPr>
        <p:spPr>
          <a:xfrm>
            <a:off x="3265507" y="2643976"/>
            <a:ext cx="40196" cy="96907"/>
          </a:xfrm>
          <a:custGeom>
            <a:avLst/>
            <a:gdLst>
              <a:gd name="connsiteX0" fmla="*/ 0 w 17005"/>
              <a:gd name="connsiteY0" fmla="*/ 0 h 96907"/>
              <a:gd name="connsiteX1" fmla="*/ 0 w 17005"/>
              <a:gd name="connsiteY1" fmla="*/ 96908 h 96907"/>
            </a:gdLst>
            <a:ahLst/>
            <a:cxnLst>
              <a:cxn ang="0">
                <a:pos x="connsiteX0" y="connsiteY0"/>
              </a:cxn>
              <a:cxn ang="0">
                <a:pos x="connsiteX1" y="connsiteY1"/>
              </a:cxn>
            </a:cxnLst>
            <a:rect l="l" t="t" r="r" b="b"/>
            <a:pathLst>
              <a:path w="17005" h="96907">
                <a:moveTo>
                  <a:pt x="0" y="0"/>
                </a:moveTo>
                <a:lnTo>
                  <a:pt x="0" y="96908"/>
                </a:lnTo>
              </a:path>
            </a:pathLst>
          </a:custGeom>
          <a:ln w="28575"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519" name="Freeform: Shape 518">
            <a:extLst>
              <a:ext uri="{FF2B5EF4-FFF2-40B4-BE49-F238E27FC236}">
                <a16:creationId xmlns:a16="http://schemas.microsoft.com/office/drawing/2014/main" id="{CF705DE0-7FB3-4081-AFDC-DE8CFB81A40A}"/>
              </a:ext>
            </a:extLst>
          </p:cNvPr>
          <p:cNvSpPr/>
          <p:nvPr/>
        </p:nvSpPr>
        <p:spPr>
          <a:xfrm>
            <a:off x="2181380" y="2114861"/>
            <a:ext cx="40196" cy="96907"/>
          </a:xfrm>
          <a:custGeom>
            <a:avLst/>
            <a:gdLst>
              <a:gd name="connsiteX0" fmla="*/ 0 w 17005"/>
              <a:gd name="connsiteY0" fmla="*/ 0 h 96907"/>
              <a:gd name="connsiteX1" fmla="*/ 0 w 17005"/>
              <a:gd name="connsiteY1" fmla="*/ 96908 h 96907"/>
            </a:gdLst>
            <a:ahLst/>
            <a:cxnLst>
              <a:cxn ang="0">
                <a:pos x="connsiteX0" y="connsiteY0"/>
              </a:cxn>
              <a:cxn ang="0">
                <a:pos x="connsiteX1" y="connsiteY1"/>
              </a:cxn>
            </a:cxnLst>
            <a:rect l="l" t="t" r="r" b="b"/>
            <a:pathLst>
              <a:path w="17005" h="96907">
                <a:moveTo>
                  <a:pt x="0" y="0"/>
                </a:moveTo>
                <a:lnTo>
                  <a:pt x="0" y="96908"/>
                </a:lnTo>
              </a:path>
            </a:pathLst>
          </a:custGeom>
          <a:ln w="28575"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520" name="Freeform: Shape 519">
            <a:extLst>
              <a:ext uri="{FF2B5EF4-FFF2-40B4-BE49-F238E27FC236}">
                <a16:creationId xmlns:a16="http://schemas.microsoft.com/office/drawing/2014/main" id="{8E90A65F-6DF0-4D43-8E7D-D2696722AF5C}"/>
              </a:ext>
            </a:extLst>
          </p:cNvPr>
          <p:cNvSpPr/>
          <p:nvPr/>
        </p:nvSpPr>
        <p:spPr>
          <a:xfrm>
            <a:off x="1729561" y="1841432"/>
            <a:ext cx="40196" cy="97056"/>
          </a:xfrm>
          <a:custGeom>
            <a:avLst/>
            <a:gdLst>
              <a:gd name="connsiteX0" fmla="*/ 0 w 17005"/>
              <a:gd name="connsiteY0" fmla="*/ 0 h 97056"/>
              <a:gd name="connsiteX1" fmla="*/ 0 w 17005"/>
              <a:gd name="connsiteY1" fmla="*/ 97057 h 97056"/>
            </a:gdLst>
            <a:ahLst/>
            <a:cxnLst>
              <a:cxn ang="0">
                <a:pos x="connsiteX0" y="connsiteY0"/>
              </a:cxn>
              <a:cxn ang="0">
                <a:pos x="connsiteX1" y="connsiteY1"/>
              </a:cxn>
            </a:cxnLst>
            <a:rect l="l" t="t" r="r" b="b"/>
            <a:pathLst>
              <a:path w="17005" h="97056">
                <a:moveTo>
                  <a:pt x="0" y="0"/>
                </a:moveTo>
                <a:lnTo>
                  <a:pt x="0" y="97057"/>
                </a:lnTo>
              </a:path>
            </a:pathLst>
          </a:custGeom>
          <a:ln w="28575"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521" name="Freeform: Shape 520">
            <a:extLst>
              <a:ext uri="{FF2B5EF4-FFF2-40B4-BE49-F238E27FC236}">
                <a16:creationId xmlns:a16="http://schemas.microsoft.com/office/drawing/2014/main" id="{701A7895-D7B6-4972-B0C8-A4D8E3CCA8CB}"/>
              </a:ext>
            </a:extLst>
          </p:cNvPr>
          <p:cNvSpPr/>
          <p:nvPr/>
        </p:nvSpPr>
        <p:spPr>
          <a:xfrm>
            <a:off x="1729561" y="1841432"/>
            <a:ext cx="40196" cy="97056"/>
          </a:xfrm>
          <a:custGeom>
            <a:avLst/>
            <a:gdLst>
              <a:gd name="connsiteX0" fmla="*/ 0 w 17005"/>
              <a:gd name="connsiteY0" fmla="*/ 0 h 97056"/>
              <a:gd name="connsiteX1" fmla="*/ 0 w 17005"/>
              <a:gd name="connsiteY1" fmla="*/ 97057 h 97056"/>
            </a:gdLst>
            <a:ahLst/>
            <a:cxnLst>
              <a:cxn ang="0">
                <a:pos x="connsiteX0" y="connsiteY0"/>
              </a:cxn>
              <a:cxn ang="0">
                <a:pos x="connsiteX1" y="connsiteY1"/>
              </a:cxn>
            </a:cxnLst>
            <a:rect l="l" t="t" r="r" b="b"/>
            <a:pathLst>
              <a:path w="17005" h="97056">
                <a:moveTo>
                  <a:pt x="0" y="0"/>
                </a:moveTo>
                <a:lnTo>
                  <a:pt x="0" y="97057"/>
                </a:lnTo>
              </a:path>
            </a:pathLst>
          </a:custGeom>
          <a:ln w="28575"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522" name="Freeform: Shape 521">
            <a:extLst>
              <a:ext uri="{FF2B5EF4-FFF2-40B4-BE49-F238E27FC236}">
                <a16:creationId xmlns:a16="http://schemas.microsoft.com/office/drawing/2014/main" id="{DE8FB5FD-9A36-4DC2-B3D9-D9B69640B1E4}"/>
              </a:ext>
            </a:extLst>
          </p:cNvPr>
          <p:cNvSpPr/>
          <p:nvPr/>
        </p:nvSpPr>
        <p:spPr>
          <a:xfrm>
            <a:off x="1410795" y="1658053"/>
            <a:ext cx="40196" cy="96907"/>
          </a:xfrm>
          <a:custGeom>
            <a:avLst/>
            <a:gdLst>
              <a:gd name="connsiteX0" fmla="*/ 0 w 17005"/>
              <a:gd name="connsiteY0" fmla="*/ 0 h 96907"/>
              <a:gd name="connsiteX1" fmla="*/ 0 w 17005"/>
              <a:gd name="connsiteY1" fmla="*/ 96908 h 96907"/>
            </a:gdLst>
            <a:ahLst/>
            <a:cxnLst>
              <a:cxn ang="0">
                <a:pos x="connsiteX0" y="connsiteY0"/>
              </a:cxn>
              <a:cxn ang="0">
                <a:pos x="connsiteX1" y="connsiteY1"/>
              </a:cxn>
            </a:cxnLst>
            <a:rect l="l" t="t" r="r" b="b"/>
            <a:pathLst>
              <a:path w="17005" h="96907">
                <a:moveTo>
                  <a:pt x="0" y="0"/>
                </a:moveTo>
                <a:lnTo>
                  <a:pt x="0" y="96908"/>
                </a:lnTo>
              </a:path>
            </a:pathLst>
          </a:custGeom>
          <a:ln w="28575"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523" name="Freeform: Shape 522">
            <a:extLst>
              <a:ext uri="{FF2B5EF4-FFF2-40B4-BE49-F238E27FC236}">
                <a16:creationId xmlns:a16="http://schemas.microsoft.com/office/drawing/2014/main" id="{07F761AC-8EF4-41F0-9E1E-402CF0DB6F22}"/>
              </a:ext>
            </a:extLst>
          </p:cNvPr>
          <p:cNvSpPr/>
          <p:nvPr/>
        </p:nvSpPr>
        <p:spPr>
          <a:xfrm>
            <a:off x="3788879" y="2857322"/>
            <a:ext cx="40196" cy="97056"/>
          </a:xfrm>
          <a:custGeom>
            <a:avLst/>
            <a:gdLst>
              <a:gd name="connsiteX0" fmla="*/ 0 w 17005"/>
              <a:gd name="connsiteY0" fmla="*/ 0 h 97056"/>
              <a:gd name="connsiteX1" fmla="*/ 0 w 17005"/>
              <a:gd name="connsiteY1" fmla="*/ 97057 h 97056"/>
            </a:gdLst>
            <a:ahLst/>
            <a:cxnLst>
              <a:cxn ang="0">
                <a:pos x="connsiteX0" y="connsiteY0"/>
              </a:cxn>
              <a:cxn ang="0">
                <a:pos x="connsiteX1" y="connsiteY1"/>
              </a:cxn>
            </a:cxnLst>
            <a:rect l="l" t="t" r="r" b="b"/>
            <a:pathLst>
              <a:path w="17005" h="97056">
                <a:moveTo>
                  <a:pt x="0" y="0"/>
                </a:moveTo>
                <a:lnTo>
                  <a:pt x="0" y="97057"/>
                </a:lnTo>
              </a:path>
            </a:pathLst>
          </a:custGeom>
          <a:ln w="28575"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524" name="Freeform: Shape 523">
            <a:extLst>
              <a:ext uri="{FF2B5EF4-FFF2-40B4-BE49-F238E27FC236}">
                <a16:creationId xmlns:a16="http://schemas.microsoft.com/office/drawing/2014/main" id="{2F871113-0E16-41F5-A6D3-51A746F7AADA}"/>
              </a:ext>
            </a:extLst>
          </p:cNvPr>
          <p:cNvSpPr/>
          <p:nvPr/>
        </p:nvSpPr>
        <p:spPr>
          <a:xfrm>
            <a:off x="4368929" y="3102573"/>
            <a:ext cx="40196" cy="96907"/>
          </a:xfrm>
          <a:custGeom>
            <a:avLst/>
            <a:gdLst>
              <a:gd name="connsiteX0" fmla="*/ 0 w 17005"/>
              <a:gd name="connsiteY0" fmla="*/ 0 h 96907"/>
              <a:gd name="connsiteX1" fmla="*/ 0 w 17005"/>
              <a:gd name="connsiteY1" fmla="*/ 96908 h 96907"/>
            </a:gdLst>
            <a:ahLst/>
            <a:cxnLst>
              <a:cxn ang="0">
                <a:pos x="connsiteX0" y="connsiteY0"/>
              </a:cxn>
              <a:cxn ang="0">
                <a:pos x="connsiteX1" y="connsiteY1"/>
              </a:cxn>
            </a:cxnLst>
            <a:rect l="l" t="t" r="r" b="b"/>
            <a:pathLst>
              <a:path w="17005" h="96907">
                <a:moveTo>
                  <a:pt x="0" y="0"/>
                </a:moveTo>
                <a:lnTo>
                  <a:pt x="0" y="96908"/>
                </a:lnTo>
              </a:path>
            </a:pathLst>
          </a:custGeom>
          <a:ln w="28575"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525" name="Freeform: Shape 524">
            <a:extLst>
              <a:ext uri="{FF2B5EF4-FFF2-40B4-BE49-F238E27FC236}">
                <a16:creationId xmlns:a16="http://schemas.microsoft.com/office/drawing/2014/main" id="{6FA67BAC-F06F-4626-B679-4D6B238CEAF7}"/>
              </a:ext>
            </a:extLst>
          </p:cNvPr>
          <p:cNvSpPr/>
          <p:nvPr/>
        </p:nvSpPr>
        <p:spPr>
          <a:xfrm>
            <a:off x="5652837" y="3398813"/>
            <a:ext cx="40196" cy="97056"/>
          </a:xfrm>
          <a:custGeom>
            <a:avLst/>
            <a:gdLst>
              <a:gd name="connsiteX0" fmla="*/ 0 w 17005"/>
              <a:gd name="connsiteY0" fmla="*/ 0 h 97056"/>
              <a:gd name="connsiteX1" fmla="*/ 0 w 17005"/>
              <a:gd name="connsiteY1" fmla="*/ 97057 h 97056"/>
            </a:gdLst>
            <a:ahLst/>
            <a:cxnLst>
              <a:cxn ang="0">
                <a:pos x="connsiteX0" y="connsiteY0"/>
              </a:cxn>
              <a:cxn ang="0">
                <a:pos x="connsiteX1" y="connsiteY1"/>
              </a:cxn>
            </a:cxnLst>
            <a:rect l="l" t="t" r="r" b="b"/>
            <a:pathLst>
              <a:path w="17005" h="97056">
                <a:moveTo>
                  <a:pt x="0" y="0"/>
                </a:moveTo>
                <a:lnTo>
                  <a:pt x="0" y="97057"/>
                </a:lnTo>
              </a:path>
            </a:pathLst>
          </a:custGeom>
          <a:ln w="28575"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526" name="Freeform: Shape 525">
            <a:extLst>
              <a:ext uri="{FF2B5EF4-FFF2-40B4-BE49-F238E27FC236}">
                <a16:creationId xmlns:a16="http://schemas.microsoft.com/office/drawing/2014/main" id="{4447E503-AFA3-488E-BD61-C22072F6D012}"/>
              </a:ext>
            </a:extLst>
          </p:cNvPr>
          <p:cNvSpPr/>
          <p:nvPr/>
        </p:nvSpPr>
        <p:spPr>
          <a:xfrm>
            <a:off x="6955639" y="3654500"/>
            <a:ext cx="40196" cy="97056"/>
          </a:xfrm>
          <a:custGeom>
            <a:avLst/>
            <a:gdLst>
              <a:gd name="connsiteX0" fmla="*/ 0 w 17005"/>
              <a:gd name="connsiteY0" fmla="*/ 0 h 97056"/>
              <a:gd name="connsiteX1" fmla="*/ 0 w 17005"/>
              <a:gd name="connsiteY1" fmla="*/ 97057 h 97056"/>
            </a:gdLst>
            <a:ahLst/>
            <a:cxnLst>
              <a:cxn ang="0">
                <a:pos x="connsiteX0" y="connsiteY0"/>
              </a:cxn>
              <a:cxn ang="0">
                <a:pos x="connsiteX1" y="connsiteY1"/>
              </a:cxn>
            </a:cxnLst>
            <a:rect l="l" t="t" r="r" b="b"/>
            <a:pathLst>
              <a:path w="17005" h="97056">
                <a:moveTo>
                  <a:pt x="0" y="0"/>
                </a:moveTo>
                <a:lnTo>
                  <a:pt x="0" y="97057"/>
                </a:lnTo>
              </a:path>
            </a:pathLst>
          </a:custGeom>
          <a:ln w="28575"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527" name="Freeform: Shape 526">
            <a:extLst>
              <a:ext uri="{FF2B5EF4-FFF2-40B4-BE49-F238E27FC236}">
                <a16:creationId xmlns:a16="http://schemas.microsoft.com/office/drawing/2014/main" id="{3C9901BE-16FA-437C-B1D6-C022991273AA}"/>
              </a:ext>
            </a:extLst>
          </p:cNvPr>
          <p:cNvSpPr/>
          <p:nvPr/>
        </p:nvSpPr>
        <p:spPr>
          <a:xfrm>
            <a:off x="7041661" y="3677311"/>
            <a:ext cx="40196" cy="97056"/>
          </a:xfrm>
          <a:custGeom>
            <a:avLst/>
            <a:gdLst>
              <a:gd name="connsiteX0" fmla="*/ 0 w 17005"/>
              <a:gd name="connsiteY0" fmla="*/ 0 h 97056"/>
              <a:gd name="connsiteX1" fmla="*/ 0 w 17005"/>
              <a:gd name="connsiteY1" fmla="*/ 97057 h 97056"/>
            </a:gdLst>
            <a:ahLst/>
            <a:cxnLst>
              <a:cxn ang="0">
                <a:pos x="connsiteX0" y="connsiteY0"/>
              </a:cxn>
              <a:cxn ang="0">
                <a:pos x="connsiteX1" y="connsiteY1"/>
              </a:cxn>
            </a:cxnLst>
            <a:rect l="l" t="t" r="r" b="b"/>
            <a:pathLst>
              <a:path w="17005" h="97056">
                <a:moveTo>
                  <a:pt x="0" y="0"/>
                </a:moveTo>
                <a:lnTo>
                  <a:pt x="0" y="97057"/>
                </a:lnTo>
              </a:path>
            </a:pathLst>
          </a:custGeom>
          <a:ln w="28575"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528" name="Freeform: Shape 527">
            <a:extLst>
              <a:ext uri="{FF2B5EF4-FFF2-40B4-BE49-F238E27FC236}">
                <a16:creationId xmlns:a16="http://schemas.microsoft.com/office/drawing/2014/main" id="{4FA8F26B-547C-4845-A78A-B813A2EBB132}"/>
              </a:ext>
            </a:extLst>
          </p:cNvPr>
          <p:cNvSpPr/>
          <p:nvPr/>
        </p:nvSpPr>
        <p:spPr>
          <a:xfrm>
            <a:off x="7207676" y="3717266"/>
            <a:ext cx="40196" cy="96907"/>
          </a:xfrm>
          <a:custGeom>
            <a:avLst/>
            <a:gdLst>
              <a:gd name="connsiteX0" fmla="*/ 0 w 17005"/>
              <a:gd name="connsiteY0" fmla="*/ 0 h 96907"/>
              <a:gd name="connsiteX1" fmla="*/ 0 w 17005"/>
              <a:gd name="connsiteY1" fmla="*/ 96908 h 96907"/>
            </a:gdLst>
            <a:ahLst/>
            <a:cxnLst>
              <a:cxn ang="0">
                <a:pos x="connsiteX0" y="connsiteY0"/>
              </a:cxn>
              <a:cxn ang="0">
                <a:pos x="connsiteX1" y="connsiteY1"/>
              </a:cxn>
            </a:cxnLst>
            <a:rect l="l" t="t" r="r" b="b"/>
            <a:pathLst>
              <a:path w="17005" h="96907">
                <a:moveTo>
                  <a:pt x="0" y="0"/>
                </a:moveTo>
                <a:lnTo>
                  <a:pt x="0" y="96908"/>
                </a:lnTo>
              </a:path>
            </a:pathLst>
          </a:custGeom>
          <a:ln w="28575"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529" name="Freeform: Shape 528">
            <a:extLst>
              <a:ext uri="{FF2B5EF4-FFF2-40B4-BE49-F238E27FC236}">
                <a16:creationId xmlns:a16="http://schemas.microsoft.com/office/drawing/2014/main" id="{17BF3C99-2CB7-45CB-A1F3-021870C7F802}"/>
              </a:ext>
            </a:extLst>
          </p:cNvPr>
          <p:cNvSpPr/>
          <p:nvPr/>
        </p:nvSpPr>
        <p:spPr>
          <a:xfrm>
            <a:off x="7327467" y="3735455"/>
            <a:ext cx="40196" cy="97056"/>
          </a:xfrm>
          <a:custGeom>
            <a:avLst/>
            <a:gdLst>
              <a:gd name="connsiteX0" fmla="*/ 0 w 17005"/>
              <a:gd name="connsiteY0" fmla="*/ 0 h 97056"/>
              <a:gd name="connsiteX1" fmla="*/ 0 w 17005"/>
              <a:gd name="connsiteY1" fmla="*/ 97057 h 97056"/>
            </a:gdLst>
            <a:ahLst/>
            <a:cxnLst>
              <a:cxn ang="0">
                <a:pos x="connsiteX0" y="connsiteY0"/>
              </a:cxn>
              <a:cxn ang="0">
                <a:pos x="connsiteX1" y="connsiteY1"/>
              </a:cxn>
            </a:cxnLst>
            <a:rect l="l" t="t" r="r" b="b"/>
            <a:pathLst>
              <a:path w="17005" h="97056">
                <a:moveTo>
                  <a:pt x="0" y="0"/>
                </a:moveTo>
                <a:lnTo>
                  <a:pt x="0" y="97057"/>
                </a:lnTo>
              </a:path>
            </a:pathLst>
          </a:custGeom>
          <a:ln w="28575"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530" name="Freeform: Shape 529">
            <a:extLst>
              <a:ext uri="{FF2B5EF4-FFF2-40B4-BE49-F238E27FC236}">
                <a16:creationId xmlns:a16="http://schemas.microsoft.com/office/drawing/2014/main" id="{15EA1841-4399-46A8-B73A-325E522A4CEF}"/>
              </a:ext>
            </a:extLst>
          </p:cNvPr>
          <p:cNvSpPr/>
          <p:nvPr/>
        </p:nvSpPr>
        <p:spPr>
          <a:xfrm>
            <a:off x="7468961" y="3747979"/>
            <a:ext cx="40196" cy="97056"/>
          </a:xfrm>
          <a:custGeom>
            <a:avLst/>
            <a:gdLst>
              <a:gd name="connsiteX0" fmla="*/ 0 w 17005"/>
              <a:gd name="connsiteY0" fmla="*/ 0 h 97056"/>
              <a:gd name="connsiteX1" fmla="*/ 0 w 17005"/>
              <a:gd name="connsiteY1" fmla="*/ 97057 h 97056"/>
            </a:gdLst>
            <a:ahLst/>
            <a:cxnLst>
              <a:cxn ang="0">
                <a:pos x="connsiteX0" y="connsiteY0"/>
              </a:cxn>
              <a:cxn ang="0">
                <a:pos x="connsiteX1" y="connsiteY1"/>
              </a:cxn>
            </a:cxnLst>
            <a:rect l="l" t="t" r="r" b="b"/>
            <a:pathLst>
              <a:path w="17005" h="97056">
                <a:moveTo>
                  <a:pt x="0" y="0"/>
                </a:moveTo>
                <a:lnTo>
                  <a:pt x="0" y="97057"/>
                </a:lnTo>
              </a:path>
            </a:pathLst>
          </a:custGeom>
          <a:ln w="28575"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531" name="Freeform: Shape 530">
            <a:extLst>
              <a:ext uri="{FF2B5EF4-FFF2-40B4-BE49-F238E27FC236}">
                <a16:creationId xmlns:a16="http://schemas.microsoft.com/office/drawing/2014/main" id="{A713BD26-79CD-445F-800F-1BD16FB7EE63}"/>
              </a:ext>
            </a:extLst>
          </p:cNvPr>
          <p:cNvSpPr/>
          <p:nvPr/>
        </p:nvSpPr>
        <p:spPr>
          <a:xfrm>
            <a:off x="7548955" y="3766167"/>
            <a:ext cx="40196" cy="97056"/>
          </a:xfrm>
          <a:custGeom>
            <a:avLst/>
            <a:gdLst>
              <a:gd name="connsiteX0" fmla="*/ 0 w 17005"/>
              <a:gd name="connsiteY0" fmla="*/ 0 h 97056"/>
              <a:gd name="connsiteX1" fmla="*/ 0 w 17005"/>
              <a:gd name="connsiteY1" fmla="*/ 97057 h 97056"/>
            </a:gdLst>
            <a:ahLst/>
            <a:cxnLst>
              <a:cxn ang="0">
                <a:pos x="connsiteX0" y="connsiteY0"/>
              </a:cxn>
              <a:cxn ang="0">
                <a:pos x="connsiteX1" y="connsiteY1"/>
              </a:cxn>
            </a:cxnLst>
            <a:rect l="l" t="t" r="r" b="b"/>
            <a:pathLst>
              <a:path w="17005" h="97056">
                <a:moveTo>
                  <a:pt x="0" y="0"/>
                </a:moveTo>
                <a:lnTo>
                  <a:pt x="0" y="97057"/>
                </a:lnTo>
              </a:path>
            </a:pathLst>
          </a:custGeom>
          <a:ln w="28575"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532" name="Freeform: Shape 531">
            <a:extLst>
              <a:ext uri="{FF2B5EF4-FFF2-40B4-BE49-F238E27FC236}">
                <a16:creationId xmlns:a16="http://schemas.microsoft.com/office/drawing/2014/main" id="{445775AF-1BA9-4684-BDAE-DE5A9954E9AD}"/>
              </a:ext>
            </a:extLst>
          </p:cNvPr>
          <p:cNvSpPr/>
          <p:nvPr/>
        </p:nvSpPr>
        <p:spPr>
          <a:xfrm>
            <a:off x="7668742" y="3766167"/>
            <a:ext cx="40196" cy="97056"/>
          </a:xfrm>
          <a:custGeom>
            <a:avLst/>
            <a:gdLst>
              <a:gd name="connsiteX0" fmla="*/ 0 w 17005"/>
              <a:gd name="connsiteY0" fmla="*/ 0 h 97056"/>
              <a:gd name="connsiteX1" fmla="*/ 0 w 17005"/>
              <a:gd name="connsiteY1" fmla="*/ 97057 h 97056"/>
            </a:gdLst>
            <a:ahLst/>
            <a:cxnLst>
              <a:cxn ang="0">
                <a:pos x="connsiteX0" y="connsiteY0"/>
              </a:cxn>
              <a:cxn ang="0">
                <a:pos x="connsiteX1" y="connsiteY1"/>
              </a:cxn>
            </a:cxnLst>
            <a:rect l="l" t="t" r="r" b="b"/>
            <a:pathLst>
              <a:path w="17005" h="97056">
                <a:moveTo>
                  <a:pt x="0" y="0"/>
                </a:moveTo>
                <a:lnTo>
                  <a:pt x="0" y="97057"/>
                </a:lnTo>
              </a:path>
            </a:pathLst>
          </a:custGeom>
          <a:ln w="28575"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533" name="Freeform: Shape 532">
            <a:extLst>
              <a:ext uri="{FF2B5EF4-FFF2-40B4-BE49-F238E27FC236}">
                <a16:creationId xmlns:a16="http://schemas.microsoft.com/office/drawing/2014/main" id="{69B50FF7-1275-435F-A622-CC326EB3B016}"/>
              </a:ext>
            </a:extLst>
          </p:cNvPr>
          <p:cNvSpPr/>
          <p:nvPr/>
        </p:nvSpPr>
        <p:spPr>
          <a:xfrm>
            <a:off x="7803807" y="3785549"/>
            <a:ext cx="40196" cy="97056"/>
          </a:xfrm>
          <a:custGeom>
            <a:avLst/>
            <a:gdLst>
              <a:gd name="connsiteX0" fmla="*/ 0 w 17005"/>
              <a:gd name="connsiteY0" fmla="*/ 0 h 97056"/>
              <a:gd name="connsiteX1" fmla="*/ 0 w 17005"/>
              <a:gd name="connsiteY1" fmla="*/ 97057 h 97056"/>
            </a:gdLst>
            <a:ahLst/>
            <a:cxnLst>
              <a:cxn ang="0">
                <a:pos x="connsiteX0" y="connsiteY0"/>
              </a:cxn>
              <a:cxn ang="0">
                <a:pos x="connsiteX1" y="connsiteY1"/>
              </a:cxn>
            </a:cxnLst>
            <a:rect l="l" t="t" r="r" b="b"/>
            <a:pathLst>
              <a:path w="17005" h="97056">
                <a:moveTo>
                  <a:pt x="0" y="0"/>
                </a:moveTo>
                <a:lnTo>
                  <a:pt x="0" y="97057"/>
                </a:lnTo>
              </a:path>
            </a:pathLst>
          </a:custGeom>
          <a:ln w="28575"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534" name="Freeform: Shape 533">
            <a:extLst>
              <a:ext uri="{FF2B5EF4-FFF2-40B4-BE49-F238E27FC236}">
                <a16:creationId xmlns:a16="http://schemas.microsoft.com/office/drawing/2014/main" id="{F7FD61DD-85E0-463D-A836-A89D7C173BFB}"/>
              </a:ext>
            </a:extLst>
          </p:cNvPr>
          <p:cNvSpPr/>
          <p:nvPr/>
        </p:nvSpPr>
        <p:spPr>
          <a:xfrm>
            <a:off x="7874554" y="3785549"/>
            <a:ext cx="40196" cy="97056"/>
          </a:xfrm>
          <a:custGeom>
            <a:avLst/>
            <a:gdLst>
              <a:gd name="connsiteX0" fmla="*/ 0 w 17005"/>
              <a:gd name="connsiteY0" fmla="*/ 0 h 97056"/>
              <a:gd name="connsiteX1" fmla="*/ 0 w 17005"/>
              <a:gd name="connsiteY1" fmla="*/ 97057 h 97056"/>
            </a:gdLst>
            <a:ahLst/>
            <a:cxnLst>
              <a:cxn ang="0">
                <a:pos x="connsiteX0" y="connsiteY0"/>
              </a:cxn>
              <a:cxn ang="0">
                <a:pos x="connsiteX1" y="connsiteY1"/>
              </a:cxn>
            </a:cxnLst>
            <a:rect l="l" t="t" r="r" b="b"/>
            <a:pathLst>
              <a:path w="17005" h="97056">
                <a:moveTo>
                  <a:pt x="0" y="0"/>
                </a:moveTo>
                <a:lnTo>
                  <a:pt x="0" y="97057"/>
                </a:lnTo>
              </a:path>
            </a:pathLst>
          </a:custGeom>
          <a:ln w="28575"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535" name="Freeform: Shape 534">
            <a:extLst>
              <a:ext uri="{FF2B5EF4-FFF2-40B4-BE49-F238E27FC236}">
                <a16:creationId xmlns:a16="http://schemas.microsoft.com/office/drawing/2014/main" id="{40C340A3-843E-4672-ABE2-38F2DEDCBE5C}"/>
              </a:ext>
            </a:extLst>
          </p:cNvPr>
          <p:cNvSpPr/>
          <p:nvPr/>
        </p:nvSpPr>
        <p:spPr>
          <a:xfrm>
            <a:off x="7948116" y="3812981"/>
            <a:ext cx="40196" cy="96907"/>
          </a:xfrm>
          <a:custGeom>
            <a:avLst/>
            <a:gdLst>
              <a:gd name="connsiteX0" fmla="*/ 0 w 17005"/>
              <a:gd name="connsiteY0" fmla="*/ 0 h 96907"/>
              <a:gd name="connsiteX1" fmla="*/ 0 w 17005"/>
              <a:gd name="connsiteY1" fmla="*/ 96908 h 96907"/>
            </a:gdLst>
            <a:ahLst/>
            <a:cxnLst>
              <a:cxn ang="0">
                <a:pos x="connsiteX0" y="connsiteY0"/>
              </a:cxn>
              <a:cxn ang="0">
                <a:pos x="connsiteX1" y="connsiteY1"/>
              </a:cxn>
            </a:cxnLst>
            <a:rect l="l" t="t" r="r" b="b"/>
            <a:pathLst>
              <a:path w="17005" h="96907">
                <a:moveTo>
                  <a:pt x="0" y="0"/>
                </a:moveTo>
                <a:lnTo>
                  <a:pt x="0" y="96908"/>
                </a:lnTo>
              </a:path>
            </a:pathLst>
          </a:custGeom>
          <a:ln w="28575"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536" name="Freeform: Shape 535">
            <a:extLst>
              <a:ext uri="{FF2B5EF4-FFF2-40B4-BE49-F238E27FC236}">
                <a16:creationId xmlns:a16="http://schemas.microsoft.com/office/drawing/2014/main" id="{F182BD0D-ABE5-4C68-8C2D-51FD78FC58D4}"/>
              </a:ext>
            </a:extLst>
          </p:cNvPr>
          <p:cNvSpPr/>
          <p:nvPr/>
        </p:nvSpPr>
        <p:spPr>
          <a:xfrm>
            <a:off x="8040168" y="3822076"/>
            <a:ext cx="40196" cy="97056"/>
          </a:xfrm>
          <a:custGeom>
            <a:avLst/>
            <a:gdLst>
              <a:gd name="connsiteX0" fmla="*/ 0 w 17005"/>
              <a:gd name="connsiteY0" fmla="*/ 0 h 97056"/>
              <a:gd name="connsiteX1" fmla="*/ 0 w 17005"/>
              <a:gd name="connsiteY1" fmla="*/ 97057 h 97056"/>
            </a:gdLst>
            <a:ahLst/>
            <a:cxnLst>
              <a:cxn ang="0">
                <a:pos x="connsiteX0" y="connsiteY0"/>
              </a:cxn>
              <a:cxn ang="0">
                <a:pos x="connsiteX1" y="connsiteY1"/>
              </a:cxn>
            </a:cxnLst>
            <a:rect l="l" t="t" r="r" b="b"/>
            <a:pathLst>
              <a:path w="17005" h="97056">
                <a:moveTo>
                  <a:pt x="0" y="0"/>
                </a:moveTo>
                <a:lnTo>
                  <a:pt x="0" y="97057"/>
                </a:lnTo>
              </a:path>
            </a:pathLst>
          </a:custGeom>
          <a:ln w="28575"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537" name="Freeform: Shape 536">
            <a:extLst>
              <a:ext uri="{FF2B5EF4-FFF2-40B4-BE49-F238E27FC236}">
                <a16:creationId xmlns:a16="http://schemas.microsoft.com/office/drawing/2014/main" id="{CEF2443A-53CD-4F98-834C-6483EFFC15FF}"/>
              </a:ext>
            </a:extLst>
          </p:cNvPr>
          <p:cNvSpPr/>
          <p:nvPr/>
        </p:nvSpPr>
        <p:spPr>
          <a:xfrm>
            <a:off x="8163173" y="3863075"/>
            <a:ext cx="40196" cy="97056"/>
          </a:xfrm>
          <a:custGeom>
            <a:avLst/>
            <a:gdLst>
              <a:gd name="connsiteX0" fmla="*/ 0 w 17005"/>
              <a:gd name="connsiteY0" fmla="*/ 0 h 97056"/>
              <a:gd name="connsiteX1" fmla="*/ 0 w 17005"/>
              <a:gd name="connsiteY1" fmla="*/ 97057 h 97056"/>
            </a:gdLst>
            <a:ahLst/>
            <a:cxnLst>
              <a:cxn ang="0">
                <a:pos x="connsiteX0" y="connsiteY0"/>
              </a:cxn>
              <a:cxn ang="0">
                <a:pos x="connsiteX1" y="connsiteY1"/>
              </a:cxn>
            </a:cxnLst>
            <a:rect l="l" t="t" r="r" b="b"/>
            <a:pathLst>
              <a:path w="17005" h="97056">
                <a:moveTo>
                  <a:pt x="0" y="0"/>
                </a:moveTo>
                <a:lnTo>
                  <a:pt x="0" y="97057"/>
                </a:lnTo>
              </a:path>
            </a:pathLst>
          </a:custGeom>
          <a:ln w="28575"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538" name="Freeform: Shape 537">
            <a:extLst>
              <a:ext uri="{FF2B5EF4-FFF2-40B4-BE49-F238E27FC236}">
                <a16:creationId xmlns:a16="http://schemas.microsoft.com/office/drawing/2014/main" id="{59A4C8A3-BD68-405E-8E44-96C30AA52F41}"/>
              </a:ext>
            </a:extLst>
          </p:cNvPr>
          <p:cNvSpPr/>
          <p:nvPr/>
        </p:nvSpPr>
        <p:spPr>
          <a:xfrm>
            <a:off x="8221458" y="3863075"/>
            <a:ext cx="40196" cy="97056"/>
          </a:xfrm>
          <a:custGeom>
            <a:avLst/>
            <a:gdLst>
              <a:gd name="connsiteX0" fmla="*/ 0 w 17005"/>
              <a:gd name="connsiteY0" fmla="*/ 0 h 97056"/>
              <a:gd name="connsiteX1" fmla="*/ 0 w 17005"/>
              <a:gd name="connsiteY1" fmla="*/ 97057 h 97056"/>
            </a:gdLst>
            <a:ahLst/>
            <a:cxnLst>
              <a:cxn ang="0">
                <a:pos x="connsiteX0" y="connsiteY0"/>
              </a:cxn>
              <a:cxn ang="0">
                <a:pos x="connsiteX1" y="connsiteY1"/>
              </a:cxn>
            </a:cxnLst>
            <a:rect l="l" t="t" r="r" b="b"/>
            <a:pathLst>
              <a:path w="17005" h="97056">
                <a:moveTo>
                  <a:pt x="0" y="0"/>
                </a:moveTo>
                <a:lnTo>
                  <a:pt x="0" y="97057"/>
                </a:lnTo>
              </a:path>
            </a:pathLst>
          </a:custGeom>
          <a:ln w="28575"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539" name="Freeform: Shape 538">
            <a:extLst>
              <a:ext uri="{FF2B5EF4-FFF2-40B4-BE49-F238E27FC236}">
                <a16:creationId xmlns:a16="http://schemas.microsoft.com/office/drawing/2014/main" id="{3A9B8300-8873-4266-B565-DFBD7B8FB434}"/>
              </a:ext>
            </a:extLst>
          </p:cNvPr>
          <p:cNvSpPr/>
          <p:nvPr/>
        </p:nvSpPr>
        <p:spPr>
          <a:xfrm>
            <a:off x="8378229" y="3883649"/>
            <a:ext cx="40196" cy="96907"/>
          </a:xfrm>
          <a:custGeom>
            <a:avLst/>
            <a:gdLst>
              <a:gd name="connsiteX0" fmla="*/ 0 w 17005"/>
              <a:gd name="connsiteY0" fmla="*/ 0 h 96907"/>
              <a:gd name="connsiteX1" fmla="*/ 0 w 17005"/>
              <a:gd name="connsiteY1" fmla="*/ 96908 h 96907"/>
            </a:gdLst>
            <a:ahLst/>
            <a:cxnLst>
              <a:cxn ang="0">
                <a:pos x="connsiteX0" y="connsiteY0"/>
              </a:cxn>
              <a:cxn ang="0">
                <a:pos x="connsiteX1" y="connsiteY1"/>
              </a:cxn>
            </a:cxnLst>
            <a:rect l="l" t="t" r="r" b="b"/>
            <a:pathLst>
              <a:path w="17005" h="96907">
                <a:moveTo>
                  <a:pt x="0" y="0"/>
                </a:moveTo>
                <a:lnTo>
                  <a:pt x="0" y="96908"/>
                </a:lnTo>
              </a:path>
            </a:pathLst>
          </a:custGeom>
          <a:ln w="28575"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540" name="Freeform: Shape 539">
            <a:extLst>
              <a:ext uri="{FF2B5EF4-FFF2-40B4-BE49-F238E27FC236}">
                <a16:creationId xmlns:a16="http://schemas.microsoft.com/office/drawing/2014/main" id="{3F027B75-2214-47D6-BC8A-F82A3618EF93}"/>
              </a:ext>
            </a:extLst>
          </p:cNvPr>
          <p:cNvSpPr/>
          <p:nvPr/>
        </p:nvSpPr>
        <p:spPr>
          <a:xfrm>
            <a:off x="8488772" y="3883649"/>
            <a:ext cx="40196" cy="96907"/>
          </a:xfrm>
          <a:custGeom>
            <a:avLst/>
            <a:gdLst>
              <a:gd name="connsiteX0" fmla="*/ 0 w 17005"/>
              <a:gd name="connsiteY0" fmla="*/ 0 h 96907"/>
              <a:gd name="connsiteX1" fmla="*/ 0 w 17005"/>
              <a:gd name="connsiteY1" fmla="*/ 96908 h 96907"/>
            </a:gdLst>
            <a:ahLst/>
            <a:cxnLst>
              <a:cxn ang="0">
                <a:pos x="connsiteX0" y="connsiteY0"/>
              </a:cxn>
              <a:cxn ang="0">
                <a:pos x="connsiteX1" y="connsiteY1"/>
              </a:cxn>
            </a:cxnLst>
            <a:rect l="l" t="t" r="r" b="b"/>
            <a:pathLst>
              <a:path w="17005" h="96907">
                <a:moveTo>
                  <a:pt x="0" y="0"/>
                </a:moveTo>
                <a:lnTo>
                  <a:pt x="0" y="96908"/>
                </a:lnTo>
              </a:path>
            </a:pathLst>
          </a:custGeom>
          <a:ln w="28575"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541" name="Freeform: Shape 540">
            <a:extLst>
              <a:ext uri="{FF2B5EF4-FFF2-40B4-BE49-F238E27FC236}">
                <a16:creationId xmlns:a16="http://schemas.microsoft.com/office/drawing/2014/main" id="{337613A9-A318-4D47-9687-8CEB02F4531D}"/>
              </a:ext>
            </a:extLst>
          </p:cNvPr>
          <p:cNvSpPr/>
          <p:nvPr/>
        </p:nvSpPr>
        <p:spPr>
          <a:xfrm>
            <a:off x="8654788" y="3883649"/>
            <a:ext cx="40196" cy="96907"/>
          </a:xfrm>
          <a:custGeom>
            <a:avLst/>
            <a:gdLst>
              <a:gd name="connsiteX0" fmla="*/ 0 w 17005"/>
              <a:gd name="connsiteY0" fmla="*/ 0 h 96907"/>
              <a:gd name="connsiteX1" fmla="*/ 0 w 17005"/>
              <a:gd name="connsiteY1" fmla="*/ 96908 h 96907"/>
            </a:gdLst>
            <a:ahLst/>
            <a:cxnLst>
              <a:cxn ang="0">
                <a:pos x="connsiteX0" y="connsiteY0"/>
              </a:cxn>
              <a:cxn ang="0">
                <a:pos x="connsiteX1" y="connsiteY1"/>
              </a:cxn>
            </a:cxnLst>
            <a:rect l="l" t="t" r="r" b="b"/>
            <a:pathLst>
              <a:path w="17005" h="96907">
                <a:moveTo>
                  <a:pt x="0" y="0"/>
                </a:moveTo>
                <a:lnTo>
                  <a:pt x="0" y="96908"/>
                </a:lnTo>
              </a:path>
            </a:pathLst>
          </a:custGeom>
          <a:ln w="28575"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542" name="Freeform: Shape 541">
            <a:extLst>
              <a:ext uri="{FF2B5EF4-FFF2-40B4-BE49-F238E27FC236}">
                <a16:creationId xmlns:a16="http://schemas.microsoft.com/office/drawing/2014/main" id="{2ED20A65-02DC-423C-AE4F-283CA4E1F02A}"/>
              </a:ext>
            </a:extLst>
          </p:cNvPr>
          <p:cNvSpPr/>
          <p:nvPr/>
        </p:nvSpPr>
        <p:spPr>
          <a:xfrm>
            <a:off x="8826833" y="3896173"/>
            <a:ext cx="40196" cy="96907"/>
          </a:xfrm>
          <a:custGeom>
            <a:avLst/>
            <a:gdLst>
              <a:gd name="connsiteX0" fmla="*/ 0 w 17005"/>
              <a:gd name="connsiteY0" fmla="*/ 0 h 96907"/>
              <a:gd name="connsiteX1" fmla="*/ 0 w 17005"/>
              <a:gd name="connsiteY1" fmla="*/ 96908 h 96907"/>
            </a:gdLst>
            <a:ahLst/>
            <a:cxnLst>
              <a:cxn ang="0">
                <a:pos x="connsiteX0" y="connsiteY0"/>
              </a:cxn>
              <a:cxn ang="0">
                <a:pos x="connsiteX1" y="connsiteY1"/>
              </a:cxn>
            </a:cxnLst>
            <a:rect l="l" t="t" r="r" b="b"/>
            <a:pathLst>
              <a:path w="17005" h="96907">
                <a:moveTo>
                  <a:pt x="0" y="0"/>
                </a:moveTo>
                <a:lnTo>
                  <a:pt x="0" y="96908"/>
                </a:lnTo>
              </a:path>
            </a:pathLst>
          </a:custGeom>
          <a:ln w="28575"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543" name="Freeform: Shape 542">
            <a:extLst>
              <a:ext uri="{FF2B5EF4-FFF2-40B4-BE49-F238E27FC236}">
                <a16:creationId xmlns:a16="http://schemas.microsoft.com/office/drawing/2014/main" id="{A6959F06-EE95-4A00-8A76-895D6C80222E}"/>
              </a:ext>
            </a:extLst>
          </p:cNvPr>
          <p:cNvSpPr/>
          <p:nvPr/>
        </p:nvSpPr>
        <p:spPr>
          <a:xfrm>
            <a:off x="8879089" y="3896173"/>
            <a:ext cx="40196" cy="96907"/>
          </a:xfrm>
          <a:custGeom>
            <a:avLst/>
            <a:gdLst>
              <a:gd name="connsiteX0" fmla="*/ 0 w 17005"/>
              <a:gd name="connsiteY0" fmla="*/ 0 h 96907"/>
              <a:gd name="connsiteX1" fmla="*/ 0 w 17005"/>
              <a:gd name="connsiteY1" fmla="*/ 96908 h 96907"/>
            </a:gdLst>
            <a:ahLst/>
            <a:cxnLst>
              <a:cxn ang="0">
                <a:pos x="connsiteX0" y="connsiteY0"/>
              </a:cxn>
              <a:cxn ang="0">
                <a:pos x="connsiteX1" y="connsiteY1"/>
              </a:cxn>
            </a:cxnLst>
            <a:rect l="l" t="t" r="r" b="b"/>
            <a:pathLst>
              <a:path w="17005" h="96907">
                <a:moveTo>
                  <a:pt x="0" y="0"/>
                </a:moveTo>
                <a:lnTo>
                  <a:pt x="0" y="96908"/>
                </a:lnTo>
              </a:path>
            </a:pathLst>
          </a:custGeom>
          <a:ln w="28575"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544" name="Freeform: Shape 543">
            <a:extLst>
              <a:ext uri="{FF2B5EF4-FFF2-40B4-BE49-F238E27FC236}">
                <a16:creationId xmlns:a16="http://schemas.microsoft.com/office/drawing/2014/main" id="{41FD8021-F947-40A8-AAA4-82F67FF4854A}"/>
              </a:ext>
            </a:extLst>
          </p:cNvPr>
          <p:cNvSpPr/>
          <p:nvPr/>
        </p:nvSpPr>
        <p:spPr>
          <a:xfrm>
            <a:off x="8996063" y="3896173"/>
            <a:ext cx="40196" cy="96907"/>
          </a:xfrm>
          <a:custGeom>
            <a:avLst/>
            <a:gdLst>
              <a:gd name="connsiteX0" fmla="*/ 0 w 17005"/>
              <a:gd name="connsiteY0" fmla="*/ 0 h 96907"/>
              <a:gd name="connsiteX1" fmla="*/ 0 w 17005"/>
              <a:gd name="connsiteY1" fmla="*/ 96908 h 96907"/>
            </a:gdLst>
            <a:ahLst/>
            <a:cxnLst>
              <a:cxn ang="0">
                <a:pos x="connsiteX0" y="connsiteY0"/>
              </a:cxn>
              <a:cxn ang="0">
                <a:pos x="connsiteX1" y="connsiteY1"/>
              </a:cxn>
            </a:cxnLst>
            <a:rect l="l" t="t" r="r" b="b"/>
            <a:pathLst>
              <a:path w="17005" h="96907">
                <a:moveTo>
                  <a:pt x="0" y="0"/>
                </a:moveTo>
                <a:lnTo>
                  <a:pt x="0" y="96908"/>
                </a:lnTo>
              </a:path>
            </a:pathLst>
          </a:custGeom>
          <a:ln w="28575"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545" name="Freeform: Shape 544">
            <a:extLst>
              <a:ext uri="{FF2B5EF4-FFF2-40B4-BE49-F238E27FC236}">
                <a16:creationId xmlns:a16="http://schemas.microsoft.com/office/drawing/2014/main" id="{FBBE823A-4192-43F3-A2C2-641554D96188}"/>
              </a:ext>
            </a:extLst>
          </p:cNvPr>
          <p:cNvSpPr/>
          <p:nvPr/>
        </p:nvSpPr>
        <p:spPr>
          <a:xfrm>
            <a:off x="9069626" y="3896173"/>
            <a:ext cx="40196" cy="96907"/>
          </a:xfrm>
          <a:custGeom>
            <a:avLst/>
            <a:gdLst>
              <a:gd name="connsiteX0" fmla="*/ 0 w 17005"/>
              <a:gd name="connsiteY0" fmla="*/ 0 h 96907"/>
              <a:gd name="connsiteX1" fmla="*/ 0 w 17005"/>
              <a:gd name="connsiteY1" fmla="*/ 96908 h 96907"/>
            </a:gdLst>
            <a:ahLst/>
            <a:cxnLst>
              <a:cxn ang="0">
                <a:pos x="connsiteX0" y="connsiteY0"/>
              </a:cxn>
              <a:cxn ang="0">
                <a:pos x="connsiteX1" y="connsiteY1"/>
              </a:cxn>
            </a:cxnLst>
            <a:rect l="l" t="t" r="r" b="b"/>
            <a:pathLst>
              <a:path w="17005" h="96907">
                <a:moveTo>
                  <a:pt x="0" y="0"/>
                </a:moveTo>
                <a:lnTo>
                  <a:pt x="0" y="96908"/>
                </a:lnTo>
              </a:path>
            </a:pathLst>
          </a:custGeom>
          <a:ln w="28575"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546" name="Freeform: Shape 545">
            <a:extLst>
              <a:ext uri="{FF2B5EF4-FFF2-40B4-BE49-F238E27FC236}">
                <a16:creationId xmlns:a16="http://schemas.microsoft.com/office/drawing/2014/main" id="{51636D5F-3DD2-40AF-8CC9-D34ABD9159A8}"/>
              </a:ext>
            </a:extLst>
          </p:cNvPr>
          <p:cNvSpPr/>
          <p:nvPr/>
        </p:nvSpPr>
        <p:spPr>
          <a:xfrm>
            <a:off x="9346184" y="3921220"/>
            <a:ext cx="40196" cy="97056"/>
          </a:xfrm>
          <a:custGeom>
            <a:avLst/>
            <a:gdLst>
              <a:gd name="connsiteX0" fmla="*/ 0 w 17005"/>
              <a:gd name="connsiteY0" fmla="*/ 0 h 97056"/>
              <a:gd name="connsiteX1" fmla="*/ 0 w 17005"/>
              <a:gd name="connsiteY1" fmla="*/ 97057 h 97056"/>
            </a:gdLst>
            <a:ahLst/>
            <a:cxnLst>
              <a:cxn ang="0">
                <a:pos x="connsiteX0" y="connsiteY0"/>
              </a:cxn>
              <a:cxn ang="0">
                <a:pos x="connsiteX1" y="connsiteY1"/>
              </a:cxn>
            </a:cxnLst>
            <a:rect l="l" t="t" r="r" b="b"/>
            <a:pathLst>
              <a:path w="17005" h="97056">
                <a:moveTo>
                  <a:pt x="0" y="0"/>
                </a:moveTo>
                <a:lnTo>
                  <a:pt x="0" y="97057"/>
                </a:lnTo>
              </a:path>
            </a:pathLst>
          </a:custGeom>
          <a:ln w="28575"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547" name="Freeform: Shape 546">
            <a:extLst>
              <a:ext uri="{FF2B5EF4-FFF2-40B4-BE49-F238E27FC236}">
                <a16:creationId xmlns:a16="http://schemas.microsoft.com/office/drawing/2014/main" id="{4C484480-A8E6-439A-AFE8-33BB5F797746}"/>
              </a:ext>
            </a:extLst>
          </p:cNvPr>
          <p:cNvSpPr/>
          <p:nvPr/>
        </p:nvSpPr>
        <p:spPr>
          <a:xfrm>
            <a:off x="9441453" y="3921220"/>
            <a:ext cx="40196" cy="97056"/>
          </a:xfrm>
          <a:custGeom>
            <a:avLst/>
            <a:gdLst>
              <a:gd name="connsiteX0" fmla="*/ 0 w 17005"/>
              <a:gd name="connsiteY0" fmla="*/ 0 h 97056"/>
              <a:gd name="connsiteX1" fmla="*/ 0 w 17005"/>
              <a:gd name="connsiteY1" fmla="*/ 97057 h 97056"/>
            </a:gdLst>
            <a:ahLst/>
            <a:cxnLst>
              <a:cxn ang="0">
                <a:pos x="connsiteX0" y="connsiteY0"/>
              </a:cxn>
              <a:cxn ang="0">
                <a:pos x="connsiteX1" y="connsiteY1"/>
              </a:cxn>
            </a:cxnLst>
            <a:rect l="l" t="t" r="r" b="b"/>
            <a:pathLst>
              <a:path w="17005" h="97056">
                <a:moveTo>
                  <a:pt x="0" y="0"/>
                </a:moveTo>
                <a:lnTo>
                  <a:pt x="0" y="97057"/>
                </a:lnTo>
              </a:path>
            </a:pathLst>
          </a:custGeom>
          <a:ln w="28575"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548" name="Freeform: Shape 547">
            <a:extLst>
              <a:ext uri="{FF2B5EF4-FFF2-40B4-BE49-F238E27FC236}">
                <a16:creationId xmlns:a16="http://schemas.microsoft.com/office/drawing/2014/main" id="{CBCD372F-A920-4740-9DB1-BF9A27D3A61B}"/>
              </a:ext>
            </a:extLst>
          </p:cNvPr>
          <p:cNvSpPr/>
          <p:nvPr/>
        </p:nvSpPr>
        <p:spPr>
          <a:xfrm>
            <a:off x="9616713" y="4019171"/>
            <a:ext cx="40196" cy="97056"/>
          </a:xfrm>
          <a:custGeom>
            <a:avLst/>
            <a:gdLst>
              <a:gd name="connsiteX0" fmla="*/ 0 w 17005"/>
              <a:gd name="connsiteY0" fmla="*/ 0 h 97056"/>
              <a:gd name="connsiteX1" fmla="*/ 0 w 17005"/>
              <a:gd name="connsiteY1" fmla="*/ 97057 h 97056"/>
            </a:gdLst>
            <a:ahLst/>
            <a:cxnLst>
              <a:cxn ang="0">
                <a:pos x="connsiteX0" y="connsiteY0"/>
              </a:cxn>
              <a:cxn ang="0">
                <a:pos x="connsiteX1" y="connsiteY1"/>
              </a:cxn>
            </a:cxnLst>
            <a:rect l="l" t="t" r="r" b="b"/>
            <a:pathLst>
              <a:path w="17005" h="97056">
                <a:moveTo>
                  <a:pt x="0" y="0"/>
                </a:moveTo>
                <a:lnTo>
                  <a:pt x="0" y="97057"/>
                </a:lnTo>
              </a:path>
            </a:pathLst>
          </a:custGeom>
          <a:ln w="28575"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549" name="Freeform: Shape 548">
            <a:extLst>
              <a:ext uri="{FF2B5EF4-FFF2-40B4-BE49-F238E27FC236}">
                <a16:creationId xmlns:a16="http://schemas.microsoft.com/office/drawing/2014/main" id="{6372AD39-35A7-40D9-B02F-DADF563763C4}"/>
              </a:ext>
            </a:extLst>
          </p:cNvPr>
          <p:cNvSpPr/>
          <p:nvPr/>
        </p:nvSpPr>
        <p:spPr>
          <a:xfrm>
            <a:off x="9659726" y="4019171"/>
            <a:ext cx="40196" cy="97056"/>
          </a:xfrm>
          <a:custGeom>
            <a:avLst/>
            <a:gdLst>
              <a:gd name="connsiteX0" fmla="*/ 0 w 17005"/>
              <a:gd name="connsiteY0" fmla="*/ 0 h 97056"/>
              <a:gd name="connsiteX1" fmla="*/ 0 w 17005"/>
              <a:gd name="connsiteY1" fmla="*/ 97057 h 97056"/>
            </a:gdLst>
            <a:ahLst/>
            <a:cxnLst>
              <a:cxn ang="0">
                <a:pos x="connsiteX0" y="connsiteY0"/>
              </a:cxn>
              <a:cxn ang="0">
                <a:pos x="connsiteX1" y="connsiteY1"/>
              </a:cxn>
            </a:cxnLst>
            <a:rect l="l" t="t" r="r" b="b"/>
            <a:pathLst>
              <a:path w="17005" h="97056">
                <a:moveTo>
                  <a:pt x="0" y="0"/>
                </a:moveTo>
                <a:lnTo>
                  <a:pt x="0" y="97057"/>
                </a:lnTo>
              </a:path>
            </a:pathLst>
          </a:custGeom>
          <a:ln w="28575"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550" name="Freeform: Shape 549">
            <a:extLst>
              <a:ext uri="{FF2B5EF4-FFF2-40B4-BE49-F238E27FC236}">
                <a16:creationId xmlns:a16="http://schemas.microsoft.com/office/drawing/2014/main" id="{8EDB257D-E3B5-494A-9ABF-C96F5DC1EDC6}"/>
              </a:ext>
            </a:extLst>
          </p:cNvPr>
          <p:cNvSpPr/>
          <p:nvPr/>
        </p:nvSpPr>
        <p:spPr>
          <a:xfrm>
            <a:off x="9776297" y="4019171"/>
            <a:ext cx="40196" cy="97056"/>
          </a:xfrm>
          <a:custGeom>
            <a:avLst/>
            <a:gdLst>
              <a:gd name="connsiteX0" fmla="*/ 0 w 17005"/>
              <a:gd name="connsiteY0" fmla="*/ 0 h 97056"/>
              <a:gd name="connsiteX1" fmla="*/ 0 w 17005"/>
              <a:gd name="connsiteY1" fmla="*/ 97057 h 97056"/>
            </a:gdLst>
            <a:ahLst/>
            <a:cxnLst>
              <a:cxn ang="0">
                <a:pos x="connsiteX0" y="connsiteY0"/>
              </a:cxn>
              <a:cxn ang="0">
                <a:pos x="connsiteX1" y="connsiteY1"/>
              </a:cxn>
            </a:cxnLst>
            <a:rect l="l" t="t" r="r" b="b"/>
            <a:pathLst>
              <a:path w="17005" h="97056">
                <a:moveTo>
                  <a:pt x="0" y="0"/>
                </a:moveTo>
                <a:lnTo>
                  <a:pt x="0" y="97057"/>
                </a:lnTo>
              </a:path>
            </a:pathLst>
          </a:custGeom>
          <a:ln w="28575"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551" name="Freeform: Shape 550">
            <a:extLst>
              <a:ext uri="{FF2B5EF4-FFF2-40B4-BE49-F238E27FC236}">
                <a16:creationId xmlns:a16="http://schemas.microsoft.com/office/drawing/2014/main" id="{437F5009-E912-41AA-B041-E6955B90A47F}"/>
              </a:ext>
            </a:extLst>
          </p:cNvPr>
          <p:cNvSpPr/>
          <p:nvPr/>
        </p:nvSpPr>
        <p:spPr>
          <a:xfrm>
            <a:off x="9902117" y="4019171"/>
            <a:ext cx="40196" cy="97056"/>
          </a:xfrm>
          <a:custGeom>
            <a:avLst/>
            <a:gdLst>
              <a:gd name="connsiteX0" fmla="*/ 0 w 17005"/>
              <a:gd name="connsiteY0" fmla="*/ 0 h 97056"/>
              <a:gd name="connsiteX1" fmla="*/ 0 w 17005"/>
              <a:gd name="connsiteY1" fmla="*/ 97057 h 97056"/>
            </a:gdLst>
            <a:ahLst/>
            <a:cxnLst>
              <a:cxn ang="0">
                <a:pos x="connsiteX0" y="connsiteY0"/>
              </a:cxn>
              <a:cxn ang="0">
                <a:pos x="connsiteX1" y="connsiteY1"/>
              </a:cxn>
            </a:cxnLst>
            <a:rect l="l" t="t" r="r" b="b"/>
            <a:pathLst>
              <a:path w="17005" h="97056">
                <a:moveTo>
                  <a:pt x="0" y="0"/>
                </a:moveTo>
                <a:lnTo>
                  <a:pt x="0" y="97057"/>
                </a:lnTo>
              </a:path>
            </a:pathLst>
          </a:custGeom>
          <a:ln w="28575"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552" name="Freeform: Shape 551">
            <a:extLst>
              <a:ext uri="{FF2B5EF4-FFF2-40B4-BE49-F238E27FC236}">
                <a16:creationId xmlns:a16="http://schemas.microsoft.com/office/drawing/2014/main" id="{2EE257F2-5515-4C8A-A273-5F5030CDD77A}"/>
              </a:ext>
            </a:extLst>
          </p:cNvPr>
          <p:cNvSpPr/>
          <p:nvPr/>
        </p:nvSpPr>
        <p:spPr>
          <a:xfrm>
            <a:off x="10046828" y="4019171"/>
            <a:ext cx="40196" cy="97056"/>
          </a:xfrm>
          <a:custGeom>
            <a:avLst/>
            <a:gdLst>
              <a:gd name="connsiteX0" fmla="*/ 0 w 17005"/>
              <a:gd name="connsiteY0" fmla="*/ 0 h 97056"/>
              <a:gd name="connsiteX1" fmla="*/ 0 w 17005"/>
              <a:gd name="connsiteY1" fmla="*/ 97057 h 97056"/>
            </a:gdLst>
            <a:ahLst/>
            <a:cxnLst>
              <a:cxn ang="0">
                <a:pos x="connsiteX0" y="connsiteY0"/>
              </a:cxn>
              <a:cxn ang="0">
                <a:pos x="connsiteX1" y="connsiteY1"/>
              </a:cxn>
            </a:cxnLst>
            <a:rect l="l" t="t" r="r" b="b"/>
            <a:pathLst>
              <a:path w="17005" h="97056">
                <a:moveTo>
                  <a:pt x="0" y="0"/>
                </a:moveTo>
                <a:lnTo>
                  <a:pt x="0" y="97057"/>
                </a:lnTo>
              </a:path>
            </a:pathLst>
          </a:custGeom>
          <a:ln w="28575"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553" name="Freeform: Shape 552">
            <a:extLst>
              <a:ext uri="{FF2B5EF4-FFF2-40B4-BE49-F238E27FC236}">
                <a16:creationId xmlns:a16="http://schemas.microsoft.com/office/drawing/2014/main" id="{6F705256-9BA6-4C08-83FB-0AEDD217E6CF}"/>
              </a:ext>
            </a:extLst>
          </p:cNvPr>
          <p:cNvSpPr/>
          <p:nvPr/>
        </p:nvSpPr>
        <p:spPr>
          <a:xfrm>
            <a:off x="10107926" y="4019171"/>
            <a:ext cx="40196" cy="97056"/>
          </a:xfrm>
          <a:custGeom>
            <a:avLst/>
            <a:gdLst>
              <a:gd name="connsiteX0" fmla="*/ 0 w 17005"/>
              <a:gd name="connsiteY0" fmla="*/ 0 h 97056"/>
              <a:gd name="connsiteX1" fmla="*/ 0 w 17005"/>
              <a:gd name="connsiteY1" fmla="*/ 97057 h 97056"/>
            </a:gdLst>
            <a:ahLst/>
            <a:cxnLst>
              <a:cxn ang="0">
                <a:pos x="connsiteX0" y="connsiteY0"/>
              </a:cxn>
              <a:cxn ang="0">
                <a:pos x="connsiteX1" y="connsiteY1"/>
              </a:cxn>
            </a:cxnLst>
            <a:rect l="l" t="t" r="r" b="b"/>
            <a:pathLst>
              <a:path w="17005" h="97056">
                <a:moveTo>
                  <a:pt x="0" y="0"/>
                </a:moveTo>
                <a:lnTo>
                  <a:pt x="0" y="97057"/>
                </a:lnTo>
              </a:path>
            </a:pathLst>
          </a:custGeom>
          <a:ln w="28575"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554" name="Freeform: Shape 553">
            <a:extLst>
              <a:ext uri="{FF2B5EF4-FFF2-40B4-BE49-F238E27FC236}">
                <a16:creationId xmlns:a16="http://schemas.microsoft.com/office/drawing/2014/main" id="{4D4C7470-5D3D-415E-8BD8-0D4F0A8E9B8B}"/>
              </a:ext>
            </a:extLst>
          </p:cNvPr>
          <p:cNvSpPr/>
          <p:nvPr/>
        </p:nvSpPr>
        <p:spPr>
          <a:xfrm>
            <a:off x="10246206" y="4019171"/>
            <a:ext cx="40196" cy="97056"/>
          </a:xfrm>
          <a:custGeom>
            <a:avLst/>
            <a:gdLst>
              <a:gd name="connsiteX0" fmla="*/ 0 w 17005"/>
              <a:gd name="connsiteY0" fmla="*/ 0 h 97056"/>
              <a:gd name="connsiteX1" fmla="*/ 0 w 17005"/>
              <a:gd name="connsiteY1" fmla="*/ 97057 h 97056"/>
            </a:gdLst>
            <a:ahLst/>
            <a:cxnLst>
              <a:cxn ang="0">
                <a:pos x="connsiteX0" y="connsiteY0"/>
              </a:cxn>
              <a:cxn ang="0">
                <a:pos x="connsiteX1" y="connsiteY1"/>
              </a:cxn>
            </a:cxnLst>
            <a:rect l="l" t="t" r="r" b="b"/>
            <a:pathLst>
              <a:path w="17005" h="97056">
                <a:moveTo>
                  <a:pt x="0" y="0"/>
                </a:moveTo>
                <a:lnTo>
                  <a:pt x="0" y="97057"/>
                </a:lnTo>
              </a:path>
            </a:pathLst>
          </a:custGeom>
          <a:ln w="28575"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555" name="Freeform: Shape 554">
            <a:extLst>
              <a:ext uri="{FF2B5EF4-FFF2-40B4-BE49-F238E27FC236}">
                <a16:creationId xmlns:a16="http://schemas.microsoft.com/office/drawing/2014/main" id="{708D4FD0-8F8A-47FC-951D-2F7EE1DBDE7D}"/>
              </a:ext>
            </a:extLst>
          </p:cNvPr>
          <p:cNvSpPr/>
          <p:nvPr/>
        </p:nvSpPr>
        <p:spPr>
          <a:xfrm>
            <a:off x="10298464" y="4019171"/>
            <a:ext cx="40196" cy="97056"/>
          </a:xfrm>
          <a:custGeom>
            <a:avLst/>
            <a:gdLst>
              <a:gd name="connsiteX0" fmla="*/ 0 w 17005"/>
              <a:gd name="connsiteY0" fmla="*/ 0 h 97056"/>
              <a:gd name="connsiteX1" fmla="*/ 0 w 17005"/>
              <a:gd name="connsiteY1" fmla="*/ 97057 h 97056"/>
            </a:gdLst>
            <a:ahLst/>
            <a:cxnLst>
              <a:cxn ang="0">
                <a:pos x="connsiteX0" y="connsiteY0"/>
              </a:cxn>
              <a:cxn ang="0">
                <a:pos x="connsiteX1" y="connsiteY1"/>
              </a:cxn>
            </a:cxnLst>
            <a:rect l="l" t="t" r="r" b="b"/>
            <a:pathLst>
              <a:path w="17005" h="97056">
                <a:moveTo>
                  <a:pt x="0" y="0"/>
                </a:moveTo>
                <a:lnTo>
                  <a:pt x="0" y="97057"/>
                </a:lnTo>
              </a:path>
            </a:pathLst>
          </a:custGeom>
          <a:ln w="28575"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556" name="Freeform: Shape 555">
            <a:extLst>
              <a:ext uri="{FF2B5EF4-FFF2-40B4-BE49-F238E27FC236}">
                <a16:creationId xmlns:a16="http://schemas.microsoft.com/office/drawing/2014/main" id="{346F2024-7BD7-4683-9DBE-CA13731B2B22}"/>
              </a:ext>
            </a:extLst>
          </p:cNvPr>
          <p:cNvSpPr/>
          <p:nvPr/>
        </p:nvSpPr>
        <p:spPr>
          <a:xfrm>
            <a:off x="10855112" y="4019171"/>
            <a:ext cx="40196" cy="97056"/>
          </a:xfrm>
          <a:custGeom>
            <a:avLst/>
            <a:gdLst>
              <a:gd name="connsiteX0" fmla="*/ 0 w 17005"/>
              <a:gd name="connsiteY0" fmla="*/ 0 h 97056"/>
              <a:gd name="connsiteX1" fmla="*/ 0 w 17005"/>
              <a:gd name="connsiteY1" fmla="*/ 97057 h 97056"/>
            </a:gdLst>
            <a:ahLst/>
            <a:cxnLst>
              <a:cxn ang="0">
                <a:pos x="connsiteX0" y="connsiteY0"/>
              </a:cxn>
              <a:cxn ang="0">
                <a:pos x="connsiteX1" y="connsiteY1"/>
              </a:cxn>
            </a:cxnLst>
            <a:rect l="l" t="t" r="r" b="b"/>
            <a:pathLst>
              <a:path w="17005" h="97056">
                <a:moveTo>
                  <a:pt x="0" y="0"/>
                </a:moveTo>
                <a:lnTo>
                  <a:pt x="0" y="97057"/>
                </a:lnTo>
              </a:path>
            </a:pathLst>
          </a:custGeom>
          <a:ln w="28575"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557" name="Freeform: Shape 556">
            <a:extLst>
              <a:ext uri="{FF2B5EF4-FFF2-40B4-BE49-F238E27FC236}">
                <a16:creationId xmlns:a16="http://schemas.microsoft.com/office/drawing/2014/main" id="{052164B0-7E1A-4F3D-A147-7515B3AF5C74}"/>
              </a:ext>
            </a:extLst>
          </p:cNvPr>
          <p:cNvSpPr/>
          <p:nvPr/>
        </p:nvSpPr>
        <p:spPr>
          <a:xfrm>
            <a:off x="1286585" y="1664016"/>
            <a:ext cx="9582682" cy="2402863"/>
          </a:xfrm>
          <a:custGeom>
            <a:avLst/>
            <a:gdLst>
              <a:gd name="connsiteX0" fmla="*/ 0 w 4054017"/>
              <a:gd name="connsiteY0" fmla="*/ 0 h 2402863"/>
              <a:gd name="connsiteX1" fmla="*/ 11054 w 4054017"/>
              <a:gd name="connsiteY1" fmla="*/ 0 h 2402863"/>
              <a:gd name="connsiteX2" fmla="*/ 11054 w 4054017"/>
              <a:gd name="connsiteY2" fmla="*/ 15803 h 2402863"/>
              <a:gd name="connsiteX3" fmla="*/ 23638 w 4054017"/>
              <a:gd name="connsiteY3" fmla="*/ 15803 h 2402863"/>
              <a:gd name="connsiteX4" fmla="*/ 23638 w 4054017"/>
              <a:gd name="connsiteY4" fmla="*/ 28327 h 2402863"/>
              <a:gd name="connsiteX5" fmla="*/ 47956 w 4054017"/>
              <a:gd name="connsiteY5" fmla="*/ 28327 h 2402863"/>
              <a:gd name="connsiteX6" fmla="*/ 47956 w 4054017"/>
              <a:gd name="connsiteY6" fmla="*/ 42788 h 2402863"/>
              <a:gd name="connsiteX7" fmla="*/ 58160 w 4054017"/>
              <a:gd name="connsiteY7" fmla="*/ 42788 h 2402863"/>
              <a:gd name="connsiteX8" fmla="*/ 58160 w 4054017"/>
              <a:gd name="connsiteY8" fmla="*/ 54566 h 2402863"/>
              <a:gd name="connsiteX9" fmla="*/ 75506 w 4054017"/>
              <a:gd name="connsiteY9" fmla="*/ 54566 h 2402863"/>
              <a:gd name="connsiteX10" fmla="*/ 75506 w 4054017"/>
              <a:gd name="connsiteY10" fmla="*/ 68283 h 2402863"/>
              <a:gd name="connsiteX11" fmla="*/ 88940 w 4054017"/>
              <a:gd name="connsiteY11" fmla="*/ 68283 h 2402863"/>
              <a:gd name="connsiteX12" fmla="*/ 88940 w 4054017"/>
              <a:gd name="connsiteY12" fmla="*/ 80806 h 2402863"/>
              <a:gd name="connsiteX13" fmla="*/ 99994 w 4054017"/>
              <a:gd name="connsiteY13" fmla="*/ 80806 h 2402863"/>
              <a:gd name="connsiteX14" fmla="*/ 99994 w 4054017"/>
              <a:gd name="connsiteY14" fmla="*/ 97951 h 2402863"/>
              <a:gd name="connsiteX15" fmla="*/ 111048 w 4054017"/>
              <a:gd name="connsiteY15" fmla="*/ 97951 h 2402863"/>
              <a:gd name="connsiteX16" fmla="*/ 111048 w 4054017"/>
              <a:gd name="connsiteY16" fmla="*/ 127620 h 2402863"/>
              <a:gd name="connsiteX17" fmla="*/ 125163 w 4054017"/>
              <a:gd name="connsiteY17" fmla="*/ 127620 h 2402863"/>
              <a:gd name="connsiteX18" fmla="*/ 125163 w 4054017"/>
              <a:gd name="connsiteY18" fmla="*/ 144914 h 2402863"/>
              <a:gd name="connsiteX19" fmla="*/ 134686 w 4054017"/>
              <a:gd name="connsiteY19" fmla="*/ 144914 h 2402863"/>
              <a:gd name="connsiteX20" fmla="*/ 134686 w 4054017"/>
              <a:gd name="connsiteY20" fmla="*/ 176670 h 2402863"/>
              <a:gd name="connsiteX21" fmla="*/ 149651 w 4054017"/>
              <a:gd name="connsiteY21" fmla="*/ 176670 h 2402863"/>
              <a:gd name="connsiteX22" fmla="*/ 149651 w 4054017"/>
              <a:gd name="connsiteY22" fmla="*/ 189790 h 2402863"/>
              <a:gd name="connsiteX23" fmla="*/ 160535 w 4054017"/>
              <a:gd name="connsiteY23" fmla="*/ 189790 h 2402863"/>
              <a:gd name="connsiteX24" fmla="*/ 160535 w 4054017"/>
              <a:gd name="connsiteY24" fmla="*/ 205742 h 2402863"/>
              <a:gd name="connsiteX25" fmla="*/ 184173 w 4054017"/>
              <a:gd name="connsiteY25" fmla="*/ 205742 h 2402863"/>
              <a:gd name="connsiteX26" fmla="*/ 184173 w 4054017"/>
              <a:gd name="connsiteY26" fmla="*/ 238095 h 2402863"/>
              <a:gd name="connsiteX27" fmla="*/ 196077 w 4054017"/>
              <a:gd name="connsiteY27" fmla="*/ 238095 h 2402863"/>
              <a:gd name="connsiteX28" fmla="*/ 196077 w 4054017"/>
              <a:gd name="connsiteY28" fmla="*/ 254047 h 2402863"/>
              <a:gd name="connsiteX29" fmla="*/ 209512 w 4054017"/>
              <a:gd name="connsiteY29" fmla="*/ 254047 h 2402863"/>
              <a:gd name="connsiteX30" fmla="*/ 209512 w 4054017"/>
              <a:gd name="connsiteY30" fmla="*/ 261651 h 2402863"/>
              <a:gd name="connsiteX31" fmla="*/ 225157 w 4054017"/>
              <a:gd name="connsiteY31" fmla="*/ 261651 h 2402863"/>
              <a:gd name="connsiteX32" fmla="*/ 225157 w 4054017"/>
              <a:gd name="connsiteY32" fmla="*/ 274771 h 2402863"/>
              <a:gd name="connsiteX33" fmla="*/ 235361 w 4054017"/>
              <a:gd name="connsiteY33" fmla="*/ 274771 h 2402863"/>
              <a:gd name="connsiteX34" fmla="*/ 235361 w 4054017"/>
              <a:gd name="connsiteY34" fmla="*/ 285803 h 2402863"/>
              <a:gd name="connsiteX35" fmla="*/ 259849 w 4054017"/>
              <a:gd name="connsiteY35" fmla="*/ 285803 h 2402863"/>
              <a:gd name="connsiteX36" fmla="*/ 259849 w 4054017"/>
              <a:gd name="connsiteY36" fmla="*/ 304439 h 2402863"/>
              <a:gd name="connsiteX37" fmla="*/ 273964 w 4054017"/>
              <a:gd name="connsiteY37" fmla="*/ 304439 h 2402863"/>
              <a:gd name="connsiteX38" fmla="*/ 273964 w 4054017"/>
              <a:gd name="connsiteY38" fmla="*/ 328592 h 2402863"/>
              <a:gd name="connsiteX39" fmla="*/ 281106 w 4054017"/>
              <a:gd name="connsiteY39" fmla="*/ 328592 h 2402863"/>
              <a:gd name="connsiteX40" fmla="*/ 281106 w 4054017"/>
              <a:gd name="connsiteY40" fmla="*/ 341711 h 2402863"/>
              <a:gd name="connsiteX41" fmla="*/ 303894 w 4054017"/>
              <a:gd name="connsiteY41" fmla="*/ 341711 h 2402863"/>
              <a:gd name="connsiteX42" fmla="*/ 303894 w 4054017"/>
              <a:gd name="connsiteY42" fmla="*/ 363031 h 2402863"/>
              <a:gd name="connsiteX43" fmla="*/ 316478 w 4054017"/>
              <a:gd name="connsiteY43" fmla="*/ 363031 h 2402863"/>
              <a:gd name="connsiteX44" fmla="*/ 316478 w 4054017"/>
              <a:gd name="connsiteY44" fmla="*/ 391358 h 2402863"/>
              <a:gd name="connsiteX45" fmla="*/ 326682 w 4054017"/>
              <a:gd name="connsiteY45" fmla="*/ 391358 h 2402863"/>
              <a:gd name="connsiteX46" fmla="*/ 326682 w 4054017"/>
              <a:gd name="connsiteY46" fmla="*/ 429376 h 2402863"/>
              <a:gd name="connsiteX47" fmla="*/ 342497 w 4054017"/>
              <a:gd name="connsiteY47" fmla="*/ 429376 h 2402863"/>
              <a:gd name="connsiteX48" fmla="*/ 342497 w 4054017"/>
              <a:gd name="connsiteY48" fmla="*/ 447266 h 2402863"/>
              <a:gd name="connsiteX49" fmla="*/ 353551 w 4054017"/>
              <a:gd name="connsiteY49" fmla="*/ 447266 h 2402863"/>
              <a:gd name="connsiteX50" fmla="*/ 353551 w 4054017"/>
              <a:gd name="connsiteY50" fmla="*/ 477680 h 2402863"/>
              <a:gd name="connsiteX51" fmla="*/ 374808 w 4054017"/>
              <a:gd name="connsiteY51" fmla="*/ 477680 h 2402863"/>
              <a:gd name="connsiteX52" fmla="*/ 374808 w 4054017"/>
              <a:gd name="connsiteY52" fmla="*/ 497658 h 2402863"/>
              <a:gd name="connsiteX53" fmla="*/ 390454 w 4054017"/>
              <a:gd name="connsiteY53" fmla="*/ 497658 h 2402863"/>
              <a:gd name="connsiteX54" fmla="*/ 390454 w 4054017"/>
              <a:gd name="connsiteY54" fmla="*/ 521214 h 2402863"/>
              <a:gd name="connsiteX55" fmla="*/ 410180 w 4054017"/>
              <a:gd name="connsiteY55" fmla="*/ 521214 h 2402863"/>
              <a:gd name="connsiteX56" fmla="*/ 410180 w 4054017"/>
              <a:gd name="connsiteY56" fmla="*/ 548050 h 2402863"/>
              <a:gd name="connsiteX57" fmla="*/ 423615 w 4054017"/>
              <a:gd name="connsiteY57" fmla="*/ 548050 h 2402863"/>
              <a:gd name="connsiteX58" fmla="*/ 423615 w 4054017"/>
              <a:gd name="connsiteY58" fmla="*/ 574290 h 2402863"/>
              <a:gd name="connsiteX59" fmla="*/ 438580 w 4054017"/>
              <a:gd name="connsiteY59" fmla="*/ 574290 h 2402863"/>
              <a:gd name="connsiteX60" fmla="*/ 438580 w 4054017"/>
              <a:gd name="connsiteY60" fmla="*/ 604704 h 2402863"/>
              <a:gd name="connsiteX61" fmla="*/ 449634 w 4054017"/>
              <a:gd name="connsiteY61" fmla="*/ 604704 h 2402863"/>
              <a:gd name="connsiteX62" fmla="*/ 449634 w 4054017"/>
              <a:gd name="connsiteY62" fmla="*/ 623936 h 2402863"/>
              <a:gd name="connsiteX63" fmla="*/ 462218 w 4054017"/>
              <a:gd name="connsiteY63" fmla="*/ 623936 h 2402863"/>
              <a:gd name="connsiteX64" fmla="*/ 462218 w 4054017"/>
              <a:gd name="connsiteY64" fmla="*/ 636460 h 2402863"/>
              <a:gd name="connsiteX65" fmla="*/ 474803 w 4054017"/>
              <a:gd name="connsiteY65" fmla="*/ 636460 h 2402863"/>
              <a:gd name="connsiteX66" fmla="*/ 474803 w 4054017"/>
              <a:gd name="connsiteY66" fmla="*/ 669558 h 2402863"/>
              <a:gd name="connsiteX67" fmla="*/ 489768 w 4054017"/>
              <a:gd name="connsiteY67" fmla="*/ 669558 h 2402863"/>
              <a:gd name="connsiteX68" fmla="*/ 489768 w 4054017"/>
              <a:gd name="connsiteY68" fmla="*/ 685361 h 2402863"/>
              <a:gd name="connsiteX69" fmla="*/ 500822 w 4054017"/>
              <a:gd name="connsiteY69" fmla="*/ 685361 h 2402863"/>
              <a:gd name="connsiteX70" fmla="*/ 500822 w 4054017"/>
              <a:gd name="connsiteY70" fmla="*/ 695797 h 2402863"/>
              <a:gd name="connsiteX71" fmla="*/ 513406 w 4054017"/>
              <a:gd name="connsiteY71" fmla="*/ 695797 h 2402863"/>
              <a:gd name="connsiteX72" fmla="*/ 513406 w 4054017"/>
              <a:gd name="connsiteY72" fmla="*/ 719950 h 2402863"/>
              <a:gd name="connsiteX73" fmla="*/ 536874 w 4054017"/>
              <a:gd name="connsiteY73" fmla="*/ 719950 h 2402863"/>
              <a:gd name="connsiteX74" fmla="*/ 536874 w 4054017"/>
              <a:gd name="connsiteY74" fmla="*/ 737244 h 2402863"/>
              <a:gd name="connsiteX75" fmla="*/ 562212 w 4054017"/>
              <a:gd name="connsiteY75" fmla="*/ 737244 h 2402863"/>
              <a:gd name="connsiteX76" fmla="*/ 562212 w 4054017"/>
              <a:gd name="connsiteY76" fmla="*/ 746189 h 2402863"/>
              <a:gd name="connsiteX77" fmla="*/ 574797 w 4054017"/>
              <a:gd name="connsiteY77" fmla="*/ 746189 h 2402863"/>
              <a:gd name="connsiteX78" fmla="*/ 574797 w 4054017"/>
              <a:gd name="connsiteY78" fmla="*/ 759309 h 2402863"/>
              <a:gd name="connsiteX79" fmla="*/ 585000 w 4054017"/>
              <a:gd name="connsiteY79" fmla="*/ 759309 h 2402863"/>
              <a:gd name="connsiteX80" fmla="*/ 585000 w 4054017"/>
              <a:gd name="connsiteY80" fmla="*/ 796581 h 2402863"/>
              <a:gd name="connsiteX81" fmla="*/ 601496 w 4054017"/>
              <a:gd name="connsiteY81" fmla="*/ 796581 h 2402863"/>
              <a:gd name="connsiteX82" fmla="*/ 601496 w 4054017"/>
              <a:gd name="connsiteY82" fmla="*/ 811043 h 2402863"/>
              <a:gd name="connsiteX83" fmla="*/ 618842 w 4054017"/>
              <a:gd name="connsiteY83" fmla="*/ 811043 h 2402863"/>
              <a:gd name="connsiteX84" fmla="*/ 618842 w 4054017"/>
              <a:gd name="connsiteY84" fmla="*/ 840711 h 2402863"/>
              <a:gd name="connsiteX85" fmla="*/ 632957 w 4054017"/>
              <a:gd name="connsiteY85" fmla="*/ 840711 h 2402863"/>
              <a:gd name="connsiteX86" fmla="*/ 632957 w 4054017"/>
              <a:gd name="connsiteY86" fmla="*/ 855919 h 2402863"/>
              <a:gd name="connsiteX87" fmla="*/ 644011 w 4054017"/>
              <a:gd name="connsiteY87" fmla="*/ 855919 h 2402863"/>
              <a:gd name="connsiteX88" fmla="*/ 644011 w 4054017"/>
              <a:gd name="connsiteY88" fmla="*/ 882904 h 2402863"/>
              <a:gd name="connsiteX89" fmla="*/ 665268 w 4054017"/>
              <a:gd name="connsiteY89" fmla="*/ 882904 h 2402863"/>
              <a:gd name="connsiteX90" fmla="*/ 665268 w 4054017"/>
              <a:gd name="connsiteY90" fmla="*/ 899452 h 2402863"/>
              <a:gd name="connsiteX91" fmla="*/ 677852 w 4054017"/>
              <a:gd name="connsiteY91" fmla="*/ 899452 h 2402863"/>
              <a:gd name="connsiteX92" fmla="*/ 677852 w 4054017"/>
              <a:gd name="connsiteY92" fmla="*/ 919430 h 2402863"/>
              <a:gd name="connsiteX93" fmla="*/ 692817 w 4054017"/>
              <a:gd name="connsiteY93" fmla="*/ 919430 h 2402863"/>
              <a:gd name="connsiteX94" fmla="*/ 692817 w 4054017"/>
              <a:gd name="connsiteY94" fmla="*/ 933296 h 2402863"/>
              <a:gd name="connsiteX95" fmla="*/ 709313 w 4054017"/>
              <a:gd name="connsiteY95" fmla="*/ 933296 h 2402863"/>
              <a:gd name="connsiteX96" fmla="*/ 709313 w 4054017"/>
              <a:gd name="connsiteY96" fmla="*/ 944925 h 2402863"/>
              <a:gd name="connsiteX97" fmla="*/ 736182 w 4054017"/>
              <a:gd name="connsiteY97" fmla="*/ 944925 h 2402863"/>
              <a:gd name="connsiteX98" fmla="*/ 736182 w 4054017"/>
              <a:gd name="connsiteY98" fmla="*/ 956702 h 2402863"/>
              <a:gd name="connsiteX99" fmla="*/ 751827 w 4054017"/>
              <a:gd name="connsiteY99" fmla="*/ 956702 h 2402863"/>
              <a:gd name="connsiteX100" fmla="*/ 751827 w 4054017"/>
              <a:gd name="connsiteY100" fmla="*/ 980855 h 2402863"/>
              <a:gd name="connsiteX101" fmla="*/ 768493 w 4054017"/>
              <a:gd name="connsiteY101" fmla="*/ 980855 h 2402863"/>
              <a:gd name="connsiteX102" fmla="*/ 768493 w 4054017"/>
              <a:gd name="connsiteY102" fmla="*/ 994720 h 2402863"/>
              <a:gd name="connsiteX103" fmla="*/ 792131 w 4054017"/>
              <a:gd name="connsiteY103" fmla="*/ 994720 h 2402863"/>
              <a:gd name="connsiteX104" fmla="*/ 792131 w 4054017"/>
              <a:gd name="connsiteY104" fmla="*/ 1004262 h 2402863"/>
              <a:gd name="connsiteX105" fmla="*/ 819681 w 4054017"/>
              <a:gd name="connsiteY105" fmla="*/ 1004262 h 2402863"/>
              <a:gd name="connsiteX106" fmla="*/ 819681 w 4054017"/>
              <a:gd name="connsiteY106" fmla="*/ 1015443 h 2402863"/>
              <a:gd name="connsiteX107" fmla="*/ 835326 w 4054017"/>
              <a:gd name="connsiteY107" fmla="*/ 1015443 h 2402863"/>
              <a:gd name="connsiteX108" fmla="*/ 835326 w 4054017"/>
              <a:gd name="connsiteY108" fmla="*/ 1035421 h 2402863"/>
              <a:gd name="connsiteX109" fmla="*/ 849611 w 4054017"/>
              <a:gd name="connsiteY109" fmla="*/ 1035421 h 2402863"/>
              <a:gd name="connsiteX110" fmla="*/ 849611 w 4054017"/>
              <a:gd name="connsiteY110" fmla="*/ 1054654 h 2402863"/>
              <a:gd name="connsiteX111" fmla="*/ 870018 w 4054017"/>
              <a:gd name="connsiteY111" fmla="*/ 1054654 h 2402863"/>
              <a:gd name="connsiteX112" fmla="*/ 870018 w 4054017"/>
              <a:gd name="connsiteY112" fmla="*/ 1082981 h 2402863"/>
              <a:gd name="connsiteX113" fmla="*/ 885833 w 4054017"/>
              <a:gd name="connsiteY113" fmla="*/ 1082981 h 2402863"/>
              <a:gd name="connsiteX114" fmla="*/ 885833 w 4054017"/>
              <a:gd name="connsiteY114" fmla="*/ 1094013 h 2402863"/>
              <a:gd name="connsiteX115" fmla="*/ 895186 w 4054017"/>
              <a:gd name="connsiteY115" fmla="*/ 1094013 h 2402863"/>
              <a:gd name="connsiteX116" fmla="*/ 895186 w 4054017"/>
              <a:gd name="connsiteY116" fmla="*/ 1109220 h 2402863"/>
              <a:gd name="connsiteX117" fmla="*/ 907771 w 4054017"/>
              <a:gd name="connsiteY117" fmla="*/ 1109220 h 2402863"/>
              <a:gd name="connsiteX118" fmla="*/ 907771 w 4054017"/>
              <a:gd name="connsiteY118" fmla="*/ 1129944 h 2402863"/>
              <a:gd name="connsiteX119" fmla="*/ 929878 w 4054017"/>
              <a:gd name="connsiteY119" fmla="*/ 1129944 h 2402863"/>
              <a:gd name="connsiteX120" fmla="*/ 929878 w 4054017"/>
              <a:gd name="connsiteY120" fmla="*/ 1145896 h 2402863"/>
              <a:gd name="connsiteX121" fmla="*/ 944844 w 4054017"/>
              <a:gd name="connsiteY121" fmla="*/ 1145896 h 2402863"/>
              <a:gd name="connsiteX122" fmla="*/ 944844 w 4054017"/>
              <a:gd name="connsiteY122" fmla="*/ 1158271 h 2402863"/>
              <a:gd name="connsiteX123" fmla="*/ 955897 w 4054017"/>
              <a:gd name="connsiteY123" fmla="*/ 1158271 h 2402863"/>
              <a:gd name="connsiteX124" fmla="*/ 955897 w 4054017"/>
              <a:gd name="connsiteY124" fmla="*/ 1167216 h 2402863"/>
              <a:gd name="connsiteX125" fmla="*/ 980216 w 4054017"/>
              <a:gd name="connsiteY125" fmla="*/ 1167216 h 2402863"/>
              <a:gd name="connsiteX126" fmla="*/ 980216 w 4054017"/>
              <a:gd name="connsiteY126" fmla="*/ 1182423 h 2402863"/>
              <a:gd name="connsiteX127" fmla="*/ 1005384 w 4054017"/>
              <a:gd name="connsiteY127" fmla="*/ 1182423 h 2402863"/>
              <a:gd name="connsiteX128" fmla="*/ 1005384 w 4054017"/>
              <a:gd name="connsiteY128" fmla="*/ 1191368 h 2402863"/>
              <a:gd name="connsiteX129" fmla="*/ 1017969 w 4054017"/>
              <a:gd name="connsiteY129" fmla="*/ 1191368 h 2402863"/>
              <a:gd name="connsiteX130" fmla="*/ 1017969 w 4054017"/>
              <a:gd name="connsiteY130" fmla="*/ 1207917 h 2402863"/>
              <a:gd name="connsiteX131" fmla="*/ 1031403 w 4054017"/>
              <a:gd name="connsiteY131" fmla="*/ 1207917 h 2402863"/>
              <a:gd name="connsiteX132" fmla="*/ 1031403 w 4054017"/>
              <a:gd name="connsiteY132" fmla="*/ 1220441 h 2402863"/>
              <a:gd name="connsiteX133" fmla="*/ 1044838 w 4054017"/>
              <a:gd name="connsiteY133" fmla="*/ 1220441 h 2402863"/>
              <a:gd name="connsiteX134" fmla="*/ 1044838 w 4054017"/>
              <a:gd name="connsiteY134" fmla="*/ 1234902 h 2402863"/>
              <a:gd name="connsiteX135" fmla="*/ 1080210 w 4054017"/>
              <a:gd name="connsiteY135" fmla="*/ 1234902 h 2402863"/>
              <a:gd name="connsiteX136" fmla="*/ 1080210 w 4054017"/>
              <a:gd name="connsiteY136" fmla="*/ 1248618 h 2402863"/>
              <a:gd name="connsiteX137" fmla="*/ 1098406 w 4054017"/>
              <a:gd name="connsiteY137" fmla="*/ 1248618 h 2402863"/>
              <a:gd name="connsiteX138" fmla="*/ 1098406 w 4054017"/>
              <a:gd name="connsiteY138" fmla="*/ 1260396 h 2402863"/>
              <a:gd name="connsiteX139" fmla="*/ 1123575 w 4054017"/>
              <a:gd name="connsiteY139" fmla="*/ 1260396 h 2402863"/>
              <a:gd name="connsiteX140" fmla="*/ 1123575 w 4054017"/>
              <a:gd name="connsiteY140" fmla="*/ 1289469 h 2402863"/>
              <a:gd name="connsiteX141" fmla="*/ 1136159 w 4054017"/>
              <a:gd name="connsiteY141" fmla="*/ 1289469 h 2402863"/>
              <a:gd name="connsiteX142" fmla="*/ 1136159 w 4054017"/>
              <a:gd name="connsiteY142" fmla="*/ 1317050 h 2402863"/>
              <a:gd name="connsiteX143" fmla="*/ 1162858 w 4054017"/>
              <a:gd name="connsiteY143" fmla="*/ 1317050 h 2402863"/>
              <a:gd name="connsiteX144" fmla="*/ 1162858 w 4054017"/>
              <a:gd name="connsiteY144" fmla="*/ 1328828 h 2402863"/>
              <a:gd name="connsiteX145" fmla="*/ 1173912 w 4054017"/>
              <a:gd name="connsiteY145" fmla="*/ 1328828 h 2402863"/>
              <a:gd name="connsiteX146" fmla="*/ 1173912 w 4054017"/>
              <a:gd name="connsiteY146" fmla="*/ 1341799 h 2402863"/>
              <a:gd name="connsiteX147" fmla="*/ 1190408 w 4054017"/>
              <a:gd name="connsiteY147" fmla="*/ 1341799 h 2402863"/>
              <a:gd name="connsiteX148" fmla="*/ 1190408 w 4054017"/>
              <a:gd name="connsiteY148" fmla="*/ 1364013 h 2402863"/>
              <a:gd name="connsiteX149" fmla="*/ 1225099 w 4054017"/>
              <a:gd name="connsiteY149" fmla="*/ 1364013 h 2402863"/>
              <a:gd name="connsiteX150" fmla="*/ 1225099 w 4054017"/>
              <a:gd name="connsiteY150" fmla="*/ 1386078 h 2402863"/>
              <a:gd name="connsiteX151" fmla="*/ 1236153 w 4054017"/>
              <a:gd name="connsiteY151" fmla="*/ 1386078 h 2402863"/>
              <a:gd name="connsiteX152" fmla="*/ 1236153 w 4054017"/>
              <a:gd name="connsiteY152" fmla="*/ 1414405 h 2402863"/>
              <a:gd name="connsiteX153" fmla="*/ 1248738 w 4054017"/>
              <a:gd name="connsiteY153" fmla="*/ 1414405 h 2402863"/>
              <a:gd name="connsiteX154" fmla="*/ 1248738 w 4054017"/>
              <a:gd name="connsiteY154" fmla="*/ 1425438 h 2402863"/>
              <a:gd name="connsiteX155" fmla="*/ 1263703 w 4054017"/>
              <a:gd name="connsiteY155" fmla="*/ 1425438 h 2402863"/>
              <a:gd name="connsiteX156" fmla="*/ 1263703 w 4054017"/>
              <a:gd name="connsiteY156" fmla="*/ 1441986 h 2402863"/>
              <a:gd name="connsiteX157" fmla="*/ 1276287 w 4054017"/>
              <a:gd name="connsiteY157" fmla="*/ 1441986 h 2402863"/>
              <a:gd name="connsiteX158" fmla="*/ 1276287 w 4054017"/>
              <a:gd name="connsiteY158" fmla="*/ 1466139 h 2402863"/>
              <a:gd name="connsiteX159" fmla="*/ 1298395 w 4054017"/>
              <a:gd name="connsiteY159" fmla="*/ 1466139 h 2402863"/>
              <a:gd name="connsiteX160" fmla="*/ 1298395 w 4054017"/>
              <a:gd name="connsiteY160" fmla="*/ 1488204 h 2402863"/>
              <a:gd name="connsiteX161" fmla="*/ 1340059 w 4054017"/>
              <a:gd name="connsiteY161" fmla="*/ 1488204 h 2402863"/>
              <a:gd name="connsiteX162" fmla="*/ 1340059 w 4054017"/>
              <a:gd name="connsiteY162" fmla="*/ 1501324 h 2402863"/>
              <a:gd name="connsiteX163" fmla="*/ 1358935 w 4054017"/>
              <a:gd name="connsiteY163" fmla="*/ 1501324 h 2402863"/>
              <a:gd name="connsiteX164" fmla="*/ 1358935 w 4054017"/>
              <a:gd name="connsiteY164" fmla="*/ 1523389 h 2402863"/>
              <a:gd name="connsiteX165" fmla="*/ 1442434 w 4054017"/>
              <a:gd name="connsiteY165" fmla="*/ 1523389 h 2402863"/>
              <a:gd name="connsiteX166" fmla="*/ 1442434 w 4054017"/>
              <a:gd name="connsiteY166" fmla="*/ 1539938 h 2402863"/>
              <a:gd name="connsiteX167" fmla="*/ 1451787 w 4054017"/>
              <a:gd name="connsiteY167" fmla="*/ 1539938 h 2402863"/>
              <a:gd name="connsiteX168" fmla="*/ 1451787 w 4054017"/>
              <a:gd name="connsiteY168" fmla="*/ 1550970 h 2402863"/>
              <a:gd name="connsiteX169" fmla="*/ 1480187 w 4054017"/>
              <a:gd name="connsiteY169" fmla="*/ 1550970 h 2402863"/>
              <a:gd name="connsiteX170" fmla="*/ 1480187 w 4054017"/>
              <a:gd name="connsiteY170" fmla="*/ 1574526 h 2402863"/>
              <a:gd name="connsiteX171" fmla="*/ 1490390 w 4054017"/>
              <a:gd name="connsiteY171" fmla="*/ 1574526 h 2402863"/>
              <a:gd name="connsiteX172" fmla="*/ 1490390 w 4054017"/>
              <a:gd name="connsiteY172" fmla="*/ 1590330 h 2402863"/>
              <a:gd name="connsiteX173" fmla="*/ 1503825 w 4054017"/>
              <a:gd name="connsiteY173" fmla="*/ 1590330 h 2402863"/>
              <a:gd name="connsiteX174" fmla="*/ 1503825 w 4054017"/>
              <a:gd name="connsiteY174" fmla="*/ 1607624 h 2402863"/>
              <a:gd name="connsiteX175" fmla="*/ 1534605 w 4054017"/>
              <a:gd name="connsiteY175" fmla="*/ 1607624 h 2402863"/>
              <a:gd name="connsiteX176" fmla="*/ 1534605 w 4054017"/>
              <a:gd name="connsiteY176" fmla="*/ 1627602 h 2402863"/>
              <a:gd name="connsiteX177" fmla="*/ 1549571 w 4054017"/>
              <a:gd name="connsiteY177" fmla="*/ 1627602 h 2402863"/>
              <a:gd name="connsiteX178" fmla="*/ 1549571 w 4054017"/>
              <a:gd name="connsiteY178" fmla="*/ 1639380 h 2402863"/>
              <a:gd name="connsiteX179" fmla="*/ 1562835 w 4054017"/>
              <a:gd name="connsiteY179" fmla="*/ 1639380 h 2402863"/>
              <a:gd name="connsiteX180" fmla="*/ 1562835 w 4054017"/>
              <a:gd name="connsiteY180" fmla="*/ 1652500 h 2402863"/>
              <a:gd name="connsiteX181" fmla="*/ 1569978 w 4054017"/>
              <a:gd name="connsiteY181" fmla="*/ 1652500 h 2402863"/>
              <a:gd name="connsiteX182" fmla="*/ 1569978 w 4054017"/>
              <a:gd name="connsiteY182" fmla="*/ 1661445 h 2402863"/>
              <a:gd name="connsiteX183" fmla="*/ 1615723 w 4054017"/>
              <a:gd name="connsiteY183" fmla="*/ 1661445 h 2402863"/>
              <a:gd name="connsiteX184" fmla="*/ 1615723 w 4054017"/>
              <a:gd name="connsiteY184" fmla="*/ 1674565 h 2402863"/>
              <a:gd name="connsiteX185" fmla="*/ 1640042 w 4054017"/>
              <a:gd name="connsiteY185" fmla="*/ 1674565 h 2402863"/>
              <a:gd name="connsiteX186" fmla="*/ 1640042 w 4054017"/>
              <a:gd name="connsiteY186" fmla="*/ 1694543 h 2402863"/>
              <a:gd name="connsiteX187" fmla="*/ 1717248 w 4054017"/>
              <a:gd name="connsiteY187" fmla="*/ 1694543 h 2402863"/>
              <a:gd name="connsiteX188" fmla="*/ 1717248 w 4054017"/>
              <a:gd name="connsiteY188" fmla="*/ 1711092 h 2402863"/>
              <a:gd name="connsiteX189" fmla="*/ 1739186 w 4054017"/>
              <a:gd name="connsiteY189" fmla="*/ 1711092 h 2402863"/>
              <a:gd name="connsiteX190" fmla="*/ 1739186 w 4054017"/>
              <a:gd name="connsiteY190" fmla="*/ 1725702 h 2402863"/>
              <a:gd name="connsiteX191" fmla="*/ 1752620 w 4054017"/>
              <a:gd name="connsiteY191" fmla="*/ 1725702 h 2402863"/>
              <a:gd name="connsiteX192" fmla="*/ 1752620 w 4054017"/>
              <a:gd name="connsiteY192" fmla="*/ 1747767 h 2402863"/>
              <a:gd name="connsiteX193" fmla="*/ 1762823 w 4054017"/>
              <a:gd name="connsiteY193" fmla="*/ 1747767 h 2402863"/>
              <a:gd name="connsiteX194" fmla="*/ 1762823 w 4054017"/>
              <a:gd name="connsiteY194" fmla="*/ 1771920 h 2402863"/>
              <a:gd name="connsiteX195" fmla="*/ 1827446 w 4054017"/>
              <a:gd name="connsiteY195" fmla="*/ 1771920 h 2402863"/>
              <a:gd name="connsiteX196" fmla="*/ 1827446 w 4054017"/>
              <a:gd name="connsiteY196" fmla="*/ 1786381 h 2402863"/>
              <a:gd name="connsiteX197" fmla="*/ 1894449 w 4054017"/>
              <a:gd name="connsiteY197" fmla="*/ 1786381 h 2402863"/>
              <a:gd name="connsiteX198" fmla="*/ 1894449 w 4054017"/>
              <a:gd name="connsiteY198" fmla="*/ 1798756 h 2402863"/>
              <a:gd name="connsiteX199" fmla="*/ 1937644 w 4054017"/>
              <a:gd name="connsiteY199" fmla="*/ 1798756 h 2402863"/>
              <a:gd name="connsiteX200" fmla="*/ 1937644 w 4054017"/>
              <a:gd name="connsiteY200" fmla="*/ 1816795 h 2402863"/>
              <a:gd name="connsiteX201" fmla="*/ 1950228 w 4054017"/>
              <a:gd name="connsiteY201" fmla="*/ 1816795 h 2402863"/>
              <a:gd name="connsiteX202" fmla="*/ 1950228 w 4054017"/>
              <a:gd name="connsiteY202" fmla="*/ 1834090 h 2402863"/>
              <a:gd name="connsiteX203" fmla="*/ 1987301 w 4054017"/>
              <a:gd name="connsiteY203" fmla="*/ 1834090 h 2402863"/>
              <a:gd name="connsiteX204" fmla="*/ 1987301 w 4054017"/>
              <a:gd name="connsiteY204" fmla="*/ 1847806 h 2402863"/>
              <a:gd name="connsiteX205" fmla="*/ 2010088 w 4054017"/>
              <a:gd name="connsiteY205" fmla="*/ 1847806 h 2402863"/>
              <a:gd name="connsiteX206" fmla="*/ 2010088 w 4054017"/>
              <a:gd name="connsiteY206" fmla="*/ 1871362 h 2402863"/>
              <a:gd name="connsiteX207" fmla="*/ 2066037 w 4054017"/>
              <a:gd name="connsiteY207" fmla="*/ 1871362 h 2402863"/>
              <a:gd name="connsiteX208" fmla="*/ 2066037 w 4054017"/>
              <a:gd name="connsiteY208" fmla="*/ 1886420 h 2402863"/>
              <a:gd name="connsiteX209" fmla="*/ 2106171 w 4054017"/>
              <a:gd name="connsiteY209" fmla="*/ 1886420 h 2402863"/>
              <a:gd name="connsiteX210" fmla="*/ 2106171 w 4054017"/>
              <a:gd name="connsiteY210" fmla="*/ 1897453 h 2402863"/>
              <a:gd name="connsiteX211" fmla="*/ 2125898 w 4054017"/>
              <a:gd name="connsiteY211" fmla="*/ 1897453 h 2402863"/>
              <a:gd name="connsiteX212" fmla="*/ 2125898 w 4054017"/>
              <a:gd name="connsiteY212" fmla="*/ 1922350 h 2402863"/>
              <a:gd name="connsiteX213" fmla="*/ 2191200 w 4054017"/>
              <a:gd name="connsiteY213" fmla="*/ 1922350 h 2402863"/>
              <a:gd name="connsiteX214" fmla="*/ 2191200 w 4054017"/>
              <a:gd name="connsiteY214" fmla="*/ 1947845 h 2402863"/>
              <a:gd name="connsiteX215" fmla="*/ 2241538 w 4054017"/>
              <a:gd name="connsiteY215" fmla="*/ 1947845 h 2402863"/>
              <a:gd name="connsiteX216" fmla="*/ 2241538 w 4054017"/>
              <a:gd name="connsiteY216" fmla="*/ 1967226 h 2402863"/>
              <a:gd name="connsiteX217" fmla="*/ 2275379 w 4054017"/>
              <a:gd name="connsiteY217" fmla="*/ 1967226 h 2402863"/>
              <a:gd name="connsiteX218" fmla="*/ 2275379 w 4054017"/>
              <a:gd name="connsiteY218" fmla="*/ 1982433 h 2402863"/>
              <a:gd name="connsiteX219" fmla="*/ 2295956 w 4054017"/>
              <a:gd name="connsiteY219" fmla="*/ 1982433 h 2402863"/>
              <a:gd name="connsiteX220" fmla="*/ 2295956 w 4054017"/>
              <a:gd name="connsiteY220" fmla="*/ 2007927 h 2402863"/>
              <a:gd name="connsiteX221" fmla="*/ 2325886 w 4054017"/>
              <a:gd name="connsiteY221" fmla="*/ 2007927 h 2402863"/>
              <a:gd name="connsiteX222" fmla="*/ 2325886 w 4054017"/>
              <a:gd name="connsiteY222" fmla="*/ 2018960 h 2402863"/>
              <a:gd name="connsiteX223" fmla="*/ 2362109 w 4054017"/>
              <a:gd name="connsiteY223" fmla="*/ 2018960 h 2402863"/>
              <a:gd name="connsiteX224" fmla="*/ 2362109 w 4054017"/>
              <a:gd name="connsiteY224" fmla="*/ 2034167 h 2402863"/>
              <a:gd name="connsiteX225" fmla="*/ 2410915 w 4054017"/>
              <a:gd name="connsiteY225" fmla="*/ 2034167 h 2402863"/>
              <a:gd name="connsiteX226" fmla="*/ 2410915 w 4054017"/>
              <a:gd name="connsiteY226" fmla="*/ 2056977 h 2402863"/>
              <a:gd name="connsiteX227" fmla="*/ 2446288 w 4054017"/>
              <a:gd name="connsiteY227" fmla="*/ 2056977 h 2402863"/>
              <a:gd name="connsiteX228" fmla="*/ 2446288 w 4054017"/>
              <a:gd name="connsiteY228" fmla="*/ 2065923 h 2402863"/>
              <a:gd name="connsiteX229" fmla="*/ 2474687 w 4054017"/>
              <a:gd name="connsiteY229" fmla="*/ 2065923 h 2402863"/>
              <a:gd name="connsiteX230" fmla="*/ 2474687 w 4054017"/>
              <a:gd name="connsiteY230" fmla="*/ 2097679 h 2402863"/>
              <a:gd name="connsiteX231" fmla="*/ 2516352 w 4054017"/>
              <a:gd name="connsiteY231" fmla="*/ 2097679 h 2402863"/>
              <a:gd name="connsiteX232" fmla="*/ 2516352 w 4054017"/>
              <a:gd name="connsiteY232" fmla="*/ 2105282 h 2402863"/>
              <a:gd name="connsiteX233" fmla="*/ 2554955 w 4054017"/>
              <a:gd name="connsiteY233" fmla="*/ 2105282 h 2402863"/>
              <a:gd name="connsiteX234" fmla="*/ 2554955 w 4054017"/>
              <a:gd name="connsiteY234" fmla="*/ 2120489 h 2402863"/>
              <a:gd name="connsiteX235" fmla="*/ 2613285 w 4054017"/>
              <a:gd name="connsiteY235" fmla="*/ 2120489 h 2402863"/>
              <a:gd name="connsiteX236" fmla="*/ 2613285 w 4054017"/>
              <a:gd name="connsiteY236" fmla="*/ 2137038 h 2402863"/>
              <a:gd name="connsiteX237" fmla="*/ 2634542 w 4054017"/>
              <a:gd name="connsiteY237" fmla="*/ 2137038 h 2402863"/>
              <a:gd name="connsiteX238" fmla="*/ 2634542 w 4054017"/>
              <a:gd name="connsiteY238" fmla="*/ 2151500 h 2402863"/>
              <a:gd name="connsiteX239" fmla="*/ 2755793 w 4054017"/>
              <a:gd name="connsiteY239" fmla="*/ 2151500 h 2402863"/>
              <a:gd name="connsiteX240" fmla="*/ 2755793 w 4054017"/>
              <a:gd name="connsiteY240" fmla="*/ 2174310 h 2402863"/>
              <a:gd name="connsiteX241" fmla="*/ 2800519 w 4054017"/>
              <a:gd name="connsiteY241" fmla="*/ 2174310 h 2402863"/>
              <a:gd name="connsiteX242" fmla="*/ 2800519 w 4054017"/>
              <a:gd name="connsiteY242" fmla="*/ 2191605 h 2402863"/>
              <a:gd name="connsiteX243" fmla="*/ 2851026 w 4054017"/>
              <a:gd name="connsiteY243" fmla="*/ 2191605 h 2402863"/>
              <a:gd name="connsiteX244" fmla="*/ 2851026 w 4054017"/>
              <a:gd name="connsiteY244" fmla="*/ 2203979 h 2402863"/>
              <a:gd name="connsiteX245" fmla="*/ 2877725 w 4054017"/>
              <a:gd name="connsiteY245" fmla="*/ 2203979 h 2402863"/>
              <a:gd name="connsiteX246" fmla="*/ 2877725 w 4054017"/>
              <a:gd name="connsiteY246" fmla="*/ 2229622 h 2402863"/>
              <a:gd name="connsiteX247" fmla="*/ 2898983 w 4054017"/>
              <a:gd name="connsiteY247" fmla="*/ 2229622 h 2402863"/>
              <a:gd name="connsiteX248" fmla="*/ 2898983 w 4054017"/>
              <a:gd name="connsiteY248" fmla="*/ 2247513 h 2402863"/>
              <a:gd name="connsiteX249" fmla="*/ 2981631 w 4054017"/>
              <a:gd name="connsiteY249" fmla="*/ 2247513 h 2402863"/>
              <a:gd name="connsiteX250" fmla="*/ 2981631 w 4054017"/>
              <a:gd name="connsiteY250" fmla="*/ 2262720 h 2402863"/>
              <a:gd name="connsiteX251" fmla="*/ 3163593 w 4054017"/>
              <a:gd name="connsiteY251" fmla="*/ 2262720 h 2402863"/>
              <a:gd name="connsiteX252" fmla="*/ 3163593 w 4054017"/>
              <a:gd name="connsiteY252" fmla="*/ 2281952 h 2402863"/>
              <a:gd name="connsiteX253" fmla="*/ 3306952 w 4054017"/>
              <a:gd name="connsiteY253" fmla="*/ 2281952 h 2402863"/>
              <a:gd name="connsiteX254" fmla="*/ 3306952 w 4054017"/>
              <a:gd name="connsiteY254" fmla="*/ 2308937 h 2402863"/>
              <a:gd name="connsiteX255" fmla="*/ 3475310 w 4054017"/>
              <a:gd name="connsiteY255" fmla="*/ 2308937 h 2402863"/>
              <a:gd name="connsiteX256" fmla="*/ 3475310 w 4054017"/>
              <a:gd name="connsiteY256" fmla="*/ 2328915 h 2402863"/>
              <a:gd name="connsiteX257" fmla="*/ 3491976 w 4054017"/>
              <a:gd name="connsiteY257" fmla="*/ 2328915 h 2402863"/>
              <a:gd name="connsiteX258" fmla="*/ 3491976 w 4054017"/>
              <a:gd name="connsiteY258" fmla="*/ 2369617 h 2402863"/>
              <a:gd name="connsiteX259" fmla="*/ 3498268 w 4054017"/>
              <a:gd name="connsiteY259" fmla="*/ 2369617 h 2402863"/>
              <a:gd name="connsiteX260" fmla="*/ 3498268 w 4054017"/>
              <a:gd name="connsiteY260" fmla="*/ 2402863 h 2402863"/>
              <a:gd name="connsiteX261" fmla="*/ 3633634 w 4054017"/>
              <a:gd name="connsiteY261" fmla="*/ 2402863 h 2402863"/>
              <a:gd name="connsiteX262" fmla="*/ 4054018 w 4054017"/>
              <a:gd name="connsiteY262" fmla="*/ 2402863 h 2402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Lst>
            <a:rect l="l" t="t" r="r" b="b"/>
            <a:pathLst>
              <a:path w="4054017" h="2402863">
                <a:moveTo>
                  <a:pt x="0" y="0"/>
                </a:moveTo>
                <a:lnTo>
                  <a:pt x="11054" y="0"/>
                </a:lnTo>
                <a:lnTo>
                  <a:pt x="11054" y="15803"/>
                </a:lnTo>
                <a:lnTo>
                  <a:pt x="23638" y="15803"/>
                </a:lnTo>
                <a:lnTo>
                  <a:pt x="23638" y="28327"/>
                </a:lnTo>
                <a:lnTo>
                  <a:pt x="47956" y="28327"/>
                </a:lnTo>
                <a:lnTo>
                  <a:pt x="47956" y="42788"/>
                </a:lnTo>
                <a:lnTo>
                  <a:pt x="58160" y="42788"/>
                </a:lnTo>
                <a:lnTo>
                  <a:pt x="58160" y="54566"/>
                </a:lnTo>
                <a:lnTo>
                  <a:pt x="75506" y="54566"/>
                </a:lnTo>
                <a:lnTo>
                  <a:pt x="75506" y="68283"/>
                </a:lnTo>
                <a:lnTo>
                  <a:pt x="88940" y="68283"/>
                </a:lnTo>
                <a:lnTo>
                  <a:pt x="88940" y="80806"/>
                </a:lnTo>
                <a:lnTo>
                  <a:pt x="99994" y="80806"/>
                </a:lnTo>
                <a:lnTo>
                  <a:pt x="99994" y="97951"/>
                </a:lnTo>
                <a:lnTo>
                  <a:pt x="111048" y="97951"/>
                </a:lnTo>
                <a:lnTo>
                  <a:pt x="111048" y="127620"/>
                </a:lnTo>
                <a:lnTo>
                  <a:pt x="125163" y="127620"/>
                </a:lnTo>
                <a:lnTo>
                  <a:pt x="125163" y="144914"/>
                </a:lnTo>
                <a:lnTo>
                  <a:pt x="134686" y="144914"/>
                </a:lnTo>
                <a:lnTo>
                  <a:pt x="134686" y="176670"/>
                </a:lnTo>
                <a:lnTo>
                  <a:pt x="149651" y="176670"/>
                </a:lnTo>
                <a:lnTo>
                  <a:pt x="149651" y="189790"/>
                </a:lnTo>
                <a:lnTo>
                  <a:pt x="160535" y="189790"/>
                </a:lnTo>
                <a:lnTo>
                  <a:pt x="160535" y="205742"/>
                </a:lnTo>
                <a:lnTo>
                  <a:pt x="184173" y="205742"/>
                </a:lnTo>
                <a:lnTo>
                  <a:pt x="184173" y="238095"/>
                </a:lnTo>
                <a:lnTo>
                  <a:pt x="196077" y="238095"/>
                </a:lnTo>
                <a:lnTo>
                  <a:pt x="196077" y="254047"/>
                </a:lnTo>
                <a:lnTo>
                  <a:pt x="209512" y="254047"/>
                </a:lnTo>
                <a:lnTo>
                  <a:pt x="209512" y="261651"/>
                </a:lnTo>
                <a:lnTo>
                  <a:pt x="225157" y="261651"/>
                </a:lnTo>
                <a:lnTo>
                  <a:pt x="225157" y="274771"/>
                </a:lnTo>
                <a:lnTo>
                  <a:pt x="235361" y="274771"/>
                </a:lnTo>
                <a:lnTo>
                  <a:pt x="235361" y="285803"/>
                </a:lnTo>
                <a:lnTo>
                  <a:pt x="259849" y="285803"/>
                </a:lnTo>
                <a:lnTo>
                  <a:pt x="259849" y="304439"/>
                </a:lnTo>
                <a:lnTo>
                  <a:pt x="273964" y="304439"/>
                </a:lnTo>
                <a:lnTo>
                  <a:pt x="273964" y="328592"/>
                </a:lnTo>
                <a:lnTo>
                  <a:pt x="281106" y="328592"/>
                </a:lnTo>
                <a:lnTo>
                  <a:pt x="281106" y="341711"/>
                </a:lnTo>
                <a:lnTo>
                  <a:pt x="303894" y="341711"/>
                </a:lnTo>
                <a:lnTo>
                  <a:pt x="303894" y="363031"/>
                </a:lnTo>
                <a:lnTo>
                  <a:pt x="316478" y="363031"/>
                </a:lnTo>
                <a:lnTo>
                  <a:pt x="316478" y="391358"/>
                </a:lnTo>
                <a:lnTo>
                  <a:pt x="326682" y="391358"/>
                </a:lnTo>
                <a:lnTo>
                  <a:pt x="326682" y="429376"/>
                </a:lnTo>
                <a:lnTo>
                  <a:pt x="342497" y="429376"/>
                </a:lnTo>
                <a:lnTo>
                  <a:pt x="342497" y="447266"/>
                </a:lnTo>
                <a:lnTo>
                  <a:pt x="353551" y="447266"/>
                </a:lnTo>
                <a:lnTo>
                  <a:pt x="353551" y="477680"/>
                </a:lnTo>
                <a:lnTo>
                  <a:pt x="374808" y="477680"/>
                </a:lnTo>
                <a:lnTo>
                  <a:pt x="374808" y="497658"/>
                </a:lnTo>
                <a:lnTo>
                  <a:pt x="390454" y="497658"/>
                </a:lnTo>
                <a:lnTo>
                  <a:pt x="390454" y="521214"/>
                </a:lnTo>
                <a:lnTo>
                  <a:pt x="410180" y="521214"/>
                </a:lnTo>
                <a:lnTo>
                  <a:pt x="410180" y="548050"/>
                </a:lnTo>
                <a:lnTo>
                  <a:pt x="423615" y="548050"/>
                </a:lnTo>
                <a:lnTo>
                  <a:pt x="423615" y="574290"/>
                </a:lnTo>
                <a:lnTo>
                  <a:pt x="438580" y="574290"/>
                </a:lnTo>
                <a:lnTo>
                  <a:pt x="438580" y="604704"/>
                </a:lnTo>
                <a:lnTo>
                  <a:pt x="449634" y="604704"/>
                </a:lnTo>
                <a:lnTo>
                  <a:pt x="449634" y="623936"/>
                </a:lnTo>
                <a:lnTo>
                  <a:pt x="462218" y="623936"/>
                </a:lnTo>
                <a:lnTo>
                  <a:pt x="462218" y="636460"/>
                </a:lnTo>
                <a:lnTo>
                  <a:pt x="474803" y="636460"/>
                </a:lnTo>
                <a:lnTo>
                  <a:pt x="474803" y="669558"/>
                </a:lnTo>
                <a:lnTo>
                  <a:pt x="489768" y="669558"/>
                </a:lnTo>
                <a:lnTo>
                  <a:pt x="489768" y="685361"/>
                </a:lnTo>
                <a:lnTo>
                  <a:pt x="500822" y="685361"/>
                </a:lnTo>
                <a:lnTo>
                  <a:pt x="500822" y="695797"/>
                </a:lnTo>
                <a:lnTo>
                  <a:pt x="513406" y="695797"/>
                </a:lnTo>
                <a:lnTo>
                  <a:pt x="513406" y="719950"/>
                </a:lnTo>
                <a:lnTo>
                  <a:pt x="536874" y="719950"/>
                </a:lnTo>
                <a:lnTo>
                  <a:pt x="536874" y="737244"/>
                </a:lnTo>
                <a:lnTo>
                  <a:pt x="562212" y="737244"/>
                </a:lnTo>
                <a:lnTo>
                  <a:pt x="562212" y="746189"/>
                </a:lnTo>
                <a:lnTo>
                  <a:pt x="574797" y="746189"/>
                </a:lnTo>
                <a:lnTo>
                  <a:pt x="574797" y="759309"/>
                </a:lnTo>
                <a:lnTo>
                  <a:pt x="585000" y="759309"/>
                </a:lnTo>
                <a:lnTo>
                  <a:pt x="585000" y="796581"/>
                </a:lnTo>
                <a:lnTo>
                  <a:pt x="601496" y="796581"/>
                </a:lnTo>
                <a:lnTo>
                  <a:pt x="601496" y="811043"/>
                </a:lnTo>
                <a:lnTo>
                  <a:pt x="618842" y="811043"/>
                </a:lnTo>
                <a:lnTo>
                  <a:pt x="618842" y="840711"/>
                </a:lnTo>
                <a:lnTo>
                  <a:pt x="632957" y="840711"/>
                </a:lnTo>
                <a:lnTo>
                  <a:pt x="632957" y="855919"/>
                </a:lnTo>
                <a:lnTo>
                  <a:pt x="644011" y="855919"/>
                </a:lnTo>
                <a:lnTo>
                  <a:pt x="644011" y="882904"/>
                </a:lnTo>
                <a:lnTo>
                  <a:pt x="665268" y="882904"/>
                </a:lnTo>
                <a:lnTo>
                  <a:pt x="665268" y="899452"/>
                </a:lnTo>
                <a:lnTo>
                  <a:pt x="677852" y="899452"/>
                </a:lnTo>
                <a:lnTo>
                  <a:pt x="677852" y="919430"/>
                </a:lnTo>
                <a:lnTo>
                  <a:pt x="692817" y="919430"/>
                </a:lnTo>
                <a:lnTo>
                  <a:pt x="692817" y="933296"/>
                </a:lnTo>
                <a:lnTo>
                  <a:pt x="709313" y="933296"/>
                </a:lnTo>
                <a:lnTo>
                  <a:pt x="709313" y="944925"/>
                </a:lnTo>
                <a:lnTo>
                  <a:pt x="736182" y="944925"/>
                </a:lnTo>
                <a:lnTo>
                  <a:pt x="736182" y="956702"/>
                </a:lnTo>
                <a:lnTo>
                  <a:pt x="751827" y="956702"/>
                </a:lnTo>
                <a:lnTo>
                  <a:pt x="751827" y="980855"/>
                </a:lnTo>
                <a:lnTo>
                  <a:pt x="768493" y="980855"/>
                </a:lnTo>
                <a:lnTo>
                  <a:pt x="768493" y="994720"/>
                </a:lnTo>
                <a:lnTo>
                  <a:pt x="792131" y="994720"/>
                </a:lnTo>
                <a:lnTo>
                  <a:pt x="792131" y="1004262"/>
                </a:lnTo>
                <a:lnTo>
                  <a:pt x="819681" y="1004262"/>
                </a:lnTo>
                <a:lnTo>
                  <a:pt x="819681" y="1015443"/>
                </a:lnTo>
                <a:lnTo>
                  <a:pt x="835326" y="1015443"/>
                </a:lnTo>
                <a:lnTo>
                  <a:pt x="835326" y="1035421"/>
                </a:lnTo>
                <a:lnTo>
                  <a:pt x="849611" y="1035421"/>
                </a:lnTo>
                <a:lnTo>
                  <a:pt x="849611" y="1054654"/>
                </a:lnTo>
                <a:lnTo>
                  <a:pt x="870018" y="1054654"/>
                </a:lnTo>
                <a:lnTo>
                  <a:pt x="870018" y="1082981"/>
                </a:lnTo>
                <a:lnTo>
                  <a:pt x="885833" y="1082981"/>
                </a:lnTo>
                <a:lnTo>
                  <a:pt x="885833" y="1094013"/>
                </a:lnTo>
                <a:lnTo>
                  <a:pt x="895186" y="1094013"/>
                </a:lnTo>
                <a:lnTo>
                  <a:pt x="895186" y="1109220"/>
                </a:lnTo>
                <a:lnTo>
                  <a:pt x="907771" y="1109220"/>
                </a:lnTo>
                <a:lnTo>
                  <a:pt x="907771" y="1129944"/>
                </a:lnTo>
                <a:lnTo>
                  <a:pt x="929878" y="1129944"/>
                </a:lnTo>
                <a:lnTo>
                  <a:pt x="929878" y="1145896"/>
                </a:lnTo>
                <a:lnTo>
                  <a:pt x="944844" y="1145896"/>
                </a:lnTo>
                <a:lnTo>
                  <a:pt x="944844" y="1158271"/>
                </a:lnTo>
                <a:lnTo>
                  <a:pt x="955897" y="1158271"/>
                </a:lnTo>
                <a:lnTo>
                  <a:pt x="955897" y="1167216"/>
                </a:lnTo>
                <a:lnTo>
                  <a:pt x="980216" y="1167216"/>
                </a:lnTo>
                <a:lnTo>
                  <a:pt x="980216" y="1182423"/>
                </a:lnTo>
                <a:lnTo>
                  <a:pt x="1005384" y="1182423"/>
                </a:lnTo>
                <a:lnTo>
                  <a:pt x="1005384" y="1191368"/>
                </a:lnTo>
                <a:lnTo>
                  <a:pt x="1017969" y="1191368"/>
                </a:lnTo>
                <a:lnTo>
                  <a:pt x="1017969" y="1207917"/>
                </a:lnTo>
                <a:lnTo>
                  <a:pt x="1031403" y="1207917"/>
                </a:lnTo>
                <a:lnTo>
                  <a:pt x="1031403" y="1220441"/>
                </a:lnTo>
                <a:lnTo>
                  <a:pt x="1044838" y="1220441"/>
                </a:lnTo>
                <a:lnTo>
                  <a:pt x="1044838" y="1234902"/>
                </a:lnTo>
                <a:lnTo>
                  <a:pt x="1080210" y="1234902"/>
                </a:lnTo>
                <a:lnTo>
                  <a:pt x="1080210" y="1248618"/>
                </a:lnTo>
                <a:lnTo>
                  <a:pt x="1098406" y="1248618"/>
                </a:lnTo>
                <a:lnTo>
                  <a:pt x="1098406" y="1260396"/>
                </a:lnTo>
                <a:lnTo>
                  <a:pt x="1123575" y="1260396"/>
                </a:lnTo>
                <a:lnTo>
                  <a:pt x="1123575" y="1289469"/>
                </a:lnTo>
                <a:lnTo>
                  <a:pt x="1136159" y="1289469"/>
                </a:lnTo>
                <a:lnTo>
                  <a:pt x="1136159" y="1317050"/>
                </a:lnTo>
                <a:lnTo>
                  <a:pt x="1162858" y="1317050"/>
                </a:lnTo>
                <a:lnTo>
                  <a:pt x="1162858" y="1328828"/>
                </a:lnTo>
                <a:lnTo>
                  <a:pt x="1173912" y="1328828"/>
                </a:lnTo>
                <a:lnTo>
                  <a:pt x="1173912" y="1341799"/>
                </a:lnTo>
                <a:lnTo>
                  <a:pt x="1190408" y="1341799"/>
                </a:lnTo>
                <a:lnTo>
                  <a:pt x="1190408" y="1364013"/>
                </a:lnTo>
                <a:lnTo>
                  <a:pt x="1225099" y="1364013"/>
                </a:lnTo>
                <a:lnTo>
                  <a:pt x="1225099" y="1386078"/>
                </a:lnTo>
                <a:lnTo>
                  <a:pt x="1236153" y="1386078"/>
                </a:lnTo>
                <a:lnTo>
                  <a:pt x="1236153" y="1414405"/>
                </a:lnTo>
                <a:lnTo>
                  <a:pt x="1248738" y="1414405"/>
                </a:lnTo>
                <a:lnTo>
                  <a:pt x="1248738" y="1425438"/>
                </a:lnTo>
                <a:lnTo>
                  <a:pt x="1263703" y="1425438"/>
                </a:lnTo>
                <a:lnTo>
                  <a:pt x="1263703" y="1441986"/>
                </a:lnTo>
                <a:lnTo>
                  <a:pt x="1276287" y="1441986"/>
                </a:lnTo>
                <a:lnTo>
                  <a:pt x="1276287" y="1466139"/>
                </a:lnTo>
                <a:lnTo>
                  <a:pt x="1298395" y="1466139"/>
                </a:lnTo>
                <a:lnTo>
                  <a:pt x="1298395" y="1488204"/>
                </a:lnTo>
                <a:lnTo>
                  <a:pt x="1340059" y="1488204"/>
                </a:lnTo>
                <a:lnTo>
                  <a:pt x="1340059" y="1501324"/>
                </a:lnTo>
                <a:lnTo>
                  <a:pt x="1358935" y="1501324"/>
                </a:lnTo>
                <a:lnTo>
                  <a:pt x="1358935" y="1523389"/>
                </a:lnTo>
                <a:lnTo>
                  <a:pt x="1442434" y="1523389"/>
                </a:lnTo>
                <a:lnTo>
                  <a:pt x="1442434" y="1539938"/>
                </a:lnTo>
                <a:lnTo>
                  <a:pt x="1451787" y="1539938"/>
                </a:lnTo>
                <a:lnTo>
                  <a:pt x="1451787" y="1550970"/>
                </a:lnTo>
                <a:lnTo>
                  <a:pt x="1480187" y="1550970"/>
                </a:lnTo>
                <a:lnTo>
                  <a:pt x="1480187" y="1574526"/>
                </a:lnTo>
                <a:lnTo>
                  <a:pt x="1490390" y="1574526"/>
                </a:lnTo>
                <a:lnTo>
                  <a:pt x="1490390" y="1590330"/>
                </a:lnTo>
                <a:lnTo>
                  <a:pt x="1503825" y="1590330"/>
                </a:lnTo>
                <a:lnTo>
                  <a:pt x="1503825" y="1607624"/>
                </a:lnTo>
                <a:lnTo>
                  <a:pt x="1534605" y="1607624"/>
                </a:lnTo>
                <a:lnTo>
                  <a:pt x="1534605" y="1627602"/>
                </a:lnTo>
                <a:lnTo>
                  <a:pt x="1549571" y="1627602"/>
                </a:lnTo>
                <a:lnTo>
                  <a:pt x="1549571" y="1639380"/>
                </a:lnTo>
                <a:lnTo>
                  <a:pt x="1562835" y="1639380"/>
                </a:lnTo>
                <a:lnTo>
                  <a:pt x="1562835" y="1652500"/>
                </a:lnTo>
                <a:lnTo>
                  <a:pt x="1569978" y="1652500"/>
                </a:lnTo>
                <a:lnTo>
                  <a:pt x="1569978" y="1661445"/>
                </a:lnTo>
                <a:lnTo>
                  <a:pt x="1615723" y="1661445"/>
                </a:lnTo>
                <a:lnTo>
                  <a:pt x="1615723" y="1674565"/>
                </a:lnTo>
                <a:lnTo>
                  <a:pt x="1640042" y="1674565"/>
                </a:lnTo>
                <a:lnTo>
                  <a:pt x="1640042" y="1694543"/>
                </a:lnTo>
                <a:lnTo>
                  <a:pt x="1717248" y="1694543"/>
                </a:lnTo>
                <a:lnTo>
                  <a:pt x="1717248" y="1711092"/>
                </a:lnTo>
                <a:lnTo>
                  <a:pt x="1739186" y="1711092"/>
                </a:lnTo>
                <a:lnTo>
                  <a:pt x="1739186" y="1725702"/>
                </a:lnTo>
                <a:lnTo>
                  <a:pt x="1752620" y="1725702"/>
                </a:lnTo>
                <a:lnTo>
                  <a:pt x="1752620" y="1747767"/>
                </a:lnTo>
                <a:lnTo>
                  <a:pt x="1762823" y="1747767"/>
                </a:lnTo>
                <a:lnTo>
                  <a:pt x="1762823" y="1771920"/>
                </a:lnTo>
                <a:lnTo>
                  <a:pt x="1827446" y="1771920"/>
                </a:lnTo>
                <a:lnTo>
                  <a:pt x="1827446" y="1786381"/>
                </a:lnTo>
                <a:lnTo>
                  <a:pt x="1894449" y="1786381"/>
                </a:lnTo>
                <a:lnTo>
                  <a:pt x="1894449" y="1798756"/>
                </a:lnTo>
                <a:lnTo>
                  <a:pt x="1937644" y="1798756"/>
                </a:lnTo>
                <a:lnTo>
                  <a:pt x="1937644" y="1816795"/>
                </a:lnTo>
                <a:lnTo>
                  <a:pt x="1950228" y="1816795"/>
                </a:lnTo>
                <a:lnTo>
                  <a:pt x="1950228" y="1834090"/>
                </a:lnTo>
                <a:lnTo>
                  <a:pt x="1987301" y="1834090"/>
                </a:lnTo>
                <a:lnTo>
                  <a:pt x="1987301" y="1847806"/>
                </a:lnTo>
                <a:lnTo>
                  <a:pt x="2010088" y="1847806"/>
                </a:lnTo>
                <a:lnTo>
                  <a:pt x="2010088" y="1871362"/>
                </a:lnTo>
                <a:lnTo>
                  <a:pt x="2066037" y="1871362"/>
                </a:lnTo>
                <a:lnTo>
                  <a:pt x="2066037" y="1886420"/>
                </a:lnTo>
                <a:lnTo>
                  <a:pt x="2106171" y="1886420"/>
                </a:lnTo>
                <a:lnTo>
                  <a:pt x="2106171" y="1897453"/>
                </a:lnTo>
                <a:lnTo>
                  <a:pt x="2125898" y="1897453"/>
                </a:lnTo>
                <a:lnTo>
                  <a:pt x="2125898" y="1922350"/>
                </a:lnTo>
                <a:lnTo>
                  <a:pt x="2191200" y="1922350"/>
                </a:lnTo>
                <a:lnTo>
                  <a:pt x="2191200" y="1947845"/>
                </a:lnTo>
                <a:lnTo>
                  <a:pt x="2241538" y="1947845"/>
                </a:lnTo>
                <a:lnTo>
                  <a:pt x="2241538" y="1967226"/>
                </a:lnTo>
                <a:lnTo>
                  <a:pt x="2275379" y="1967226"/>
                </a:lnTo>
                <a:lnTo>
                  <a:pt x="2275379" y="1982433"/>
                </a:lnTo>
                <a:lnTo>
                  <a:pt x="2295956" y="1982433"/>
                </a:lnTo>
                <a:lnTo>
                  <a:pt x="2295956" y="2007927"/>
                </a:lnTo>
                <a:lnTo>
                  <a:pt x="2325886" y="2007927"/>
                </a:lnTo>
                <a:lnTo>
                  <a:pt x="2325886" y="2018960"/>
                </a:lnTo>
                <a:lnTo>
                  <a:pt x="2362109" y="2018960"/>
                </a:lnTo>
                <a:lnTo>
                  <a:pt x="2362109" y="2034167"/>
                </a:lnTo>
                <a:lnTo>
                  <a:pt x="2410915" y="2034167"/>
                </a:lnTo>
                <a:lnTo>
                  <a:pt x="2410915" y="2056977"/>
                </a:lnTo>
                <a:lnTo>
                  <a:pt x="2446288" y="2056977"/>
                </a:lnTo>
                <a:lnTo>
                  <a:pt x="2446288" y="2065923"/>
                </a:lnTo>
                <a:lnTo>
                  <a:pt x="2474687" y="2065923"/>
                </a:lnTo>
                <a:lnTo>
                  <a:pt x="2474687" y="2097679"/>
                </a:lnTo>
                <a:lnTo>
                  <a:pt x="2516352" y="2097679"/>
                </a:lnTo>
                <a:lnTo>
                  <a:pt x="2516352" y="2105282"/>
                </a:lnTo>
                <a:lnTo>
                  <a:pt x="2554955" y="2105282"/>
                </a:lnTo>
                <a:lnTo>
                  <a:pt x="2554955" y="2120489"/>
                </a:lnTo>
                <a:lnTo>
                  <a:pt x="2613285" y="2120489"/>
                </a:lnTo>
                <a:lnTo>
                  <a:pt x="2613285" y="2137038"/>
                </a:lnTo>
                <a:lnTo>
                  <a:pt x="2634542" y="2137038"/>
                </a:lnTo>
                <a:lnTo>
                  <a:pt x="2634542" y="2151500"/>
                </a:lnTo>
                <a:lnTo>
                  <a:pt x="2755793" y="2151500"/>
                </a:lnTo>
                <a:lnTo>
                  <a:pt x="2755793" y="2174310"/>
                </a:lnTo>
                <a:lnTo>
                  <a:pt x="2800519" y="2174310"/>
                </a:lnTo>
                <a:lnTo>
                  <a:pt x="2800519" y="2191605"/>
                </a:lnTo>
                <a:lnTo>
                  <a:pt x="2851026" y="2191605"/>
                </a:lnTo>
                <a:lnTo>
                  <a:pt x="2851026" y="2203979"/>
                </a:lnTo>
                <a:lnTo>
                  <a:pt x="2877725" y="2203979"/>
                </a:lnTo>
                <a:lnTo>
                  <a:pt x="2877725" y="2229622"/>
                </a:lnTo>
                <a:lnTo>
                  <a:pt x="2898983" y="2229622"/>
                </a:lnTo>
                <a:lnTo>
                  <a:pt x="2898983" y="2247513"/>
                </a:lnTo>
                <a:lnTo>
                  <a:pt x="2981631" y="2247513"/>
                </a:lnTo>
                <a:lnTo>
                  <a:pt x="2981631" y="2262720"/>
                </a:lnTo>
                <a:lnTo>
                  <a:pt x="3163593" y="2262720"/>
                </a:lnTo>
                <a:lnTo>
                  <a:pt x="3163593" y="2281952"/>
                </a:lnTo>
                <a:lnTo>
                  <a:pt x="3306952" y="2281952"/>
                </a:lnTo>
                <a:lnTo>
                  <a:pt x="3306952" y="2308937"/>
                </a:lnTo>
                <a:lnTo>
                  <a:pt x="3475310" y="2308937"/>
                </a:lnTo>
                <a:lnTo>
                  <a:pt x="3475310" y="2328915"/>
                </a:lnTo>
                <a:lnTo>
                  <a:pt x="3491976" y="2328915"/>
                </a:lnTo>
                <a:lnTo>
                  <a:pt x="3491976" y="2369617"/>
                </a:lnTo>
                <a:lnTo>
                  <a:pt x="3498268" y="2369617"/>
                </a:lnTo>
                <a:lnTo>
                  <a:pt x="3498268" y="2402863"/>
                </a:lnTo>
                <a:lnTo>
                  <a:pt x="3633634" y="2402863"/>
                </a:lnTo>
                <a:lnTo>
                  <a:pt x="4054018" y="2402863"/>
                </a:lnTo>
              </a:path>
            </a:pathLst>
          </a:custGeom>
          <a:noFill/>
          <a:ln w="28575"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109" name="TextBox 108">
            <a:extLst>
              <a:ext uri="{FF2B5EF4-FFF2-40B4-BE49-F238E27FC236}">
                <a16:creationId xmlns:a16="http://schemas.microsoft.com/office/drawing/2014/main" id="{8064F5F6-6C79-4584-97C9-3AA93983DAFD}"/>
              </a:ext>
            </a:extLst>
          </p:cNvPr>
          <p:cNvSpPr txBox="1"/>
          <p:nvPr/>
        </p:nvSpPr>
        <p:spPr>
          <a:xfrm>
            <a:off x="952501" y="4679611"/>
            <a:ext cx="663119" cy="276999"/>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2557"/>
                </a:solidFill>
                <a:effectLst/>
                <a:uLnTx/>
                <a:uFillTx/>
                <a:latin typeface="Arial" panose="020B0604020202020204" pitchFamily="34" charset="0"/>
                <a:ea typeface="+mn-ea"/>
                <a:cs typeface="+mn-cs"/>
                <a:sym typeface="HelveticaNeueCE-Roman"/>
                <a:rtl val="0"/>
              </a:rPr>
              <a:t>0</a:t>
            </a:r>
          </a:p>
        </p:txBody>
      </p:sp>
      <p:sp>
        <p:nvSpPr>
          <p:cNvPr id="111" name="TextBox 110">
            <a:extLst>
              <a:ext uri="{FF2B5EF4-FFF2-40B4-BE49-F238E27FC236}">
                <a16:creationId xmlns:a16="http://schemas.microsoft.com/office/drawing/2014/main" id="{5EA00ECF-D90F-459D-99B0-1E9E736C1189}"/>
              </a:ext>
            </a:extLst>
          </p:cNvPr>
          <p:cNvSpPr txBox="1"/>
          <p:nvPr/>
        </p:nvSpPr>
        <p:spPr>
          <a:xfrm>
            <a:off x="2268198" y="4679611"/>
            <a:ext cx="663119" cy="276999"/>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2557"/>
                </a:solidFill>
                <a:effectLst/>
                <a:uLnTx/>
                <a:uFillTx/>
                <a:latin typeface="Arial" panose="020B0604020202020204" pitchFamily="34" charset="0"/>
                <a:ea typeface="+mn-ea"/>
                <a:cs typeface="+mn-cs"/>
                <a:sym typeface="HelveticaNeueCE-Roman"/>
                <a:rtl val="0"/>
              </a:rPr>
              <a:t>6</a:t>
            </a:r>
          </a:p>
        </p:txBody>
      </p:sp>
      <p:sp>
        <p:nvSpPr>
          <p:cNvPr id="113" name="TextBox 112">
            <a:extLst>
              <a:ext uri="{FF2B5EF4-FFF2-40B4-BE49-F238E27FC236}">
                <a16:creationId xmlns:a16="http://schemas.microsoft.com/office/drawing/2014/main" id="{D93CF8E2-E94B-4076-9D23-0DAC417098DE}"/>
              </a:ext>
            </a:extLst>
          </p:cNvPr>
          <p:cNvSpPr txBox="1"/>
          <p:nvPr/>
        </p:nvSpPr>
        <p:spPr>
          <a:xfrm>
            <a:off x="3583895" y="4679611"/>
            <a:ext cx="663119" cy="276999"/>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2557"/>
                </a:solidFill>
                <a:effectLst/>
                <a:uLnTx/>
                <a:uFillTx/>
                <a:latin typeface="Arial" panose="020B0604020202020204" pitchFamily="34" charset="0"/>
                <a:ea typeface="+mn-ea"/>
                <a:cs typeface="+mn-cs"/>
                <a:sym typeface="HelveticaNeueCE-Roman"/>
                <a:rtl val="0"/>
              </a:rPr>
              <a:t>12</a:t>
            </a:r>
          </a:p>
        </p:txBody>
      </p:sp>
      <p:sp>
        <p:nvSpPr>
          <p:cNvPr id="115" name="TextBox 114">
            <a:extLst>
              <a:ext uri="{FF2B5EF4-FFF2-40B4-BE49-F238E27FC236}">
                <a16:creationId xmlns:a16="http://schemas.microsoft.com/office/drawing/2014/main" id="{E515729B-F93B-41A1-9DCA-566DB9823404}"/>
              </a:ext>
            </a:extLst>
          </p:cNvPr>
          <p:cNvSpPr txBox="1"/>
          <p:nvPr/>
        </p:nvSpPr>
        <p:spPr>
          <a:xfrm>
            <a:off x="4899592" y="4679611"/>
            <a:ext cx="663119" cy="276999"/>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2557"/>
                </a:solidFill>
                <a:effectLst/>
                <a:uLnTx/>
                <a:uFillTx/>
                <a:latin typeface="Arial" panose="020B0604020202020204" pitchFamily="34" charset="0"/>
                <a:ea typeface="+mn-ea"/>
                <a:cs typeface="+mn-cs"/>
                <a:sym typeface="HelveticaNeueCE-Roman"/>
                <a:rtl val="0"/>
              </a:rPr>
              <a:t>18</a:t>
            </a:r>
          </a:p>
        </p:txBody>
      </p:sp>
      <p:sp>
        <p:nvSpPr>
          <p:cNvPr id="117" name="TextBox 116">
            <a:extLst>
              <a:ext uri="{FF2B5EF4-FFF2-40B4-BE49-F238E27FC236}">
                <a16:creationId xmlns:a16="http://schemas.microsoft.com/office/drawing/2014/main" id="{41A99066-78A0-49F7-8D72-6E12EC69DFDA}"/>
              </a:ext>
            </a:extLst>
          </p:cNvPr>
          <p:cNvSpPr txBox="1"/>
          <p:nvPr/>
        </p:nvSpPr>
        <p:spPr>
          <a:xfrm>
            <a:off x="6215289" y="4679611"/>
            <a:ext cx="663119" cy="276999"/>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2557"/>
                </a:solidFill>
                <a:effectLst/>
                <a:uLnTx/>
                <a:uFillTx/>
                <a:latin typeface="Arial" panose="020B0604020202020204" pitchFamily="34" charset="0"/>
                <a:ea typeface="+mn-ea"/>
                <a:cs typeface="+mn-cs"/>
                <a:sym typeface="HelveticaNeueCE-Roman"/>
                <a:rtl val="0"/>
              </a:rPr>
              <a:t>24</a:t>
            </a:r>
          </a:p>
        </p:txBody>
      </p:sp>
      <p:sp>
        <p:nvSpPr>
          <p:cNvPr id="119" name="TextBox 118">
            <a:extLst>
              <a:ext uri="{FF2B5EF4-FFF2-40B4-BE49-F238E27FC236}">
                <a16:creationId xmlns:a16="http://schemas.microsoft.com/office/drawing/2014/main" id="{CCF51039-3847-48B8-9600-5FD37C3036C3}"/>
              </a:ext>
            </a:extLst>
          </p:cNvPr>
          <p:cNvSpPr txBox="1"/>
          <p:nvPr/>
        </p:nvSpPr>
        <p:spPr>
          <a:xfrm>
            <a:off x="7530987" y="4679611"/>
            <a:ext cx="663119" cy="276999"/>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2557"/>
                </a:solidFill>
                <a:effectLst/>
                <a:uLnTx/>
                <a:uFillTx/>
                <a:latin typeface="Arial" panose="020B0604020202020204" pitchFamily="34" charset="0"/>
                <a:ea typeface="+mn-ea"/>
                <a:cs typeface="+mn-cs"/>
                <a:sym typeface="HelveticaNeueCE-Roman"/>
                <a:rtl val="0"/>
              </a:rPr>
              <a:t>30</a:t>
            </a:r>
          </a:p>
        </p:txBody>
      </p:sp>
      <p:sp>
        <p:nvSpPr>
          <p:cNvPr id="120" name="TextBox 119">
            <a:extLst>
              <a:ext uri="{FF2B5EF4-FFF2-40B4-BE49-F238E27FC236}">
                <a16:creationId xmlns:a16="http://schemas.microsoft.com/office/drawing/2014/main" id="{E859CEA4-DC50-47BF-8E94-9E96D2AAE2F0}"/>
              </a:ext>
            </a:extLst>
          </p:cNvPr>
          <p:cNvSpPr txBox="1"/>
          <p:nvPr/>
        </p:nvSpPr>
        <p:spPr>
          <a:xfrm>
            <a:off x="3191556" y="4861104"/>
            <a:ext cx="6710591"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27" normalizeH="0" baseline="0" noProof="0" dirty="0">
                <a:ln>
                  <a:noFill/>
                </a:ln>
                <a:solidFill>
                  <a:srgbClr val="002557"/>
                </a:solidFill>
                <a:effectLst/>
                <a:uLnTx/>
                <a:uFillTx/>
                <a:latin typeface="Arial" panose="020B0604020202020204"/>
                <a:ea typeface="+mn-ea"/>
                <a:cs typeface="+mn-cs"/>
                <a:sym typeface="HelveticaNeueCE-Roman"/>
                <a:rtl val="0"/>
              </a:rPr>
              <a:t>Time from randomization (months)</a:t>
            </a:r>
          </a:p>
        </p:txBody>
      </p:sp>
      <p:sp>
        <p:nvSpPr>
          <p:cNvPr id="122" name="TextBox 121">
            <a:extLst>
              <a:ext uri="{FF2B5EF4-FFF2-40B4-BE49-F238E27FC236}">
                <a16:creationId xmlns:a16="http://schemas.microsoft.com/office/drawing/2014/main" id="{FBBEBFA6-F43A-423B-82AE-25817BE67C88}"/>
              </a:ext>
            </a:extLst>
          </p:cNvPr>
          <p:cNvSpPr txBox="1"/>
          <p:nvPr/>
        </p:nvSpPr>
        <p:spPr>
          <a:xfrm>
            <a:off x="8846684" y="4679611"/>
            <a:ext cx="663119" cy="276999"/>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2557"/>
                </a:solidFill>
                <a:effectLst/>
                <a:uLnTx/>
                <a:uFillTx/>
                <a:latin typeface="Arial" panose="020B0604020202020204" pitchFamily="34" charset="0"/>
                <a:ea typeface="+mn-ea"/>
                <a:cs typeface="+mn-cs"/>
                <a:sym typeface="HelveticaNeueCE-Roman"/>
                <a:rtl val="0"/>
              </a:rPr>
              <a:t>36</a:t>
            </a:r>
          </a:p>
        </p:txBody>
      </p:sp>
      <p:sp>
        <p:nvSpPr>
          <p:cNvPr id="124" name="TextBox 123">
            <a:extLst>
              <a:ext uri="{FF2B5EF4-FFF2-40B4-BE49-F238E27FC236}">
                <a16:creationId xmlns:a16="http://schemas.microsoft.com/office/drawing/2014/main" id="{C4946405-F986-469C-94BD-053D59B8303B}"/>
              </a:ext>
            </a:extLst>
          </p:cNvPr>
          <p:cNvSpPr txBox="1"/>
          <p:nvPr/>
        </p:nvSpPr>
        <p:spPr>
          <a:xfrm>
            <a:off x="10162381" y="4679611"/>
            <a:ext cx="663119" cy="276999"/>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2557"/>
                </a:solidFill>
                <a:effectLst/>
                <a:uLnTx/>
                <a:uFillTx/>
                <a:latin typeface="Arial" panose="020B0604020202020204" pitchFamily="34" charset="0"/>
                <a:ea typeface="+mn-ea"/>
                <a:cs typeface="+mn-cs"/>
                <a:sym typeface="HelveticaNeueCE-Roman"/>
                <a:rtl val="0"/>
              </a:rPr>
              <a:t>42</a:t>
            </a:r>
          </a:p>
        </p:txBody>
      </p:sp>
      <p:sp>
        <p:nvSpPr>
          <p:cNvPr id="130" name="TextBox 129">
            <a:extLst>
              <a:ext uri="{FF2B5EF4-FFF2-40B4-BE49-F238E27FC236}">
                <a16:creationId xmlns:a16="http://schemas.microsoft.com/office/drawing/2014/main" id="{3436637B-0ACC-4302-BBA5-8BF3A5007594}"/>
              </a:ext>
            </a:extLst>
          </p:cNvPr>
          <p:cNvSpPr txBox="1"/>
          <p:nvPr/>
        </p:nvSpPr>
        <p:spPr>
          <a:xfrm>
            <a:off x="11478082" y="4679611"/>
            <a:ext cx="663119" cy="276999"/>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2557"/>
                </a:solidFill>
                <a:effectLst/>
                <a:uLnTx/>
                <a:uFillTx/>
                <a:latin typeface="Arial" panose="020B0604020202020204" pitchFamily="34" charset="0"/>
                <a:ea typeface="+mn-ea"/>
                <a:cs typeface="+mn-cs"/>
                <a:sym typeface="HelveticaNeueCE-Roman"/>
                <a:rtl val="0"/>
              </a:rPr>
              <a:t>48</a:t>
            </a:r>
          </a:p>
        </p:txBody>
      </p:sp>
      <p:sp>
        <p:nvSpPr>
          <p:cNvPr id="158" name="TextBox 157">
            <a:extLst>
              <a:ext uri="{FF2B5EF4-FFF2-40B4-BE49-F238E27FC236}">
                <a16:creationId xmlns:a16="http://schemas.microsoft.com/office/drawing/2014/main" id="{14A3D736-6FFE-442B-986C-01FC13A1A876}"/>
              </a:ext>
            </a:extLst>
          </p:cNvPr>
          <p:cNvSpPr txBox="1"/>
          <p:nvPr/>
        </p:nvSpPr>
        <p:spPr>
          <a:xfrm>
            <a:off x="952501" y="5133240"/>
            <a:ext cx="663119" cy="276999"/>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2557"/>
                </a:solidFill>
                <a:effectLst/>
                <a:uLnTx/>
                <a:uFillTx/>
                <a:latin typeface="Arial" panose="020B0604020202020204" pitchFamily="34" charset="0"/>
                <a:ea typeface="+mn-ea"/>
                <a:cs typeface="+mn-cs"/>
                <a:sym typeface="HelveticaNeueCE-Roman"/>
                <a:rtl val="0"/>
              </a:rPr>
              <a:t>393</a:t>
            </a:r>
          </a:p>
        </p:txBody>
      </p:sp>
      <p:sp>
        <p:nvSpPr>
          <p:cNvPr id="159" name="TextBox 158">
            <a:extLst>
              <a:ext uri="{FF2B5EF4-FFF2-40B4-BE49-F238E27FC236}">
                <a16:creationId xmlns:a16="http://schemas.microsoft.com/office/drawing/2014/main" id="{5E5B3DB2-DDDF-4713-9B16-0459B7985F40}"/>
              </a:ext>
            </a:extLst>
          </p:cNvPr>
          <p:cNvSpPr txBox="1"/>
          <p:nvPr/>
        </p:nvSpPr>
        <p:spPr>
          <a:xfrm>
            <a:off x="2268198" y="5133240"/>
            <a:ext cx="663119" cy="276999"/>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2557"/>
                </a:solidFill>
                <a:effectLst/>
                <a:uLnTx/>
                <a:uFillTx/>
                <a:latin typeface="Arial" panose="020B0604020202020204" pitchFamily="34" charset="0"/>
                <a:ea typeface="+mn-ea"/>
                <a:cs typeface="+mn-cs"/>
                <a:sym typeface="HelveticaNeueCE-Roman"/>
                <a:rtl val="0"/>
              </a:rPr>
              <a:t>308</a:t>
            </a:r>
          </a:p>
        </p:txBody>
      </p:sp>
      <p:sp>
        <p:nvSpPr>
          <p:cNvPr id="160" name="TextBox 159">
            <a:extLst>
              <a:ext uri="{FF2B5EF4-FFF2-40B4-BE49-F238E27FC236}">
                <a16:creationId xmlns:a16="http://schemas.microsoft.com/office/drawing/2014/main" id="{FA408194-6F37-40FA-B1AC-8B5D2F123025}"/>
              </a:ext>
            </a:extLst>
          </p:cNvPr>
          <p:cNvSpPr txBox="1"/>
          <p:nvPr/>
        </p:nvSpPr>
        <p:spPr>
          <a:xfrm>
            <a:off x="3583895" y="5133240"/>
            <a:ext cx="663119" cy="276999"/>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2557"/>
                </a:solidFill>
                <a:effectLst/>
                <a:uLnTx/>
                <a:uFillTx/>
                <a:latin typeface="Arial" panose="020B0604020202020204" pitchFamily="34" charset="0"/>
                <a:ea typeface="+mn-ea"/>
                <a:cs typeface="+mn-cs"/>
                <a:sym typeface="HelveticaNeueCE-Roman"/>
                <a:rtl val="0"/>
              </a:rPr>
              <a:t>235</a:t>
            </a:r>
          </a:p>
        </p:txBody>
      </p:sp>
      <p:sp>
        <p:nvSpPr>
          <p:cNvPr id="162" name="TextBox 161">
            <a:extLst>
              <a:ext uri="{FF2B5EF4-FFF2-40B4-BE49-F238E27FC236}">
                <a16:creationId xmlns:a16="http://schemas.microsoft.com/office/drawing/2014/main" id="{517D8BAA-3544-42B6-961C-FF0FF927E30E}"/>
              </a:ext>
            </a:extLst>
          </p:cNvPr>
          <p:cNvSpPr txBox="1"/>
          <p:nvPr/>
        </p:nvSpPr>
        <p:spPr>
          <a:xfrm>
            <a:off x="4899592" y="5133240"/>
            <a:ext cx="663119" cy="276999"/>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2557"/>
                </a:solidFill>
                <a:effectLst/>
                <a:uLnTx/>
                <a:uFillTx/>
                <a:latin typeface="Arial" panose="020B0604020202020204" pitchFamily="34" charset="0"/>
                <a:ea typeface="+mn-ea"/>
                <a:cs typeface="+mn-cs"/>
                <a:sym typeface="HelveticaNeueCE-Roman"/>
                <a:rtl val="0"/>
              </a:rPr>
              <a:t>190</a:t>
            </a:r>
          </a:p>
        </p:txBody>
      </p:sp>
      <p:sp>
        <p:nvSpPr>
          <p:cNvPr id="163" name="TextBox 162">
            <a:extLst>
              <a:ext uri="{FF2B5EF4-FFF2-40B4-BE49-F238E27FC236}">
                <a16:creationId xmlns:a16="http://schemas.microsoft.com/office/drawing/2014/main" id="{DBFB92C1-946A-45FF-AD9B-C3FE2761418D}"/>
              </a:ext>
            </a:extLst>
          </p:cNvPr>
          <p:cNvSpPr txBox="1"/>
          <p:nvPr/>
        </p:nvSpPr>
        <p:spPr>
          <a:xfrm>
            <a:off x="6215289" y="5133240"/>
            <a:ext cx="663119" cy="276999"/>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2557"/>
                </a:solidFill>
                <a:effectLst/>
                <a:uLnTx/>
                <a:uFillTx/>
                <a:latin typeface="Arial" panose="020B0604020202020204" pitchFamily="34" charset="0"/>
                <a:ea typeface="+mn-ea"/>
                <a:cs typeface="+mn-cs"/>
                <a:sym typeface="HelveticaNeueCE-Roman"/>
                <a:rtl val="0"/>
              </a:rPr>
              <a:t>158</a:t>
            </a:r>
          </a:p>
        </p:txBody>
      </p:sp>
      <p:sp>
        <p:nvSpPr>
          <p:cNvPr id="164" name="TextBox 163">
            <a:extLst>
              <a:ext uri="{FF2B5EF4-FFF2-40B4-BE49-F238E27FC236}">
                <a16:creationId xmlns:a16="http://schemas.microsoft.com/office/drawing/2014/main" id="{A085F87E-B79B-42ED-B075-1D3F90AE277C}"/>
              </a:ext>
            </a:extLst>
          </p:cNvPr>
          <p:cNvSpPr txBox="1"/>
          <p:nvPr/>
        </p:nvSpPr>
        <p:spPr>
          <a:xfrm>
            <a:off x="7530987" y="5133240"/>
            <a:ext cx="663119" cy="276999"/>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2557"/>
                </a:solidFill>
                <a:effectLst/>
                <a:uLnTx/>
                <a:uFillTx/>
                <a:latin typeface="Arial" panose="020B0604020202020204" pitchFamily="34" charset="0"/>
                <a:ea typeface="+mn-ea"/>
                <a:cs typeface="+mn-cs"/>
                <a:sym typeface="HelveticaNeueCE-Roman"/>
                <a:rtl val="0"/>
              </a:rPr>
              <a:t>98</a:t>
            </a:r>
          </a:p>
        </p:txBody>
      </p:sp>
      <p:sp>
        <p:nvSpPr>
          <p:cNvPr id="165" name="TextBox 164">
            <a:extLst>
              <a:ext uri="{FF2B5EF4-FFF2-40B4-BE49-F238E27FC236}">
                <a16:creationId xmlns:a16="http://schemas.microsoft.com/office/drawing/2014/main" id="{41BA3B54-F16C-453B-AFF9-805D87BF3A0D}"/>
              </a:ext>
            </a:extLst>
          </p:cNvPr>
          <p:cNvSpPr txBox="1"/>
          <p:nvPr/>
        </p:nvSpPr>
        <p:spPr>
          <a:xfrm>
            <a:off x="8846684" y="5133240"/>
            <a:ext cx="663119" cy="276999"/>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2557"/>
                </a:solidFill>
                <a:effectLst/>
                <a:uLnTx/>
                <a:uFillTx/>
                <a:latin typeface="Arial" panose="020B0604020202020204" pitchFamily="34" charset="0"/>
                <a:ea typeface="+mn-ea"/>
                <a:cs typeface="+mn-cs"/>
                <a:sym typeface="HelveticaNeueCE-Roman"/>
                <a:rtl val="0"/>
              </a:rPr>
              <a:t>32</a:t>
            </a:r>
          </a:p>
        </p:txBody>
      </p:sp>
      <p:sp>
        <p:nvSpPr>
          <p:cNvPr id="166" name="TextBox 165">
            <a:extLst>
              <a:ext uri="{FF2B5EF4-FFF2-40B4-BE49-F238E27FC236}">
                <a16:creationId xmlns:a16="http://schemas.microsoft.com/office/drawing/2014/main" id="{74E528CC-754B-4945-A471-E00E80A33F2F}"/>
              </a:ext>
            </a:extLst>
          </p:cNvPr>
          <p:cNvSpPr txBox="1"/>
          <p:nvPr/>
        </p:nvSpPr>
        <p:spPr>
          <a:xfrm>
            <a:off x="10162381" y="5133240"/>
            <a:ext cx="663119" cy="276999"/>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2557"/>
                </a:solidFill>
                <a:effectLst/>
                <a:uLnTx/>
                <a:uFillTx/>
                <a:latin typeface="Arial" panose="020B0604020202020204" pitchFamily="34" charset="0"/>
                <a:ea typeface="+mn-ea"/>
                <a:cs typeface="+mn-cs"/>
                <a:sym typeface="HelveticaNeueCE-Roman"/>
                <a:rtl val="0"/>
              </a:rPr>
              <a:t>1</a:t>
            </a:r>
          </a:p>
        </p:txBody>
      </p:sp>
      <p:sp>
        <p:nvSpPr>
          <p:cNvPr id="167" name="TextBox 166">
            <a:extLst>
              <a:ext uri="{FF2B5EF4-FFF2-40B4-BE49-F238E27FC236}">
                <a16:creationId xmlns:a16="http://schemas.microsoft.com/office/drawing/2014/main" id="{E7E90486-3B00-4961-9A74-F41DA8D2ED19}"/>
              </a:ext>
            </a:extLst>
          </p:cNvPr>
          <p:cNvSpPr txBox="1"/>
          <p:nvPr/>
        </p:nvSpPr>
        <p:spPr>
          <a:xfrm>
            <a:off x="11478082" y="5133240"/>
            <a:ext cx="663119" cy="276999"/>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2557"/>
                </a:solidFill>
                <a:effectLst/>
                <a:uLnTx/>
                <a:uFillTx/>
                <a:latin typeface="Arial" panose="020B0604020202020204" pitchFamily="34" charset="0"/>
                <a:ea typeface="+mn-ea"/>
                <a:cs typeface="+mn-cs"/>
                <a:sym typeface="HelveticaNeueCE-Roman"/>
                <a:rtl val="0"/>
              </a:rPr>
              <a:t>0</a:t>
            </a:r>
          </a:p>
        </p:txBody>
      </p:sp>
      <p:sp>
        <p:nvSpPr>
          <p:cNvPr id="168" name="TextBox 167">
            <a:extLst>
              <a:ext uri="{FF2B5EF4-FFF2-40B4-BE49-F238E27FC236}">
                <a16:creationId xmlns:a16="http://schemas.microsoft.com/office/drawing/2014/main" id="{97BD8068-059E-4AE8-845C-D27790D2875D}"/>
              </a:ext>
            </a:extLst>
          </p:cNvPr>
          <p:cNvSpPr txBox="1"/>
          <p:nvPr/>
        </p:nvSpPr>
        <p:spPr>
          <a:xfrm>
            <a:off x="952501" y="5320799"/>
            <a:ext cx="663119" cy="276999"/>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2557"/>
                </a:solidFill>
                <a:effectLst/>
                <a:uLnTx/>
                <a:uFillTx/>
                <a:latin typeface="Arial" panose="020B0604020202020204" pitchFamily="34" charset="0"/>
                <a:ea typeface="+mn-ea"/>
                <a:cs typeface="+mn-cs"/>
                <a:sym typeface="HelveticaNeueCE-Roman"/>
                <a:rtl val="0"/>
              </a:rPr>
              <a:t>389</a:t>
            </a:r>
          </a:p>
        </p:txBody>
      </p:sp>
      <p:sp>
        <p:nvSpPr>
          <p:cNvPr id="169" name="TextBox 168">
            <a:extLst>
              <a:ext uri="{FF2B5EF4-FFF2-40B4-BE49-F238E27FC236}">
                <a16:creationId xmlns:a16="http://schemas.microsoft.com/office/drawing/2014/main" id="{12C6FF3E-9560-4ACF-B560-777CAFAF5A8B}"/>
              </a:ext>
            </a:extLst>
          </p:cNvPr>
          <p:cNvSpPr txBox="1"/>
          <p:nvPr/>
        </p:nvSpPr>
        <p:spPr>
          <a:xfrm>
            <a:off x="2268198" y="5320799"/>
            <a:ext cx="663119" cy="276999"/>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2557"/>
                </a:solidFill>
                <a:effectLst/>
                <a:uLnTx/>
                <a:uFillTx/>
                <a:latin typeface="Arial" panose="020B0604020202020204" pitchFamily="34" charset="0"/>
                <a:ea typeface="+mn-ea"/>
                <a:cs typeface="+mn-cs"/>
                <a:sym typeface="HelveticaNeueCE-Roman"/>
                <a:rtl val="0"/>
              </a:rPr>
              <a:t>283</a:t>
            </a:r>
          </a:p>
        </p:txBody>
      </p:sp>
      <p:sp>
        <p:nvSpPr>
          <p:cNvPr id="170" name="TextBox 169">
            <a:extLst>
              <a:ext uri="{FF2B5EF4-FFF2-40B4-BE49-F238E27FC236}">
                <a16:creationId xmlns:a16="http://schemas.microsoft.com/office/drawing/2014/main" id="{AD0AD10D-3E8E-4FD7-B398-E656B9756A03}"/>
              </a:ext>
            </a:extLst>
          </p:cNvPr>
          <p:cNvSpPr txBox="1"/>
          <p:nvPr/>
        </p:nvSpPr>
        <p:spPr>
          <a:xfrm>
            <a:off x="3583895" y="5320799"/>
            <a:ext cx="663119" cy="276999"/>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2557"/>
                </a:solidFill>
                <a:effectLst/>
                <a:uLnTx/>
                <a:uFillTx/>
                <a:latin typeface="Arial" panose="020B0604020202020204" pitchFamily="34" charset="0"/>
                <a:ea typeface="+mn-ea"/>
                <a:cs typeface="+mn-cs"/>
                <a:sym typeface="HelveticaNeueCE-Roman"/>
                <a:rtl val="0"/>
              </a:rPr>
              <a:t>211</a:t>
            </a:r>
          </a:p>
        </p:txBody>
      </p:sp>
      <p:sp>
        <p:nvSpPr>
          <p:cNvPr id="172" name="TextBox 171">
            <a:extLst>
              <a:ext uri="{FF2B5EF4-FFF2-40B4-BE49-F238E27FC236}">
                <a16:creationId xmlns:a16="http://schemas.microsoft.com/office/drawing/2014/main" id="{9FDE0ED4-5943-42E6-85A9-C4AAA01BD907}"/>
              </a:ext>
            </a:extLst>
          </p:cNvPr>
          <p:cNvSpPr txBox="1"/>
          <p:nvPr/>
        </p:nvSpPr>
        <p:spPr>
          <a:xfrm>
            <a:off x="4899592" y="5320799"/>
            <a:ext cx="663119" cy="276999"/>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2557"/>
                </a:solidFill>
                <a:effectLst/>
                <a:uLnTx/>
                <a:uFillTx/>
                <a:latin typeface="Arial" panose="020B0604020202020204" pitchFamily="34" charset="0"/>
                <a:ea typeface="+mn-ea"/>
                <a:cs typeface="+mn-cs"/>
                <a:sym typeface="HelveticaNeueCE-Roman"/>
                <a:rtl val="0"/>
              </a:rPr>
              <a:t>155</a:t>
            </a:r>
          </a:p>
        </p:txBody>
      </p:sp>
      <p:sp>
        <p:nvSpPr>
          <p:cNvPr id="173" name="TextBox 172">
            <a:extLst>
              <a:ext uri="{FF2B5EF4-FFF2-40B4-BE49-F238E27FC236}">
                <a16:creationId xmlns:a16="http://schemas.microsoft.com/office/drawing/2014/main" id="{8FF20158-D552-4D7B-BAED-D6D7ABFA1C54}"/>
              </a:ext>
            </a:extLst>
          </p:cNvPr>
          <p:cNvSpPr txBox="1"/>
          <p:nvPr/>
        </p:nvSpPr>
        <p:spPr>
          <a:xfrm>
            <a:off x="6215289" y="5320799"/>
            <a:ext cx="663119" cy="276999"/>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2557"/>
                </a:solidFill>
                <a:effectLst/>
                <a:uLnTx/>
                <a:uFillTx/>
                <a:latin typeface="Arial" panose="020B0604020202020204" pitchFamily="34" charset="0"/>
                <a:ea typeface="+mn-ea"/>
                <a:cs typeface="+mn-cs"/>
                <a:sym typeface="HelveticaNeueCE-Roman"/>
                <a:rtl val="0"/>
              </a:rPr>
              <a:t>121</a:t>
            </a:r>
          </a:p>
        </p:txBody>
      </p:sp>
      <p:sp>
        <p:nvSpPr>
          <p:cNvPr id="174" name="TextBox 173">
            <a:extLst>
              <a:ext uri="{FF2B5EF4-FFF2-40B4-BE49-F238E27FC236}">
                <a16:creationId xmlns:a16="http://schemas.microsoft.com/office/drawing/2014/main" id="{9799066C-C012-4889-A97C-D99D5055C0D7}"/>
              </a:ext>
            </a:extLst>
          </p:cNvPr>
          <p:cNvSpPr txBox="1"/>
          <p:nvPr/>
        </p:nvSpPr>
        <p:spPr>
          <a:xfrm>
            <a:off x="7530987" y="5320799"/>
            <a:ext cx="663119" cy="276999"/>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2557"/>
                </a:solidFill>
                <a:effectLst/>
                <a:uLnTx/>
                <a:uFillTx/>
                <a:latin typeface="Arial" panose="020B0604020202020204" pitchFamily="34" charset="0"/>
                <a:ea typeface="+mn-ea"/>
                <a:cs typeface="+mn-cs"/>
                <a:sym typeface="HelveticaNeueCE-Roman"/>
                <a:rtl val="0"/>
              </a:rPr>
              <a:t>62</a:t>
            </a:r>
          </a:p>
        </p:txBody>
      </p:sp>
      <p:sp>
        <p:nvSpPr>
          <p:cNvPr id="175" name="TextBox 174">
            <a:extLst>
              <a:ext uri="{FF2B5EF4-FFF2-40B4-BE49-F238E27FC236}">
                <a16:creationId xmlns:a16="http://schemas.microsoft.com/office/drawing/2014/main" id="{CC38A191-433F-4EB0-BD09-7557C31EA4CC}"/>
              </a:ext>
            </a:extLst>
          </p:cNvPr>
          <p:cNvSpPr txBox="1"/>
          <p:nvPr/>
        </p:nvSpPr>
        <p:spPr>
          <a:xfrm>
            <a:off x="8846684" y="5320799"/>
            <a:ext cx="663119" cy="276999"/>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2557"/>
                </a:solidFill>
                <a:effectLst/>
                <a:uLnTx/>
                <a:uFillTx/>
                <a:latin typeface="Arial" panose="020B0604020202020204" pitchFamily="34" charset="0"/>
                <a:ea typeface="+mn-ea"/>
                <a:cs typeface="+mn-cs"/>
                <a:sym typeface="HelveticaNeueCE-Roman"/>
                <a:rtl val="0"/>
              </a:rPr>
              <a:t>21</a:t>
            </a:r>
          </a:p>
        </p:txBody>
      </p:sp>
      <p:sp>
        <p:nvSpPr>
          <p:cNvPr id="176" name="TextBox 175">
            <a:extLst>
              <a:ext uri="{FF2B5EF4-FFF2-40B4-BE49-F238E27FC236}">
                <a16:creationId xmlns:a16="http://schemas.microsoft.com/office/drawing/2014/main" id="{72250812-9D75-4823-96FF-D850644DE25F}"/>
              </a:ext>
            </a:extLst>
          </p:cNvPr>
          <p:cNvSpPr txBox="1"/>
          <p:nvPr/>
        </p:nvSpPr>
        <p:spPr>
          <a:xfrm>
            <a:off x="10162381" y="5320799"/>
            <a:ext cx="663119" cy="276999"/>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2557"/>
                </a:solidFill>
                <a:effectLst/>
                <a:uLnTx/>
                <a:uFillTx/>
                <a:latin typeface="Arial" panose="020B0604020202020204" pitchFamily="34" charset="0"/>
                <a:ea typeface="+mn-ea"/>
                <a:cs typeface="+mn-cs"/>
                <a:sym typeface="HelveticaNeueCE-Roman"/>
                <a:rtl val="0"/>
              </a:rPr>
              <a:t>1</a:t>
            </a:r>
          </a:p>
        </p:txBody>
      </p:sp>
      <p:sp>
        <p:nvSpPr>
          <p:cNvPr id="177" name="TextBox 176">
            <a:extLst>
              <a:ext uri="{FF2B5EF4-FFF2-40B4-BE49-F238E27FC236}">
                <a16:creationId xmlns:a16="http://schemas.microsoft.com/office/drawing/2014/main" id="{3830B3E0-4935-4F8C-B58C-0976A5E77B7D}"/>
              </a:ext>
            </a:extLst>
          </p:cNvPr>
          <p:cNvSpPr txBox="1"/>
          <p:nvPr/>
        </p:nvSpPr>
        <p:spPr>
          <a:xfrm>
            <a:off x="11478082" y="5320799"/>
            <a:ext cx="663119" cy="276999"/>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2557"/>
                </a:solidFill>
                <a:effectLst/>
                <a:uLnTx/>
                <a:uFillTx/>
                <a:latin typeface="Arial" panose="020B0604020202020204" pitchFamily="34" charset="0"/>
                <a:ea typeface="+mn-ea"/>
                <a:cs typeface="+mn-cs"/>
                <a:sym typeface="HelveticaNeueCE-Roman"/>
                <a:rtl val="0"/>
              </a:rPr>
              <a:t>0</a:t>
            </a:r>
          </a:p>
        </p:txBody>
      </p:sp>
      <p:sp>
        <p:nvSpPr>
          <p:cNvPr id="108" name="Freeform: Shape 107">
            <a:extLst>
              <a:ext uri="{FF2B5EF4-FFF2-40B4-BE49-F238E27FC236}">
                <a16:creationId xmlns:a16="http://schemas.microsoft.com/office/drawing/2014/main" id="{41D7BCBF-C937-4FC4-8E3D-47C99C399CD1}"/>
              </a:ext>
            </a:extLst>
          </p:cNvPr>
          <p:cNvSpPr/>
          <p:nvPr/>
        </p:nvSpPr>
        <p:spPr>
          <a:xfrm>
            <a:off x="1277283" y="4628653"/>
            <a:ext cx="0" cy="72000"/>
          </a:xfrm>
          <a:custGeom>
            <a:avLst/>
            <a:gdLst>
              <a:gd name="connsiteX0" fmla="*/ 0 w 21389"/>
              <a:gd name="connsiteY0" fmla="*/ 0 h 69900"/>
              <a:gd name="connsiteX1" fmla="*/ 0 w 21389"/>
              <a:gd name="connsiteY1" fmla="*/ 69900 h 69900"/>
            </a:gdLst>
            <a:ahLst/>
            <a:cxnLst>
              <a:cxn ang="0">
                <a:pos x="connsiteX0" y="connsiteY0"/>
              </a:cxn>
              <a:cxn ang="0">
                <a:pos x="connsiteX1" y="connsiteY1"/>
              </a:cxn>
            </a:cxnLst>
            <a:rect l="l" t="t" r="r" b="b"/>
            <a:pathLst>
              <a:path w="21389" h="69900">
                <a:moveTo>
                  <a:pt x="0" y="0"/>
                </a:moveTo>
                <a:lnTo>
                  <a:pt x="0" y="69900"/>
                </a:lnTo>
              </a:path>
            </a:pathLst>
          </a:custGeom>
          <a:ln w="19050"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110" name="Freeform: Shape 109">
            <a:extLst>
              <a:ext uri="{FF2B5EF4-FFF2-40B4-BE49-F238E27FC236}">
                <a16:creationId xmlns:a16="http://schemas.microsoft.com/office/drawing/2014/main" id="{E26DFEE8-40AF-4C58-8E8E-4F71727D4EDB}"/>
              </a:ext>
            </a:extLst>
          </p:cNvPr>
          <p:cNvSpPr/>
          <p:nvPr/>
        </p:nvSpPr>
        <p:spPr>
          <a:xfrm>
            <a:off x="2593828" y="4628653"/>
            <a:ext cx="0" cy="72000"/>
          </a:xfrm>
          <a:custGeom>
            <a:avLst/>
            <a:gdLst>
              <a:gd name="connsiteX0" fmla="*/ 0 w 21389"/>
              <a:gd name="connsiteY0" fmla="*/ 0 h 69900"/>
              <a:gd name="connsiteX1" fmla="*/ 0 w 21389"/>
              <a:gd name="connsiteY1" fmla="*/ 69900 h 69900"/>
            </a:gdLst>
            <a:ahLst/>
            <a:cxnLst>
              <a:cxn ang="0">
                <a:pos x="connsiteX0" y="connsiteY0"/>
              </a:cxn>
              <a:cxn ang="0">
                <a:pos x="connsiteX1" y="connsiteY1"/>
              </a:cxn>
            </a:cxnLst>
            <a:rect l="l" t="t" r="r" b="b"/>
            <a:pathLst>
              <a:path w="21389" h="69900">
                <a:moveTo>
                  <a:pt x="0" y="0"/>
                </a:moveTo>
                <a:lnTo>
                  <a:pt x="0" y="69900"/>
                </a:lnTo>
              </a:path>
            </a:pathLst>
          </a:custGeom>
          <a:ln w="19050"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112" name="Freeform: Shape 111">
            <a:extLst>
              <a:ext uri="{FF2B5EF4-FFF2-40B4-BE49-F238E27FC236}">
                <a16:creationId xmlns:a16="http://schemas.microsoft.com/office/drawing/2014/main" id="{1A0F7E7A-7449-4D52-9363-F0CFD892CABC}"/>
              </a:ext>
            </a:extLst>
          </p:cNvPr>
          <p:cNvSpPr/>
          <p:nvPr/>
        </p:nvSpPr>
        <p:spPr>
          <a:xfrm>
            <a:off x="3910372" y="4628653"/>
            <a:ext cx="0" cy="72000"/>
          </a:xfrm>
          <a:custGeom>
            <a:avLst/>
            <a:gdLst>
              <a:gd name="connsiteX0" fmla="*/ 0 w 21389"/>
              <a:gd name="connsiteY0" fmla="*/ 0 h 69900"/>
              <a:gd name="connsiteX1" fmla="*/ 0 w 21389"/>
              <a:gd name="connsiteY1" fmla="*/ 69900 h 69900"/>
            </a:gdLst>
            <a:ahLst/>
            <a:cxnLst>
              <a:cxn ang="0">
                <a:pos x="connsiteX0" y="connsiteY0"/>
              </a:cxn>
              <a:cxn ang="0">
                <a:pos x="connsiteX1" y="connsiteY1"/>
              </a:cxn>
            </a:cxnLst>
            <a:rect l="l" t="t" r="r" b="b"/>
            <a:pathLst>
              <a:path w="21389" h="69900">
                <a:moveTo>
                  <a:pt x="0" y="0"/>
                </a:moveTo>
                <a:lnTo>
                  <a:pt x="0" y="69900"/>
                </a:lnTo>
              </a:path>
            </a:pathLst>
          </a:custGeom>
          <a:ln w="19050"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114" name="Freeform: Shape 113">
            <a:extLst>
              <a:ext uri="{FF2B5EF4-FFF2-40B4-BE49-F238E27FC236}">
                <a16:creationId xmlns:a16="http://schemas.microsoft.com/office/drawing/2014/main" id="{2454ED4B-C677-48E6-ABEB-0CEB9A487E57}"/>
              </a:ext>
            </a:extLst>
          </p:cNvPr>
          <p:cNvSpPr/>
          <p:nvPr/>
        </p:nvSpPr>
        <p:spPr>
          <a:xfrm>
            <a:off x="5226917" y="4628653"/>
            <a:ext cx="0" cy="72000"/>
          </a:xfrm>
          <a:custGeom>
            <a:avLst/>
            <a:gdLst>
              <a:gd name="connsiteX0" fmla="*/ 0 w 21389"/>
              <a:gd name="connsiteY0" fmla="*/ 0 h 69900"/>
              <a:gd name="connsiteX1" fmla="*/ 0 w 21389"/>
              <a:gd name="connsiteY1" fmla="*/ 69900 h 69900"/>
            </a:gdLst>
            <a:ahLst/>
            <a:cxnLst>
              <a:cxn ang="0">
                <a:pos x="connsiteX0" y="connsiteY0"/>
              </a:cxn>
              <a:cxn ang="0">
                <a:pos x="connsiteX1" y="connsiteY1"/>
              </a:cxn>
            </a:cxnLst>
            <a:rect l="l" t="t" r="r" b="b"/>
            <a:pathLst>
              <a:path w="21389" h="69900">
                <a:moveTo>
                  <a:pt x="0" y="0"/>
                </a:moveTo>
                <a:lnTo>
                  <a:pt x="0" y="69900"/>
                </a:lnTo>
              </a:path>
            </a:pathLst>
          </a:custGeom>
          <a:ln w="19050"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116" name="Freeform: Shape 115">
            <a:extLst>
              <a:ext uri="{FF2B5EF4-FFF2-40B4-BE49-F238E27FC236}">
                <a16:creationId xmlns:a16="http://schemas.microsoft.com/office/drawing/2014/main" id="{B73159CC-4544-4A94-80E0-41C623CF0D3D}"/>
              </a:ext>
            </a:extLst>
          </p:cNvPr>
          <p:cNvSpPr/>
          <p:nvPr/>
        </p:nvSpPr>
        <p:spPr>
          <a:xfrm>
            <a:off x="6543461" y="4628653"/>
            <a:ext cx="0" cy="72000"/>
          </a:xfrm>
          <a:custGeom>
            <a:avLst/>
            <a:gdLst>
              <a:gd name="connsiteX0" fmla="*/ 0 w 21389"/>
              <a:gd name="connsiteY0" fmla="*/ 0 h 69900"/>
              <a:gd name="connsiteX1" fmla="*/ 0 w 21389"/>
              <a:gd name="connsiteY1" fmla="*/ 69900 h 69900"/>
            </a:gdLst>
            <a:ahLst/>
            <a:cxnLst>
              <a:cxn ang="0">
                <a:pos x="connsiteX0" y="connsiteY0"/>
              </a:cxn>
              <a:cxn ang="0">
                <a:pos x="connsiteX1" y="connsiteY1"/>
              </a:cxn>
            </a:cxnLst>
            <a:rect l="l" t="t" r="r" b="b"/>
            <a:pathLst>
              <a:path w="21389" h="69900">
                <a:moveTo>
                  <a:pt x="0" y="0"/>
                </a:moveTo>
                <a:lnTo>
                  <a:pt x="0" y="69900"/>
                </a:lnTo>
              </a:path>
            </a:pathLst>
          </a:custGeom>
          <a:ln w="19050"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118" name="Freeform: Shape 117">
            <a:extLst>
              <a:ext uri="{FF2B5EF4-FFF2-40B4-BE49-F238E27FC236}">
                <a16:creationId xmlns:a16="http://schemas.microsoft.com/office/drawing/2014/main" id="{517A0684-3A0B-4DD9-94B7-78ECD073384C}"/>
              </a:ext>
            </a:extLst>
          </p:cNvPr>
          <p:cNvSpPr/>
          <p:nvPr/>
        </p:nvSpPr>
        <p:spPr>
          <a:xfrm>
            <a:off x="7860005" y="4628653"/>
            <a:ext cx="0" cy="72000"/>
          </a:xfrm>
          <a:custGeom>
            <a:avLst/>
            <a:gdLst>
              <a:gd name="connsiteX0" fmla="*/ 0 w 21389"/>
              <a:gd name="connsiteY0" fmla="*/ 0 h 69900"/>
              <a:gd name="connsiteX1" fmla="*/ 0 w 21389"/>
              <a:gd name="connsiteY1" fmla="*/ 69900 h 69900"/>
            </a:gdLst>
            <a:ahLst/>
            <a:cxnLst>
              <a:cxn ang="0">
                <a:pos x="connsiteX0" y="connsiteY0"/>
              </a:cxn>
              <a:cxn ang="0">
                <a:pos x="connsiteX1" y="connsiteY1"/>
              </a:cxn>
            </a:cxnLst>
            <a:rect l="l" t="t" r="r" b="b"/>
            <a:pathLst>
              <a:path w="21389" h="69900">
                <a:moveTo>
                  <a:pt x="0" y="0"/>
                </a:moveTo>
                <a:lnTo>
                  <a:pt x="0" y="69900"/>
                </a:lnTo>
              </a:path>
            </a:pathLst>
          </a:custGeom>
          <a:ln w="19050"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121" name="Freeform: Shape 120">
            <a:extLst>
              <a:ext uri="{FF2B5EF4-FFF2-40B4-BE49-F238E27FC236}">
                <a16:creationId xmlns:a16="http://schemas.microsoft.com/office/drawing/2014/main" id="{E4D32B8A-198A-4AB6-A7F0-400963F89650}"/>
              </a:ext>
            </a:extLst>
          </p:cNvPr>
          <p:cNvSpPr/>
          <p:nvPr/>
        </p:nvSpPr>
        <p:spPr>
          <a:xfrm>
            <a:off x="9176550" y="4628653"/>
            <a:ext cx="0" cy="72000"/>
          </a:xfrm>
          <a:custGeom>
            <a:avLst/>
            <a:gdLst>
              <a:gd name="connsiteX0" fmla="*/ 0 w 21389"/>
              <a:gd name="connsiteY0" fmla="*/ 0 h 69900"/>
              <a:gd name="connsiteX1" fmla="*/ 0 w 21389"/>
              <a:gd name="connsiteY1" fmla="*/ 69900 h 69900"/>
            </a:gdLst>
            <a:ahLst/>
            <a:cxnLst>
              <a:cxn ang="0">
                <a:pos x="connsiteX0" y="connsiteY0"/>
              </a:cxn>
              <a:cxn ang="0">
                <a:pos x="connsiteX1" y="connsiteY1"/>
              </a:cxn>
            </a:cxnLst>
            <a:rect l="l" t="t" r="r" b="b"/>
            <a:pathLst>
              <a:path w="21389" h="69900">
                <a:moveTo>
                  <a:pt x="0" y="0"/>
                </a:moveTo>
                <a:lnTo>
                  <a:pt x="0" y="69900"/>
                </a:lnTo>
              </a:path>
            </a:pathLst>
          </a:custGeom>
          <a:ln w="19050"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123" name="Freeform: Shape 122">
            <a:extLst>
              <a:ext uri="{FF2B5EF4-FFF2-40B4-BE49-F238E27FC236}">
                <a16:creationId xmlns:a16="http://schemas.microsoft.com/office/drawing/2014/main" id="{C384BB4F-4B6E-41BB-B544-3358C4363699}"/>
              </a:ext>
            </a:extLst>
          </p:cNvPr>
          <p:cNvSpPr/>
          <p:nvPr/>
        </p:nvSpPr>
        <p:spPr>
          <a:xfrm>
            <a:off x="10493094" y="4628653"/>
            <a:ext cx="0" cy="72000"/>
          </a:xfrm>
          <a:custGeom>
            <a:avLst/>
            <a:gdLst>
              <a:gd name="connsiteX0" fmla="*/ 0 w 21389"/>
              <a:gd name="connsiteY0" fmla="*/ 0 h 69900"/>
              <a:gd name="connsiteX1" fmla="*/ 0 w 21389"/>
              <a:gd name="connsiteY1" fmla="*/ 69900 h 69900"/>
            </a:gdLst>
            <a:ahLst/>
            <a:cxnLst>
              <a:cxn ang="0">
                <a:pos x="connsiteX0" y="connsiteY0"/>
              </a:cxn>
              <a:cxn ang="0">
                <a:pos x="connsiteX1" y="connsiteY1"/>
              </a:cxn>
            </a:cxnLst>
            <a:rect l="l" t="t" r="r" b="b"/>
            <a:pathLst>
              <a:path w="21389" h="69900">
                <a:moveTo>
                  <a:pt x="0" y="0"/>
                </a:moveTo>
                <a:lnTo>
                  <a:pt x="0" y="69900"/>
                </a:lnTo>
              </a:path>
            </a:pathLst>
          </a:custGeom>
          <a:ln w="19050"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129" name="Freeform: Shape 128">
            <a:extLst>
              <a:ext uri="{FF2B5EF4-FFF2-40B4-BE49-F238E27FC236}">
                <a16:creationId xmlns:a16="http://schemas.microsoft.com/office/drawing/2014/main" id="{D2362894-F1B8-41D8-807E-4BE1A321E8E2}"/>
              </a:ext>
            </a:extLst>
          </p:cNvPr>
          <p:cNvSpPr/>
          <p:nvPr/>
        </p:nvSpPr>
        <p:spPr>
          <a:xfrm>
            <a:off x="11809642" y="4628653"/>
            <a:ext cx="0" cy="72000"/>
          </a:xfrm>
          <a:custGeom>
            <a:avLst/>
            <a:gdLst>
              <a:gd name="connsiteX0" fmla="*/ 0 w 21389"/>
              <a:gd name="connsiteY0" fmla="*/ 0 h 69900"/>
              <a:gd name="connsiteX1" fmla="*/ 0 w 21389"/>
              <a:gd name="connsiteY1" fmla="*/ 69900 h 69900"/>
            </a:gdLst>
            <a:ahLst/>
            <a:cxnLst>
              <a:cxn ang="0">
                <a:pos x="connsiteX0" y="connsiteY0"/>
              </a:cxn>
              <a:cxn ang="0">
                <a:pos x="connsiteX1" y="connsiteY1"/>
              </a:cxn>
            </a:cxnLst>
            <a:rect l="l" t="t" r="r" b="b"/>
            <a:pathLst>
              <a:path w="21389" h="69900">
                <a:moveTo>
                  <a:pt x="0" y="0"/>
                </a:moveTo>
                <a:lnTo>
                  <a:pt x="0" y="69900"/>
                </a:lnTo>
              </a:path>
            </a:pathLst>
          </a:custGeom>
          <a:ln w="19050"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134" name="Freeform: Shape 133">
            <a:extLst>
              <a:ext uri="{FF2B5EF4-FFF2-40B4-BE49-F238E27FC236}">
                <a16:creationId xmlns:a16="http://schemas.microsoft.com/office/drawing/2014/main" id="{FAF1DF82-A762-442A-9FFD-8195BCD20A0E}"/>
              </a:ext>
            </a:extLst>
          </p:cNvPr>
          <p:cNvSpPr/>
          <p:nvPr/>
        </p:nvSpPr>
        <p:spPr>
          <a:xfrm>
            <a:off x="1195226" y="1651851"/>
            <a:ext cx="10623600" cy="2969636"/>
          </a:xfrm>
          <a:custGeom>
            <a:avLst/>
            <a:gdLst>
              <a:gd name="connsiteX0" fmla="*/ 0 w 9083895"/>
              <a:gd name="connsiteY0" fmla="*/ 0 h 2465405"/>
              <a:gd name="connsiteX1" fmla="*/ 0 w 9083895"/>
              <a:gd name="connsiteY1" fmla="*/ 2465406 h 2465405"/>
              <a:gd name="connsiteX2" fmla="*/ 9083896 w 9083895"/>
              <a:gd name="connsiteY2" fmla="*/ 2465406 h 2465405"/>
            </a:gdLst>
            <a:ahLst/>
            <a:cxnLst>
              <a:cxn ang="0">
                <a:pos x="connsiteX0" y="connsiteY0"/>
              </a:cxn>
              <a:cxn ang="0">
                <a:pos x="connsiteX1" y="connsiteY1"/>
              </a:cxn>
              <a:cxn ang="0">
                <a:pos x="connsiteX2" y="connsiteY2"/>
              </a:cxn>
            </a:cxnLst>
            <a:rect l="l" t="t" r="r" b="b"/>
            <a:pathLst>
              <a:path w="9083895" h="2465405">
                <a:moveTo>
                  <a:pt x="0" y="0"/>
                </a:moveTo>
                <a:lnTo>
                  <a:pt x="0" y="2465406"/>
                </a:lnTo>
                <a:lnTo>
                  <a:pt x="9083896" y="2465406"/>
                </a:lnTo>
              </a:path>
            </a:pathLst>
          </a:custGeom>
          <a:ln w="19050" cap="flat">
            <a:solidFill>
              <a:srgbClr val="002557"/>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grpSp>
        <p:nvGrpSpPr>
          <p:cNvPr id="844" name="Group 843">
            <a:extLst>
              <a:ext uri="{FF2B5EF4-FFF2-40B4-BE49-F238E27FC236}">
                <a16:creationId xmlns:a16="http://schemas.microsoft.com/office/drawing/2014/main" id="{AB33F3EE-E218-4BD5-84E3-5F7189CB48E2}"/>
              </a:ext>
            </a:extLst>
          </p:cNvPr>
          <p:cNvGrpSpPr/>
          <p:nvPr/>
        </p:nvGrpSpPr>
        <p:grpSpPr>
          <a:xfrm>
            <a:off x="1288807" y="1664911"/>
            <a:ext cx="9442507" cy="2082172"/>
            <a:chOff x="1295945" y="1923438"/>
            <a:chExt cx="3999226" cy="2082172"/>
          </a:xfrm>
        </p:grpSpPr>
        <p:sp>
          <p:nvSpPr>
            <p:cNvPr id="606" name="Freeform: Shape 605">
              <a:extLst>
                <a:ext uri="{FF2B5EF4-FFF2-40B4-BE49-F238E27FC236}">
                  <a16:creationId xmlns:a16="http://schemas.microsoft.com/office/drawing/2014/main" id="{BDED024C-7D24-4DF1-808A-CE59E6171D39}"/>
                </a:ext>
              </a:extLst>
            </p:cNvPr>
            <p:cNvSpPr/>
            <p:nvPr/>
          </p:nvSpPr>
          <p:spPr>
            <a:xfrm>
              <a:off x="1865640" y="2529185"/>
              <a:ext cx="17005" cy="97056"/>
            </a:xfrm>
            <a:custGeom>
              <a:avLst/>
              <a:gdLst>
                <a:gd name="connsiteX0" fmla="*/ 0 w 17005"/>
                <a:gd name="connsiteY0" fmla="*/ 0 h 97056"/>
                <a:gd name="connsiteX1" fmla="*/ 0 w 17005"/>
                <a:gd name="connsiteY1" fmla="*/ 97057 h 97056"/>
              </a:gdLst>
              <a:ahLst/>
              <a:cxnLst>
                <a:cxn ang="0">
                  <a:pos x="connsiteX0" y="connsiteY0"/>
                </a:cxn>
                <a:cxn ang="0">
                  <a:pos x="connsiteX1" y="connsiteY1"/>
                </a:cxn>
              </a:cxnLst>
              <a:rect l="l" t="t" r="r" b="b"/>
              <a:pathLst>
                <a:path w="17005" h="97056">
                  <a:moveTo>
                    <a:pt x="0" y="0"/>
                  </a:moveTo>
                  <a:lnTo>
                    <a:pt x="0" y="97057"/>
                  </a:lnTo>
                </a:path>
              </a:pathLst>
            </a:custGeom>
            <a:ln w="28575"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607" name="Freeform: Shape 606">
              <a:extLst>
                <a:ext uri="{FF2B5EF4-FFF2-40B4-BE49-F238E27FC236}">
                  <a16:creationId xmlns:a16="http://schemas.microsoft.com/office/drawing/2014/main" id="{F2D8C701-6E4B-45B7-B10C-5FD1A669A95F}"/>
                </a:ext>
              </a:extLst>
            </p:cNvPr>
            <p:cNvSpPr/>
            <p:nvPr/>
          </p:nvSpPr>
          <p:spPr>
            <a:xfrm>
              <a:off x="1938595" y="2595828"/>
              <a:ext cx="17005" cy="97056"/>
            </a:xfrm>
            <a:custGeom>
              <a:avLst/>
              <a:gdLst>
                <a:gd name="connsiteX0" fmla="*/ 0 w 17005"/>
                <a:gd name="connsiteY0" fmla="*/ 0 h 97056"/>
                <a:gd name="connsiteX1" fmla="*/ 0 w 17005"/>
                <a:gd name="connsiteY1" fmla="*/ 97057 h 97056"/>
              </a:gdLst>
              <a:ahLst/>
              <a:cxnLst>
                <a:cxn ang="0">
                  <a:pos x="connsiteX0" y="connsiteY0"/>
                </a:cxn>
                <a:cxn ang="0">
                  <a:pos x="connsiteX1" y="connsiteY1"/>
                </a:cxn>
              </a:cxnLst>
              <a:rect l="l" t="t" r="r" b="b"/>
              <a:pathLst>
                <a:path w="17005" h="97056">
                  <a:moveTo>
                    <a:pt x="0" y="0"/>
                  </a:moveTo>
                  <a:lnTo>
                    <a:pt x="0" y="97057"/>
                  </a:lnTo>
                </a:path>
              </a:pathLst>
            </a:custGeom>
            <a:ln w="28575"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608" name="Freeform: Shape 607">
              <a:extLst>
                <a:ext uri="{FF2B5EF4-FFF2-40B4-BE49-F238E27FC236}">
                  <a16:creationId xmlns:a16="http://schemas.microsoft.com/office/drawing/2014/main" id="{0A2131D5-13C9-4884-9B49-2ECA91DA3619}"/>
                </a:ext>
              </a:extLst>
            </p:cNvPr>
            <p:cNvSpPr/>
            <p:nvPr/>
          </p:nvSpPr>
          <p:spPr>
            <a:xfrm>
              <a:off x="3650571" y="3600984"/>
              <a:ext cx="17005" cy="96907"/>
            </a:xfrm>
            <a:custGeom>
              <a:avLst/>
              <a:gdLst>
                <a:gd name="connsiteX0" fmla="*/ 0 w 17005"/>
                <a:gd name="connsiteY0" fmla="*/ 0 h 96907"/>
                <a:gd name="connsiteX1" fmla="*/ 0 w 17005"/>
                <a:gd name="connsiteY1" fmla="*/ 96908 h 96907"/>
              </a:gdLst>
              <a:ahLst/>
              <a:cxnLst>
                <a:cxn ang="0">
                  <a:pos x="connsiteX0" y="connsiteY0"/>
                </a:cxn>
                <a:cxn ang="0">
                  <a:pos x="connsiteX1" y="connsiteY1"/>
                </a:cxn>
              </a:cxnLst>
              <a:rect l="l" t="t" r="r" b="b"/>
              <a:pathLst>
                <a:path w="17005" h="96907">
                  <a:moveTo>
                    <a:pt x="0" y="0"/>
                  </a:moveTo>
                  <a:lnTo>
                    <a:pt x="0" y="96908"/>
                  </a:lnTo>
                </a:path>
              </a:pathLst>
            </a:custGeom>
            <a:ln w="28575"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609" name="Freeform: Shape 608">
              <a:extLst>
                <a:ext uri="{FF2B5EF4-FFF2-40B4-BE49-F238E27FC236}">
                  <a16:creationId xmlns:a16="http://schemas.microsoft.com/office/drawing/2014/main" id="{DCAE8939-9E28-4EE5-90FE-A7EA9303A9EE}"/>
                </a:ext>
              </a:extLst>
            </p:cNvPr>
            <p:cNvSpPr/>
            <p:nvPr/>
          </p:nvSpPr>
          <p:spPr>
            <a:xfrm>
              <a:off x="3673869" y="3619173"/>
              <a:ext cx="17005" cy="97056"/>
            </a:xfrm>
            <a:custGeom>
              <a:avLst/>
              <a:gdLst>
                <a:gd name="connsiteX0" fmla="*/ 0 w 17005"/>
                <a:gd name="connsiteY0" fmla="*/ 0 h 97056"/>
                <a:gd name="connsiteX1" fmla="*/ 0 w 17005"/>
                <a:gd name="connsiteY1" fmla="*/ 97057 h 97056"/>
              </a:gdLst>
              <a:ahLst/>
              <a:cxnLst>
                <a:cxn ang="0">
                  <a:pos x="connsiteX0" y="connsiteY0"/>
                </a:cxn>
                <a:cxn ang="0">
                  <a:pos x="connsiteX1" y="connsiteY1"/>
                </a:cxn>
              </a:cxnLst>
              <a:rect l="l" t="t" r="r" b="b"/>
              <a:pathLst>
                <a:path w="17005" h="97056">
                  <a:moveTo>
                    <a:pt x="0" y="0"/>
                  </a:moveTo>
                  <a:lnTo>
                    <a:pt x="0" y="97057"/>
                  </a:lnTo>
                </a:path>
              </a:pathLst>
            </a:custGeom>
            <a:ln w="28575"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610" name="Freeform: Shape 609">
              <a:extLst>
                <a:ext uri="{FF2B5EF4-FFF2-40B4-BE49-F238E27FC236}">
                  <a16:creationId xmlns:a16="http://schemas.microsoft.com/office/drawing/2014/main" id="{4D68364A-1949-4FE5-B867-19EC1FE14885}"/>
                </a:ext>
              </a:extLst>
            </p:cNvPr>
            <p:cNvSpPr/>
            <p:nvPr/>
          </p:nvSpPr>
          <p:spPr>
            <a:xfrm>
              <a:off x="3702439" y="3619173"/>
              <a:ext cx="17005" cy="97056"/>
            </a:xfrm>
            <a:custGeom>
              <a:avLst/>
              <a:gdLst>
                <a:gd name="connsiteX0" fmla="*/ 0 w 17005"/>
                <a:gd name="connsiteY0" fmla="*/ 0 h 97056"/>
                <a:gd name="connsiteX1" fmla="*/ 0 w 17005"/>
                <a:gd name="connsiteY1" fmla="*/ 97057 h 97056"/>
              </a:gdLst>
              <a:ahLst/>
              <a:cxnLst>
                <a:cxn ang="0">
                  <a:pos x="connsiteX0" y="connsiteY0"/>
                </a:cxn>
                <a:cxn ang="0">
                  <a:pos x="connsiteX1" y="connsiteY1"/>
                </a:cxn>
              </a:cxnLst>
              <a:rect l="l" t="t" r="r" b="b"/>
              <a:pathLst>
                <a:path w="17005" h="97056">
                  <a:moveTo>
                    <a:pt x="0" y="0"/>
                  </a:moveTo>
                  <a:lnTo>
                    <a:pt x="0" y="97057"/>
                  </a:lnTo>
                </a:path>
              </a:pathLst>
            </a:custGeom>
            <a:ln w="28575"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611" name="Freeform: Shape 610">
              <a:extLst>
                <a:ext uri="{FF2B5EF4-FFF2-40B4-BE49-F238E27FC236}">
                  <a16:creationId xmlns:a16="http://schemas.microsoft.com/office/drawing/2014/main" id="{2DAA19D8-0410-4C24-B3D6-CEE7A4BF4256}"/>
                </a:ext>
              </a:extLst>
            </p:cNvPr>
            <p:cNvSpPr/>
            <p:nvPr/>
          </p:nvSpPr>
          <p:spPr>
            <a:xfrm>
              <a:off x="3718085" y="3619173"/>
              <a:ext cx="17005" cy="97056"/>
            </a:xfrm>
            <a:custGeom>
              <a:avLst/>
              <a:gdLst>
                <a:gd name="connsiteX0" fmla="*/ 0 w 17005"/>
                <a:gd name="connsiteY0" fmla="*/ 0 h 97056"/>
                <a:gd name="connsiteX1" fmla="*/ 0 w 17005"/>
                <a:gd name="connsiteY1" fmla="*/ 97057 h 97056"/>
              </a:gdLst>
              <a:ahLst/>
              <a:cxnLst>
                <a:cxn ang="0">
                  <a:pos x="connsiteX0" y="connsiteY0"/>
                </a:cxn>
                <a:cxn ang="0">
                  <a:pos x="connsiteX1" y="connsiteY1"/>
                </a:cxn>
              </a:cxnLst>
              <a:rect l="l" t="t" r="r" b="b"/>
              <a:pathLst>
                <a:path w="17005" h="97056">
                  <a:moveTo>
                    <a:pt x="0" y="0"/>
                  </a:moveTo>
                  <a:lnTo>
                    <a:pt x="0" y="97057"/>
                  </a:lnTo>
                </a:path>
              </a:pathLst>
            </a:custGeom>
            <a:ln w="28575"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612" name="Freeform: Shape 611">
              <a:extLst>
                <a:ext uri="{FF2B5EF4-FFF2-40B4-BE49-F238E27FC236}">
                  <a16:creationId xmlns:a16="http://schemas.microsoft.com/office/drawing/2014/main" id="{3C0AB2AA-7CDB-4EAE-B6FF-4C493133C9C8}"/>
                </a:ext>
              </a:extLst>
            </p:cNvPr>
            <p:cNvSpPr/>
            <p:nvPr/>
          </p:nvSpPr>
          <p:spPr>
            <a:xfrm>
              <a:off x="3759749" y="3639747"/>
              <a:ext cx="17005" cy="96907"/>
            </a:xfrm>
            <a:custGeom>
              <a:avLst/>
              <a:gdLst>
                <a:gd name="connsiteX0" fmla="*/ 0 w 17005"/>
                <a:gd name="connsiteY0" fmla="*/ 0 h 96907"/>
                <a:gd name="connsiteX1" fmla="*/ 0 w 17005"/>
                <a:gd name="connsiteY1" fmla="*/ 96908 h 96907"/>
              </a:gdLst>
              <a:ahLst/>
              <a:cxnLst>
                <a:cxn ang="0">
                  <a:pos x="connsiteX0" y="connsiteY0"/>
                </a:cxn>
                <a:cxn ang="0">
                  <a:pos x="connsiteX1" y="connsiteY1"/>
                </a:cxn>
              </a:cxnLst>
              <a:rect l="l" t="t" r="r" b="b"/>
              <a:pathLst>
                <a:path w="17005" h="96907">
                  <a:moveTo>
                    <a:pt x="0" y="0"/>
                  </a:moveTo>
                  <a:lnTo>
                    <a:pt x="0" y="96908"/>
                  </a:lnTo>
                </a:path>
              </a:pathLst>
            </a:custGeom>
            <a:ln w="28575"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613" name="Freeform: Shape 612">
              <a:extLst>
                <a:ext uri="{FF2B5EF4-FFF2-40B4-BE49-F238E27FC236}">
                  <a16:creationId xmlns:a16="http://schemas.microsoft.com/office/drawing/2014/main" id="{38F936EE-0E7C-4258-B2C9-41BC8E90E884}"/>
                </a:ext>
              </a:extLst>
            </p:cNvPr>
            <p:cNvSpPr/>
            <p:nvPr/>
          </p:nvSpPr>
          <p:spPr>
            <a:xfrm>
              <a:off x="3776585" y="3647649"/>
              <a:ext cx="17005" cy="97056"/>
            </a:xfrm>
            <a:custGeom>
              <a:avLst/>
              <a:gdLst>
                <a:gd name="connsiteX0" fmla="*/ 0 w 17005"/>
                <a:gd name="connsiteY0" fmla="*/ 0 h 97056"/>
                <a:gd name="connsiteX1" fmla="*/ 0 w 17005"/>
                <a:gd name="connsiteY1" fmla="*/ 97057 h 97056"/>
              </a:gdLst>
              <a:ahLst/>
              <a:cxnLst>
                <a:cxn ang="0">
                  <a:pos x="connsiteX0" y="connsiteY0"/>
                </a:cxn>
                <a:cxn ang="0">
                  <a:pos x="connsiteX1" y="connsiteY1"/>
                </a:cxn>
              </a:cxnLst>
              <a:rect l="l" t="t" r="r" b="b"/>
              <a:pathLst>
                <a:path w="17005" h="97056">
                  <a:moveTo>
                    <a:pt x="0" y="0"/>
                  </a:moveTo>
                  <a:lnTo>
                    <a:pt x="0" y="97057"/>
                  </a:lnTo>
                </a:path>
              </a:pathLst>
            </a:custGeom>
            <a:ln w="28575"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614" name="Freeform: Shape 613">
              <a:extLst>
                <a:ext uri="{FF2B5EF4-FFF2-40B4-BE49-F238E27FC236}">
                  <a16:creationId xmlns:a16="http://schemas.microsoft.com/office/drawing/2014/main" id="{19647725-58DF-4EC0-ABCF-E1664781302E}"/>
                </a:ext>
              </a:extLst>
            </p:cNvPr>
            <p:cNvSpPr/>
            <p:nvPr/>
          </p:nvSpPr>
          <p:spPr>
            <a:xfrm>
              <a:off x="3794781" y="3655700"/>
              <a:ext cx="17005" cy="96907"/>
            </a:xfrm>
            <a:custGeom>
              <a:avLst/>
              <a:gdLst>
                <a:gd name="connsiteX0" fmla="*/ 0 w 17005"/>
                <a:gd name="connsiteY0" fmla="*/ 0 h 96907"/>
                <a:gd name="connsiteX1" fmla="*/ 0 w 17005"/>
                <a:gd name="connsiteY1" fmla="*/ 96908 h 96907"/>
              </a:gdLst>
              <a:ahLst/>
              <a:cxnLst>
                <a:cxn ang="0">
                  <a:pos x="connsiteX0" y="connsiteY0"/>
                </a:cxn>
                <a:cxn ang="0">
                  <a:pos x="connsiteX1" y="connsiteY1"/>
                </a:cxn>
              </a:cxnLst>
              <a:rect l="l" t="t" r="r" b="b"/>
              <a:pathLst>
                <a:path w="17005" h="96907">
                  <a:moveTo>
                    <a:pt x="0" y="0"/>
                  </a:moveTo>
                  <a:lnTo>
                    <a:pt x="0" y="96908"/>
                  </a:lnTo>
                </a:path>
              </a:pathLst>
            </a:custGeom>
            <a:ln w="28575"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615" name="Freeform: Shape 614">
              <a:extLst>
                <a:ext uri="{FF2B5EF4-FFF2-40B4-BE49-F238E27FC236}">
                  <a16:creationId xmlns:a16="http://schemas.microsoft.com/office/drawing/2014/main" id="{438DD9E9-8225-4EE4-B356-C1D1D4231F8D}"/>
                </a:ext>
              </a:extLst>
            </p:cNvPr>
            <p:cNvSpPr/>
            <p:nvPr/>
          </p:nvSpPr>
          <p:spPr>
            <a:xfrm>
              <a:off x="3841547" y="3655700"/>
              <a:ext cx="17005" cy="96907"/>
            </a:xfrm>
            <a:custGeom>
              <a:avLst/>
              <a:gdLst>
                <a:gd name="connsiteX0" fmla="*/ 0 w 17005"/>
                <a:gd name="connsiteY0" fmla="*/ 0 h 96907"/>
                <a:gd name="connsiteX1" fmla="*/ 0 w 17005"/>
                <a:gd name="connsiteY1" fmla="*/ 96908 h 96907"/>
              </a:gdLst>
              <a:ahLst/>
              <a:cxnLst>
                <a:cxn ang="0">
                  <a:pos x="connsiteX0" y="connsiteY0"/>
                </a:cxn>
                <a:cxn ang="0">
                  <a:pos x="connsiteX1" y="connsiteY1"/>
                </a:cxn>
              </a:cxnLst>
              <a:rect l="l" t="t" r="r" b="b"/>
              <a:pathLst>
                <a:path w="17005" h="96907">
                  <a:moveTo>
                    <a:pt x="0" y="0"/>
                  </a:moveTo>
                  <a:lnTo>
                    <a:pt x="0" y="96908"/>
                  </a:lnTo>
                </a:path>
              </a:pathLst>
            </a:custGeom>
            <a:ln w="28575"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616" name="Freeform: Shape 615">
              <a:extLst>
                <a:ext uri="{FF2B5EF4-FFF2-40B4-BE49-F238E27FC236}">
                  <a16:creationId xmlns:a16="http://schemas.microsoft.com/office/drawing/2014/main" id="{5971E55B-4239-47CE-8D83-A8F6A7B61357}"/>
                </a:ext>
              </a:extLst>
            </p:cNvPr>
            <p:cNvSpPr/>
            <p:nvPr/>
          </p:nvSpPr>
          <p:spPr>
            <a:xfrm>
              <a:off x="3868926" y="3667031"/>
              <a:ext cx="17005" cy="97056"/>
            </a:xfrm>
            <a:custGeom>
              <a:avLst/>
              <a:gdLst>
                <a:gd name="connsiteX0" fmla="*/ 0 w 17005"/>
                <a:gd name="connsiteY0" fmla="*/ 0 h 97056"/>
                <a:gd name="connsiteX1" fmla="*/ 0 w 17005"/>
                <a:gd name="connsiteY1" fmla="*/ 97057 h 97056"/>
              </a:gdLst>
              <a:ahLst/>
              <a:cxnLst>
                <a:cxn ang="0">
                  <a:pos x="connsiteX0" y="connsiteY0"/>
                </a:cxn>
                <a:cxn ang="0">
                  <a:pos x="connsiteX1" y="connsiteY1"/>
                </a:cxn>
              </a:cxnLst>
              <a:rect l="l" t="t" r="r" b="b"/>
              <a:pathLst>
                <a:path w="17005" h="97056">
                  <a:moveTo>
                    <a:pt x="0" y="0"/>
                  </a:moveTo>
                  <a:lnTo>
                    <a:pt x="0" y="97057"/>
                  </a:lnTo>
                </a:path>
              </a:pathLst>
            </a:custGeom>
            <a:ln w="28575"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617" name="Freeform: Shape 616">
              <a:extLst>
                <a:ext uri="{FF2B5EF4-FFF2-40B4-BE49-F238E27FC236}">
                  <a16:creationId xmlns:a16="http://schemas.microsoft.com/office/drawing/2014/main" id="{4385B7CE-2E4C-4B07-8631-7D5B549EFA87}"/>
                </a:ext>
              </a:extLst>
            </p:cNvPr>
            <p:cNvSpPr/>
            <p:nvPr/>
          </p:nvSpPr>
          <p:spPr>
            <a:xfrm>
              <a:off x="3902598" y="3684176"/>
              <a:ext cx="17005" cy="96907"/>
            </a:xfrm>
            <a:custGeom>
              <a:avLst/>
              <a:gdLst>
                <a:gd name="connsiteX0" fmla="*/ 0 w 17005"/>
                <a:gd name="connsiteY0" fmla="*/ 0 h 96907"/>
                <a:gd name="connsiteX1" fmla="*/ 0 w 17005"/>
                <a:gd name="connsiteY1" fmla="*/ 96908 h 96907"/>
              </a:gdLst>
              <a:ahLst/>
              <a:cxnLst>
                <a:cxn ang="0">
                  <a:pos x="connsiteX0" y="connsiteY0"/>
                </a:cxn>
                <a:cxn ang="0">
                  <a:pos x="connsiteX1" y="connsiteY1"/>
                </a:cxn>
              </a:cxnLst>
              <a:rect l="l" t="t" r="r" b="b"/>
              <a:pathLst>
                <a:path w="17005" h="96907">
                  <a:moveTo>
                    <a:pt x="0" y="0"/>
                  </a:moveTo>
                  <a:lnTo>
                    <a:pt x="0" y="96908"/>
                  </a:lnTo>
                </a:path>
              </a:pathLst>
            </a:custGeom>
            <a:ln w="28575"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618" name="Freeform: Shape 617">
              <a:extLst>
                <a:ext uri="{FF2B5EF4-FFF2-40B4-BE49-F238E27FC236}">
                  <a16:creationId xmlns:a16="http://schemas.microsoft.com/office/drawing/2014/main" id="{B668653F-0067-42C5-83F4-DCF682235441}"/>
                </a:ext>
              </a:extLst>
            </p:cNvPr>
            <p:cNvSpPr/>
            <p:nvPr/>
          </p:nvSpPr>
          <p:spPr>
            <a:xfrm>
              <a:off x="3929977" y="3684176"/>
              <a:ext cx="17005" cy="96907"/>
            </a:xfrm>
            <a:custGeom>
              <a:avLst/>
              <a:gdLst>
                <a:gd name="connsiteX0" fmla="*/ 0 w 17005"/>
                <a:gd name="connsiteY0" fmla="*/ 0 h 96907"/>
                <a:gd name="connsiteX1" fmla="*/ 0 w 17005"/>
                <a:gd name="connsiteY1" fmla="*/ 96908 h 96907"/>
              </a:gdLst>
              <a:ahLst/>
              <a:cxnLst>
                <a:cxn ang="0">
                  <a:pos x="connsiteX0" y="connsiteY0"/>
                </a:cxn>
                <a:cxn ang="0">
                  <a:pos x="connsiteX1" y="connsiteY1"/>
                </a:cxn>
              </a:cxnLst>
              <a:rect l="l" t="t" r="r" b="b"/>
              <a:pathLst>
                <a:path w="17005" h="96907">
                  <a:moveTo>
                    <a:pt x="0" y="0"/>
                  </a:moveTo>
                  <a:lnTo>
                    <a:pt x="0" y="96908"/>
                  </a:lnTo>
                </a:path>
              </a:pathLst>
            </a:custGeom>
            <a:ln w="28575"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619" name="Freeform: Shape 618">
              <a:extLst>
                <a:ext uri="{FF2B5EF4-FFF2-40B4-BE49-F238E27FC236}">
                  <a16:creationId xmlns:a16="http://schemas.microsoft.com/office/drawing/2014/main" id="{38FE7CB7-E553-4A65-8A22-1E4DDFF09CF6}"/>
                </a:ext>
              </a:extLst>
            </p:cNvPr>
            <p:cNvSpPr/>
            <p:nvPr/>
          </p:nvSpPr>
          <p:spPr>
            <a:xfrm>
              <a:off x="3953445" y="3701172"/>
              <a:ext cx="17005" cy="97056"/>
            </a:xfrm>
            <a:custGeom>
              <a:avLst/>
              <a:gdLst>
                <a:gd name="connsiteX0" fmla="*/ 0 w 17005"/>
                <a:gd name="connsiteY0" fmla="*/ 0 h 97056"/>
                <a:gd name="connsiteX1" fmla="*/ 0 w 17005"/>
                <a:gd name="connsiteY1" fmla="*/ 97057 h 97056"/>
              </a:gdLst>
              <a:ahLst/>
              <a:cxnLst>
                <a:cxn ang="0">
                  <a:pos x="connsiteX0" y="connsiteY0"/>
                </a:cxn>
                <a:cxn ang="0">
                  <a:pos x="connsiteX1" y="connsiteY1"/>
                </a:cxn>
              </a:cxnLst>
              <a:rect l="l" t="t" r="r" b="b"/>
              <a:pathLst>
                <a:path w="17005" h="97056">
                  <a:moveTo>
                    <a:pt x="0" y="0"/>
                  </a:moveTo>
                  <a:lnTo>
                    <a:pt x="0" y="97057"/>
                  </a:lnTo>
                </a:path>
              </a:pathLst>
            </a:custGeom>
            <a:ln w="28575"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620" name="Freeform: Shape 619">
              <a:extLst>
                <a:ext uri="{FF2B5EF4-FFF2-40B4-BE49-F238E27FC236}">
                  <a16:creationId xmlns:a16="http://schemas.microsoft.com/office/drawing/2014/main" id="{A36DE60C-E4C6-4441-A238-D20629C20F5F}"/>
                </a:ext>
              </a:extLst>
            </p:cNvPr>
            <p:cNvSpPr/>
            <p:nvPr/>
          </p:nvSpPr>
          <p:spPr>
            <a:xfrm>
              <a:off x="3976743" y="3729648"/>
              <a:ext cx="17005" cy="97056"/>
            </a:xfrm>
            <a:custGeom>
              <a:avLst/>
              <a:gdLst>
                <a:gd name="connsiteX0" fmla="*/ 0 w 17005"/>
                <a:gd name="connsiteY0" fmla="*/ 0 h 97056"/>
                <a:gd name="connsiteX1" fmla="*/ 0 w 17005"/>
                <a:gd name="connsiteY1" fmla="*/ 97057 h 97056"/>
              </a:gdLst>
              <a:ahLst/>
              <a:cxnLst>
                <a:cxn ang="0">
                  <a:pos x="connsiteX0" y="connsiteY0"/>
                </a:cxn>
                <a:cxn ang="0">
                  <a:pos x="connsiteX1" y="connsiteY1"/>
                </a:cxn>
              </a:cxnLst>
              <a:rect l="l" t="t" r="r" b="b"/>
              <a:pathLst>
                <a:path w="17005" h="97056">
                  <a:moveTo>
                    <a:pt x="0" y="0"/>
                  </a:moveTo>
                  <a:lnTo>
                    <a:pt x="0" y="97057"/>
                  </a:lnTo>
                </a:path>
              </a:pathLst>
            </a:custGeom>
            <a:ln w="28575"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621" name="Freeform: Shape 620">
              <a:extLst>
                <a:ext uri="{FF2B5EF4-FFF2-40B4-BE49-F238E27FC236}">
                  <a16:creationId xmlns:a16="http://schemas.microsoft.com/office/drawing/2014/main" id="{2AAEEDC6-C019-46BE-9F69-863A8407560F}"/>
                </a:ext>
              </a:extLst>
            </p:cNvPr>
            <p:cNvSpPr/>
            <p:nvPr/>
          </p:nvSpPr>
          <p:spPr>
            <a:xfrm>
              <a:off x="4019598" y="3729648"/>
              <a:ext cx="17005" cy="97056"/>
            </a:xfrm>
            <a:custGeom>
              <a:avLst/>
              <a:gdLst>
                <a:gd name="connsiteX0" fmla="*/ 0 w 17005"/>
                <a:gd name="connsiteY0" fmla="*/ 0 h 97056"/>
                <a:gd name="connsiteX1" fmla="*/ 0 w 17005"/>
                <a:gd name="connsiteY1" fmla="*/ 97057 h 97056"/>
              </a:gdLst>
              <a:ahLst/>
              <a:cxnLst>
                <a:cxn ang="0">
                  <a:pos x="connsiteX0" y="connsiteY0"/>
                </a:cxn>
                <a:cxn ang="0">
                  <a:pos x="connsiteX1" y="connsiteY1"/>
                </a:cxn>
              </a:cxnLst>
              <a:rect l="l" t="t" r="r" b="b"/>
              <a:pathLst>
                <a:path w="17005" h="97056">
                  <a:moveTo>
                    <a:pt x="0" y="0"/>
                  </a:moveTo>
                  <a:lnTo>
                    <a:pt x="0" y="97057"/>
                  </a:lnTo>
                </a:path>
              </a:pathLst>
            </a:custGeom>
            <a:ln w="28575"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622" name="Freeform: Shape 621">
              <a:extLst>
                <a:ext uri="{FF2B5EF4-FFF2-40B4-BE49-F238E27FC236}">
                  <a16:creationId xmlns:a16="http://schemas.microsoft.com/office/drawing/2014/main" id="{93C1FF5C-B944-4393-8B1E-22A1B86177BE}"/>
                </a:ext>
              </a:extLst>
            </p:cNvPr>
            <p:cNvSpPr/>
            <p:nvPr/>
          </p:nvSpPr>
          <p:spPr>
            <a:xfrm>
              <a:off x="4036604" y="3752458"/>
              <a:ext cx="17005" cy="97056"/>
            </a:xfrm>
            <a:custGeom>
              <a:avLst/>
              <a:gdLst>
                <a:gd name="connsiteX0" fmla="*/ 0 w 17005"/>
                <a:gd name="connsiteY0" fmla="*/ 0 h 97056"/>
                <a:gd name="connsiteX1" fmla="*/ 0 w 17005"/>
                <a:gd name="connsiteY1" fmla="*/ 97057 h 97056"/>
              </a:gdLst>
              <a:ahLst/>
              <a:cxnLst>
                <a:cxn ang="0">
                  <a:pos x="connsiteX0" y="connsiteY0"/>
                </a:cxn>
                <a:cxn ang="0">
                  <a:pos x="connsiteX1" y="connsiteY1"/>
                </a:cxn>
              </a:cxnLst>
              <a:rect l="l" t="t" r="r" b="b"/>
              <a:pathLst>
                <a:path w="17005" h="97056">
                  <a:moveTo>
                    <a:pt x="0" y="0"/>
                  </a:moveTo>
                  <a:lnTo>
                    <a:pt x="0" y="97057"/>
                  </a:lnTo>
                </a:path>
              </a:pathLst>
            </a:custGeom>
            <a:ln w="28575"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623" name="Freeform: Shape 622">
              <a:extLst>
                <a:ext uri="{FF2B5EF4-FFF2-40B4-BE49-F238E27FC236}">
                  <a16:creationId xmlns:a16="http://schemas.microsoft.com/office/drawing/2014/main" id="{69CC6BA2-107C-4E5F-8957-85EEE9027D60}"/>
                </a:ext>
              </a:extLst>
            </p:cNvPr>
            <p:cNvSpPr/>
            <p:nvPr/>
          </p:nvSpPr>
          <p:spPr>
            <a:xfrm>
              <a:off x="4083370" y="3752458"/>
              <a:ext cx="17005" cy="97056"/>
            </a:xfrm>
            <a:custGeom>
              <a:avLst/>
              <a:gdLst>
                <a:gd name="connsiteX0" fmla="*/ 0 w 17005"/>
                <a:gd name="connsiteY0" fmla="*/ 0 h 97056"/>
                <a:gd name="connsiteX1" fmla="*/ 0 w 17005"/>
                <a:gd name="connsiteY1" fmla="*/ 97057 h 97056"/>
              </a:gdLst>
              <a:ahLst/>
              <a:cxnLst>
                <a:cxn ang="0">
                  <a:pos x="connsiteX0" y="connsiteY0"/>
                </a:cxn>
                <a:cxn ang="0">
                  <a:pos x="connsiteX1" y="connsiteY1"/>
                </a:cxn>
              </a:cxnLst>
              <a:rect l="l" t="t" r="r" b="b"/>
              <a:pathLst>
                <a:path w="17005" h="97056">
                  <a:moveTo>
                    <a:pt x="0" y="0"/>
                  </a:moveTo>
                  <a:lnTo>
                    <a:pt x="0" y="97057"/>
                  </a:lnTo>
                </a:path>
              </a:pathLst>
            </a:custGeom>
            <a:ln w="28575"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624" name="Freeform: Shape 623">
              <a:extLst>
                <a:ext uri="{FF2B5EF4-FFF2-40B4-BE49-F238E27FC236}">
                  <a16:creationId xmlns:a16="http://schemas.microsoft.com/office/drawing/2014/main" id="{9841393F-399E-498E-BCF9-D855751D2832}"/>
                </a:ext>
              </a:extLst>
            </p:cNvPr>
            <p:cNvSpPr/>
            <p:nvPr/>
          </p:nvSpPr>
          <p:spPr>
            <a:xfrm>
              <a:off x="4118402" y="3798080"/>
              <a:ext cx="17005" cy="97056"/>
            </a:xfrm>
            <a:custGeom>
              <a:avLst/>
              <a:gdLst>
                <a:gd name="connsiteX0" fmla="*/ 0 w 17005"/>
                <a:gd name="connsiteY0" fmla="*/ 0 h 97056"/>
                <a:gd name="connsiteX1" fmla="*/ 0 w 17005"/>
                <a:gd name="connsiteY1" fmla="*/ 97057 h 97056"/>
              </a:gdLst>
              <a:ahLst/>
              <a:cxnLst>
                <a:cxn ang="0">
                  <a:pos x="connsiteX0" y="connsiteY0"/>
                </a:cxn>
                <a:cxn ang="0">
                  <a:pos x="connsiteX1" y="connsiteY1"/>
                </a:cxn>
              </a:cxnLst>
              <a:rect l="l" t="t" r="r" b="b"/>
              <a:pathLst>
                <a:path w="17005" h="97056">
                  <a:moveTo>
                    <a:pt x="0" y="0"/>
                  </a:moveTo>
                  <a:lnTo>
                    <a:pt x="0" y="97057"/>
                  </a:lnTo>
                </a:path>
              </a:pathLst>
            </a:custGeom>
            <a:ln w="28575"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625" name="Freeform: Shape 624">
              <a:extLst>
                <a:ext uri="{FF2B5EF4-FFF2-40B4-BE49-F238E27FC236}">
                  <a16:creationId xmlns:a16="http://schemas.microsoft.com/office/drawing/2014/main" id="{11AAEAED-A7C8-4E14-898E-E1BF50F5D403}"/>
                </a:ext>
              </a:extLst>
            </p:cNvPr>
            <p:cNvSpPr/>
            <p:nvPr/>
          </p:nvSpPr>
          <p:spPr>
            <a:xfrm>
              <a:off x="4135407" y="3798080"/>
              <a:ext cx="17005" cy="97056"/>
            </a:xfrm>
            <a:custGeom>
              <a:avLst/>
              <a:gdLst>
                <a:gd name="connsiteX0" fmla="*/ 0 w 17005"/>
                <a:gd name="connsiteY0" fmla="*/ 0 h 97056"/>
                <a:gd name="connsiteX1" fmla="*/ 0 w 17005"/>
                <a:gd name="connsiteY1" fmla="*/ 97057 h 97056"/>
              </a:gdLst>
              <a:ahLst/>
              <a:cxnLst>
                <a:cxn ang="0">
                  <a:pos x="connsiteX0" y="connsiteY0"/>
                </a:cxn>
                <a:cxn ang="0">
                  <a:pos x="connsiteX1" y="connsiteY1"/>
                </a:cxn>
              </a:cxnLst>
              <a:rect l="l" t="t" r="r" b="b"/>
              <a:pathLst>
                <a:path w="17005" h="97056">
                  <a:moveTo>
                    <a:pt x="0" y="0"/>
                  </a:moveTo>
                  <a:lnTo>
                    <a:pt x="0" y="97057"/>
                  </a:lnTo>
                </a:path>
              </a:pathLst>
            </a:custGeom>
            <a:ln w="28575"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626" name="Freeform: Shape 625">
              <a:extLst>
                <a:ext uri="{FF2B5EF4-FFF2-40B4-BE49-F238E27FC236}">
                  <a16:creationId xmlns:a16="http://schemas.microsoft.com/office/drawing/2014/main" id="{189A1483-FD52-4B65-9560-6F2F8781D376}"/>
                </a:ext>
              </a:extLst>
            </p:cNvPr>
            <p:cNvSpPr/>
            <p:nvPr/>
          </p:nvSpPr>
          <p:spPr>
            <a:xfrm>
              <a:off x="4154794" y="3798080"/>
              <a:ext cx="17005" cy="97056"/>
            </a:xfrm>
            <a:custGeom>
              <a:avLst/>
              <a:gdLst>
                <a:gd name="connsiteX0" fmla="*/ 0 w 17005"/>
                <a:gd name="connsiteY0" fmla="*/ 0 h 97056"/>
                <a:gd name="connsiteX1" fmla="*/ 0 w 17005"/>
                <a:gd name="connsiteY1" fmla="*/ 97057 h 97056"/>
              </a:gdLst>
              <a:ahLst/>
              <a:cxnLst>
                <a:cxn ang="0">
                  <a:pos x="connsiteX0" y="connsiteY0"/>
                </a:cxn>
                <a:cxn ang="0">
                  <a:pos x="connsiteX1" y="connsiteY1"/>
                </a:cxn>
              </a:cxnLst>
              <a:rect l="l" t="t" r="r" b="b"/>
              <a:pathLst>
                <a:path w="17005" h="97056">
                  <a:moveTo>
                    <a:pt x="0" y="0"/>
                  </a:moveTo>
                  <a:lnTo>
                    <a:pt x="0" y="97057"/>
                  </a:lnTo>
                </a:path>
              </a:pathLst>
            </a:custGeom>
            <a:ln w="28575"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627" name="Freeform: Shape 626">
              <a:extLst>
                <a:ext uri="{FF2B5EF4-FFF2-40B4-BE49-F238E27FC236}">
                  <a16:creationId xmlns:a16="http://schemas.microsoft.com/office/drawing/2014/main" id="{C5362975-73BB-4110-9280-FAAE1E3E2A8D}"/>
                </a:ext>
              </a:extLst>
            </p:cNvPr>
            <p:cNvSpPr/>
            <p:nvPr/>
          </p:nvSpPr>
          <p:spPr>
            <a:xfrm>
              <a:off x="4184724" y="3798080"/>
              <a:ext cx="17005" cy="97056"/>
            </a:xfrm>
            <a:custGeom>
              <a:avLst/>
              <a:gdLst>
                <a:gd name="connsiteX0" fmla="*/ 0 w 17005"/>
                <a:gd name="connsiteY0" fmla="*/ 0 h 97056"/>
                <a:gd name="connsiteX1" fmla="*/ 0 w 17005"/>
                <a:gd name="connsiteY1" fmla="*/ 97057 h 97056"/>
              </a:gdLst>
              <a:ahLst/>
              <a:cxnLst>
                <a:cxn ang="0">
                  <a:pos x="connsiteX0" y="connsiteY0"/>
                </a:cxn>
                <a:cxn ang="0">
                  <a:pos x="connsiteX1" y="connsiteY1"/>
                </a:cxn>
              </a:cxnLst>
              <a:rect l="l" t="t" r="r" b="b"/>
              <a:pathLst>
                <a:path w="17005" h="97056">
                  <a:moveTo>
                    <a:pt x="0" y="0"/>
                  </a:moveTo>
                  <a:lnTo>
                    <a:pt x="0" y="97057"/>
                  </a:lnTo>
                </a:path>
              </a:pathLst>
            </a:custGeom>
            <a:ln w="28575"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628" name="Freeform: Shape 627">
              <a:extLst>
                <a:ext uri="{FF2B5EF4-FFF2-40B4-BE49-F238E27FC236}">
                  <a16:creationId xmlns:a16="http://schemas.microsoft.com/office/drawing/2014/main" id="{6F91D1FD-D028-419E-AD1E-88F47A36E6EE}"/>
                </a:ext>
              </a:extLst>
            </p:cNvPr>
            <p:cNvSpPr/>
            <p:nvPr/>
          </p:nvSpPr>
          <p:spPr>
            <a:xfrm>
              <a:off x="4219756" y="3818654"/>
              <a:ext cx="17005" cy="96907"/>
            </a:xfrm>
            <a:custGeom>
              <a:avLst/>
              <a:gdLst>
                <a:gd name="connsiteX0" fmla="*/ 0 w 17005"/>
                <a:gd name="connsiteY0" fmla="*/ 0 h 96907"/>
                <a:gd name="connsiteX1" fmla="*/ 0 w 17005"/>
                <a:gd name="connsiteY1" fmla="*/ 96908 h 96907"/>
              </a:gdLst>
              <a:ahLst/>
              <a:cxnLst>
                <a:cxn ang="0">
                  <a:pos x="connsiteX0" y="connsiteY0"/>
                </a:cxn>
                <a:cxn ang="0">
                  <a:pos x="connsiteX1" y="connsiteY1"/>
                </a:cxn>
              </a:cxnLst>
              <a:rect l="l" t="t" r="r" b="b"/>
              <a:pathLst>
                <a:path w="17005" h="96907">
                  <a:moveTo>
                    <a:pt x="0" y="0"/>
                  </a:moveTo>
                  <a:lnTo>
                    <a:pt x="0" y="96908"/>
                  </a:lnTo>
                </a:path>
              </a:pathLst>
            </a:custGeom>
            <a:ln w="28575"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629" name="Freeform: Shape 628">
              <a:extLst>
                <a:ext uri="{FF2B5EF4-FFF2-40B4-BE49-F238E27FC236}">
                  <a16:creationId xmlns:a16="http://schemas.microsoft.com/office/drawing/2014/main" id="{F0CDA640-F490-4DAB-9AFE-A21E1F271EC2}"/>
                </a:ext>
              </a:extLst>
            </p:cNvPr>
            <p:cNvSpPr/>
            <p:nvPr/>
          </p:nvSpPr>
          <p:spPr>
            <a:xfrm>
              <a:off x="4236762" y="3818654"/>
              <a:ext cx="17005" cy="96907"/>
            </a:xfrm>
            <a:custGeom>
              <a:avLst/>
              <a:gdLst>
                <a:gd name="connsiteX0" fmla="*/ 0 w 17005"/>
                <a:gd name="connsiteY0" fmla="*/ 0 h 96907"/>
                <a:gd name="connsiteX1" fmla="*/ 0 w 17005"/>
                <a:gd name="connsiteY1" fmla="*/ 96908 h 96907"/>
              </a:gdLst>
              <a:ahLst/>
              <a:cxnLst>
                <a:cxn ang="0">
                  <a:pos x="connsiteX0" y="connsiteY0"/>
                </a:cxn>
                <a:cxn ang="0">
                  <a:pos x="connsiteX1" y="connsiteY1"/>
                </a:cxn>
              </a:cxnLst>
              <a:rect l="l" t="t" r="r" b="b"/>
              <a:pathLst>
                <a:path w="17005" h="96907">
                  <a:moveTo>
                    <a:pt x="0" y="0"/>
                  </a:moveTo>
                  <a:lnTo>
                    <a:pt x="0" y="96908"/>
                  </a:lnTo>
                </a:path>
              </a:pathLst>
            </a:custGeom>
            <a:ln w="28575"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630" name="Freeform: Shape 629">
              <a:extLst>
                <a:ext uri="{FF2B5EF4-FFF2-40B4-BE49-F238E27FC236}">
                  <a16:creationId xmlns:a16="http://schemas.microsoft.com/office/drawing/2014/main" id="{A00336DE-2C12-4DEC-808B-8D172369E4EC}"/>
                </a:ext>
              </a:extLst>
            </p:cNvPr>
            <p:cNvSpPr/>
            <p:nvPr/>
          </p:nvSpPr>
          <p:spPr>
            <a:xfrm>
              <a:off x="4291351" y="3818654"/>
              <a:ext cx="17005" cy="96907"/>
            </a:xfrm>
            <a:custGeom>
              <a:avLst/>
              <a:gdLst>
                <a:gd name="connsiteX0" fmla="*/ 0 w 17005"/>
                <a:gd name="connsiteY0" fmla="*/ 0 h 96907"/>
                <a:gd name="connsiteX1" fmla="*/ 0 w 17005"/>
                <a:gd name="connsiteY1" fmla="*/ 96908 h 96907"/>
              </a:gdLst>
              <a:ahLst/>
              <a:cxnLst>
                <a:cxn ang="0">
                  <a:pos x="connsiteX0" y="connsiteY0"/>
                </a:cxn>
                <a:cxn ang="0">
                  <a:pos x="connsiteX1" y="connsiteY1"/>
                </a:cxn>
              </a:cxnLst>
              <a:rect l="l" t="t" r="r" b="b"/>
              <a:pathLst>
                <a:path w="17005" h="96907">
                  <a:moveTo>
                    <a:pt x="0" y="0"/>
                  </a:moveTo>
                  <a:lnTo>
                    <a:pt x="0" y="96908"/>
                  </a:lnTo>
                </a:path>
              </a:pathLst>
            </a:custGeom>
            <a:ln w="28575"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631" name="Freeform: Shape 630">
              <a:extLst>
                <a:ext uri="{FF2B5EF4-FFF2-40B4-BE49-F238E27FC236}">
                  <a16:creationId xmlns:a16="http://schemas.microsoft.com/office/drawing/2014/main" id="{42AC7AB2-4CB0-4850-89E7-3F224442B0D1}"/>
                </a:ext>
              </a:extLst>
            </p:cNvPr>
            <p:cNvSpPr/>
            <p:nvPr/>
          </p:nvSpPr>
          <p:spPr>
            <a:xfrm>
              <a:off x="4321281" y="3829985"/>
              <a:ext cx="17005" cy="97056"/>
            </a:xfrm>
            <a:custGeom>
              <a:avLst/>
              <a:gdLst>
                <a:gd name="connsiteX0" fmla="*/ 0 w 17005"/>
                <a:gd name="connsiteY0" fmla="*/ 0 h 97056"/>
                <a:gd name="connsiteX1" fmla="*/ 0 w 17005"/>
                <a:gd name="connsiteY1" fmla="*/ 97057 h 97056"/>
              </a:gdLst>
              <a:ahLst/>
              <a:cxnLst>
                <a:cxn ang="0">
                  <a:pos x="connsiteX0" y="connsiteY0"/>
                </a:cxn>
                <a:cxn ang="0">
                  <a:pos x="connsiteX1" y="connsiteY1"/>
                </a:cxn>
              </a:cxnLst>
              <a:rect l="l" t="t" r="r" b="b"/>
              <a:pathLst>
                <a:path w="17005" h="97056">
                  <a:moveTo>
                    <a:pt x="0" y="0"/>
                  </a:moveTo>
                  <a:lnTo>
                    <a:pt x="0" y="97057"/>
                  </a:lnTo>
                </a:path>
              </a:pathLst>
            </a:custGeom>
            <a:ln w="28575"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632" name="Freeform: Shape 631">
              <a:extLst>
                <a:ext uri="{FF2B5EF4-FFF2-40B4-BE49-F238E27FC236}">
                  <a16:creationId xmlns:a16="http://schemas.microsoft.com/office/drawing/2014/main" id="{A295CC24-0481-48BC-B2AD-7D31F132F0EA}"/>
                </a:ext>
              </a:extLst>
            </p:cNvPr>
            <p:cNvSpPr/>
            <p:nvPr/>
          </p:nvSpPr>
          <p:spPr>
            <a:xfrm>
              <a:off x="4361585" y="3844744"/>
              <a:ext cx="17005" cy="97056"/>
            </a:xfrm>
            <a:custGeom>
              <a:avLst/>
              <a:gdLst>
                <a:gd name="connsiteX0" fmla="*/ 0 w 17005"/>
                <a:gd name="connsiteY0" fmla="*/ 0 h 97056"/>
                <a:gd name="connsiteX1" fmla="*/ 0 w 17005"/>
                <a:gd name="connsiteY1" fmla="*/ 97057 h 97056"/>
              </a:gdLst>
              <a:ahLst/>
              <a:cxnLst>
                <a:cxn ang="0">
                  <a:pos x="connsiteX0" y="connsiteY0"/>
                </a:cxn>
                <a:cxn ang="0">
                  <a:pos x="connsiteX1" y="connsiteY1"/>
                </a:cxn>
              </a:cxnLst>
              <a:rect l="l" t="t" r="r" b="b"/>
              <a:pathLst>
                <a:path w="17005" h="97056">
                  <a:moveTo>
                    <a:pt x="0" y="0"/>
                  </a:moveTo>
                  <a:lnTo>
                    <a:pt x="0" y="97057"/>
                  </a:lnTo>
                </a:path>
              </a:pathLst>
            </a:custGeom>
            <a:ln w="28575"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633" name="Freeform: Shape 632">
              <a:extLst>
                <a:ext uri="{FF2B5EF4-FFF2-40B4-BE49-F238E27FC236}">
                  <a16:creationId xmlns:a16="http://schemas.microsoft.com/office/drawing/2014/main" id="{8A714051-DD5C-44AD-8D40-B2AB5B0BB8B5}"/>
                </a:ext>
              </a:extLst>
            </p:cNvPr>
            <p:cNvSpPr/>
            <p:nvPr/>
          </p:nvSpPr>
          <p:spPr>
            <a:xfrm>
              <a:off x="4377060" y="3844744"/>
              <a:ext cx="17005" cy="97056"/>
            </a:xfrm>
            <a:custGeom>
              <a:avLst/>
              <a:gdLst>
                <a:gd name="connsiteX0" fmla="*/ 0 w 17005"/>
                <a:gd name="connsiteY0" fmla="*/ 0 h 97056"/>
                <a:gd name="connsiteX1" fmla="*/ 0 w 17005"/>
                <a:gd name="connsiteY1" fmla="*/ 97057 h 97056"/>
              </a:gdLst>
              <a:ahLst/>
              <a:cxnLst>
                <a:cxn ang="0">
                  <a:pos x="connsiteX0" y="connsiteY0"/>
                </a:cxn>
                <a:cxn ang="0">
                  <a:pos x="connsiteX1" y="connsiteY1"/>
                </a:cxn>
              </a:cxnLst>
              <a:rect l="l" t="t" r="r" b="b"/>
              <a:pathLst>
                <a:path w="17005" h="97056">
                  <a:moveTo>
                    <a:pt x="0" y="0"/>
                  </a:moveTo>
                  <a:lnTo>
                    <a:pt x="0" y="97057"/>
                  </a:lnTo>
                </a:path>
              </a:pathLst>
            </a:custGeom>
            <a:ln w="28575"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634" name="Freeform: Shape 633">
              <a:extLst>
                <a:ext uri="{FF2B5EF4-FFF2-40B4-BE49-F238E27FC236}">
                  <a16:creationId xmlns:a16="http://schemas.microsoft.com/office/drawing/2014/main" id="{EEE5E2CB-0C51-42AF-AB7D-6FA5E876927C}"/>
                </a:ext>
              </a:extLst>
            </p:cNvPr>
            <p:cNvSpPr/>
            <p:nvPr/>
          </p:nvSpPr>
          <p:spPr>
            <a:xfrm>
              <a:off x="4416174" y="3844744"/>
              <a:ext cx="17005" cy="97056"/>
            </a:xfrm>
            <a:custGeom>
              <a:avLst/>
              <a:gdLst>
                <a:gd name="connsiteX0" fmla="*/ 0 w 17005"/>
                <a:gd name="connsiteY0" fmla="*/ 0 h 97056"/>
                <a:gd name="connsiteX1" fmla="*/ 0 w 17005"/>
                <a:gd name="connsiteY1" fmla="*/ 97057 h 97056"/>
              </a:gdLst>
              <a:ahLst/>
              <a:cxnLst>
                <a:cxn ang="0">
                  <a:pos x="connsiteX0" y="connsiteY0"/>
                </a:cxn>
                <a:cxn ang="0">
                  <a:pos x="connsiteX1" y="connsiteY1"/>
                </a:cxn>
              </a:cxnLst>
              <a:rect l="l" t="t" r="r" b="b"/>
              <a:pathLst>
                <a:path w="17005" h="97056">
                  <a:moveTo>
                    <a:pt x="0" y="0"/>
                  </a:moveTo>
                  <a:lnTo>
                    <a:pt x="0" y="97057"/>
                  </a:lnTo>
                </a:path>
              </a:pathLst>
            </a:custGeom>
            <a:ln w="28575"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635" name="Freeform: Shape 634">
              <a:extLst>
                <a:ext uri="{FF2B5EF4-FFF2-40B4-BE49-F238E27FC236}">
                  <a16:creationId xmlns:a16="http://schemas.microsoft.com/office/drawing/2014/main" id="{69CE89B4-306A-44B9-8CC0-FBBEF60128ED}"/>
                </a:ext>
              </a:extLst>
            </p:cNvPr>
            <p:cNvSpPr/>
            <p:nvPr/>
          </p:nvSpPr>
          <p:spPr>
            <a:xfrm>
              <a:off x="4459028" y="3844744"/>
              <a:ext cx="17005" cy="97056"/>
            </a:xfrm>
            <a:custGeom>
              <a:avLst/>
              <a:gdLst>
                <a:gd name="connsiteX0" fmla="*/ 0 w 17005"/>
                <a:gd name="connsiteY0" fmla="*/ 0 h 97056"/>
                <a:gd name="connsiteX1" fmla="*/ 0 w 17005"/>
                <a:gd name="connsiteY1" fmla="*/ 97057 h 97056"/>
              </a:gdLst>
              <a:ahLst/>
              <a:cxnLst>
                <a:cxn ang="0">
                  <a:pos x="connsiteX0" y="connsiteY0"/>
                </a:cxn>
                <a:cxn ang="0">
                  <a:pos x="connsiteX1" y="connsiteY1"/>
                </a:cxn>
              </a:cxnLst>
              <a:rect l="l" t="t" r="r" b="b"/>
              <a:pathLst>
                <a:path w="17005" h="97056">
                  <a:moveTo>
                    <a:pt x="0" y="0"/>
                  </a:moveTo>
                  <a:lnTo>
                    <a:pt x="0" y="97057"/>
                  </a:lnTo>
                </a:path>
              </a:pathLst>
            </a:custGeom>
            <a:ln w="28575"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636" name="Freeform: Shape 635">
              <a:extLst>
                <a:ext uri="{FF2B5EF4-FFF2-40B4-BE49-F238E27FC236}">
                  <a16:creationId xmlns:a16="http://schemas.microsoft.com/office/drawing/2014/main" id="{3DAF5593-12D1-41F4-96D2-CF3DEABEDA21}"/>
                </a:ext>
              </a:extLst>
            </p:cNvPr>
            <p:cNvSpPr/>
            <p:nvPr/>
          </p:nvSpPr>
          <p:spPr>
            <a:xfrm>
              <a:off x="4471953" y="3863082"/>
              <a:ext cx="17005" cy="96907"/>
            </a:xfrm>
            <a:custGeom>
              <a:avLst/>
              <a:gdLst>
                <a:gd name="connsiteX0" fmla="*/ 0 w 17005"/>
                <a:gd name="connsiteY0" fmla="*/ 0 h 96907"/>
                <a:gd name="connsiteX1" fmla="*/ 0 w 17005"/>
                <a:gd name="connsiteY1" fmla="*/ 96908 h 96907"/>
              </a:gdLst>
              <a:ahLst/>
              <a:cxnLst>
                <a:cxn ang="0">
                  <a:pos x="connsiteX0" y="connsiteY0"/>
                </a:cxn>
                <a:cxn ang="0">
                  <a:pos x="connsiteX1" y="connsiteY1"/>
                </a:cxn>
              </a:cxnLst>
              <a:rect l="l" t="t" r="r" b="b"/>
              <a:pathLst>
                <a:path w="17005" h="96907">
                  <a:moveTo>
                    <a:pt x="0" y="0"/>
                  </a:moveTo>
                  <a:lnTo>
                    <a:pt x="0" y="96908"/>
                  </a:lnTo>
                </a:path>
              </a:pathLst>
            </a:custGeom>
            <a:ln w="28575"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637" name="Freeform: Shape 636">
              <a:extLst>
                <a:ext uri="{FF2B5EF4-FFF2-40B4-BE49-F238E27FC236}">
                  <a16:creationId xmlns:a16="http://schemas.microsoft.com/office/drawing/2014/main" id="{77C86BFD-7431-4B82-AACC-25A32DC09845}"/>
                </a:ext>
              </a:extLst>
            </p:cNvPr>
            <p:cNvSpPr/>
            <p:nvPr/>
          </p:nvSpPr>
          <p:spPr>
            <a:xfrm>
              <a:off x="4508345" y="3879035"/>
              <a:ext cx="17005" cy="96907"/>
            </a:xfrm>
            <a:custGeom>
              <a:avLst/>
              <a:gdLst>
                <a:gd name="connsiteX0" fmla="*/ 0 w 17005"/>
                <a:gd name="connsiteY0" fmla="*/ 0 h 96907"/>
                <a:gd name="connsiteX1" fmla="*/ 0 w 17005"/>
                <a:gd name="connsiteY1" fmla="*/ 96908 h 96907"/>
              </a:gdLst>
              <a:ahLst/>
              <a:cxnLst>
                <a:cxn ang="0">
                  <a:pos x="connsiteX0" y="connsiteY0"/>
                </a:cxn>
                <a:cxn ang="0">
                  <a:pos x="connsiteX1" y="connsiteY1"/>
                </a:cxn>
              </a:cxnLst>
              <a:rect l="l" t="t" r="r" b="b"/>
              <a:pathLst>
                <a:path w="17005" h="96907">
                  <a:moveTo>
                    <a:pt x="0" y="0"/>
                  </a:moveTo>
                  <a:lnTo>
                    <a:pt x="0" y="96908"/>
                  </a:lnTo>
                </a:path>
              </a:pathLst>
            </a:custGeom>
            <a:ln w="28575"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638" name="Freeform: Shape 637">
              <a:extLst>
                <a:ext uri="{FF2B5EF4-FFF2-40B4-BE49-F238E27FC236}">
                  <a16:creationId xmlns:a16="http://schemas.microsoft.com/office/drawing/2014/main" id="{321309FB-D9B4-44FB-B6B7-ED6F97CA6924}"/>
                </a:ext>
              </a:extLst>
            </p:cNvPr>
            <p:cNvSpPr/>
            <p:nvPr/>
          </p:nvSpPr>
          <p:spPr>
            <a:xfrm>
              <a:off x="4516168" y="3879035"/>
              <a:ext cx="17005" cy="96907"/>
            </a:xfrm>
            <a:custGeom>
              <a:avLst/>
              <a:gdLst>
                <a:gd name="connsiteX0" fmla="*/ 0 w 17005"/>
                <a:gd name="connsiteY0" fmla="*/ 0 h 96907"/>
                <a:gd name="connsiteX1" fmla="*/ 0 w 17005"/>
                <a:gd name="connsiteY1" fmla="*/ 96908 h 96907"/>
              </a:gdLst>
              <a:ahLst/>
              <a:cxnLst>
                <a:cxn ang="0">
                  <a:pos x="connsiteX0" y="connsiteY0"/>
                </a:cxn>
                <a:cxn ang="0">
                  <a:pos x="connsiteX1" y="connsiteY1"/>
                </a:cxn>
              </a:cxnLst>
              <a:rect l="l" t="t" r="r" b="b"/>
              <a:pathLst>
                <a:path w="17005" h="96907">
                  <a:moveTo>
                    <a:pt x="0" y="0"/>
                  </a:moveTo>
                  <a:lnTo>
                    <a:pt x="0" y="96908"/>
                  </a:lnTo>
                </a:path>
              </a:pathLst>
            </a:custGeom>
            <a:ln w="28575"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639" name="Freeform: Shape 638">
              <a:extLst>
                <a:ext uri="{FF2B5EF4-FFF2-40B4-BE49-F238E27FC236}">
                  <a16:creationId xmlns:a16="http://schemas.microsoft.com/office/drawing/2014/main" id="{02E0C8ED-911A-4B34-B058-7648B625FE8E}"/>
                </a:ext>
              </a:extLst>
            </p:cNvPr>
            <p:cNvSpPr/>
            <p:nvPr/>
          </p:nvSpPr>
          <p:spPr>
            <a:xfrm>
              <a:off x="4557832" y="3879035"/>
              <a:ext cx="17005" cy="96907"/>
            </a:xfrm>
            <a:custGeom>
              <a:avLst/>
              <a:gdLst>
                <a:gd name="connsiteX0" fmla="*/ 0 w 17005"/>
                <a:gd name="connsiteY0" fmla="*/ 0 h 96907"/>
                <a:gd name="connsiteX1" fmla="*/ 0 w 17005"/>
                <a:gd name="connsiteY1" fmla="*/ 96908 h 96907"/>
              </a:gdLst>
              <a:ahLst/>
              <a:cxnLst>
                <a:cxn ang="0">
                  <a:pos x="connsiteX0" y="connsiteY0"/>
                </a:cxn>
                <a:cxn ang="0">
                  <a:pos x="connsiteX1" y="connsiteY1"/>
                </a:cxn>
              </a:cxnLst>
              <a:rect l="l" t="t" r="r" b="b"/>
              <a:pathLst>
                <a:path w="17005" h="96907">
                  <a:moveTo>
                    <a:pt x="0" y="0"/>
                  </a:moveTo>
                  <a:lnTo>
                    <a:pt x="0" y="96908"/>
                  </a:lnTo>
                </a:path>
              </a:pathLst>
            </a:custGeom>
            <a:ln w="28575"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640" name="Freeform: Shape 639">
              <a:extLst>
                <a:ext uri="{FF2B5EF4-FFF2-40B4-BE49-F238E27FC236}">
                  <a16:creationId xmlns:a16="http://schemas.microsoft.com/office/drawing/2014/main" id="{2ACA6EFD-042B-4460-BACA-3D37859DF2B0}"/>
                </a:ext>
              </a:extLst>
            </p:cNvPr>
            <p:cNvSpPr/>
            <p:nvPr/>
          </p:nvSpPr>
          <p:spPr>
            <a:xfrm>
              <a:off x="4574668" y="3879035"/>
              <a:ext cx="17005" cy="96907"/>
            </a:xfrm>
            <a:custGeom>
              <a:avLst/>
              <a:gdLst>
                <a:gd name="connsiteX0" fmla="*/ 0 w 17005"/>
                <a:gd name="connsiteY0" fmla="*/ 0 h 96907"/>
                <a:gd name="connsiteX1" fmla="*/ 0 w 17005"/>
                <a:gd name="connsiteY1" fmla="*/ 96908 h 96907"/>
              </a:gdLst>
              <a:ahLst/>
              <a:cxnLst>
                <a:cxn ang="0">
                  <a:pos x="connsiteX0" y="connsiteY0"/>
                </a:cxn>
                <a:cxn ang="0">
                  <a:pos x="connsiteX1" y="connsiteY1"/>
                </a:cxn>
              </a:cxnLst>
              <a:rect l="l" t="t" r="r" b="b"/>
              <a:pathLst>
                <a:path w="17005" h="96907">
                  <a:moveTo>
                    <a:pt x="0" y="0"/>
                  </a:moveTo>
                  <a:lnTo>
                    <a:pt x="0" y="96908"/>
                  </a:lnTo>
                </a:path>
              </a:pathLst>
            </a:custGeom>
            <a:ln w="28575"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641" name="Freeform: Shape 640">
              <a:extLst>
                <a:ext uri="{FF2B5EF4-FFF2-40B4-BE49-F238E27FC236}">
                  <a16:creationId xmlns:a16="http://schemas.microsoft.com/office/drawing/2014/main" id="{7FF10541-54C6-4423-A7F3-03F6A2A14012}"/>
                </a:ext>
              </a:extLst>
            </p:cNvPr>
            <p:cNvSpPr/>
            <p:nvPr/>
          </p:nvSpPr>
          <p:spPr>
            <a:xfrm>
              <a:off x="4586402" y="3879035"/>
              <a:ext cx="17005" cy="96907"/>
            </a:xfrm>
            <a:custGeom>
              <a:avLst/>
              <a:gdLst>
                <a:gd name="connsiteX0" fmla="*/ 0 w 17005"/>
                <a:gd name="connsiteY0" fmla="*/ 0 h 96907"/>
                <a:gd name="connsiteX1" fmla="*/ 0 w 17005"/>
                <a:gd name="connsiteY1" fmla="*/ 96908 h 96907"/>
              </a:gdLst>
              <a:ahLst/>
              <a:cxnLst>
                <a:cxn ang="0">
                  <a:pos x="connsiteX0" y="connsiteY0"/>
                </a:cxn>
                <a:cxn ang="0">
                  <a:pos x="connsiteX1" y="connsiteY1"/>
                </a:cxn>
              </a:cxnLst>
              <a:rect l="l" t="t" r="r" b="b"/>
              <a:pathLst>
                <a:path w="17005" h="96907">
                  <a:moveTo>
                    <a:pt x="0" y="0"/>
                  </a:moveTo>
                  <a:lnTo>
                    <a:pt x="0" y="96908"/>
                  </a:lnTo>
                </a:path>
              </a:pathLst>
            </a:custGeom>
            <a:ln w="28575"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642" name="Freeform: Shape 641">
              <a:extLst>
                <a:ext uri="{FF2B5EF4-FFF2-40B4-BE49-F238E27FC236}">
                  <a16:creationId xmlns:a16="http://schemas.microsoft.com/office/drawing/2014/main" id="{D39B0AD4-FBB7-415F-B06A-5E1512287984}"/>
                </a:ext>
              </a:extLst>
            </p:cNvPr>
            <p:cNvSpPr/>
            <p:nvPr/>
          </p:nvSpPr>
          <p:spPr>
            <a:xfrm>
              <a:off x="4620243" y="3879035"/>
              <a:ext cx="17005" cy="96907"/>
            </a:xfrm>
            <a:custGeom>
              <a:avLst/>
              <a:gdLst>
                <a:gd name="connsiteX0" fmla="*/ 0 w 17005"/>
                <a:gd name="connsiteY0" fmla="*/ 0 h 96907"/>
                <a:gd name="connsiteX1" fmla="*/ 0 w 17005"/>
                <a:gd name="connsiteY1" fmla="*/ 96908 h 96907"/>
              </a:gdLst>
              <a:ahLst/>
              <a:cxnLst>
                <a:cxn ang="0">
                  <a:pos x="connsiteX0" y="connsiteY0"/>
                </a:cxn>
                <a:cxn ang="0">
                  <a:pos x="connsiteX1" y="connsiteY1"/>
                </a:cxn>
              </a:cxnLst>
              <a:rect l="l" t="t" r="r" b="b"/>
              <a:pathLst>
                <a:path w="17005" h="96907">
                  <a:moveTo>
                    <a:pt x="0" y="0"/>
                  </a:moveTo>
                  <a:lnTo>
                    <a:pt x="0" y="96908"/>
                  </a:lnTo>
                </a:path>
              </a:pathLst>
            </a:custGeom>
            <a:ln w="28575"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643" name="Freeform: Shape 642">
              <a:extLst>
                <a:ext uri="{FF2B5EF4-FFF2-40B4-BE49-F238E27FC236}">
                  <a16:creationId xmlns:a16="http://schemas.microsoft.com/office/drawing/2014/main" id="{A61B9101-F114-4264-BA8A-7A4C255ABD87}"/>
                </a:ext>
              </a:extLst>
            </p:cNvPr>
            <p:cNvSpPr/>
            <p:nvPr/>
          </p:nvSpPr>
          <p:spPr>
            <a:xfrm>
              <a:off x="4631807" y="3879035"/>
              <a:ext cx="17005" cy="96907"/>
            </a:xfrm>
            <a:custGeom>
              <a:avLst/>
              <a:gdLst>
                <a:gd name="connsiteX0" fmla="*/ 0 w 17005"/>
                <a:gd name="connsiteY0" fmla="*/ 0 h 96907"/>
                <a:gd name="connsiteX1" fmla="*/ 0 w 17005"/>
                <a:gd name="connsiteY1" fmla="*/ 96908 h 96907"/>
              </a:gdLst>
              <a:ahLst/>
              <a:cxnLst>
                <a:cxn ang="0">
                  <a:pos x="connsiteX0" y="connsiteY0"/>
                </a:cxn>
                <a:cxn ang="0">
                  <a:pos x="connsiteX1" y="connsiteY1"/>
                </a:cxn>
              </a:cxnLst>
              <a:rect l="l" t="t" r="r" b="b"/>
              <a:pathLst>
                <a:path w="17005" h="96907">
                  <a:moveTo>
                    <a:pt x="0" y="0"/>
                  </a:moveTo>
                  <a:lnTo>
                    <a:pt x="0" y="96908"/>
                  </a:lnTo>
                </a:path>
              </a:pathLst>
            </a:custGeom>
            <a:ln w="28575"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644" name="Freeform: Shape 643">
              <a:extLst>
                <a:ext uri="{FF2B5EF4-FFF2-40B4-BE49-F238E27FC236}">
                  <a16:creationId xmlns:a16="http://schemas.microsoft.com/office/drawing/2014/main" id="{65DDC090-5CC9-4CE3-928F-EBDBF7E94ED9}"/>
                </a:ext>
              </a:extLst>
            </p:cNvPr>
            <p:cNvSpPr/>
            <p:nvPr/>
          </p:nvSpPr>
          <p:spPr>
            <a:xfrm>
              <a:off x="4652725" y="3879035"/>
              <a:ext cx="17005" cy="96907"/>
            </a:xfrm>
            <a:custGeom>
              <a:avLst/>
              <a:gdLst>
                <a:gd name="connsiteX0" fmla="*/ 0 w 17005"/>
                <a:gd name="connsiteY0" fmla="*/ 0 h 96907"/>
                <a:gd name="connsiteX1" fmla="*/ 0 w 17005"/>
                <a:gd name="connsiteY1" fmla="*/ 96908 h 96907"/>
              </a:gdLst>
              <a:ahLst/>
              <a:cxnLst>
                <a:cxn ang="0">
                  <a:pos x="connsiteX0" y="connsiteY0"/>
                </a:cxn>
                <a:cxn ang="0">
                  <a:pos x="connsiteX1" y="connsiteY1"/>
                </a:cxn>
              </a:cxnLst>
              <a:rect l="l" t="t" r="r" b="b"/>
              <a:pathLst>
                <a:path w="17005" h="96907">
                  <a:moveTo>
                    <a:pt x="0" y="0"/>
                  </a:moveTo>
                  <a:lnTo>
                    <a:pt x="0" y="96908"/>
                  </a:lnTo>
                </a:path>
              </a:pathLst>
            </a:custGeom>
            <a:ln w="28575"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645" name="Freeform: Shape 644">
              <a:extLst>
                <a:ext uri="{FF2B5EF4-FFF2-40B4-BE49-F238E27FC236}">
                  <a16:creationId xmlns:a16="http://schemas.microsoft.com/office/drawing/2014/main" id="{2D245ECF-AC6A-4F69-9C8A-0E76472573AC}"/>
                </a:ext>
              </a:extLst>
            </p:cNvPr>
            <p:cNvSpPr/>
            <p:nvPr/>
          </p:nvSpPr>
          <p:spPr>
            <a:xfrm>
              <a:off x="4672111" y="3879035"/>
              <a:ext cx="17005" cy="96907"/>
            </a:xfrm>
            <a:custGeom>
              <a:avLst/>
              <a:gdLst>
                <a:gd name="connsiteX0" fmla="*/ 0 w 17005"/>
                <a:gd name="connsiteY0" fmla="*/ 0 h 96907"/>
                <a:gd name="connsiteX1" fmla="*/ 0 w 17005"/>
                <a:gd name="connsiteY1" fmla="*/ 96908 h 96907"/>
              </a:gdLst>
              <a:ahLst/>
              <a:cxnLst>
                <a:cxn ang="0">
                  <a:pos x="connsiteX0" y="connsiteY0"/>
                </a:cxn>
                <a:cxn ang="0">
                  <a:pos x="connsiteX1" y="connsiteY1"/>
                </a:cxn>
              </a:cxnLst>
              <a:rect l="l" t="t" r="r" b="b"/>
              <a:pathLst>
                <a:path w="17005" h="96907">
                  <a:moveTo>
                    <a:pt x="0" y="0"/>
                  </a:moveTo>
                  <a:lnTo>
                    <a:pt x="0" y="96908"/>
                  </a:lnTo>
                </a:path>
              </a:pathLst>
            </a:custGeom>
            <a:ln w="28575"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646" name="Freeform: Shape 645">
              <a:extLst>
                <a:ext uri="{FF2B5EF4-FFF2-40B4-BE49-F238E27FC236}">
                  <a16:creationId xmlns:a16="http://schemas.microsoft.com/office/drawing/2014/main" id="{B7E40D3A-1AFB-4749-BEC3-68FAEB245821}"/>
                </a:ext>
              </a:extLst>
            </p:cNvPr>
            <p:cNvSpPr/>
            <p:nvPr/>
          </p:nvSpPr>
          <p:spPr>
            <a:xfrm>
              <a:off x="4717687" y="3908554"/>
              <a:ext cx="17005" cy="97056"/>
            </a:xfrm>
            <a:custGeom>
              <a:avLst/>
              <a:gdLst>
                <a:gd name="connsiteX0" fmla="*/ 0 w 17005"/>
                <a:gd name="connsiteY0" fmla="*/ 0 h 97056"/>
                <a:gd name="connsiteX1" fmla="*/ 0 w 17005"/>
                <a:gd name="connsiteY1" fmla="*/ 97057 h 97056"/>
              </a:gdLst>
              <a:ahLst/>
              <a:cxnLst>
                <a:cxn ang="0">
                  <a:pos x="connsiteX0" y="connsiteY0"/>
                </a:cxn>
                <a:cxn ang="0">
                  <a:pos x="connsiteX1" y="connsiteY1"/>
                </a:cxn>
              </a:cxnLst>
              <a:rect l="l" t="t" r="r" b="b"/>
              <a:pathLst>
                <a:path w="17005" h="97056">
                  <a:moveTo>
                    <a:pt x="0" y="0"/>
                  </a:moveTo>
                  <a:lnTo>
                    <a:pt x="0" y="97057"/>
                  </a:lnTo>
                </a:path>
              </a:pathLst>
            </a:custGeom>
            <a:ln w="28575"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647" name="Freeform: Shape 646">
              <a:extLst>
                <a:ext uri="{FF2B5EF4-FFF2-40B4-BE49-F238E27FC236}">
                  <a16:creationId xmlns:a16="http://schemas.microsoft.com/office/drawing/2014/main" id="{3DE7D8D8-4EA1-4CE5-8640-9A43775F2FEA}"/>
                </a:ext>
              </a:extLst>
            </p:cNvPr>
            <p:cNvSpPr/>
            <p:nvPr/>
          </p:nvSpPr>
          <p:spPr>
            <a:xfrm>
              <a:off x="4740985" y="3908554"/>
              <a:ext cx="17005" cy="97056"/>
            </a:xfrm>
            <a:custGeom>
              <a:avLst/>
              <a:gdLst>
                <a:gd name="connsiteX0" fmla="*/ 0 w 17005"/>
                <a:gd name="connsiteY0" fmla="*/ 0 h 97056"/>
                <a:gd name="connsiteX1" fmla="*/ 0 w 17005"/>
                <a:gd name="connsiteY1" fmla="*/ 97057 h 97056"/>
              </a:gdLst>
              <a:ahLst/>
              <a:cxnLst>
                <a:cxn ang="0">
                  <a:pos x="connsiteX0" y="connsiteY0"/>
                </a:cxn>
                <a:cxn ang="0">
                  <a:pos x="connsiteX1" y="connsiteY1"/>
                </a:cxn>
              </a:cxnLst>
              <a:rect l="l" t="t" r="r" b="b"/>
              <a:pathLst>
                <a:path w="17005" h="97056">
                  <a:moveTo>
                    <a:pt x="0" y="0"/>
                  </a:moveTo>
                  <a:lnTo>
                    <a:pt x="0" y="97057"/>
                  </a:lnTo>
                </a:path>
              </a:pathLst>
            </a:custGeom>
            <a:ln w="28575"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648" name="Freeform: Shape 647">
              <a:extLst>
                <a:ext uri="{FF2B5EF4-FFF2-40B4-BE49-F238E27FC236}">
                  <a16:creationId xmlns:a16="http://schemas.microsoft.com/office/drawing/2014/main" id="{92C2CF2B-9E75-4D96-847F-EE0243B0D719}"/>
                </a:ext>
              </a:extLst>
            </p:cNvPr>
            <p:cNvSpPr/>
            <p:nvPr/>
          </p:nvSpPr>
          <p:spPr>
            <a:xfrm>
              <a:off x="4799485" y="3908554"/>
              <a:ext cx="17005" cy="97056"/>
            </a:xfrm>
            <a:custGeom>
              <a:avLst/>
              <a:gdLst>
                <a:gd name="connsiteX0" fmla="*/ 0 w 17005"/>
                <a:gd name="connsiteY0" fmla="*/ 0 h 97056"/>
                <a:gd name="connsiteX1" fmla="*/ 0 w 17005"/>
                <a:gd name="connsiteY1" fmla="*/ 97057 h 97056"/>
              </a:gdLst>
              <a:ahLst/>
              <a:cxnLst>
                <a:cxn ang="0">
                  <a:pos x="connsiteX0" y="connsiteY0"/>
                </a:cxn>
                <a:cxn ang="0">
                  <a:pos x="connsiteX1" y="connsiteY1"/>
                </a:cxn>
              </a:cxnLst>
              <a:rect l="l" t="t" r="r" b="b"/>
              <a:pathLst>
                <a:path w="17005" h="97056">
                  <a:moveTo>
                    <a:pt x="0" y="0"/>
                  </a:moveTo>
                  <a:lnTo>
                    <a:pt x="0" y="97057"/>
                  </a:lnTo>
                </a:path>
              </a:pathLst>
            </a:custGeom>
            <a:ln w="28575"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649" name="Freeform: Shape 648">
              <a:extLst>
                <a:ext uri="{FF2B5EF4-FFF2-40B4-BE49-F238E27FC236}">
                  <a16:creationId xmlns:a16="http://schemas.microsoft.com/office/drawing/2014/main" id="{45643025-0789-42C2-B678-599A38F3B18D}"/>
                </a:ext>
              </a:extLst>
            </p:cNvPr>
            <p:cNvSpPr/>
            <p:nvPr/>
          </p:nvSpPr>
          <p:spPr>
            <a:xfrm>
              <a:off x="4846421" y="3908554"/>
              <a:ext cx="17005" cy="97056"/>
            </a:xfrm>
            <a:custGeom>
              <a:avLst/>
              <a:gdLst>
                <a:gd name="connsiteX0" fmla="*/ 0 w 17005"/>
                <a:gd name="connsiteY0" fmla="*/ 0 h 97056"/>
                <a:gd name="connsiteX1" fmla="*/ 0 w 17005"/>
                <a:gd name="connsiteY1" fmla="*/ 97057 h 97056"/>
              </a:gdLst>
              <a:ahLst/>
              <a:cxnLst>
                <a:cxn ang="0">
                  <a:pos x="connsiteX0" y="connsiteY0"/>
                </a:cxn>
                <a:cxn ang="0">
                  <a:pos x="connsiteX1" y="connsiteY1"/>
                </a:cxn>
              </a:cxnLst>
              <a:rect l="l" t="t" r="r" b="b"/>
              <a:pathLst>
                <a:path w="17005" h="97056">
                  <a:moveTo>
                    <a:pt x="0" y="0"/>
                  </a:moveTo>
                  <a:lnTo>
                    <a:pt x="0" y="97057"/>
                  </a:lnTo>
                </a:path>
              </a:pathLst>
            </a:custGeom>
            <a:ln w="28575"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650" name="Freeform: Shape 649">
              <a:extLst>
                <a:ext uri="{FF2B5EF4-FFF2-40B4-BE49-F238E27FC236}">
                  <a16:creationId xmlns:a16="http://schemas.microsoft.com/office/drawing/2014/main" id="{722DB3DC-F18D-483A-92D7-697006952FD4}"/>
                </a:ext>
              </a:extLst>
            </p:cNvPr>
            <p:cNvSpPr/>
            <p:nvPr/>
          </p:nvSpPr>
          <p:spPr>
            <a:xfrm>
              <a:off x="4861896" y="3908554"/>
              <a:ext cx="17005" cy="97056"/>
            </a:xfrm>
            <a:custGeom>
              <a:avLst/>
              <a:gdLst>
                <a:gd name="connsiteX0" fmla="*/ 0 w 17005"/>
                <a:gd name="connsiteY0" fmla="*/ 0 h 97056"/>
                <a:gd name="connsiteX1" fmla="*/ 0 w 17005"/>
                <a:gd name="connsiteY1" fmla="*/ 97057 h 97056"/>
              </a:gdLst>
              <a:ahLst/>
              <a:cxnLst>
                <a:cxn ang="0">
                  <a:pos x="connsiteX0" y="connsiteY0"/>
                </a:cxn>
                <a:cxn ang="0">
                  <a:pos x="connsiteX1" y="connsiteY1"/>
                </a:cxn>
              </a:cxnLst>
              <a:rect l="l" t="t" r="r" b="b"/>
              <a:pathLst>
                <a:path w="17005" h="97056">
                  <a:moveTo>
                    <a:pt x="0" y="0"/>
                  </a:moveTo>
                  <a:lnTo>
                    <a:pt x="0" y="97057"/>
                  </a:lnTo>
                </a:path>
              </a:pathLst>
            </a:custGeom>
            <a:ln w="28575"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651" name="Freeform: Shape 650">
              <a:extLst>
                <a:ext uri="{FF2B5EF4-FFF2-40B4-BE49-F238E27FC236}">
                  <a16:creationId xmlns:a16="http://schemas.microsoft.com/office/drawing/2014/main" id="{D1271FFE-51B7-4123-A433-E11FF24BB07B}"/>
                </a:ext>
              </a:extLst>
            </p:cNvPr>
            <p:cNvSpPr/>
            <p:nvPr/>
          </p:nvSpPr>
          <p:spPr>
            <a:xfrm>
              <a:off x="4910023" y="3908554"/>
              <a:ext cx="17005" cy="97056"/>
            </a:xfrm>
            <a:custGeom>
              <a:avLst/>
              <a:gdLst>
                <a:gd name="connsiteX0" fmla="*/ 0 w 17005"/>
                <a:gd name="connsiteY0" fmla="*/ 0 h 97056"/>
                <a:gd name="connsiteX1" fmla="*/ 0 w 17005"/>
                <a:gd name="connsiteY1" fmla="*/ 97057 h 97056"/>
              </a:gdLst>
              <a:ahLst/>
              <a:cxnLst>
                <a:cxn ang="0">
                  <a:pos x="connsiteX0" y="connsiteY0"/>
                </a:cxn>
                <a:cxn ang="0">
                  <a:pos x="connsiteX1" y="connsiteY1"/>
                </a:cxn>
              </a:cxnLst>
              <a:rect l="l" t="t" r="r" b="b"/>
              <a:pathLst>
                <a:path w="17005" h="97056">
                  <a:moveTo>
                    <a:pt x="0" y="0"/>
                  </a:moveTo>
                  <a:lnTo>
                    <a:pt x="0" y="97057"/>
                  </a:lnTo>
                </a:path>
              </a:pathLst>
            </a:custGeom>
            <a:ln w="28575"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652" name="Freeform: Shape 651">
              <a:extLst>
                <a:ext uri="{FF2B5EF4-FFF2-40B4-BE49-F238E27FC236}">
                  <a16:creationId xmlns:a16="http://schemas.microsoft.com/office/drawing/2014/main" id="{DF6709EA-DF02-43DF-B8E9-F63B3378E815}"/>
                </a:ext>
              </a:extLst>
            </p:cNvPr>
            <p:cNvSpPr/>
            <p:nvPr/>
          </p:nvSpPr>
          <p:spPr>
            <a:xfrm>
              <a:off x="4964611" y="3908554"/>
              <a:ext cx="17005" cy="97056"/>
            </a:xfrm>
            <a:custGeom>
              <a:avLst/>
              <a:gdLst>
                <a:gd name="connsiteX0" fmla="*/ 0 w 17005"/>
                <a:gd name="connsiteY0" fmla="*/ 0 h 97056"/>
                <a:gd name="connsiteX1" fmla="*/ 0 w 17005"/>
                <a:gd name="connsiteY1" fmla="*/ 97057 h 97056"/>
              </a:gdLst>
              <a:ahLst/>
              <a:cxnLst>
                <a:cxn ang="0">
                  <a:pos x="connsiteX0" y="connsiteY0"/>
                </a:cxn>
                <a:cxn ang="0">
                  <a:pos x="connsiteX1" y="connsiteY1"/>
                </a:cxn>
              </a:cxnLst>
              <a:rect l="l" t="t" r="r" b="b"/>
              <a:pathLst>
                <a:path w="17005" h="97056">
                  <a:moveTo>
                    <a:pt x="0" y="0"/>
                  </a:moveTo>
                  <a:lnTo>
                    <a:pt x="0" y="97057"/>
                  </a:lnTo>
                </a:path>
              </a:pathLst>
            </a:custGeom>
            <a:ln w="28575"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653" name="Freeform: Shape 652">
              <a:extLst>
                <a:ext uri="{FF2B5EF4-FFF2-40B4-BE49-F238E27FC236}">
                  <a16:creationId xmlns:a16="http://schemas.microsoft.com/office/drawing/2014/main" id="{C09B3B7E-8A2B-41D8-836F-C9CD3A391B83}"/>
                </a:ext>
              </a:extLst>
            </p:cNvPr>
            <p:cNvSpPr/>
            <p:nvPr/>
          </p:nvSpPr>
          <p:spPr>
            <a:xfrm>
              <a:off x="4986719" y="3908554"/>
              <a:ext cx="17005" cy="97056"/>
            </a:xfrm>
            <a:custGeom>
              <a:avLst/>
              <a:gdLst>
                <a:gd name="connsiteX0" fmla="*/ 0 w 17005"/>
                <a:gd name="connsiteY0" fmla="*/ 0 h 97056"/>
                <a:gd name="connsiteX1" fmla="*/ 0 w 17005"/>
                <a:gd name="connsiteY1" fmla="*/ 97057 h 97056"/>
              </a:gdLst>
              <a:ahLst/>
              <a:cxnLst>
                <a:cxn ang="0">
                  <a:pos x="connsiteX0" y="connsiteY0"/>
                </a:cxn>
                <a:cxn ang="0">
                  <a:pos x="connsiteX1" y="connsiteY1"/>
                </a:cxn>
              </a:cxnLst>
              <a:rect l="l" t="t" r="r" b="b"/>
              <a:pathLst>
                <a:path w="17005" h="97056">
                  <a:moveTo>
                    <a:pt x="0" y="0"/>
                  </a:moveTo>
                  <a:lnTo>
                    <a:pt x="0" y="97057"/>
                  </a:lnTo>
                </a:path>
              </a:pathLst>
            </a:custGeom>
            <a:ln w="28575"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654" name="Freeform: Shape 653">
              <a:extLst>
                <a:ext uri="{FF2B5EF4-FFF2-40B4-BE49-F238E27FC236}">
                  <a16:creationId xmlns:a16="http://schemas.microsoft.com/office/drawing/2014/main" id="{4311EC97-15A3-4725-B9A4-087133F3BAC9}"/>
                </a:ext>
              </a:extLst>
            </p:cNvPr>
            <p:cNvSpPr/>
            <p:nvPr/>
          </p:nvSpPr>
          <p:spPr>
            <a:xfrm>
              <a:off x="5037396" y="3908554"/>
              <a:ext cx="17005" cy="97056"/>
            </a:xfrm>
            <a:custGeom>
              <a:avLst/>
              <a:gdLst>
                <a:gd name="connsiteX0" fmla="*/ 0 w 17005"/>
                <a:gd name="connsiteY0" fmla="*/ 0 h 97056"/>
                <a:gd name="connsiteX1" fmla="*/ 0 w 17005"/>
                <a:gd name="connsiteY1" fmla="*/ 97057 h 97056"/>
              </a:gdLst>
              <a:ahLst/>
              <a:cxnLst>
                <a:cxn ang="0">
                  <a:pos x="connsiteX0" y="connsiteY0"/>
                </a:cxn>
                <a:cxn ang="0">
                  <a:pos x="connsiteX1" y="connsiteY1"/>
                </a:cxn>
              </a:cxnLst>
              <a:rect l="l" t="t" r="r" b="b"/>
              <a:pathLst>
                <a:path w="17005" h="97056">
                  <a:moveTo>
                    <a:pt x="0" y="0"/>
                  </a:moveTo>
                  <a:lnTo>
                    <a:pt x="0" y="97057"/>
                  </a:lnTo>
                </a:path>
              </a:pathLst>
            </a:custGeom>
            <a:ln w="28575"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655" name="Freeform: Shape 654">
              <a:extLst>
                <a:ext uri="{FF2B5EF4-FFF2-40B4-BE49-F238E27FC236}">
                  <a16:creationId xmlns:a16="http://schemas.microsoft.com/office/drawing/2014/main" id="{F467A5BD-823C-4F2E-B1C1-5085A8F38881}"/>
                </a:ext>
              </a:extLst>
            </p:cNvPr>
            <p:cNvSpPr/>
            <p:nvPr/>
          </p:nvSpPr>
          <p:spPr>
            <a:xfrm>
              <a:off x="5076340" y="3908554"/>
              <a:ext cx="17005" cy="97056"/>
            </a:xfrm>
            <a:custGeom>
              <a:avLst/>
              <a:gdLst>
                <a:gd name="connsiteX0" fmla="*/ 0 w 17005"/>
                <a:gd name="connsiteY0" fmla="*/ 0 h 97056"/>
                <a:gd name="connsiteX1" fmla="*/ 0 w 17005"/>
                <a:gd name="connsiteY1" fmla="*/ 97057 h 97056"/>
              </a:gdLst>
              <a:ahLst/>
              <a:cxnLst>
                <a:cxn ang="0">
                  <a:pos x="connsiteX0" y="connsiteY0"/>
                </a:cxn>
                <a:cxn ang="0">
                  <a:pos x="connsiteX1" y="connsiteY1"/>
                </a:cxn>
              </a:cxnLst>
              <a:rect l="l" t="t" r="r" b="b"/>
              <a:pathLst>
                <a:path w="17005" h="97056">
                  <a:moveTo>
                    <a:pt x="0" y="0"/>
                  </a:moveTo>
                  <a:lnTo>
                    <a:pt x="0" y="97057"/>
                  </a:lnTo>
                </a:path>
              </a:pathLst>
            </a:custGeom>
            <a:ln w="28575"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656" name="Freeform: Shape 655">
              <a:extLst>
                <a:ext uri="{FF2B5EF4-FFF2-40B4-BE49-F238E27FC236}">
                  <a16:creationId xmlns:a16="http://schemas.microsoft.com/office/drawing/2014/main" id="{D8000382-3C20-4C87-8960-3436081BF233}"/>
                </a:ext>
              </a:extLst>
            </p:cNvPr>
            <p:cNvSpPr/>
            <p:nvPr/>
          </p:nvSpPr>
          <p:spPr>
            <a:xfrm>
              <a:off x="5115453" y="3908554"/>
              <a:ext cx="17005" cy="97056"/>
            </a:xfrm>
            <a:custGeom>
              <a:avLst/>
              <a:gdLst>
                <a:gd name="connsiteX0" fmla="*/ 0 w 17005"/>
                <a:gd name="connsiteY0" fmla="*/ 0 h 97056"/>
                <a:gd name="connsiteX1" fmla="*/ 0 w 17005"/>
                <a:gd name="connsiteY1" fmla="*/ 97057 h 97056"/>
              </a:gdLst>
              <a:ahLst/>
              <a:cxnLst>
                <a:cxn ang="0">
                  <a:pos x="connsiteX0" y="connsiteY0"/>
                </a:cxn>
                <a:cxn ang="0">
                  <a:pos x="connsiteX1" y="connsiteY1"/>
                </a:cxn>
              </a:cxnLst>
              <a:rect l="l" t="t" r="r" b="b"/>
              <a:pathLst>
                <a:path w="17005" h="97056">
                  <a:moveTo>
                    <a:pt x="0" y="0"/>
                  </a:moveTo>
                  <a:lnTo>
                    <a:pt x="0" y="97057"/>
                  </a:lnTo>
                </a:path>
              </a:pathLst>
            </a:custGeom>
            <a:ln w="28575"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657" name="Freeform: Shape 656">
              <a:extLst>
                <a:ext uri="{FF2B5EF4-FFF2-40B4-BE49-F238E27FC236}">
                  <a16:creationId xmlns:a16="http://schemas.microsoft.com/office/drawing/2014/main" id="{F0157C2A-FF14-41C5-BE38-FF8CAFA138FE}"/>
                </a:ext>
              </a:extLst>
            </p:cNvPr>
            <p:cNvSpPr/>
            <p:nvPr/>
          </p:nvSpPr>
          <p:spPr>
            <a:xfrm>
              <a:off x="5130928" y="3908554"/>
              <a:ext cx="17005" cy="97056"/>
            </a:xfrm>
            <a:custGeom>
              <a:avLst/>
              <a:gdLst>
                <a:gd name="connsiteX0" fmla="*/ 0 w 17005"/>
                <a:gd name="connsiteY0" fmla="*/ 0 h 97056"/>
                <a:gd name="connsiteX1" fmla="*/ 0 w 17005"/>
                <a:gd name="connsiteY1" fmla="*/ 97057 h 97056"/>
              </a:gdLst>
              <a:ahLst/>
              <a:cxnLst>
                <a:cxn ang="0">
                  <a:pos x="connsiteX0" y="connsiteY0"/>
                </a:cxn>
                <a:cxn ang="0">
                  <a:pos x="connsiteX1" y="connsiteY1"/>
                </a:cxn>
              </a:cxnLst>
              <a:rect l="l" t="t" r="r" b="b"/>
              <a:pathLst>
                <a:path w="17005" h="97056">
                  <a:moveTo>
                    <a:pt x="0" y="0"/>
                  </a:moveTo>
                  <a:lnTo>
                    <a:pt x="0" y="97057"/>
                  </a:lnTo>
                </a:path>
              </a:pathLst>
            </a:custGeom>
            <a:ln w="28575"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658" name="Freeform: Shape 657">
              <a:extLst>
                <a:ext uri="{FF2B5EF4-FFF2-40B4-BE49-F238E27FC236}">
                  <a16:creationId xmlns:a16="http://schemas.microsoft.com/office/drawing/2014/main" id="{7337A5DF-06E7-4F15-9B2F-D1277895820E}"/>
                </a:ext>
              </a:extLst>
            </p:cNvPr>
            <p:cNvSpPr/>
            <p:nvPr/>
          </p:nvSpPr>
          <p:spPr>
            <a:xfrm>
              <a:off x="5144023" y="3908554"/>
              <a:ext cx="17005" cy="97056"/>
            </a:xfrm>
            <a:custGeom>
              <a:avLst/>
              <a:gdLst>
                <a:gd name="connsiteX0" fmla="*/ 0 w 17005"/>
                <a:gd name="connsiteY0" fmla="*/ 0 h 97056"/>
                <a:gd name="connsiteX1" fmla="*/ 0 w 17005"/>
                <a:gd name="connsiteY1" fmla="*/ 97057 h 97056"/>
              </a:gdLst>
              <a:ahLst/>
              <a:cxnLst>
                <a:cxn ang="0">
                  <a:pos x="connsiteX0" y="connsiteY0"/>
                </a:cxn>
                <a:cxn ang="0">
                  <a:pos x="connsiteX1" y="connsiteY1"/>
                </a:cxn>
              </a:cxnLst>
              <a:rect l="l" t="t" r="r" b="b"/>
              <a:pathLst>
                <a:path w="17005" h="97056">
                  <a:moveTo>
                    <a:pt x="0" y="0"/>
                  </a:moveTo>
                  <a:lnTo>
                    <a:pt x="0" y="97057"/>
                  </a:lnTo>
                </a:path>
              </a:pathLst>
            </a:custGeom>
            <a:ln w="28575"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659" name="Freeform: Shape 658">
              <a:extLst>
                <a:ext uri="{FF2B5EF4-FFF2-40B4-BE49-F238E27FC236}">
                  <a16:creationId xmlns:a16="http://schemas.microsoft.com/office/drawing/2014/main" id="{D3CD9711-031D-4005-833D-792432DAD07E}"/>
                </a:ext>
              </a:extLst>
            </p:cNvPr>
            <p:cNvSpPr/>
            <p:nvPr/>
          </p:nvSpPr>
          <p:spPr>
            <a:xfrm>
              <a:off x="5181776" y="3908554"/>
              <a:ext cx="17005" cy="97056"/>
            </a:xfrm>
            <a:custGeom>
              <a:avLst/>
              <a:gdLst>
                <a:gd name="connsiteX0" fmla="*/ 0 w 17005"/>
                <a:gd name="connsiteY0" fmla="*/ 0 h 97056"/>
                <a:gd name="connsiteX1" fmla="*/ 0 w 17005"/>
                <a:gd name="connsiteY1" fmla="*/ 97057 h 97056"/>
              </a:gdLst>
              <a:ahLst/>
              <a:cxnLst>
                <a:cxn ang="0">
                  <a:pos x="connsiteX0" y="connsiteY0"/>
                </a:cxn>
                <a:cxn ang="0">
                  <a:pos x="connsiteX1" y="connsiteY1"/>
                </a:cxn>
              </a:cxnLst>
              <a:rect l="l" t="t" r="r" b="b"/>
              <a:pathLst>
                <a:path w="17005" h="97056">
                  <a:moveTo>
                    <a:pt x="0" y="0"/>
                  </a:moveTo>
                  <a:lnTo>
                    <a:pt x="0" y="97057"/>
                  </a:lnTo>
                </a:path>
              </a:pathLst>
            </a:custGeom>
            <a:ln w="28575"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660" name="Freeform: Shape 659">
              <a:extLst>
                <a:ext uri="{FF2B5EF4-FFF2-40B4-BE49-F238E27FC236}">
                  <a16:creationId xmlns:a16="http://schemas.microsoft.com/office/drawing/2014/main" id="{F20E58DA-1F39-42CD-8F65-07664BE578A6}"/>
                </a:ext>
              </a:extLst>
            </p:cNvPr>
            <p:cNvSpPr/>
            <p:nvPr/>
          </p:nvSpPr>
          <p:spPr>
            <a:xfrm>
              <a:off x="5278166" y="3908554"/>
              <a:ext cx="17005" cy="97056"/>
            </a:xfrm>
            <a:custGeom>
              <a:avLst/>
              <a:gdLst>
                <a:gd name="connsiteX0" fmla="*/ 0 w 17005"/>
                <a:gd name="connsiteY0" fmla="*/ 0 h 97056"/>
                <a:gd name="connsiteX1" fmla="*/ 0 w 17005"/>
                <a:gd name="connsiteY1" fmla="*/ 97057 h 97056"/>
              </a:gdLst>
              <a:ahLst/>
              <a:cxnLst>
                <a:cxn ang="0">
                  <a:pos x="connsiteX0" y="connsiteY0"/>
                </a:cxn>
                <a:cxn ang="0">
                  <a:pos x="connsiteX1" y="connsiteY1"/>
                </a:cxn>
              </a:cxnLst>
              <a:rect l="l" t="t" r="r" b="b"/>
              <a:pathLst>
                <a:path w="17005" h="97056">
                  <a:moveTo>
                    <a:pt x="0" y="0"/>
                  </a:moveTo>
                  <a:lnTo>
                    <a:pt x="0" y="97057"/>
                  </a:lnTo>
                </a:path>
              </a:pathLst>
            </a:custGeom>
            <a:ln w="28575"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661" name="Freeform: Shape 660">
              <a:extLst>
                <a:ext uri="{FF2B5EF4-FFF2-40B4-BE49-F238E27FC236}">
                  <a16:creationId xmlns:a16="http://schemas.microsoft.com/office/drawing/2014/main" id="{BB87CE2D-0287-4BAD-86DA-EAFCB2F6BD67}"/>
                </a:ext>
              </a:extLst>
            </p:cNvPr>
            <p:cNvSpPr/>
            <p:nvPr/>
          </p:nvSpPr>
          <p:spPr>
            <a:xfrm>
              <a:off x="1295945" y="1923438"/>
              <a:ext cx="3989396" cy="2031185"/>
            </a:xfrm>
            <a:custGeom>
              <a:avLst/>
              <a:gdLst>
                <a:gd name="connsiteX0" fmla="*/ 0 w 3989396"/>
                <a:gd name="connsiteY0" fmla="*/ 0 h 2031185"/>
                <a:gd name="connsiteX1" fmla="*/ 19387 w 3989396"/>
                <a:gd name="connsiteY1" fmla="*/ 0 h 2031185"/>
                <a:gd name="connsiteX2" fmla="*/ 19387 w 3989396"/>
                <a:gd name="connsiteY2" fmla="*/ 8945 h 2031185"/>
                <a:gd name="connsiteX3" fmla="*/ 42345 w 3989396"/>
                <a:gd name="connsiteY3" fmla="*/ 8945 h 2031185"/>
                <a:gd name="connsiteX4" fmla="*/ 42345 w 3989396"/>
                <a:gd name="connsiteY4" fmla="*/ 20574 h 2031185"/>
                <a:gd name="connsiteX5" fmla="*/ 63262 w 3989396"/>
                <a:gd name="connsiteY5" fmla="*/ 20574 h 2031185"/>
                <a:gd name="connsiteX6" fmla="*/ 63262 w 3989396"/>
                <a:gd name="connsiteY6" fmla="*/ 40701 h 2031185"/>
                <a:gd name="connsiteX7" fmla="*/ 88260 w 3989396"/>
                <a:gd name="connsiteY7" fmla="*/ 40701 h 2031185"/>
                <a:gd name="connsiteX8" fmla="*/ 88260 w 3989396"/>
                <a:gd name="connsiteY8" fmla="*/ 55014 h 2031185"/>
                <a:gd name="connsiteX9" fmla="*/ 99484 w 3989396"/>
                <a:gd name="connsiteY9" fmla="*/ 55014 h 2031185"/>
                <a:gd name="connsiteX10" fmla="*/ 99484 w 3989396"/>
                <a:gd name="connsiteY10" fmla="*/ 65748 h 2031185"/>
                <a:gd name="connsiteX11" fmla="*/ 107647 w 3989396"/>
                <a:gd name="connsiteY11" fmla="*/ 65748 h 2031185"/>
                <a:gd name="connsiteX12" fmla="*/ 107647 w 3989396"/>
                <a:gd name="connsiteY12" fmla="*/ 93031 h 2031185"/>
                <a:gd name="connsiteX13" fmla="*/ 121422 w 3989396"/>
                <a:gd name="connsiteY13" fmla="*/ 93031 h 2031185"/>
                <a:gd name="connsiteX14" fmla="*/ 121422 w 3989396"/>
                <a:gd name="connsiteY14" fmla="*/ 114947 h 2031185"/>
                <a:gd name="connsiteX15" fmla="*/ 135196 w 3989396"/>
                <a:gd name="connsiteY15" fmla="*/ 114947 h 2031185"/>
                <a:gd name="connsiteX16" fmla="*/ 135196 w 3989396"/>
                <a:gd name="connsiteY16" fmla="*/ 165041 h 2031185"/>
                <a:gd name="connsiteX17" fmla="*/ 160195 w 3989396"/>
                <a:gd name="connsiteY17" fmla="*/ 165041 h 2031185"/>
                <a:gd name="connsiteX18" fmla="*/ 160195 w 3989396"/>
                <a:gd name="connsiteY18" fmla="*/ 179801 h 2031185"/>
                <a:gd name="connsiteX19" fmla="*/ 170909 w 3989396"/>
                <a:gd name="connsiteY19" fmla="*/ 179801 h 2031185"/>
                <a:gd name="connsiteX20" fmla="*/ 170909 w 3989396"/>
                <a:gd name="connsiteY20" fmla="*/ 194561 h 2031185"/>
                <a:gd name="connsiteX21" fmla="*/ 183153 w 3989396"/>
                <a:gd name="connsiteY21" fmla="*/ 194561 h 2031185"/>
                <a:gd name="connsiteX22" fmla="*/ 183153 w 3989396"/>
                <a:gd name="connsiteY22" fmla="*/ 221397 h 2031185"/>
                <a:gd name="connsiteX23" fmla="*/ 196417 w 3989396"/>
                <a:gd name="connsiteY23" fmla="*/ 221397 h 2031185"/>
                <a:gd name="connsiteX24" fmla="*/ 196417 w 3989396"/>
                <a:gd name="connsiteY24" fmla="*/ 250469 h 2031185"/>
                <a:gd name="connsiteX25" fmla="*/ 209172 w 3989396"/>
                <a:gd name="connsiteY25" fmla="*/ 250469 h 2031185"/>
                <a:gd name="connsiteX26" fmla="*/ 209172 w 3989396"/>
                <a:gd name="connsiteY26" fmla="*/ 260309 h 2031185"/>
                <a:gd name="connsiteX27" fmla="*/ 221416 w 3989396"/>
                <a:gd name="connsiteY27" fmla="*/ 260309 h 2031185"/>
                <a:gd name="connsiteX28" fmla="*/ 221416 w 3989396"/>
                <a:gd name="connsiteY28" fmla="*/ 284909 h 2031185"/>
                <a:gd name="connsiteX29" fmla="*/ 236211 w 3989396"/>
                <a:gd name="connsiteY29" fmla="*/ 284909 h 2031185"/>
                <a:gd name="connsiteX30" fmla="*/ 236211 w 3989396"/>
                <a:gd name="connsiteY30" fmla="*/ 300563 h 2031185"/>
                <a:gd name="connsiteX31" fmla="*/ 248455 w 3989396"/>
                <a:gd name="connsiteY31" fmla="*/ 300563 h 2031185"/>
                <a:gd name="connsiteX32" fmla="*/ 248455 w 3989396"/>
                <a:gd name="connsiteY32" fmla="*/ 313086 h 2031185"/>
                <a:gd name="connsiteX33" fmla="*/ 265291 w 3989396"/>
                <a:gd name="connsiteY33" fmla="*/ 313086 h 2031185"/>
                <a:gd name="connsiteX34" fmla="*/ 265291 w 3989396"/>
                <a:gd name="connsiteY34" fmla="*/ 323821 h 2031185"/>
                <a:gd name="connsiteX35" fmla="*/ 278045 w 3989396"/>
                <a:gd name="connsiteY35" fmla="*/ 323821 h 2031185"/>
                <a:gd name="connsiteX36" fmla="*/ 278045 w 3989396"/>
                <a:gd name="connsiteY36" fmla="*/ 340817 h 2031185"/>
                <a:gd name="connsiteX37" fmla="*/ 299983 w 3989396"/>
                <a:gd name="connsiteY37" fmla="*/ 340817 h 2031185"/>
                <a:gd name="connsiteX38" fmla="*/ 299983 w 3989396"/>
                <a:gd name="connsiteY38" fmla="*/ 353340 h 2031185"/>
                <a:gd name="connsiteX39" fmla="*/ 311717 w 3989396"/>
                <a:gd name="connsiteY39" fmla="*/ 353340 h 2031185"/>
                <a:gd name="connsiteX40" fmla="*/ 311717 w 3989396"/>
                <a:gd name="connsiteY40" fmla="*/ 391805 h 2031185"/>
                <a:gd name="connsiteX41" fmla="*/ 327022 w 3989396"/>
                <a:gd name="connsiteY41" fmla="*/ 391805 h 2031185"/>
                <a:gd name="connsiteX42" fmla="*/ 327022 w 3989396"/>
                <a:gd name="connsiteY42" fmla="*/ 410590 h 2031185"/>
                <a:gd name="connsiteX43" fmla="*/ 344878 w 3989396"/>
                <a:gd name="connsiteY43" fmla="*/ 410590 h 2031185"/>
                <a:gd name="connsiteX44" fmla="*/ 344878 w 3989396"/>
                <a:gd name="connsiteY44" fmla="*/ 427587 h 2031185"/>
                <a:gd name="connsiteX45" fmla="*/ 361714 w 3989396"/>
                <a:gd name="connsiteY45" fmla="*/ 427587 h 2031185"/>
                <a:gd name="connsiteX46" fmla="*/ 361714 w 3989396"/>
                <a:gd name="connsiteY46" fmla="*/ 453528 h 2031185"/>
                <a:gd name="connsiteX47" fmla="*/ 388753 w 3989396"/>
                <a:gd name="connsiteY47" fmla="*/ 453528 h 2031185"/>
                <a:gd name="connsiteX48" fmla="*/ 388753 w 3989396"/>
                <a:gd name="connsiteY48" fmla="*/ 471419 h 2031185"/>
                <a:gd name="connsiteX49" fmla="*/ 399467 w 3989396"/>
                <a:gd name="connsiteY49" fmla="*/ 471419 h 2031185"/>
                <a:gd name="connsiteX50" fmla="*/ 399467 w 3989396"/>
                <a:gd name="connsiteY50" fmla="*/ 488415 h 2031185"/>
                <a:gd name="connsiteX51" fmla="*/ 413241 w 3989396"/>
                <a:gd name="connsiteY51" fmla="*/ 488415 h 2031185"/>
                <a:gd name="connsiteX52" fmla="*/ 413241 w 3989396"/>
                <a:gd name="connsiteY52" fmla="*/ 518382 h 2031185"/>
                <a:gd name="connsiteX53" fmla="*/ 428547 w 3989396"/>
                <a:gd name="connsiteY53" fmla="*/ 518382 h 2031185"/>
                <a:gd name="connsiteX54" fmla="*/ 428547 w 3989396"/>
                <a:gd name="connsiteY54" fmla="*/ 530010 h 2031185"/>
                <a:gd name="connsiteX55" fmla="*/ 441301 w 3989396"/>
                <a:gd name="connsiteY55" fmla="*/ 530010 h 2031185"/>
                <a:gd name="connsiteX56" fmla="*/ 441301 w 3989396"/>
                <a:gd name="connsiteY56" fmla="*/ 551032 h 2031185"/>
                <a:gd name="connsiteX57" fmla="*/ 453035 w 3989396"/>
                <a:gd name="connsiteY57" fmla="*/ 551032 h 2031185"/>
                <a:gd name="connsiteX58" fmla="*/ 453035 w 3989396"/>
                <a:gd name="connsiteY58" fmla="*/ 584577 h 2031185"/>
                <a:gd name="connsiteX59" fmla="*/ 480074 w 3989396"/>
                <a:gd name="connsiteY59" fmla="*/ 584577 h 2031185"/>
                <a:gd name="connsiteX60" fmla="*/ 480074 w 3989396"/>
                <a:gd name="connsiteY60" fmla="*/ 609177 h 2031185"/>
                <a:gd name="connsiteX61" fmla="*/ 537384 w 3989396"/>
                <a:gd name="connsiteY61" fmla="*/ 609177 h 2031185"/>
                <a:gd name="connsiteX62" fmla="*/ 537384 w 3989396"/>
                <a:gd name="connsiteY62" fmla="*/ 621253 h 2031185"/>
                <a:gd name="connsiteX63" fmla="*/ 560172 w 3989396"/>
                <a:gd name="connsiteY63" fmla="*/ 621253 h 2031185"/>
                <a:gd name="connsiteX64" fmla="*/ 560172 w 3989396"/>
                <a:gd name="connsiteY64" fmla="*/ 633329 h 2031185"/>
                <a:gd name="connsiteX65" fmla="*/ 569865 w 3989396"/>
                <a:gd name="connsiteY65" fmla="*/ 633329 h 2031185"/>
                <a:gd name="connsiteX66" fmla="*/ 569865 w 3989396"/>
                <a:gd name="connsiteY66" fmla="*/ 670899 h 2031185"/>
                <a:gd name="connsiteX67" fmla="*/ 590952 w 3989396"/>
                <a:gd name="connsiteY67" fmla="*/ 670899 h 2031185"/>
                <a:gd name="connsiteX68" fmla="*/ 590952 w 3989396"/>
                <a:gd name="connsiteY68" fmla="*/ 682081 h 2031185"/>
                <a:gd name="connsiteX69" fmla="*/ 607278 w 3989396"/>
                <a:gd name="connsiteY69" fmla="*/ 682081 h 2031185"/>
                <a:gd name="connsiteX70" fmla="*/ 607278 w 3989396"/>
                <a:gd name="connsiteY70" fmla="*/ 695052 h 2031185"/>
                <a:gd name="connsiteX71" fmla="*/ 628025 w 3989396"/>
                <a:gd name="connsiteY71" fmla="*/ 695052 h 2031185"/>
                <a:gd name="connsiteX72" fmla="*/ 628025 w 3989396"/>
                <a:gd name="connsiteY72" fmla="*/ 709364 h 2031185"/>
                <a:gd name="connsiteX73" fmla="*/ 644521 w 3989396"/>
                <a:gd name="connsiteY73" fmla="*/ 709364 h 2031185"/>
                <a:gd name="connsiteX74" fmla="*/ 644521 w 3989396"/>
                <a:gd name="connsiteY74" fmla="*/ 720546 h 2031185"/>
                <a:gd name="connsiteX75" fmla="*/ 655574 w 3989396"/>
                <a:gd name="connsiteY75" fmla="*/ 720546 h 2031185"/>
                <a:gd name="connsiteX76" fmla="*/ 655574 w 3989396"/>
                <a:gd name="connsiteY76" fmla="*/ 733964 h 2031185"/>
                <a:gd name="connsiteX77" fmla="*/ 678532 w 3989396"/>
                <a:gd name="connsiteY77" fmla="*/ 733964 h 2031185"/>
                <a:gd name="connsiteX78" fmla="*/ 678532 w 3989396"/>
                <a:gd name="connsiteY78" fmla="*/ 743357 h 2031185"/>
                <a:gd name="connsiteX79" fmla="*/ 694008 w 3989396"/>
                <a:gd name="connsiteY79" fmla="*/ 743357 h 2031185"/>
                <a:gd name="connsiteX80" fmla="*/ 694008 w 3989396"/>
                <a:gd name="connsiteY80" fmla="*/ 759011 h 2031185"/>
                <a:gd name="connsiteX81" fmla="*/ 714755 w 3989396"/>
                <a:gd name="connsiteY81" fmla="*/ 759011 h 2031185"/>
                <a:gd name="connsiteX82" fmla="*/ 714755 w 3989396"/>
                <a:gd name="connsiteY82" fmla="*/ 767062 h 2031185"/>
                <a:gd name="connsiteX83" fmla="*/ 735672 w 3989396"/>
                <a:gd name="connsiteY83" fmla="*/ 767062 h 2031185"/>
                <a:gd name="connsiteX84" fmla="*/ 735672 w 3989396"/>
                <a:gd name="connsiteY84" fmla="*/ 782716 h 2031185"/>
                <a:gd name="connsiteX85" fmla="*/ 750637 w 3989396"/>
                <a:gd name="connsiteY85" fmla="*/ 782716 h 2031185"/>
                <a:gd name="connsiteX86" fmla="*/ 750637 w 3989396"/>
                <a:gd name="connsiteY86" fmla="*/ 794792 h 2031185"/>
                <a:gd name="connsiteX87" fmla="*/ 763391 w 3989396"/>
                <a:gd name="connsiteY87" fmla="*/ 794792 h 2031185"/>
                <a:gd name="connsiteX88" fmla="*/ 763391 w 3989396"/>
                <a:gd name="connsiteY88" fmla="*/ 815366 h 2031185"/>
                <a:gd name="connsiteX89" fmla="*/ 772915 w 3989396"/>
                <a:gd name="connsiteY89" fmla="*/ 815366 h 2031185"/>
                <a:gd name="connsiteX90" fmla="*/ 772915 w 3989396"/>
                <a:gd name="connsiteY90" fmla="*/ 829679 h 2031185"/>
                <a:gd name="connsiteX91" fmla="*/ 784309 w 3989396"/>
                <a:gd name="connsiteY91" fmla="*/ 829679 h 2031185"/>
                <a:gd name="connsiteX92" fmla="*/ 784309 w 3989396"/>
                <a:gd name="connsiteY92" fmla="*/ 850253 h 2031185"/>
                <a:gd name="connsiteX93" fmla="*/ 797403 w 3989396"/>
                <a:gd name="connsiteY93" fmla="*/ 850253 h 2031185"/>
                <a:gd name="connsiteX94" fmla="*/ 797403 w 3989396"/>
                <a:gd name="connsiteY94" fmla="*/ 864118 h 2031185"/>
                <a:gd name="connsiteX95" fmla="*/ 820531 w 3989396"/>
                <a:gd name="connsiteY95" fmla="*/ 864118 h 2031185"/>
                <a:gd name="connsiteX96" fmla="*/ 820531 w 3989396"/>
                <a:gd name="connsiteY96" fmla="*/ 893191 h 2031185"/>
                <a:gd name="connsiteX97" fmla="*/ 837367 w 3989396"/>
                <a:gd name="connsiteY97" fmla="*/ 893191 h 2031185"/>
                <a:gd name="connsiteX98" fmla="*/ 837367 w 3989396"/>
                <a:gd name="connsiteY98" fmla="*/ 906161 h 2031185"/>
                <a:gd name="connsiteX99" fmla="*/ 861345 w 3989396"/>
                <a:gd name="connsiteY99" fmla="*/ 906161 h 2031185"/>
                <a:gd name="connsiteX100" fmla="*/ 861345 w 3989396"/>
                <a:gd name="connsiteY100" fmla="*/ 929419 h 2031185"/>
                <a:gd name="connsiteX101" fmla="*/ 872569 w 3989396"/>
                <a:gd name="connsiteY101" fmla="*/ 929419 h 2031185"/>
                <a:gd name="connsiteX102" fmla="*/ 872569 w 3989396"/>
                <a:gd name="connsiteY102" fmla="*/ 941943 h 2031185"/>
                <a:gd name="connsiteX103" fmla="*/ 906751 w 3989396"/>
                <a:gd name="connsiteY103" fmla="*/ 941943 h 2031185"/>
                <a:gd name="connsiteX104" fmla="*/ 906751 w 3989396"/>
                <a:gd name="connsiteY104" fmla="*/ 954913 h 2031185"/>
                <a:gd name="connsiteX105" fmla="*/ 940422 w 3989396"/>
                <a:gd name="connsiteY105" fmla="*/ 954913 h 2031185"/>
                <a:gd name="connsiteX106" fmla="*/ 940422 w 3989396"/>
                <a:gd name="connsiteY106" fmla="*/ 966095 h 2031185"/>
                <a:gd name="connsiteX107" fmla="*/ 948585 w 3989396"/>
                <a:gd name="connsiteY107" fmla="*/ 966095 h 2031185"/>
                <a:gd name="connsiteX108" fmla="*/ 948585 w 3989396"/>
                <a:gd name="connsiteY108" fmla="*/ 994273 h 2031185"/>
                <a:gd name="connsiteX109" fmla="*/ 958788 w 3989396"/>
                <a:gd name="connsiteY109" fmla="*/ 994273 h 2031185"/>
                <a:gd name="connsiteX110" fmla="*/ 958788 w 3989396"/>
                <a:gd name="connsiteY110" fmla="*/ 1004113 h 2031185"/>
                <a:gd name="connsiteX111" fmla="*/ 967971 w 3989396"/>
                <a:gd name="connsiteY111" fmla="*/ 1004113 h 2031185"/>
                <a:gd name="connsiteX112" fmla="*/ 967971 w 3989396"/>
                <a:gd name="connsiteY112" fmla="*/ 1014996 h 2031185"/>
                <a:gd name="connsiteX113" fmla="*/ 981746 w 3989396"/>
                <a:gd name="connsiteY113" fmla="*/ 1014996 h 2031185"/>
                <a:gd name="connsiteX114" fmla="*/ 981746 w 3989396"/>
                <a:gd name="connsiteY114" fmla="*/ 1031098 h 2031185"/>
                <a:gd name="connsiteX115" fmla="*/ 996031 w 3989396"/>
                <a:gd name="connsiteY115" fmla="*/ 1031098 h 2031185"/>
                <a:gd name="connsiteX116" fmla="*/ 996031 w 3989396"/>
                <a:gd name="connsiteY116" fmla="*/ 1055101 h 2031185"/>
                <a:gd name="connsiteX117" fmla="*/ 1007255 w 3989396"/>
                <a:gd name="connsiteY117" fmla="*/ 1055101 h 2031185"/>
                <a:gd name="connsiteX118" fmla="*/ 1007255 w 3989396"/>
                <a:gd name="connsiteY118" fmla="*/ 1069563 h 2031185"/>
                <a:gd name="connsiteX119" fmla="*/ 1012357 w 3989396"/>
                <a:gd name="connsiteY119" fmla="*/ 1069563 h 2031185"/>
                <a:gd name="connsiteX120" fmla="*/ 1012357 w 3989396"/>
                <a:gd name="connsiteY120" fmla="*/ 1079403 h 2031185"/>
                <a:gd name="connsiteX121" fmla="*/ 1040416 w 3989396"/>
                <a:gd name="connsiteY121" fmla="*/ 1079403 h 2031185"/>
                <a:gd name="connsiteX122" fmla="*/ 1040416 w 3989396"/>
                <a:gd name="connsiteY122" fmla="*/ 1086559 h 2031185"/>
                <a:gd name="connsiteX123" fmla="*/ 1051130 w 3989396"/>
                <a:gd name="connsiteY123" fmla="*/ 1086559 h 2031185"/>
                <a:gd name="connsiteX124" fmla="*/ 1051130 w 3989396"/>
                <a:gd name="connsiteY124" fmla="*/ 1102660 h 2031185"/>
                <a:gd name="connsiteX125" fmla="*/ 1067456 w 3989396"/>
                <a:gd name="connsiteY125" fmla="*/ 1102660 h 2031185"/>
                <a:gd name="connsiteX126" fmla="*/ 1067456 w 3989396"/>
                <a:gd name="connsiteY126" fmla="*/ 1126366 h 2031185"/>
                <a:gd name="connsiteX127" fmla="*/ 1073578 w 3989396"/>
                <a:gd name="connsiteY127" fmla="*/ 1126366 h 2031185"/>
                <a:gd name="connsiteX128" fmla="*/ 1073578 w 3989396"/>
                <a:gd name="connsiteY128" fmla="*/ 1136205 h 2031185"/>
                <a:gd name="connsiteX129" fmla="*/ 1087862 w 3989396"/>
                <a:gd name="connsiteY129" fmla="*/ 1136205 h 2031185"/>
                <a:gd name="connsiteX130" fmla="*/ 1087862 w 3989396"/>
                <a:gd name="connsiteY130" fmla="*/ 1150369 h 2031185"/>
                <a:gd name="connsiteX131" fmla="*/ 1135819 w 3989396"/>
                <a:gd name="connsiteY131" fmla="*/ 1150369 h 2031185"/>
                <a:gd name="connsiteX132" fmla="*/ 1135819 w 3989396"/>
                <a:gd name="connsiteY132" fmla="*/ 1178547 h 2031185"/>
                <a:gd name="connsiteX133" fmla="*/ 1145512 w 3989396"/>
                <a:gd name="connsiteY133" fmla="*/ 1178547 h 2031185"/>
                <a:gd name="connsiteX134" fmla="*/ 1145512 w 3989396"/>
                <a:gd name="connsiteY134" fmla="*/ 1192114 h 2031185"/>
                <a:gd name="connsiteX135" fmla="*/ 1161328 w 3989396"/>
                <a:gd name="connsiteY135" fmla="*/ 1192114 h 2031185"/>
                <a:gd name="connsiteX136" fmla="*/ 1161328 w 3989396"/>
                <a:gd name="connsiteY136" fmla="*/ 1212688 h 2031185"/>
                <a:gd name="connsiteX137" fmla="*/ 1174082 w 3989396"/>
                <a:gd name="connsiteY137" fmla="*/ 1212688 h 2031185"/>
                <a:gd name="connsiteX138" fmla="*/ 1174082 w 3989396"/>
                <a:gd name="connsiteY138" fmla="*/ 1225211 h 2031185"/>
                <a:gd name="connsiteX139" fmla="*/ 1189387 w 3989396"/>
                <a:gd name="connsiteY139" fmla="*/ 1225211 h 2031185"/>
                <a:gd name="connsiteX140" fmla="*/ 1189387 w 3989396"/>
                <a:gd name="connsiteY140" fmla="*/ 1239524 h 2031185"/>
                <a:gd name="connsiteX141" fmla="*/ 1197040 w 3989396"/>
                <a:gd name="connsiteY141" fmla="*/ 1239524 h 2031185"/>
                <a:gd name="connsiteX142" fmla="*/ 1197040 w 3989396"/>
                <a:gd name="connsiteY142" fmla="*/ 1248022 h 2031185"/>
                <a:gd name="connsiteX143" fmla="*/ 1207754 w 3989396"/>
                <a:gd name="connsiteY143" fmla="*/ 1248022 h 2031185"/>
                <a:gd name="connsiteX144" fmla="*/ 1207754 w 3989396"/>
                <a:gd name="connsiteY144" fmla="*/ 1265913 h 2031185"/>
                <a:gd name="connsiteX145" fmla="*/ 1269995 w 3989396"/>
                <a:gd name="connsiteY145" fmla="*/ 1265913 h 2031185"/>
                <a:gd name="connsiteX146" fmla="*/ 1269995 w 3989396"/>
                <a:gd name="connsiteY146" fmla="*/ 1274411 h 2031185"/>
                <a:gd name="connsiteX147" fmla="*/ 1296524 w 3989396"/>
                <a:gd name="connsiteY147" fmla="*/ 1274411 h 2031185"/>
                <a:gd name="connsiteX148" fmla="*/ 1296524 w 3989396"/>
                <a:gd name="connsiteY148" fmla="*/ 1289170 h 2031185"/>
                <a:gd name="connsiteX149" fmla="*/ 1307238 w 3989396"/>
                <a:gd name="connsiteY149" fmla="*/ 1289170 h 2031185"/>
                <a:gd name="connsiteX150" fmla="*/ 1307238 w 3989396"/>
                <a:gd name="connsiteY150" fmla="*/ 1307061 h 2031185"/>
                <a:gd name="connsiteX151" fmla="*/ 1318972 w 3989396"/>
                <a:gd name="connsiteY151" fmla="*/ 1307061 h 2031185"/>
                <a:gd name="connsiteX152" fmla="*/ 1318972 w 3989396"/>
                <a:gd name="connsiteY152" fmla="*/ 1336133 h 2031185"/>
                <a:gd name="connsiteX153" fmla="*/ 1334787 w 3989396"/>
                <a:gd name="connsiteY153" fmla="*/ 1336133 h 2031185"/>
                <a:gd name="connsiteX154" fmla="*/ 1334787 w 3989396"/>
                <a:gd name="connsiteY154" fmla="*/ 1349999 h 2031185"/>
                <a:gd name="connsiteX155" fmla="*/ 1361826 w 3989396"/>
                <a:gd name="connsiteY155" fmla="*/ 1349999 h 2031185"/>
                <a:gd name="connsiteX156" fmla="*/ 1361826 w 3989396"/>
                <a:gd name="connsiteY156" fmla="*/ 1361628 h 2031185"/>
                <a:gd name="connsiteX157" fmla="*/ 1384784 w 3989396"/>
                <a:gd name="connsiteY157" fmla="*/ 1361628 h 2031185"/>
                <a:gd name="connsiteX158" fmla="*/ 1384784 w 3989396"/>
                <a:gd name="connsiteY158" fmla="*/ 1374598 h 2031185"/>
                <a:gd name="connsiteX159" fmla="*/ 1415905 w 3989396"/>
                <a:gd name="connsiteY159" fmla="*/ 1374598 h 2031185"/>
                <a:gd name="connsiteX160" fmla="*/ 1415905 w 3989396"/>
                <a:gd name="connsiteY160" fmla="*/ 1397409 h 2031185"/>
                <a:gd name="connsiteX161" fmla="*/ 1450597 w 3989396"/>
                <a:gd name="connsiteY161" fmla="*/ 1397409 h 2031185"/>
                <a:gd name="connsiteX162" fmla="*/ 1450597 w 3989396"/>
                <a:gd name="connsiteY162" fmla="*/ 1413510 h 2031185"/>
                <a:gd name="connsiteX163" fmla="*/ 1486309 w 3989396"/>
                <a:gd name="connsiteY163" fmla="*/ 1413510 h 2031185"/>
                <a:gd name="connsiteX164" fmla="*/ 1486309 w 3989396"/>
                <a:gd name="connsiteY164" fmla="*/ 1435874 h 2031185"/>
                <a:gd name="connsiteX165" fmla="*/ 1522021 w 3989396"/>
                <a:gd name="connsiteY165" fmla="*/ 1435874 h 2031185"/>
                <a:gd name="connsiteX166" fmla="*/ 1522021 w 3989396"/>
                <a:gd name="connsiteY166" fmla="*/ 1449292 h 2031185"/>
                <a:gd name="connsiteX167" fmla="*/ 1573039 w 3989396"/>
                <a:gd name="connsiteY167" fmla="*/ 1449292 h 2031185"/>
                <a:gd name="connsiteX168" fmla="*/ 1573039 w 3989396"/>
                <a:gd name="connsiteY168" fmla="*/ 1465393 h 2031185"/>
                <a:gd name="connsiteX169" fmla="*/ 1611812 w 3989396"/>
                <a:gd name="connsiteY169" fmla="*/ 1465393 h 2031185"/>
                <a:gd name="connsiteX170" fmla="*/ 1611812 w 3989396"/>
                <a:gd name="connsiteY170" fmla="*/ 1474786 h 2031185"/>
                <a:gd name="connsiteX171" fmla="*/ 1661299 w 3989396"/>
                <a:gd name="connsiteY171" fmla="*/ 1474786 h 2031185"/>
                <a:gd name="connsiteX172" fmla="*/ 1661299 w 3989396"/>
                <a:gd name="connsiteY172" fmla="*/ 1485968 h 2031185"/>
                <a:gd name="connsiteX173" fmla="*/ 1705684 w 3989396"/>
                <a:gd name="connsiteY173" fmla="*/ 1485968 h 2031185"/>
                <a:gd name="connsiteX174" fmla="*/ 1705684 w 3989396"/>
                <a:gd name="connsiteY174" fmla="*/ 1500727 h 2031185"/>
                <a:gd name="connsiteX175" fmla="*/ 1721499 w 3989396"/>
                <a:gd name="connsiteY175" fmla="*/ 1500727 h 2031185"/>
                <a:gd name="connsiteX176" fmla="*/ 1721499 w 3989396"/>
                <a:gd name="connsiteY176" fmla="*/ 1509673 h 2031185"/>
                <a:gd name="connsiteX177" fmla="*/ 1738845 w 3989396"/>
                <a:gd name="connsiteY177" fmla="*/ 1509673 h 2031185"/>
                <a:gd name="connsiteX178" fmla="*/ 1738845 w 3989396"/>
                <a:gd name="connsiteY178" fmla="*/ 1534272 h 2031185"/>
                <a:gd name="connsiteX179" fmla="*/ 1774047 w 3989396"/>
                <a:gd name="connsiteY179" fmla="*/ 1534272 h 2031185"/>
                <a:gd name="connsiteX180" fmla="*/ 1774047 w 3989396"/>
                <a:gd name="connsiteY180" fmla="*/ 1561108 h 2031185"/>
                <a:gd name="connsiteX181" fmla="*/ 1790373 w 3989396"/>
                <a:gd name="connsiteY181" fmla="*/ 1561108 h 2031185"/>
                <a:gd name="connsiteX182" fmla="*/ 1790373 w 3989396"/>
                <a:gd name="connsiteY182" fmla="*/ 1574526 h 2031185"/>
                <a:gd name="connsiteX183" fmla="*/ 1812821 w 3989396"/>
                <a:gd name="connsiteY183" fmla="*/ 1574526 h 2031185"/>
                <a:gd name="connsiteX184" fmla="*/ 1812821 w 3989396"/>
                <a:gd name="connsiteY184" fmla="*/ 1589286 h 2031185"/>
                <a:gd name="connsiteX185" fmla="*/ 1893938 w 3989396"/>
                <a:gd name="connsiteY185" fmla="*/ 1589286 h 2031185"/>
                <a:gd name="connsiteX186" fmla="*/ 1893938 w 3989396"/>
                <a:gd name="connsiteY186" fmla="*/ 1596890 h 2031185"/>
                <a:gd name="connsiteX187" fmla="*/ 1934242 w 3989396"/>
                <a:gd name="connsiteY187" fmla="*/ 1596890 h 2031185"/>
                <a:gd name="connsiteX188" fmla="*/ 1934242 w 3989396"/>
                <a:gd name="connsiteY188" fmla="*/ 1611202 h 2031185"/>
                <a:gd name="connsiteX189" fmla="*/ 1944446 w 3989396"/>
                <a:gd name="connsiteY189" fmla="*/ 1611202 h 2031185"/>
                <a:gd name="connsiteX190" fmla="*/ 1944446 w 3989396"/>
                <a:gd name="connsiteY190" fmla="*/ 1623278 h 2031185"/>
                <a:gd name="connsiteX191" fmla="*/ 1970465 w 3989396"/>
                <a:gd name="connsiteY191" fmla="*/ 1623278 h 2031185"/>
                <a:gd name="connsiteX192" fmla="*/ 1970465 w 3989396"/>
                <a:gd name="connsiteY192" fmla="*/ 1636249 h 2031185"/>
                <a:gd name="connsiteX193" fmla="*/ 2002606 w 3989396"/>
                <a:gd name="connsiteY193" fmla="*/ 1636249 h 2031185"/>
                <a:gd name="connsiteX194" fmla="*/ 2002606 w 3989396"/>
                <a:gd name="connsiteY194" fmla="*/ 1645642 h 2031185"/>
                <a:gd name="connsiteX195" fmla="*/ 2066888 w 3989396"/>
                <a:gd name="connsiteY195" fmla="*/ 1645642 h 2031185"/>
                <a:gd name="connsiteX196" fmla="*/ 2066888 w 3989396"/>
                <a:gd name="connsiteY196" fmla="*/ 1656376 h 2031185"/>
                <a:gd name="connsiteX197" fmla="*/ 2114334 w 3989396"/>
                <a:gd name="connsiteY197" fmla="*/ 1656376 h 2031185"/>
                <a:gd name="connsiteX198" fmla="*/ 2114334 w 3989396"/>
                <a:gd name="connsiteY198" fmla="*/ 1671136 h 2031185"/>
                <a:gd name="connsiteX199" fmla="*/ 2135251 w 3989396"/>
                <a:gd name="connsiteY199" fmla="*/ 1671136 h 2031185"/>
                <a:gd name="connsiteX200" fmla="*/ 2135251 w 3989396"/>
                <a:gd name="connsiteY200" fmla="*/ 1684107 h 2031185"/>
                <a:gd name="connsiteX201" fmla="*/ 2151577 w 3989396"/>
                <a:gd name="connsiteY201" fmla="*/ 1684107 h 2031185"/>
                <a:gd name="connsiteX202" fmla="*/ 2151577 w 3989396"/>
                <a:gd name="connsiteY202" fmla="*/ 1697972 h 2031185"/>
                <a:gd name="connsiteX203" fmla="*/ 2166372 w 3989396"/>
                <a:gd name="connsiteY203" fmla="*/ 1697972 h 2031185"/>
                <a:gd name="connsiteX204" fmla="*/ 2166372 w 3989396"/>
                <a:gd name="connsiteY204" fmla="*/ 1710048 h 2031185"/>
                <a:gd name="connsiteX205" fmla="*/ 2223511 w 3989396"/>
                <a:gd name="connsiteY205" fmla="*/ 1710048 h 2031185"/>
                <a:gd name="connsiteX206" fmla="*/ 2223511 w 3989396"/>
                <a:gd name="connsiteY206" fmla="*/ 1724360 h 2031185"/>
                <a:gd name="connsiteX207" fmla="*/ 2298507 w 3989396"/>
                <a:gd name="connsiteY207" fmla="*/ 1724360 h 2031185"/>
                <a:gd name="connsiteX208" fmla="*/ 2298507 w 3989396"/>
                <a:gd name="connsiteY208" fmla="*/ 1731069 h 2031185"/>
                <a:gd name="connsiteX209" fmla="*/ 2376054 w 3989396"/>
                <a:gd name="connsiteY209" fmla="*/ 1731069 h 2031185"/>
                <a:gd name="connsiteX210" fmla="*/ 2376054 w 3989396"/>
                <a:gd name="connsiteY210" fmla="*/ 1746724 h 2031185"/>
                <a:gd name="connsiteX211" fmla="*/ 2426561 w 3989396"/>
                <a:gd name="connsiteY211" fmla="*/ 1746724 h 2031185"/>
                <a:gd name="connsiteX212" fmla="*/ 2426561 w 3989396"/>
                <a:gd name="connsiteY212" fmla="*/ 1762825 h 2031185"/>
                <a:gd name="connsiteX213" fmla="*/ 2501046 w 3989396"/>
                <a:gd name="connsiteY213" fmla="*/ 1762825 h 2031185"/>
                <a:gd name="connsiteX214" fmla="*/ 2501046 w 3989396"/>
                <a:gd name="connsiteY214" fmla="*/ 1781163 h 2031185"/>
                <a:gd name="connsiteX215" fmla="*/ 2563798 w 3989396"/>
                <a:gd name="connsiteY215" fmla="*/ 1781163 h 2031185"/>
                <a:gd name="connsiteX216" fmla="*/ 2563798 w 3989396"/>
                <a:gd name="connsiteY216" fmla="*/ 1806658 h 2031185"/>
                <a:gd name="connsiteX217" fmla="*/ 2638283 w 3989396"/>
                <a:gd name="connsiteY217" fmla="*/ 1806658 h 2031185"/>
                <a:gd name="connsiteX218" fmla="*/ 2638283 w 3989396"/>
                <a:gd name="connsiteY218" fmla="*/ 1823654 h 2031185"/>
                <a:gd name="connsiteX219" fmla="*/ 2676036 w 3989396"/>
                <a:gd name="connsiteY219" fmla="*/ 1823654 h 2031185"/>
                <a:gd name="connsiteX220" fmla="*/ 2676036 w 3989396"/>
                <a:gd name="connsiteY220" fmla="*/ 1854962 h 2031185"/>
                <a:gd name="connsiteX221" fmla="*/ 2738788 w 3989396"/>
                <a:gd name="connsiteY221" fmla="*/ 1854962 h 2031185"/>
                <a:gd name="connsiteX222" fmla="*/ 2738788 w 3989396"/>
                <a:gd name="connsiteY222" fmla="*/ 1880009 h 2031185"/>
                <a:gd name="connsiteX223" fmla="*/ 2800009 w 3989396"/>
                <a:gd name="connsiteY223" fmla="*/ 1880009 h 2031185"/>
                <a:gd name="connsiteX224" fmla="*/ 2800009 w 3989396"/>
                <a:gd name="connsiteY224" fmla="*/ 1908187 h 2031185"/>
                <a:gd name="connsiteX225" fmla="*/ 2821436 w 3989396"/>
                <a:gd name="connsiteY225" fmla="*/ 1908187 h 2031185"/>
                <a:gd name="connsiteX226" fmla="*/ 2821436 w 3989396"/>
                <a:gd name="connsiteY226" fmla="*/ 1920710 h 2031185"/>
                <a:gd name="connsiteX227" fmla="*/ 2892861 w 3989396"/>
                <a:gd name="connsiteY227" fmla="*/ 1920710 h 2031185"/>
                <a:gd name="connsiteX228" fmla="*/ 2892861 w 3989396"/>
                <a:gd name="connsiteY228" fmla="*/ 1942179 h 2031185"/>
                <a:gd name="connsiteX229" fmla="*/ 3016833 w 3989396"/>
                <a:gd name="connsiteY229" fmla="*/ 1942179 h 2031185"/>
                <a:gd name="connsiteX230" fmla="*/ 3016833 w 3989396"/>
                <a:gd name="connsiteY230" fmla="*/ 1953808 h 2031185"/>
                <a:gd name="connsiteX231" fmla="*/ 3040301 w 3989396"/>
                <a:gd name="connsiteY231" fmla="*/ 1953808 h 2031185"/>
                <a:gd name="connsiteX232" fmla="*/ 3040301 w 3989396"/>
                <a:gd name="connsiteY232" fmla="*/ 1969910 h 2031185"/>
                <a:gd name="connsiteX233" fmla="*/ 3178558 w 3989396"/>
                <a:gd name="connsiteY233" fmla="*/ 1969910 h 2031185"/>
                <a:gd name="connsiteX234" fmla="*/ 3178558 w 3989396"/>
                <a:gd name="connsiteY234" fmla="*/ 1988695 h 2031185"/>
                <a:gd name="connsiteX235" fmla="*/ 3218862 w 3989396"/>
                <a:gd name="connsiteY235" fmla="*/ 1988695 h 2031185"/>
                <a:gd name="connsiteX236" fmla="*/ 3218862 w 3989396"/>
                <a:gd name="connsiteY236" fmla="*/ 2006586 h 2031185"/>
                <a:gd name="connsiteX237" fmla="*/ 3413749 w 3989396"/>
                <a:gd name="connsiteY237" fmla="*/ 2006586 h 2031185"/>
                <a:gd name="connsiteX238" fmla="*/ 3413749 w 3989396"/>
                <a:gd name="connsiteY238" fmla="*/ 2031185 h 2031185"/>
                <a:gd name="connsiteX239" fmla="*/ 3989396 w 3989396"/>
                <a:gd name="connsiteY239" fmla="*/ 2031185 h 2031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Lst>
              <a:rect l="l" t="t" r="r" b="b"/>
              <a:pathLst>
                <a:path w="3989396" h="2031185">
                  <a:moveTo>
                    <a:pt x="0" y="0"/>
                  </a:moveTo>
                  <a:lnTo>
                    <a:pt x="19387" y="0"/>
                  </a:lnTo>
                  <a:lnTo>
                    <a:pt x="19387" y="8945"/>
                  </a:lnTo>
                  <a:lnTo>
                    <a:pt x="42345" y="8945"/>
                  </a:lnTo>
                  <a:lnTo>
                    <a:pt x="42345" y="20574"/>
                  </a:lnTo>
                  <a:lnTo>
                    <a:pt x="63262" y="20574"/>
                  </a:lnTo>
                  <a:lnTo>
                    <a:pt x="63262" y="40701"/>
                  </a:lnTo>
                  <a:lnTo>
                    <a:pt x="88260" y="40701"/>
                  </a:lnTo>
                  <a:lnTo>
                    <a:pt x="88260" y="55014"/>
                  </a:lnTo>
                  <a:lnTo>
                    <a:pt x="99484" y="55014"/>
                  </a:lnTo>
                  <a:lnTo>
                    <a:pt x="99484" y="65748"/>
                  </a:lnTo>
                  <a:lnTo>
                    <a:pt x="107647" y="65748"/>
                  </a:lnTo>
                  <a:lnTo>
                    <a:pt x="107647" y="93031"/>
                  </a:lnTo>
                  <a:lnTo>
                    <a:pt x="121422" y="93031"/>
                  </a:lnTo>
                  <a:lnTo>
                    <a:pt x="121422" y="114947"/>
                  </a:lnTo>
                  <a:lnTo>
                    <a:pt x="135196" y="114947"/>
                  </a:lnTo>
                  <a:lnTo>
                    <a:pt x="135196" y="165041"/>
                  </a:lnTo>
                  <a:lnTo>
                    <a:pt x="160195" y="165041"/>
                  </a:lnTo>
                  <a:lnTo>
                    <a:pt x="160195" y="179801"/>
                  </a:lnTo>
                  <a:lnTo>
                    <a:pt x="170909" y="179801"/>
                  </a:lnTo>
                  <a:lnTo>
                    <a:pt x="170909" y="194561"/>
                  </a:lnTo>
                  <a:lnTo>
                    <a:pt x="183153" y="194561"/>
                  </a:lnTo>
                  <a:lnTo>
                    <a:pt x="183153" y="221397"/>
                  </a:lnTo>
                  <a:lnTo>
                    <a:pt x="196417" y="221397"/>
                  </a:lnTo>
                  <a:lnTo>
                    <a:pt x="196417" y="250469"/>
                  </a:lnTo>
                  <a:lnTo>
                    <a:pt x="209172" y="250469"/>
                  </a:lnTo>
                  <a:lnTo>
                    <a:pt x="209172" y="260309"/>
                  </a:lnTo>
                  <a:lnTo>
                    <a:pt x="221416" y="260309"/>
                  </a:lnTo>
                  <a:lnTo>
                    <a:pt x="221416" y="284909"/>
                  </a:lnTo>
                  <a:lnTo>
                    <a:pt x="236211" y="284909"/>
                  </a:lnTo>
                  <a:lnTo>
                    <a:pt x="236211" y="300563"/>
                  </a:lnTo>
                  <a:lnTo>
                    <a:pt x="248455" y="300563"/>
                  </a:lnTo>
                  <a:lnTo>
                    <a:pt x="248455" y="313086"/>
                  </a:lnTo>
                  <a:lnTo>
                    <a:pt x="265291" y="313086"/>
                  </a:lnTo>
                  <a:lnTo>
                    <a:pt x="265291" y="323821"/>
                  </a:lnTo>
                  <a:lnTo>
                    <a:pt x="278045" y="323821"/>
                  </a:lnTo>
                  <a:lnTo>
                    <a:pt x="278045" y="340817"/>
                  </a:lnTo>
                  <a:lnTo>
                    <a:pt x="299983" y="340817"/>
                  </a:lnTo>
                  <a:lnTo>
                    <a:pt x="299983" y="353340"/>
                  </a:lnTo>
                  <a:lnTo>
                    <a:pt x="311717" y="353340"/>
                  </a:lnTo>
                  <a:lnTo>
                    <a:pt x="311717" y="391805"/>
                  </a:lnTo>
                  <a:lnTo>
                    <a:pt x="327022" y="391805"/>
                  </a:lnTo>
                  <a:lnTo>
                    <a:pt x="327022" y="410590"/>
                  </a:lnTo>
                  <a:lnTo>
                    <a:pt x="344878" y="410590"/>
                  </a:lnTo>
                  <a:lnTo>
                    <a:pt x="344878" y="427587"/>
                  </a:lnTo>
                  <a:lnTo>
                    <a:pt x="361714" y="427587"/>
                  </a:lnTo>
                  <a:lnTo>
                    <a:pt x="361714" y="453528"/>
                  </a:lnTo>
                  <a:lnTo>
                    <a:pt x="388753" y="453528"/>
                  </a:lnTo>
                  <a:lnTo>
                    <a:pt x="388753" y="471419"/>
                  </a:lnTo>
                  <a:lnTo>
                    <a:pt x="399467" y="471419"/>
                  </a:lnTo>
                  <a:lnTo>
                    <a:pt x="399467" y="488415"/>
                  </a:lnTo>
                  <a:lnTo>
                    <a:pt x="413241" y="488415"/>
                  </a:lnTo>
                  <a:lnTo>
                    <a:pt x="413241" y="518382"/>
                  </a:lnTo>
                  <a:lnTo>
                    <a:pt x="428547" y="518382"/>
                  </a:lnTo>
                  <a:lnTo>
                    <a:pt x="428547" y="530010"/>
                  </a:lnTo>
                  <a:lnTo>
                    <a:pt x="441301" y="530010"/>
                  </a:lnTo>
                  <a:lnTo>
                    <a:pt x="441301" y="551032"/>
                  </a:lnTo>
                  <a:lnTo>
                    <a:pt x="453035" y="551032"/>
                  </a:lnTo>
                  <a:lnTo>
                    <a:pt x="453035" y="584577"/>
                  </a:lnTo>
                  <a:lnTo>
                    <a:pt x="480074" y="584577"/>
                  </a:lnTo>
                  <a:lnTo>
                    <a:pt x="480074" y="609177"/>
                  </a:lnTo>
                  <a:lnTo>
                    <a:pt x="537384" y="609177"/>
                  </a:lnTo>
                  <a:lnTo>
                    <a:pt x="537384" y="621253"/>
                  </a:lnTo>
                  <a:lnTo>
                    <a:pt x="560172" y="621253"/>
                  </a:lnTo>
                  <a:lnTo>
                    <a:pt x="560172" y="633329"/>
                  </a:lnTo>
                  <a:lnTo>
                    <a:pt x="569865" y="633329"/>
                  </a:lnTo>
                  <a:lnTo>
                    <a:pt x="569865" y="670899"/>
                  </a:lnTo>
                  <a:lnTo>
                    <a:pt x="590952" y="670899"/>
                  </a:lnTo>
                  <a:lnTo>
                    <a:pt x="590952" y="682081"/>
                  </a:lnTo>
                  <a:lnTo>
                    <a:pt x="607278" y="682081"/>
                  </a:lnTo>
                  <a:lnTo>
                    <a:pt x="607278" y="695052"/>
                  </a:lnTo>
                  <a:lnTo>
                    <a:pt x="628025" y="695052"/>
                  </a:lnTo>
                  <a:lnTo>
                    <a:pt x="628025" y="709364"/>
                  </a:lnTo>
                  <a:lnTo>
                    <a:pt x="644521" y="709364"/>
                  </a:lnTo>
                  <a:lnTo>
                    <a:pt x="644521" y="720546"/>
                  </a:lnTo>
                  <a:lnTo>
                    <a:pt x="655574" y="720546"/>
                  </a:lnTo>
                  <a:lnTo>
                    <a:pt x="655574" y="733964"/>
                  </a:lnTo>
                  <a:lnTo>
                    <a:pt x="678532" y="733964"/>
                  </a:lnTo>
                  <a:lnTo>
                    <a:pt x="678532" y="743357"/>
                  </a:lnTo>
                  <a:lnTo>
                    <a:pt x="694008" y="743357"/>
                  </a:lnTo>
                  <a:lnTo>
                    <a:pt x="694008" y="759011"/>
                  </a:lnTo>
                  <a:lnTo>
                    <a:pt x="714755" y="759011"/>
                  </a:lnTo>
                  <a:lnTo>
                    <a:pt x="714755" y="767062"/>
                  </a:lnTo>
                  <a:lnTo>
                    <a:pt x="735672" y="767062"/>
                  </a:lnTo>
                  <a:lnTo>
                    <a:pt x="735672" y="782716"/>
                  </a:lnTo>
                  <a:lnTo>
                    <a:pt x="750637" y="782716"/>
                  </a:lnTo>
                  <a:lnTo>
                    <a:pt x="750637" y="794792"/>
                  </a:lnTo>
                  <a:lnTo>
                    <a:pt x="763391" y="794792"/>
                  </a:lnTo>
                  <a:lnTo>
                    <a:pt x="763391" y="815366"/>
                  </a:lnTo>
                  <a:lnTo>
                    <a:pt x="772915" y="815366"/>
                  </a:lnTo>
                  <a:lnTo>
                    <a:pt x="772915" y="829679"/>
                  </a:lnTo>
                  <a:lnTo>
                    <a:pt x="784309" y="829679"/>
                  </a:lnTo>
                  <a:lnTo>
                    <a:pt x="784309" y="850253"/>
                  </a:lnTo>
                  <a:lnTo>
                    <a:pt x="797403" y="850253"/>
                  </a:lnTo>
                  <a:lnTo>
                    <a:pt x="797403" y="864118"/>
                  </a:lnTo>
                  <a:lnTo>
                    <a:pt x="820531" y="864118"/>
                  </a:lnTo>
                  <a:lnTo>
                    <a:pt x="820531" y="893191"/>
                  </a:lnTo>
                  <a:lnTo>
                    <a:pt x="837367" y="893191"/>
                  </a:lnTo>
                  <a:lnTo>
                    <a:pt x="837367" y="906161"/>
                  </a:lnTo>
                  <a:lnTo>
                    <a:pt x="861345" y="906161"/>
                  </a:lnTo>
                  <a:lnTo>
                    <a:pt x="861345" y="929419"/>
                  </a:lnTo>
                  <a:lnTo>
                    <a:pt x="872569" y="929419"/>
                  </a:lnTo>
                  <a:lnTo>
                    <a:pt x="872569" y="941943"/>
                  </a:lnTo>
                  <a:lnTo>
                    <a:pt x="906751" y="941943"/>
                  </a:lnTo>
                  <a:lnTo>
                    <a:pt x="906751" y="954913"/>
                  </a:lnTo>
                  <a:lnTo>
                    <a:pt x="940422" y="954913"/>
                  </a:lnTo>
                  <a:lnTo>
                    <a:pt x="940422" y="966095"/>
                  </a:lnTo>
                  <a:lnTo>
                    <a:pt x="948585" y="966095"/>
                  </a:lnTo>
                  <a:lnTo>
                    <a:pt x="948585" y="994273"/>
                  </a:lnTo>
                  <a:lnTo>
                    <a:pt x="958788" y="994273"/>
                  </a:lnTo>
                  <a:lnTo>
                    <a:pt x="958788" y="1004113"/>
                  </a:lnTo>
                  <a:lnTo>
                    <a:pt x="967971" y="1004113"/>
                  </a:lnTo>
                  <a:lnTo>
                    <a:pt x="967971" y="1014996"/>
                  </a:lnTo>
                  <a:lnTo>
                    <a:pt x="981746" y="1014996"/>
                  </a:lnTo>
                  <a:lnTo>
                    <a:pt x="981746" y="1031098"/>
                  </a:lnTo>
                  <a:lnTo>
                    <a:pt x="996031" y="1031098"/>
                  </a:lnTo>
                  <a:lnTo>
                    <a:pt x="996031" y="1055101"/>
                  </a:lnTo>
                  <a:lnTo>
                    <a:pt x="1007255" y="1055101"/>
                  </a:lnTo>
                  <a:lnTo>
                    <a:pt x="1007255" y="1069563"/>
                  </a:lnTo>
                  <a:lnTo>
                    <a:pt x="1012357" y="1069563"/>
                  </a:lnTo>
                  <a:lnTo>
                    <a:pt x="1012357" y="1079403"/>
                  </a:lnTo>
                  <a:lnTo>
                    <a:pt x="1040416" y="1079403"/>
                  </a:lnTo>
                  <a:lnTo>
                    <a:pt x="1040416" y="1086559"/>
                  </a:lnTo>
                  <a:lnTo>
                    <a:pt x="1051130" y="1086559"/>
                  </a:lnTo>
                  <a:lnTo>
                    <a:pt x="1051130" y="1102660"/>
                  </a:lnTo>
                  <a:lnTo>
                    <a:pt x="1067456" y="1102660"/>
                  </a:lnTo>
                  <a:lnTo>
                    <a:pt x="1067456" y="1126366"/>
                  </a:lnTo>
                  <a:lnTo>
                    <a:pt x="1073578" y="1126366"/>
                  </a:lnTo>
                  <a:lnTo>
                    <a:pt x="1073578" y="1136205"/>
                  </a:lnTo>
                  <a:lnTo>
                    <a:pt x="1087862" y="1136205"/>
                  </a:lnTo>
                  <a:lnTo>
                    <a:pt x="1087862" y="1150369"/>
                  </a:lnTo>
                  <a:lnTo>
                    <a:pt x="1135819" y="1150369"/>
                  </a:lnTo>
                  <a:lnTo>
                    <a:pt x="1135819" y="1178547"/>
                  </a:lnTo>
                  <a:lnTo>
                    <a:pt x="1145512" y="1178547"/>
                  </a:lnTo>
                  <a:lnTo>
                    <a:pt x="1145512" y="1192114"/>
                  </a:lnTo>
                  <a:lnTo>
                    <a:pt x="1161328" y="1192114"/>
                  </a:lnTo>
                  <a:lnTo>
                    <a:pt x="1161328" y="1212688"/>
                  </a:lnTo>
                  <a:lnTo>
                    <a:pt x="1174082" y="1212688"/>
                  </a:lnTo>
                  <a:lnTo>
                    <a:pt x="1174082" y="1225211"/>
                  </a:lnTo>
                  <a:lnTo>
                    <a:pt x="1189387" y="1225211"/>
                  </a:lnTo>
                  <a:lnTo>
                    <a:pt x="1189387" y="1239524"/>
                  </a:lnTo>
                  <a:lnTo>
                    <a:pt x="1197040" y="1239524"/>
                  </a:lnTo>
                  <a:lnTo>
                    <a:pt x="1197040" y="1248022"/>
                  </a:lnTo>
                  <a:lnTo>
                    <a:pt x="1207754" y="1248022"/>
                  </a:lnTo>
                  <a:lnTo>
                    <a:pt x="1207754" y="1265913"/>
                  </a:lnTo>
                  <a:lnTo>
                    <a:pt x="1269995" y="1265913"/>
                  </a:lnTo>
                  <a:lnTo>
                    <a:pt x="1269995" y="1274411"/>
                  </a:lnTo>
                  <a:lnTo>
                    <a:pt x="1296524" y="1274411"/>
                  </a:lnTo>
                  <a:lnTo>
                    <a:pt x="1296524" y="1289170"/>
                  </a:lnTo>
                  <a:lnTo>
                    <a:pt x="1307238" y="1289170"/>
                  </a:lnTo>
                  <a:lnTo>
                    <a:pt x="1307238" y="1307061"/>
                  </a:lnTo>
                  <a:lnTo>
                    <a:pt x="1318972" y="1307061"/>
                  </a:lnTo>
                  <a:lnTo>
                    <a:pt x="1318972" y="1336133"/>
                  </a:lnTo>
                  <a:lnTo>
                    <a:pt x="1334787" y="1336133"/>
                  </a:lnTo>
                  <a:lnTo>
                    <a:pt x="1334787" y="1349999"/>
                  </a:lnTo>
                  <a:lnTo>
                    <a:pt x="1361826" y="1349999"/>
                  </a:lnTo>
                  <a:lnTo>
                    <a:pt x="1361826" y="1361628"/>
                  </a:lnTo>
                  <a:lnTo>
                    <a:pt x="1384784" y="1361628"/>
                  </a:lnTo>
                  <a:lnTo>
                    <a:pt x="1384784" y="1374598"/>
                  </a:lnTo>
                  <a:lnTo>
                    <a:pt x="1415905" y="1374598"/>
                  </a:lnTo>
                  <a:lnTo>
                    <a:pt x="1415905" y="1397409"/>
                  </a:lnTo>
                  <a:lnTo>
                    <a:pt x="1450597" y="1397409"/>
                  </a:lnTo>
                  <a:lnTo>
                    <a:pt x="1450597" y="1413510"/>
                  </a:lnTo>
                  <a:lnTo>
                    <a:pt x="1486309" y="1413510"/>
                  </a:lnTo>
                  <a:lnTo>
                    <a:pt x="1486309" y="1435874"/>
                  </a:lnTo>
                  <a:lnTo>
                    <a:pt x="1522021" y="1435874"/>
                  </a:lnTo>
                  <a:lnTo>
                    <a:pt x="1522021" y="1449292"/>
                  </a:lnTo>
                  <a:lnTo>
                    <a:pt x="1573039" y="1449292"/>
                  </a:lnTo>
                  <a:lnTo>
                    <a:pt x="1573039" y="1465393"/>
                  </a:lnTo>
                  <a:lnTo>
                    <a:pt x="1611812" y="1465393"/>
                  </a:lnTo>
                  <a:lnTo>
                    <a:pt x="1611812" y="1474786"/>
                  </a:lnTo>
                  <a:lnTo>
                    <a:pt x="1661299" y="1474786"/>
                  </a:lnTo>
                  <a:lnTo>
                    <a:pt x="1661299" y="1485968"/>
                  </a:lnTo>
                  <a:lnTo>
                    <a:pt x="1705684" y="1485968"/>
                  </a:lnTo>
                  <a:lnTo>
                    <a:pt x="1705684" y="1500727"/>
                  </a:lnTo>
                  <a:lnTo>
                    <a:pt x="1721499" y="1500727"/>
                  </a:lnTo>
                  <a:lnTo>
                    <a:pt x="1721499" y="1509673"/>
                  </a:lnTo>
                  <a:lnTo>
                    <a:pt x="1738845" y="1509673"/>
                  </a:lnTo>
                  <a:lnTo>
                    <a:pt x="1738845" y="1534272"/>
                  </a:lnTo>
                  <a:lnTo>
                    <a:pt x="1774047" y="1534272"/>
                  </a:lnTo>
                  <a:lnTo>
                    <a:pt x="1774047" y="1561108"/>
                  </a:lnTo>
                  <a:lnTo>
                    <a:pt x="1790373" y="1561108"/>
                  </a:lnTo>
                  <a:lnTo>
                    <a:pt x="1790373" y="1574526"/>
                  </a:lnTo>
                  <a:lnTo>
                    <a:pt x="1812821" y="1574526"/>
                  </a:lnTo>
                  <a:lnTo>
                    <a:pt x="1812821" y="1589286"/>
                  </a:lnTo>
                  <a:lnTo>
                    <a:pt x="1893938" y="1589286"/>
                  </a:lnTo>
                  <a:lnTo>
                    <a:pt x="1893938" y="1596890"/>
                  </a:lnTo>
                  <a:lnTo>
                    <a:pt x="1934242" y="1596890"/>
                  </a:lnTo>
                  <a:lnTo>
                    <a:pt x="1934242" y="1611202"/>
                  </a:lnTo>
                  <a:lnTo>
                    <a:pt x="1944446" y="1611202"/>
                  </a:lnTo>
                  <a:lnTo>
                    <a:pt x="1944446" y="1623278"/>
                  </a:lnTo>
                  <a:lnTo>
                    <a:pt x="1970465" y="1623278"/>
                  </a:lnTo>
                  <a:lnTo>
                    <a:pt x="1970465" y="1636249"/>
                  </a:lnTo>
                  <a:lnTo>
                    <a:pt x="2002606" y="1636249"/>
                  </a:lnTo>
                  <a:lnTo>
                    <a:pt x="2002606" y="1645642"/>
                  </a:lnTo>
                  <a:lnTo>
                    <a:pt x="2066888" y="1645642"/>
                  </a:lnTo>
                  <a:lnTo>
                    <a:pt x="2066888" y="1656376"/>
                  </a:lnTo>
                  <a:lnTo>
                    <a:pt x="2114334" y="1656376"/>
                  </a:lnTo>
                  <a:lnTo>
                    <a:pt x="2114334" y="1671136"/>
                  </a:lnTo>
                  <a:lnTo>
                    <a:pt x="2135251" y="1671136"/>
                  </a:lnTo>
                  <a:lnTo>
                    <a:pt x="2135251" y="1684107"/>
                  </a:lnTo>
                  <a:lnTo>
                    <a:pt x="2151577" y="1684107"/>
                  </a:lnTo>
                  <a:lnTo>
                    <a:pt x="2151577" y="1697972"/>
                  </a:lnTo>
                  <a:lnTo>
                    <a:pt x="2166372" y="1697972"/>
                  </a:lnTo>
                  <a:lnTo>
                    <a:pt x="2166372" y="1710048"/>
                  </a:lnTo>
                  <a:lnTo>
                    <a:pt x="2223511" y="1710048"/>
                  </a:lnTo>
                  <a:lnTo>
                    <a:pt x="2223511" y="1724360"/>
                  </a:lnTo>
                  <a:lnTo>
                    <a:pt x="2298507" y="1724360"/>
                  </a:lnTo>
                  <a:lnTo>
                    <a:pt x="2298507" y="1731069"/>
                  </a:lnTo>
                  <a:lnTo>
                    <a:pt x="2376054" y="1731069"/>
                  </a:lnTo>
                  <a:lnTo>
                    <a:pt x="2376054" y="1746724"/>
                  </a:lnTo>
                  <a:lnTo>
                    <a:pt x="2426561" y="1746724"/>
                  </a:lnTo>
                  <a:lnTo>
                    <a:pt x="2426561" y="1762825"/>
                  </a:lnTo>
                  <a:lnTo>
                    <a:pt x="2501046" y="1762825"/>
                  </a:lnTo>
                  <a:lnTo>
                    <a:pt x="2501046" y="1781163"/>
                  </a:lnTo>
                  <a:lnTo>
                    <a:pt x="2563798" y="1781163"/>
                  </a:lnTo>
                  <a:lnTo>
                    <a:pt x="2563798" y="1806658"/>
                  </a:lnTo>
                  <a:lnTo>
                    <a:pt x="2638283" y="1806658"/>
                  </a:lnTo>
                  <a:lnTo>
                    <a:pt x="2638283" y="1823654"/>
                  </a:lnTo>
                  <a:lnTo>
                    <a:pt x="2676036" y="1823654"/>
                  </a:lnTo>
                  <a:lnTo>
                    <a:pt x="2676036" y="1854962"/>
                  </a:lnTo>
                  <a:lnTo>
                    <a:pt x="2738788" y="1854962"/>
                  </a:lnTo>
                  <a:lnTo>
                    <a:pt x="2738788" y="1880009"/>
                  </a:lnTo>
                  <a:lnTo>
                    <a:pt x="2800009" y="1880009"/>
                  </a:lnTo>
                  <a:lnTo>
                    <a:pt x="2800009" y="1908187"/>
                  </a:lnTo>
                  <a:lnTo>
                    <a:pt x="2821436" y="1908187"/>
                  </a:lnTo>
                  <a:lnTo>
                    <a:pt x="2821436" y="1920710"/>
                  </a:lnTo>
                  <a:lnTo>
                    <a:pt x="2892861" y="1920710"/>
                  </a:lnTo>
                  <a:lnTo>
                    <a:pt x="2892861" y="1942179"/>
                  </a:lnTo>
                  <a:lnTo>
                    <a:pt x="3016833" y="1942179"/>
                  </a:lnTo>
                  <a:lnTo>
                    <a:pt x="3016833" y="1953808"/>
                  </a:lnTo>
                  <a:lnTo>
                    <a:pt x="3040301" y="1953808"/>
                  </a:lnTo>
                  <a:lnTo>
                    <a:pt x="3040301" y="1969910"/>
                  </a:lnTo>
                  <a:lnTo>
                    <a:pt x="3178558" y="1969910"/>
                  </a:lnTo>
                  <a:lnTo>
                    <a:pt x="3178558" y="1988695"/>
                  </a:lnTo>
                  <a:lnTo>
                    <a:pt x="3218862" y="1988695"/>
                  </a:lnTo>
                  <a:lnTo>
                    <a:pt x="3218862" y="2006586"/>
                  </a:lnTo>
                  <a:lnTo>
                    <a:pt x="3413749" y="2006586"/>
                  </a:lnTo>
                  <a:lnTo>
                    <a:pt x="3413749" y="2031185"/>
                  </a:lnTo>
                  <a:lnTo>
                    <a:pt x="3989396" y="2031185"/>
                  </a:lnTo>
                </a:path>
              </a:pathLst>
            </a:custGeom>
            <a:noFill/>
            <a:ln w="28575"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grpSp>
      <p:cxnSp>
        <p:nvCxnSpPr>
          <p:cNvPr id="329" name="Straight Connector 328">
            <a:extLst>
              <a:ext uri="{FF2B5EF4-FFF2-40B4-BE49-F238E27FC236}">
                <a16:creationId xmlns:a16="http://schemas.microsoft.com/office/drawing/2014/main" id="{BDAB9636-FBC6-48D1-9FC7-DD5E71FB5514}"/>
              </a:ext>
            </a:extLst>
          </p:cNvPr>
          <p:cNvCxnSpPr>
            <a:cxnSpLocks/>
          </p:cNvCxnSpPr>
          <p:nvPr/>
        </p:nvCxnSpPr>
        <p:spPr>
          <a:xfrm flipH="1">
            <a:off x="1336415" y="4226658"/>
            <a:ext cx="334800" cy="0"/>
          </a:xfrm>
          <a:prstGeom prst="line">
            <a:avLst/>
          </a:prstGeom>
          <a:noFill/>
          <a:ln w="28575" cap="flat">
            <a:solidFill>
              <a:srgbClr val="4472C4"/>
            </a:solidFill>
            <a:prstDash val="solid"/>
            <a:miter/>
          </a:ln>
        </p:spPr>
      </p:cxnSp>
      <p:graphicFrame>
        <p:nvGraphicFramePr>
          <p:cNvPr id="178" name="Table 177">
            <a:extLst>
              <a:ext uri="{FF2B5EF4-FFF2-40B4-BE49-F238E27FC236}">
                <a16:creationId xmlns:a16="http://schemas.microsoft.com/office/drawing/2014/main" id="{A362DEA2-C5AC-4D8B-8FF5-B99EE62A976D}"/>
              </a:ext>
            </a:extLst>
          </p:cNvPr>
          <p:cNvGraphicFramePr>
            <a:graphicFrameLocks noGrp="1"/>
          </p:cNvGraphicFramePr>
          <p:nvPr/>
        </p:nvGraphicFramePr>
        <p:xfrm>
          <a:off x="5612752" y="1211199"/>
          <a:ext cx="6124268" cy="1295400"/>
        </p:xfrm>
        <a:graphic>
          <a:graphicData uri="http://schemas.openxmlformats.org/drawingml/2006/table">
            <a:tbl>
              <a:tblPr firstRow="1" bandRow="1">
                <a:tableStyleId>{0505E3EF-67EA-436B-97B2-0124C06EBD24}</a:tableStyleId>
              </a:tblPr>
              <a:tblGrid>
                <a:gridCol w="2850660">
                  <a:extLst>
                    <a:ext uri="{9D8B030D-6E8A-4147-A177-3AD203B41FA5}">
                      <a16:colId xmlns:a16="http://schemas.microsoft.com/office/drawing/2014/main" val="683402423"/>
                    </a:ext>
                  </a:extLst>
                </a:gridCol>
                <a:gridCol w="1636804">
                  <a:extLst>
                    <a:ext uri="{9D8B030D-6E8A-4147-A177-3AD203B41FA5}">
                      <a16:colId xmlns:a16="http://schemas.microsoft.com/office/drawing/2014/main" val="1461441399"/>
                    </a:ext>
                  </a:extLst>
                </a:gridCol>
                <a:gridCol w="1636804">
                  <a:extLst>
                    <a:ext uri="{9D8B030D-6E8A-4147-A177-3AD203B41FA5}">
                      <a16:colId xmlns:a16="http://schemas.microsoft.com/office/drawing/2014/main" val="108430981"/>
                    </a:ext>
                  </a:extLst>
                </a:gridCol>
              </a:tblGrid>
              <a:tr h="0">
                <a:tc>
                  <a:txBody>
                    <a:bodyPr/>
                    <a:lstStyle/>
                    <a:p>
                      <a:pPr>
                        <a:lnSpc>
                          <a:spcPct val="100000"/>
                        </a:lnSpc>
                      </a:pPr>
                      <a:endParaRPr lang="en-US" sz="1100" dirty="0">
                        <a:latin typeface="+mn-lt"/>
                      </a:endParaRPr>
                    </a:p>
                  </a:txBody>
                  <a:tcPr anchor="ctr"/>
                </a:tc>
                <a:tc>
                  <a:txBody>
                    <a:bodyPr/>
                    <a:lstStyle/>
                    <a:p>
                      <a:pPr marL="0" marR="0" lvl="0" indent="0" algn="ctr" defTabSz="914400" rtl="0" eaLnBrk="1" fontAlgn="auto" latinLnBrk="0" hangingPunct="1">
                        <a:lnSpc>
                          <a:spcPct val="100000"/>
                        </a:lnSpc>
                        <a:spcBef>
                          <a:spcPts val="600"/>
                        </a:spcBef>
                        <a:spcAft>
                          <a:spcPts val="200"/>
                        </a:spcAft>
                        <a:buClrTx/>
                        <a:buSzTx/>
                        <a:buFontTx/>
                        <a:buNone/>
                        <a:tabLst/>
                        <a:defRPr/>
                      </a:pPr>
                      <a:r>
                        <a:rPr lang="en-IN" sz="1100" b="1" dirty="0">
                          <a:solidFill>
                            <a:prstClr val="white"/>
                          </a:solidFill>
                          <a:latin typeface="+mn-lt"/>
                        </a:rPr>
                        <a:t>T300+D</a:t>
                      </a:r>
                      <a:r>
                        <a:rPr lang="en-GB" sz="1100" b="1" kern="1200" dirty="0">
                          <a:solidFill>
                            <a:schemeClr val="bg1"/>
                          </a:solidFill>
                          <a:latin typeface="+mn-lt"/>
                          <a:ea typeface="+mn-ea"/>
                          <a:cs typeface="+mn-cs"/>
                        </a:rPr>
                        <a:t> (n=393)</a:t>
                      </a:r>
                    </a:p>
                  </a:txBody>
                  <a:tcPr anchor="ctr">
                    <a:solidFill>
                      <a:srgbClr val="4472C4"/>
                    </a:solidFill>
                  </a:tcPr>
                </a:tc>
                <a:tc>
                  <a:txBody>
                    <a:bodyPr/>
                    <a:lstStyle/>
                    <a:p>
                      <a:pPr marL="0" marR="0" lvl="0" indent="0" algn="ctr" defTabSz="914400" rtl="0" eaLnBrk="1" fontAlgn="auto" latinLnBrk="0" hangingPunct="1">
                        <a:lnSpc>
                          <a:spcPct val="100000"/>
                        </a:lnSpc>
                        <a:spcBef>
                          <a:spcPts val="600"/>
                        </a:spcBef>
                        <a:spcAft>
                          <a:spcPts val="200"/>
                        </a:spcAft>
                        <a:buClrTx/>
                        <a:buSzTx/>
                        <a:buFontTx/>
                        <a:buNone/>
                        <a:tabLst/>
                        <a:defRPr/>
                      </a:pPr>
                      <a:r>
                        <a:rPr lang="en-GB" sz="1100" b="1" dirty="0">
                          <a:solidFill>
                            <a:schemeClr val="bg1"/>
                          </a:solidFill>
                          <a:effectLst/>
                        </a:rPr>
                        <a:t>Sorafenib (n=389)</a:t>
                      </a:r>
                      <a:endParaRPr lang="en-GB" sz="11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anchor="ctr">
                    <a:solidFill>
                      <a:srgbClr val="830051"/>
                    </a:solidFill>
                  </a:tcPr>
                </a:tc>
                <a:extLst>
                  <a:ext uri="{0D108BD9-81ED-4DB2-BD59-A6C34878D82A}">
                    <a16:rowId xmlns:a16="http://schemas.microsoft.com/office/drawing/2014/main" val="3856136383"/>
                  </a:ext>
                </a:extLst>
              </a:tr>
              <a:tr h="0">
                <a:tc>
                  <a:txBody>
                    <a:bodyPr/>
                    <a:lstStyle/>
                    <a:p>
                      <a:pPr>
                        <a:lnSpc>
                          <a:spcPct val="100000"/>
                        </a:lnSpc>
                      </a:pPr>
                      <a:r>
                        <a:rPr lang="en-US" sz="1100" b="1" dirty="0">
                          <a:solidFill>
                            <a:srgbClr val="002557"/>
                          </a:solidFill>
                        </a:rPr>
                        <a:t>OS events, n (%)</a:t>
                      </a:r>
                    </a:p>
                  </a:txBody>
                  <a:tcPr anchor="ctr">
                    <a:solidFill>
                      <a:schemeClr val="bg1">
                        <a:lumMod val="95000"/>
                      </a:schemeClr>
                    </a:solidFill>
                  </a:tcPr>
                </a:tc>
                <a:tc>
                  <a:txBody>
                    <a:bodyPr/>
                    <a:lstStyle/>
                    <a:p>
                      <a:pPr marL="0" algn="ctr" defTabSz="914400" rtl="0" eaLnBrk="1" latinLnBrk="0" hangingPunct="1">
                        <a:lnSpc>
                          <a:spcPct val="100000"/>
                        </a:lnSpc>
                        <a:spcBef>
                          <a:spcPts val="0"/>
                        </a:spcBef>
                        <a:spcAft>
                          <a:spcPts val="0"/>
                        </a:spcAft>
                      </a:pPr>
                      <a:r>
                        <a:rPr lang="en-GB" sz="1100" kern="1200" dirty="0">
                          <a:solidFill>
                            <a:srgbClr val="002557"/>
                          </a:solidFill>
                          <a:latin typeface="+mn-lt"/>
                          <a:ea typeface="+mn-ea"/>
                          <a:cs typeface="+mn-cs"/>
                        </a:rPr>
                        <a:t>262 (66.7)</a:t>
                      </a:r>
                    </a:p>
                  </a:txBody>
                  <a:tcPr anchor="ctr">
                    <a:solidFill>
                      <a:schemeClr val="bg1">
                        <a:lumMod val="95000"/>
                      </a:schemeClr>
                    </a:solidFill>
                  </a:tcPr>
                </a:tc>
                <a:tc>
                  <a:txBody>
                    <a:bodyPr/>
                    <a:lstStyle/>
                    <a:p>
                      <a:pPr marL="0" algn="ctr" defTabSz="914400" rtl="0" eaLnBrk="1" latinLnBrk="0" hangingPunct="1">
                        <a:lnSpc>
                          <a:spcPct val="100000"/>
                        </a:lnSpc>
                        <a:spcBef>
                          <a:spcPts val="0"/>
                        </a:spcBef>
                        <a:spcAft>
                          <a:spcPts val="0"/>
                        </a:spcAft>
                      </a:pPr>
                      <a:r>
                        <a:rPr lang="en-GB" sz="1100" kern="1200" dirty="0">
                          <a:solidFill>
                            <a:srgbClr val="002557"/>
                          </a:solidFill>
                          <a:latin typeface="+mn-lt"/>
                          <a:ea typeface="+mn-ea"/>
                          <a:cs typeface="+mn-cs"/>
                        </a:rPr>
                        <a:t>293 (75.3)</a:t>
                      </a:r>
                    </a:p>
                  </a:txBody>
                  <a:tcPr anchor="ctr">
                    <a:solidFill>
                      <a:schemeClr val="bg1">
                        <a:lumMod val="95000"/>
                      </a:schemeClr>
                    </a:solidFill>
                  </a:tcPr>
                </a:tc>
                <a:extLst>
                  <a:ext uri="{0D108BD9-81ED-4DB2-BD59-A6C34878D82A}">
                    <a16:rowId xmlns:a16="http://schemas.microsoft.com/office/drawing/2014/main" val="2210665207"/>
                  </a:ext>
                </a:extLst>
              </a:tr>
              <a:tr h="0">
                <a:tc>
                  <a:txBody>
                    <a:bodyPr/>
                    <a:lstStyle/>
                    <a:p>
                      <a:pPr>
                        <a:lnSpc>
                          <a:spcPct val="100000"/>
                        </a:lnSpc>
                      </a:pPr>
                      <a:r>
                        <a:rPr lang="en-US" sz="1100" b="1" dirty="0">
                          <a:solidFill>
                            <a:srgbClr val="002557"/>
                          </a:solidFill>
                        </a:rPr>
                        <a:t>Median OS (95% CI), months</a:t>
                      </a:r>
                    </a:p>
                  </a:txBody>
                  <a:tcPr anchor="ctr">
                    <a:solidFill>
                      <a:schemeClr val="bg2"/>
                    </a:solidFill>
                  </a:tcPr>
                </a:tc>
                <a:tc>
                  <a:txBody>
                    <a:bodyPr/>
                    <a:lstStyle/>
                    <a:p>
                      <a:pPr marL="0" algn="ctr" defTabSz="914400" rtl="0" eaLnBrk="1" latinLnBrk="0" hangingPunct="1">
                        <a:lnSpc>
                          <a:spcPct val="100000"/>
                        </a:lnSpc>
                        <a:spcBef>
                          <a:spcPts val="0"/>
                        </a:spcBef>
                        <a:spcAft>
                          <a:spcPts val="0"/>
                        </a:spcAft>
                      </a:pPr>
                      <a:r>
                        <a:rPr lang="en-GB" sz="1100" kern="1200" dirty="0">
                          <a:solidFill>
                            <a:srgbClr val="002557"/>
                          </a:solidFill>
                          <a:latin typeface="+mn-lt"/>
                          <a:ea typeface="+mn-ea"/>
                          <a:cs typeface="+mn-cs"/>
                        </a:rPr>
                        <a:t>16.4 (14.2</a:t>
                      </a:r>
                      <a:r>
                        <a:rPr lang="en-GB" sz="1100" b="0" kern="1200" dirty="0">
                          <a:solidFill>
                            <a:srgbClr val="002557"/>
                          </a:solidFill>
                          <a:latin typeface="+mn-lt"/>
                          <a:ea typeface="+mn-ea"/>
                          <a:cs typeface="+mn-cs"/>
                        </a:rPr>
                        <a:t>–</a:t>
                      </a:r>
                      <a:r>
                        <a:rPr lang="en-GB" sz="1100" kern="1200" dirty="0">
                          <a:solidFill>
                            <a:srgbClr val="002557"/>
                          </a:solidFill>
                          <a:latin typeface="+mn-lt"/>
                          <a:ea typeface="+mn-ea"/>
                          <a:cs typeface="+mn-cs"/>
                        </a:rPr>
                        <a:t>19.6)</a:t>
                      </a:r>
                    </a:p>
                  </a:txBody>
                  <a:tcPr anchor="ctr">
                    <a:solidFill>
                      <a:schemeClr val="bg2"/>
                    </a:solidFill>
                  </a:tcPr>
                </a:tc>
                <a:tc>
                  <a:txBody>
                    <a:bodyPr/>
                    <a:lstStyle/>
                    <a:p>
                      <a:pPr marL="0" algn="ctr" defTabSz="914400" rtl="0" eaLnBrk="1" latinLnBrk="0" hangingPunct="1">
                        <a:lnSpc>
                          <a:spcPct val="100000"/>
                        </a:lnSpc>
                        <a:spcBef>
                          <a:spcPts val="0"/>
                        </a:spcBef>
                        <a:spcAft>
                          <a:spcPts val="0"/>
                        </a:spcAft>
                      </a:pPr>
                      <a:r>
                        <a:rPr lang="en-GB" sz="1100" kern="1200" dirty="0">
                          <a:solidFill>
                            <a:srgbClr val="002557"/>
                          </a:solidFill>
                          <a:latin typeface="+mn-lt"/>
                          <a:ea typeface="+mn-ea"/>
                          <a:cs typeface="+mn-cs"/>
                        </a:rPr>
                        <a:t>13.8 (12.3</a:t>
                      </a:r>
                      <a:r>
                        <a:rPr lang="en-GB" sz="1100" b="0" kern="1200" dirty="0">
                          <a:solidFill>
                            <a:srgbClr val="002557"/>
                          </a:solidFill>
                          <a:latin typeface="+mn-lt"/>
                          <a:ea typeface="+mn-ea"/>
                          <a:cs typeface="+mn-cs"/>
                        </a:rPr>
                        <a:t>–</a:t>
                      </a:r>
                      <a:r>
                        <a:rPr lang="en-GB" sz="1100" kern="1200" dirty="0">
                          <a:solidFill>
                            <a:srgbClr val="002557"/>
                          </a:solidFill>
                          <a:latin typeface="+mn-lt"/>
                          <a:ea typeface="+mn-ea"/>
                          <a:cs typeface="+mn-cs"/>
                        </a:rPr>
                        <a:t>16.1)</a:t>
                      </a:r>
                    </a:p>
                  </a:txBody>
                  <a:tcPr anchor="ctr">
                    <a:solidFill>
                      <a:schemeClr val="bg2"/>
                    </a:solidFill>
                  </a:tcPr>
                </a:tc>
                <a:extLst>
                  <a:ext uri="{0D108BD9-81ED-4DB2-BD59-A6C34878D82A}">
                    <a16:rowId xmlns:a16="http://schemas.microsoft.com/office/drawing/2014/main" val="2595467933"/>
                  </a:ext>
                </a:extLst>
              </a:tr>
              <a:tr h="0">
                <a:tc>
                  <a:txBody>
                    <a:bodyPr/>
                    <a:lstStyle/>
                    <a:p>
                      <a:pPr>
                        <a:lnSpc>
                          <a:spcPct val="100000"/>
                        </a:lnSpc>
                      </a:pPr>
                      <a:r>
                        <a:rPr lang="pt-BR" sz="1100" b="1" dirty="0">
                          <a:solidFill>
                            <a:srgbClr val="002557"/>
                          </a:solidFill>
                        </a:rPr>
                        <a:t>HR (96.02% CI)</a:t>
                      </a:r>
                    </a:p>
                  </a:txBody>
                  <a:tcPr anchor="ctr">
                    <a:solidFill>
                      <a:schemeClr val="bg1">
                        <a:lumMod val="95000"/>
                      </a:schemeClr>
                    </a:solidFill>
                  </a:tcPr>
                </a:tc>
                <a:tc gridSpan="2">
                  <a:txBody>
                    <a:bodyPr/>
                    <a:lstStyle/>
                    <a:p>
                      <a:pPr marL="0" algn="ctr" defTabSz="914400" rtl="0" eaLnBrk="1" latinLnBrk="0" hangingPunct="1">
                        <a:lnSpc>
                          <a:spcPct val="100000"/>
                        </a:lnSpc>
                        <a:spcBef>
                          <a:spcPts val="0"/>
                        </a:spcBef>
                        <a:spcAft>
                          <a:spcPts val="0"/>
                        </a:spcAft>
                      </a:pPr>
                      <a:r>
                        <a:rPr lang="en-GB" sz="1100" b="0" kern="1200" dirty="0">
                          <a:solidFill>
                            <a:srgbClr val="002557"/>
                          </a:solidFill>
                          <a:latin typeface="+mn-lt"/>
                          <a:ea typeface="+mn-ea"/>
                          <a:cs typeface="+mn-cs"/>
                        </a:rPr>
                        <a:t>0.78 (0.65–0.92)</a:t>
                      </a:r>
                    </a:p>
                  </a:txBody>
                  <a:tcPr anchor="ctr">
                    <a:solidFill>
                      <a:schemeClr val="bg1">
                        <a:lumMod val="95000"/>
                      </a:schemeClr>
                    </a:solidFill>
                  </a:tcPr>
                </a:tc>
                <a:tc hMerge="1">
                  <a:txBody>
                    <a:bodyPr/>
                    <a:lstStyle/>
                    <a:p>
                      <a:pPr marL="0" algn="ctr" defTabSz="914400" rtl="0" eaLnBrk="1" latinLnBrk="0" hangingPunct="1">
                        <a:lnSpc>
                          <a:spcPct val="100000"/>
                        </a:lnSpc>
                        <a:spcBef>
                          <a:spcPts val="0"/>
                        </a:spcBef>
                        <a:spcAft>
                          <a:spcPts val="0"/>
                        </a:spcAft>
                      </a:pPr>
                      <a:endParaRPr lang="en-GB" sz="800" kern="1200" dirty="0">
                        <a:solidFill>
                          <a:schemeClr val="dk1"/>
                        </a:solidFill>
                        <a:latin typeface="+mn-lt"/>
                        <a:ea typeface="+mn-ea"/>
                        <a:cs typeface="+mn-cs"/>
                      </a:endParaRPr>
                    </a:p>
                  </a:txBody>
                  <a:tcPr anchor="ctr"/>
                </a:tc>
                <a:extLst>
                  <a:ext uri="{0D108BD9-81ED-4DB2-BD59-A6C34878D82A}">
                    <a16:rowId xmlns:a16="http://schemas.microsoft.com/office/drawing/2014/main" val="2060301772"/>
                  </a:ext>
                </a:extLst>
              </a:tr>
              <a:tr h="0">
                <a:tc>
                  <a:txBody>
                    <a:bodyPr/>
                    <a:lstStyle/>
                    <a:p>
                      <a:pPr>
                        <a:lnSpc>
                          <a:spcPct val="100000"/>
                        </a:lnSpc>
                      </a:pPr>
                      <a:r>
                        <a:rPr lang="pt-BR" sz="1100" b="1" dirty="0">
                          <a:solidFill>
                            <a:srgbClr val="002557"/>
                          </a:solidFill>
                        </a:rPr>
                        <a:t>p-value (2-sided)</a:t>
                      </a:r>
                    </a:p>
                  </a:txBody>
                  <a:tcPr anchor="ctr">
                    <a:solidFill>
                      <a:schemeClr val="bg2"/>
                    </a:solidFill>
                  </a:tcPr>
                </a:tc>
                <a:tc gridSpan="2">
                  <a:txBody>
                    <a:bodyPr/>
                    <a:lstStyle/>
                    <a:p>
                      <a:pPr marL="0" algn="ctr" defTabSz="914400" rtl="0" eaLnBrk="1" latinLnBrk="0" hangingPunct="1">
                        <a:lnSpc>
                          <a:spcPct val="100000"/>
                        </a:lnSpc>
                        <a:spcBef>
                          <a:spcPts val="0"/>
                        </a:spcBef>
                        <a:spcAft>
                          <a:spcPts val="0"/>
                        </a:spcAft>
                      </a:pPr>
                      <a:r>
                        <a:rPr lang="en-GB" sz="1100" b="0" kern="1200" dirty="0">
                          <a:solidFill>
                            <a:srgbClr val="002557"/>
                          </a:solidFill>
                          <a:latin typeface="+mn-lt"/>
                          <a:ea typeface="+mn-ea"/>
                          <a:cs typeface="+mn-cs"/>
                        </a:rPr>
                        <a:t>0.0035</a:t>
                      </a:r>
                    </a:p>
                  </a:txBody>
                  <a:tcPr anchor="ctr">
                    <a:solidFill>
                      <a:schemeClr val="bg2"/>
                    </a:solidFill>
                  </a:tcPr>
                </a:tc>
                <a:tc hMerge="1">
                  <a:txBody>
                    <a:bodyPr/>
                    <a:lstStyle/>
                    <a:p>
                      <a:pPr marL="0" algn="ctr" defTabSz="914400" rtl="0" eaLnBrk="1" latinLnBrk="0" hangingPunct="1">
                        <a:lnSpc>
                          <a:spcPct val="100000"/>
                        </a:lnSpc>
                        <a:spcBef>
                          <a:spcPts val="0"/>
                        </a:spcBef>
                        <a:spcAft>
                          <a:spcPts val="0"/>
                        </a:spcAft>
                      </a:pPr>
                      <a:endParaRPr lang="en-GB" sz="800" kern="1200" dirty="0">
                        <a:solidFill>
                          <a:schemeClr val="dk1"/>
                        </a:solidFill>
                        <a:latin typeface="+mn-lt"/>
                        <a:ea typeface="+mn-ea"/>
                        <a:cs typeface="+mn-cs"/>
                      </a:endParaRPr>
                    </a:p>
                  </a:txBody>
                  <a:tcPr anchor="ctr"/>
                </a:tc>
                <a:extLst>
                  <a:ext uri="{0D108BD9-81ED-4DB2-BD59-A6C34878D82A}">
                    <a16:rowId xmlns:a16="http://schemas.microsoft.com/office/drawing/2014/main" val="743723854"/>
                  </a:ext>
                </a:extLst>
              </a:tr>
            </a:tbl>
          </a:graphicData>
        </a:graphic>
      </p:graphicFrame>
      <p:cxnSp>
        <p:nvCxnSpPr>
          <p:cNvPr id="179" name="Straight Connector 178">
            <a:extLst>
              <a:ext uri="{FF2B5EF4-FFF2-40B4-BE49-F238E27FC236}">
                <a16:creationId xmlns:a16="http://schemas.microsoft.com/office/drawing/2014/main" id="{C68131E2-C9C4-4E9E-A3F5-ED5C4DCA6DA2}"/>
              </a:ext>
            </a:extLst>
          </p:cNvPr>
          <p:cNvCxnSpPr>
            <a:cxnSpLocks/>
          </p:cNvCxnSpPr>
          <p:nvPr/>
        </p:nvCxnSpPr>
        <p:spPr>
          <a:xfrm flipH="1">
            <a:off x="1335459" y="4418921"/>
            <a:ext cx="335756" cy="0"/>
          </a:xfrm>
          <a:prstGeom prst="line">
            <a:avLst/>
          </a:prstGeom>
          <a:ln w="28575" cap="flat">
            <a:solidFill>
              <a:srgbClr val="830051"/>
            </a:solidFill>
            <a:prstDash val="solid"/>
            <a:miter/>
          </a:ln>
        </p:spPr>
      </p:cxnSp>
      <p:sp>
        <p:nvSpPr>
          <p:cNvPr id="180" name="TextBox 179">
            <a:extLst>
              <a:ext uri="{FF2B5EF4-FFF2-40B4-BE49-F238E27FC236}">
                <a16:creationId xmlns:a16="http://schemas.microsoft.com/office/drawing/2014/main" id="{F084C65C-6580-4133-898D-F3C9D8682DB9}"/>
              </a:ext>
            </a:extLst>
          </p:cNvPr>
          <p:cNvSpPr txBox="1"/>
          <p:nvPr/>
        </p:nvSpPr>
        <p:spPr>
          <a:xfrm>
            <a:off x="1654560" y="4091513"/>
            <a:ext cx="704039"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002557"/>
                </a:solidFill>
                <a:effectLst/>
                <a:uLnTx/>
                <a:uFillTx/>
                <a:latin typeface="Arial" panose="020B0604020202020204"/>
                <a:ea typeface="+mn-ea"/>
                <a:cs typeface="+mn-cs"/>
                <a:sym typeface="HelveticaNeueCE-Roman"/>
                <a:rtl val="0"/>
              </a:rPr>
              <a:t>T300+D</a:t>
            </a:r>
          </a:p>
        </p:txBody>
      </p:sp>
      <p:sp>
        <p:nvSpPr>
          <p:cNvPr id="181" name="TextBox 180">
            <a:extLst>
              <a:ext uri="{FF2B5EF4-FFF2-40B4-BE49-F238E27FC236}">
                <a16:creationId xmlns:a16="http://schemas.microsoft.com/office/drawing/2014/main" id="{13671CD2-5F78-4B8B-9C50-1F73A76D5E47}"/>
              </a:ext>
            </a:extLst>
          </p:cNvPr>
          <p:cNvSpPr txBox="1"/>
          <p:nvPr/>
        </p:nvSpPr>
        <p:spPr>
          <a:xfrm>
            <a:off x="1654560" y="4279072"/>
            <a:ext cx="835485"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002557"/>
                </a:solidFill>
                <a:effectLst/>
                <a:uLnTx/>
                <a:uFillTx/>
                <a:latin typeface="Arial" panose="020B0604020202020204"/>
                <a:ea typeface="+mn-ea"/>
                <a:cs typeface="+mn-cs"/>
                <a:sym typeface="HelveticaNeueCE-Roman"/>
                <a:rtl val="0"/>
              </a:rPr>
              <a:t>Sorafenib</a:t>
            </a:r>
          </a:p>
        </p:txBody>
      </p:sp>
      <p:graphicFrame>
        <p:nvGraphicFramePr>
          <p:cNvPr id="182" name="Table 181">
            <a:extLst>
              <a:ext uri="{FF2B5EF4-FFF2-40B4-BE49-F238E27FC236}">
                <a16:creationId xmlns:a16="http://schemas.microsoft.com/office/drawing/2014/main" id="{34F4A0A0-2607-43BE-90C5-3499684DA7E4}"/>
              </a:ext>
            </a:extLst>
          </p:cNvPr>
          <p:cNvGraphicFramePr>
            <a:graphicFrameLocks noGrp="1"/>
          </p:cNvGraphicFramePr>
          <p:nvPr/>
        </p:nvGraphicFramePr>
        <p:xfrm>
          <a:off x="1496880" y="3351274"/>
          <a:ext cx="1382304" cy="731520"/>
        </p:xfrm>
        <a:graphic>
          <a:graphicData uri="http://schemas.openxmlformats.org/drawingml/2006/table">
            <a:tbl>
              <a:tblPr firstRow="1" bandRow="1">
                <a:tableStyleId>{0505E3EF-67EA-436B-97B2-0124C06EBD24}</a:tableStyleId>
              </a:tblPr>
              <a:tblGrid>
                <a:gridCol w="1382304">
                  <a:extLst>
                    <a:ext uri="{9D8B030D-6E8A-4147-A177-3AD203B41FA5}">
                      <a16:colId xmlns:a16="http://schemas.microsoft.com/office/drawing/2014/main" val="683402423"/>
                    </a:ext>
                  </a:extLst>
                </a:gridCol>
              </a:tblGrid>
              <a:tr h="0">
                <a:tc>
                  <a:txBody>
                    <a:bodyPr/>
                    <a:lstStyle/>
                    <a:p>
                      <a:pPr algn="ctr">
                        <a:lnSpc>
                          <a:spcPct val="100000"/>
                        </a:lnSpc>
                      </a:pPr>
                      <a:r>
                        <a:rPr lang="pt-BR" sz="1200" b="1" dirty="0">
                          <a:solidFill>
                            <a:srgbClr val="002557"/>
                          </a:solidFill>
                        </a:rPr>
                        <a:t>HR for time up to</a:t>
                      </a:r>
                    </a:p>
                    <a:p>
                      <a:pPr algn="ctr">
                        <a:lnSpc>
                          <a:spcPct val="100000"/>
                        </a:lnSpc>
                      </a:pPr>
                      <a:r>
                        <a:rPr lang="pt-BR" sz="1200" b="1" dirty="0">
                          <a:solidFill>
                            <a:srgbClr val="002557"/>
                          </a:solidFill>
                        </a:rPr>
                        <a:t> 9 months (95% CI)</a:t>
                      </a:r>
                    </a:p>
                  </a:txBody>
                  <a:tcPr marL="0" marR="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60301772"/>
                  </a:ext>
                </a:extLst>
              </a:tr>
              <a:tr h="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002557"/>
                          </a:solidFill>
                          <a:latin typeface="+mn-lt"/>
                          <a:ea typeface="+mn-ea"/>
                          <a:cs typeface="+mn-cs"/>
                        </a:rPr>
                        <a:t>0.87 (0.68–1.11)</a:t>
                      </a:r>
                    </a:p>
                  </a:txBody>
                  <a:tcPr marL="0" marR="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43723854"/>
                  </a:ext>
                </a:extLst>
              </a:tr>
            </a:tbl>
          </a:graphicData>
        </a:graphic>
      </p:graphicFrame>
      <p:cxnSp>
        <p:nvCxnSpPr>
          <p:cNvPr id="183" name="Straight Connector 182">
            <a:extLst>
              <a:ext uri="{FF2B5EF4-FFF2-40B4-BE49-F238E27FC236}">
                <a16:creationId xmlns:a16="http://schemas.microsoft.com/office/drawing/2014/main" id="{ACB8B2CF-91C0-43C0-8268-FBEF3217DB29}"/>
              </a:ext>
            </a:extLst>
          </p:cNvPr>
          <p:cNvCxnSpPr>
            <a:cxnSpLocks/>
          </p:cNvCxnSpPr>
          <p:nvPr/>
        </p:nvCxnSpPr>
        <p:spPr>
          <a:xfrm flipH="1" flipV="1">
            <a:off x="3206377" y="2550941"/>
            <a:ext cx="0" cy="2070551"/>
          </a:xfrm>
          <a:prstGeom prst="line">
            <a:avLst/>
          </a:prstGeom>
          <a:ln w="19050" cap="flat">
            <a:solidFill>
              <a:srgbClr val="002557"/>
            </a:solidFill>
            <a:prstDash val="sysDash"/>
            <a:miter/>
          </a:ln>
        </p:spPr>
      </p:cxnSp>
      <p:graphicFrame>
        <p:nvGraphicFramePr>
          <p:cNvPr id="184" name="Table 183">
            <a:extLst>
              <a:ext uri="{FF2B5EF4-FFF2-40B4-BE49-F238E27FC236}">
                <a16:creationId xmlns:a16="http://schemas.microsoft.com/office/drawing/2014/main" id="{3B097F94-F4FD-4BD1-A4EA-0254FEDE3699}"/>
              </a:ext>
            </a:extLst>
          </p:cNvPr>
          <p:cNvGraphicFramePr>
            <a:graphicFrameLocks noGrp="1"/>
          </p:cNvGraphicFramePr>
          <p:nvPr/>
        </p:nvGraphicFramePr>
        <p:xfrm>
          <a:off x="3147693" y="3352742"/>
          <a:ext cx="2055269" cy="731520"/>
        </p:xfrm>
        <a:graphic>
          <a:graphicData uri="http://schemas.openxmlformats.org/drawingml/2006/table">
            <a:tbl>
              <a:tblPr firstRow="1" bandRow="1">
                <a:tableStyleId>{0505E3EF-67EA-436B-97B2-0124C06EBD24}</a:tableStyleId>
              </a:tblPr>
              <a:tblGrid>
                <a:gridCol w="2055269">
                  <a:extLst>
                    <a:ext uri="{9D8B030D-6E8A-4147-A177-3AD203B41FA5}">
                      <a16:colId xmlns:a16="http://schemas.microsoft.com/office/drawing/2014/main" val="683402423"/>
                    </a:ext>
                  </a:extLst>
                </a:gridCol>
              </a:tblGrid>
              <a:tr h="0">
                <a:tc>
                  <a:txBody>
                    <a:bodyPr/>
                    <a:lstStyle/>
                    <a:p>
                      <a:pPr algn="ctr">
                        <a:lnSpc>
                          <a:spcPct val="100000"/>
                        </a:lnSpc>
                      </a:pPr>
                      <a:r>
                        <a:rPr lang="pt-BR" sz="1200" b="1" dirty="0">
                          <a:solidFill>
                            <a:srgbClr val="002557"/>
                          </a:solidFill>
                        </a:rPr>
                        <a:t>HR for time after</a:t>
                      </a:r>
                    </a:p>
                    <a:p>
                      <a:pPr algn="ctr">
                        <a:lnSpc>
                          <a:spcPct val="100000"/>
                        </a:lnSpc>
                      </a:pPr>
                      <a:r>
                        <a:rPr lang="pt-BR" sz="1200" b="1" dirty="0">
                          <a:solidFill>
                            <a:srgbClr val="002557"/>
                          </a:solidFill>
                        </a:rPr>
                        <a:t> 9 months (95% CI)</a:t>
                      </a:r>
                    </a:p>
                  </a:txBody>
                  <a:tcPr marL="0" marR="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60301772"/>
                  </a:ext>
                </a:extLst>
              </a:tr>
              <a:tr h="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002557"/>
                          </a:solidFill>
                          <a:latin typeface="+mn-lt"/>
                          <a:ea typeface="+mn-ea"/>
                          <a:cs typeface="+mn-cs"/>
                        </a:rPr>
                        <a:t>0.70 (0.56–0.89)</a:t>
                      </a:r>
                    </a:p>
                  </a:txBody>
                  <a:tcPr marL="0" marR="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43723854"/>
                  </a:ext>
                </a:extLst>
              </a:tr>
            </a:tbl>
          </a:graphicData>
        </a:graphic>
      </p:graphicFrame>
    </p:spTree>
    <p:extLst>
      <p:ext uri="{BB962C8B-B14F-4D97-AF65-F5344CB8AC3E}">
        <p14:creationId xmlns:p14="http://schemas.microsoft.com/office/powerpoint/2010/main" val="2989361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345F73FA-172B-4A5E-9CE7-0B3BF72AC00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5" name="think-cell Slide" r:id="rId5" imgW="592" imgH="591" progId="TCLayout.ActiveDocument.1">
                  <p:embed/>
                </p:oleObj>
              </mc:Choice>
              <mc:Fallback>
                <p:oleObj name="think-cell Slide" r:id="rId5" imgW="592" imgH="591" progId="TCLayout.ActiveDocument.1">
                  <p:embed/>
                  <p:pic>
                    <p:nvPicPr>
                      <p:cNvPr id="12" name="Object 11" hidden="1">
                        <a:extLst>
                          <a:ext uri="{FF2B5EF4-FFF2-40B4-BE49-F238E27FC236}">
                            <a16:creationId xmlns:a16="http://schemas.microsoft.com/office/drawing/2014/main" id="{345F73FA-172B-4A5E-9CE7-0B3BF72AC00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92" name="TextBox 391">
            <a:extLst>
              <a:ext uri="{FF2B5EF4-FFF2-40B4-BE49-F238E27FC236}">
                <a16:creationId xmlns:a16="http://schemas.microsoft.com/office/drawing/2014/main" id="{B532B715-E12B-41DD-9D28-67E7A4E314EE}"/>
              </a:ext>
            </a:extLst>
          </p:cNvPr>
          <p:cNvSpPr txBox="1"/>
          <p:nvPr/>
        </p:nvSpPr>
        <p:spPr>
          <a:xfrm>
            <a:off x="761927" y="1647024"/>
            <a:ext cx="397866"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2557"/>
                </a:solidFill>
                <a:effectLst/>
                <a:uLnTx/>
                <a:uFillTx/>
                <a:latin typeface="Arial" panose="020B0604020202020204"/>
                <a:ea typeface="+mn-ea"/>
                <a:cs typeface="+mn-cs"/>
                <a:sym typeface="HelveticaNeueCE-Roman"/>
                <a:rtl val="0"/>
              </a:rPr>
              <a:t>1.0</a:t>
            </a:r>
          </a:p>
        </p:txBody>
      </p:sp>
      <p:sp>
        <p:nvSpPr>
          <p:cNvPr id="13" name="Title 12">
            <a:extLst>
              <a:ext uri="{FF2B5EF4-FFF2-40B4-BE49-F238E27FC236}">
                <a16:creationId xmlns:a16="http://schemas.microsoft.com/office/drawing/2014/main" id="{D692AF01-BF98-4AA5-AAA5-1A2ACA95A264}"/>
              </a:ext>
            </a:extLst>
          </p:cNvPr>
          <p:cNvSpPr>
            <a:spLocks noGrp="1"/>
          </p:cNvSpPr>
          <p:nvPr>
            <p:ph type="title"/>
          </p:nvPr>
        </p:nvSpPr>
        <p:spPr>
          <a:xfrm>
            <a:off x="548007" y="52794"/>
            <a:ext cx="10972800" cy="1371600"/>
          </a:xfrm>
        </p:spPr>
        <p:txBody>
          <a:bodyPr vert="horz"/>
          <a:lstStyle/>
          <a:p>
            <a:r>
              <a:rPr lang="en-US" sz="3200" dirty="0"/>
              <a:t>Secondary objective: overall survival for durvalumab vs sorafenib</a:t>
            </a:r>
            <a:endParaRPr lang="en-GB" sz="3200" dirty="0"/>
          </a:p>
        </p:txBody>
      </p:sp>
      <p:sp>
        <p:nvSpPr>
          <p:cNvPr id="11" name="Text Placeholder 10">
            <a:extLst>
              <a:ext uri="{FF2B5EF4-FFF2-40B4-BE49-F238E27FC236}">
                <a16:creationId xmlns:a16="http://schemas.microsoft.com/office/drawing/2014/main" id="{0E1DD130-DFD0-4386-94A1-BBC314966961}"/>
              </a:ext>
            </a:extLst>
          </p:cNvPr>
          <p:cNvSpPr>
            <a:spLocks noGrp="1"/>
          </p:cNvSpPr>
          <p:nvPr>
            <p:ph type="body" sz="quarter" idx="15"/>
          </p:nvPr>
        </p:nvSpPr>
        <p:spPr>
          <a:xfrm>
            <a:off x="3959671" y="6136344"/>
            <a:ext cx="5852160" cy="281354"/>
          </a:xfrm>
        </p:spPr>
        <p:txBody>
          <a:bodyPr/>
          <a:lstStyle/>
          <a:p>
            <a:r>
              <a:rPr lang="en-US" dirty="0"/>
              <a:t>Ghassan K Abou-Alfa, MD, MBA       NEJM Evidence 2022</a:t>
            </a:r>
          </a:p>
        </p:txBody>
      </p:sp>
      <p:sp>
        <p:nvSpPr>
          <p:cNvPr id="107" name="TextBox 106">
            <a:extLst>
              <a:ext uri="{FF2B5EF4-FFF2-40B4-BE49-F238E27FC236}">
                <a16:creationId xmlns:a16="http://schemas.microsoft.com/office/drawing/2014/main" id="{74DF7FF8-BDA0-4D57-A0E4-52EE14662E9B}"/>
              </a:ext>
            </a:extLst>
          </p:cNvPr>
          <p:cNvSpPr txBox="1"/>
          <p:nvPr/>
        </p:nvSpPr>
        <p:spPr>
          <a:xfrm>
            <a:off x="238124" y="5693147"/>
            <a:ext cx="11719925" cy="407804"/>
          </a:xfrm>
          <a:prstGeom prst="rect">
            <a:avLst/>
          </a:prstGeom>
          <a:noFill/>
        </p:spPr>
        <p:txBody>
          <a:bodyPr wrap="square" rtlCol="0" anchor="b" anchorCtr="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900" b="0" i="0" u="none" strike="noStrike" kern="1200" cap="none" spc="0" normalizeH="0" baseline="0" noProof="0" dirty="0">
                <a:ln>
                  <a:noFill/>
                </a:ln>
                <a:solidFill>
                  <a:srgbClr val="002557"/>
                </a:solidFill>
                <a:effectLst/>
                <a:uLnTx/>
                <a:uFillTx/>
                <a:latin typeface="Arial" panose="020B0604020202020204"/>
                <a:ea typeface="+mn-ea"/>
                <a:cs typeface="+mn-cs"/>
              </a:rPr>
              <a:t>Data cut-off: August 27, 2021. Median duration of follow-up was 32.56 (95% CI, 31.57</a:t>
            </a:r>
            <a:r>
              <a:rPr kumimoji="0" lang="en-GB" sz="900" b="0" i="0" u="none" strike="noStrike" kern="1200" cap="none" spc="0" normalizeH="0" baseline="0" noProof="0" dirty="0">
                <a:ln>
                  <a:noFill/>
                </a:ln>
                <a:solidFill>
                  <a:srgbClr val="002557"/>
                </a:solidFill>
                <a:effectLst/>
                <a:uLnTx/>
                <a:uFillTx/>
                <a:latin typeface="Arial" panose="020B0604020202020204"/>
                <a:ea typeface="+mn-ea"/>
                <a:cs typeface="+mn-cs"/>
              </a:rPr>
              <a:t>–</a:t>
            </a:r>
            <a:r>
              <a:rPr kumimoji="0" lang="en-US" sz="900" b="0" i="0" u="none" strike="noStrike" kern="1200" cap="none" spc="0" normalizeH="0" baseline="0" noProof="0" dirty="0">
                <a:ln>
                  <a:noFill/>
                </a:ln>
                <a:solidFill>
                  <a:srgbClr val="002557"/>
                </a:solidFill>
                <a:effectLst/>
                <a:uLnTx/>
                <a:uFillTx/>
                <a:latin typeface="Arial" panose="020B0604020202020204"/>
                <a:ea typeface="+mn-ea"/>
                <a:cs typeface="+mn-cs"/>
              </a:rPr>
              <a:t>33.71) months for durvalumab and 32.23 (95% CI, 30.42</a:t>
            </a:r>
            <a:r>
              <a:rPr kumimoji="0" lang="en-GB" sz="900" b="0" i="0" u="none" strike="noStrike" kern="1200" cap="none" spc="0" normalizeH="0" baseline="0" noProof="0" dirty="0">
                <a:ln>
                  <a:noFill/>
                </a:ln>
                <a:solidFill>
                  <a:srgbClr val="002557"/>
                </a:solidFill>
                <a:effectLst/>
                <a:uLnTx/>
                <a:uFillTx/>
                <a:latin typeface="Arial" panose="020B0604020202020204"/>
                <a:ea typeface="+mn-ea"/>
                <a:cs typeface="+mn-cs"/>
              </a:rPr>
              <a:t>–</a:t>
            </a:r>
            <a:r>
              <a:rPr kumimoji="0" lang="en-US" sz="900" b="0" i="0" u="none" strike="noStrike" kern="1200" cap="none" spc="0" normalizeH="0" baseline="0" noProof="0" dirty="0">
                <a:ln>
                  <a:noFill/>
                </a:ln>
                <a:solidFill>
                  <a:srgbClr val="002557"/>
                </a:solidFill>
                <a:effectLst/>
                <a:uLnTx/>
                <a:uFillTx/>
                <a:latin typeface="Arial" panose="020B0604020202020204"/>
                <a:ea typeface="+mn-ea"/>
                <a:cs typeface="+mn-cs"/>
              </a:rPr>
              <a:t>33.71) months for sorafenib. </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900" b="0" i="0" u="none" strike="noStrike" kern="1200" cap="none" spc="0" normalizeH="0" baseline="0" noProof="0" dirty="0">
                <a:ln>
                  <a:noFill/>
                </a:ln>
                <a:solidFill>
                  <a:srgbClr val="002557"/>
                </a:solidFill>
                <a:effectLst/>
                <a:uLnTx/>
                <a:uFillTx/>
                <a:latin typeface="Arial" panose="020B0604020202020204"/>
                <a:ea typeface="+mn-ea"/>
                <a:cs typeface="+mn-cs"/>
              </a:rPr>
              <a:t>CI, confidence interval; HR, hazard ratio; NI, noninferiority; OS, overall survival.</a:t>
            </a:r>
          </a:p>
        </p:txBody>
      </p:sp>
      <p:sp>
        <p:nvSpPr>
          <p:cNvPr id="226" name="TextBox 225">
            <a:extLst>
              <a:ext uri="{FF2B5EF4-FFF2-40B4-BE49-F238E27FC236}">
                <a16:creationId xmlns:a16="http://schemas.microsoft.com/office/drawing/2014/main" id="{699C5729-743A-430F-BDB7-183BECBE2D5E}"/>
              </a:ext>
            </a:extLst>
          </p:cNvPr>
          <p:cNvSpPr txBox="1"/>
          <p:nvPr/>
        </p:nvSpPr>
        <p:spPr>
          <a:xfrm>
            <a:off x="1050061" y="5255074"/>
            <a:ext cx="468000" cy="262800"/>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2557"/>
                </a:solidFill>
                <a:effectLst/>
                <a:uLnTx/>
                <a:uFillTx/>
                <a:latin typeface="Arial" panose="020B0604020202020204" pitchFamily="34" charset="0"/>
                <a:ea typeface="+mn-ea"/>
                <a:cs typeface="+mn-cs"/>
                <a:sym typeface="HelveticaNeueCE-Roman"/>
                <a:rtl val="0"/>
              </a:rPr>
              <a:t>389</a:t>
            </a:r>
          </a:p>
        </p:txBody>
      </p:sp>
      <p:sp>
        <p:nvSpPr>
          <p:cNvPr id="227" name="TextBox 226">
            <a:extLst>
              <a:ext uri="{FF2B5EF4-FFF2-40B4-BE49-F238E27FC236}">
                <a16:creationId xmlns:a16="http://schemas.microsoft.com/office/drawing/2014/main" id="{CCF7163E-E697-449E-A292-92EBF3657502}"/>
              </a:ext>
            </a:extLst>
          </p:cNvPr>
          <p:cNvSpPr txBox="1"/>
          <p:nvPr/>
        </p:nvSpPr>
        <p:spPr>
          <a:xfrm>
            <a:off x="2365758" y="5255074"/>
            <a:ext cx="468000" cy="262800"/>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2557"/>
                </a:solidFill>
                <a:effectLst/>
                <a:uLnTx/>
                <a:uFillTx/>
                <a:latin typeface="Arial" panose="020B0604020202020204" pitchFamily="34" charset="0"/>
                <a:ea typeface="+mn-ea"/>
                <a:cs typeface="+mn-cs"/>
                <a:sym typeface="HelveticaNeueCE-Roman"/>
                <a:rtl val="0"/>
              </a:rPr>
              <a:t>286</a:t>
            </a:r>
          </a:p>
        </p:txBody>
      </p:sp>
      <p:sp>
        <p:nvSpPr>
          <p:cNvPr id="228" name="TextBox 227">
            <a:extLst>
              <a:ext uri="{FF2B5EF4-FFF2-40B4-BE49-F238E27FC236}">
                <a16:creationId xmlns:a16="http://schemas.microsoft.com/office/drawing/2014/main" id="{4A4261C0-187C-468A-8445-DF9D696E4F6D}"/>
              </a:ext>
            </a:extLst>
          </p:cNvPr>
          <p:cNvSpPr txBox="1"/>
          <p:nvPr/>
        </p:nvSpPr>
        <p:spPr>
          <a:xfrm>
            <a:off x="3681454" y="5255074"/>
            <a:ext cx="468000" cy="262800"/>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2557"/>
                </a:solidFill>
                <a:effectLst/>
                <a:uLnTx/>
                <a:uFillTx/>
                <a:latin typeface="Arial" panose="020B0604020202020204" pitchFamily="34" charset="0"/>
                <a:ea typeface="+mn-ea"/>
                <a:cs typeface="+mn-cs"/>
                <a:sym typeface="HelveticaNeueCE-Roman"/>
                <a:rtl val="0"/>
              </a:rPr>
              <a:t>230</a:t>
            </a:r>
          </a:p>
        </p:txBody>
      </p:sp>
      <p:sp>
        <p:nvSpPr>
          <p:cNvPr id="229" name="TextBox 228">
            <a:extLst>
              <a:ext uri="{FF2B5EF4-FFF2-40B4-BE49-F238E27FC236}">
                <a16:creationId xmlns:a16="http://schemas.microsoft.com/office/drawing/2014/main" id="{60C06517-AC3A-4414-AA62-1FE897F52A30}"/>
              </a:ext>
            </a:extLst>
          </p:cNvPr>
          <p:cNvSpPr txBox="1"/>
          <p:nvPr/>
        </p:nvSpPr>
        <p:spPr>
          <a:xfrm>
            <a:off x="4997152" y="5255074"/>
            <a:ext cx="468000" cy="262800"/>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2557"/>
                </a:solidFill>
                <a:effectLst/>
                <a:uLnTx/>
                <a:uFillTx/>
                <a:latin typeface="Arial" panose="020B0604020202020204" pitchFamily="34" charset="0"/>
                <a:ea typeface="+mn-ea"/>
                <a:cs typeface="+mn-cs"/>
                <a:sym typeface="HelveticaNeueCE-Roman"/>
                <a:rtl val="0"/>
              </a:rPr>
              <a:t>183</a:t>
            </a:r>
          </a:p>
        </p:txBody>
      </p:sp>
      <p:sp>
        <p:nvSpPr>
          <p:cNvPr id="230" name="TextBox 229">
            <a:extLst>
              <a:ext uri="{FF2B5EF4-FFF2-40B4-BE49-F238E27FC236}">
                <a16:creationId xmlns:a16="http://schemas.microsoft.com/office/drawing/2014/main" id="{448A9340-D56A-4C91-97BB-0A9E61374291}"/>
              </a:ext>
            </a:extLst>
          </p:cNvPr>
          <p:cNvSpPr txBox="1"/>
          <p:nvPr/>
        </p:nvSpPr>
        <p:spPr>
          <a:xfrm>
            <a:off x="6312848" y="5255074"/>
            <a:ext cx="468000" cy="262800"/>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2557"/>
                </a:solidFill>
                <a:effectLst/>
                <a:uLnTx/>
                <a:uFillTx/>
                <a:latin typeface="Arial" panose="020B0604020202020204" pitchFamily="34" charset="0"/>
                <a:ea typeface="+mn-ea"/>
                <a:cs typeface="+mn-cs"/>
                <a:sym typeface="HelveticaNeueCE-Roman"/>
                <a:rtl val="0"/>
              </a:rPr>
              <a:t>153</a:t>
            </a:r>
          </a:p>
        </p:txBody>
      </p:sp>
      <p:sp>
        <p:nvSpPr>
          <p:cNvPr id="231" name="TextBox 230">
            <a:extLst>
              <a:ext uri="{FF2B5EF4-FFF2-40B4-BE49-F238E27FC236}">
                <a16:creationId xmlns:a16="http://schemas.microsoft.com/office/drawing/2014/main" id="{12358197-0E19-45A7-80A8-7C9BA860CD30}"/>
              </a:ext>
            </a:extLst>
          </p:cNvPr>
          <p:cNvSpPr txBox="1"/>
          <p:nvPr/>
        </p:nvSpPr>
        <p:spPr>
          <a:xfrm>
            <a:off x="7628547" y="5255074"/>
            <a:ext cx="468000" cy="262800"/>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2557"/>
                </a:solidFill>
                <a:effectLst/>
                <a:uLnTx/>
                <a:uFillTx/>
                <a:latin typeface="Arial" panose="020B0604020202020204" pitchFamily="34" charset="0"/>
                <a:ea typeface="+mn-ea"/>
                <a:cs typeface="+mn-cs"/>
                <a:sym typeface="HelveticaNeueCE-Roman"/>
                <a:rtl val="0"/>
              </a:rPr>
              <a:t>87</a:t>
            </a:r>
          </a:p>
        </p:txBody>
      </p:sp>
      <p:sp>
        <p:nvSpPr>
          <p:cNvPr id="232" name="TextBox 231">
            <a:extLst>
              <a:ext uri="{FF2B5EF4-FFF2-40B4-BE49-F238E27FC236}">
                <a16:creationId xmlns:a16="http://schemas.microsoft.com/office/drawing/2014/main" id="{3655CE9C-7532-4C11-86B8-145A1A5240F8}"/>
              </a:ext>
            </a:extLst>
          </p:cNvPr>
          <p:cNvSpPr txBox="1"/>
          <p:nvPr/>
        </p:nvSpPr>
        <p:spPr>
          <a:xfrm>
            <a:off x="8944244" y="5255074"/>
            <a:ext cx="468000" cy="262800"/>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2557"/>
                </a:solidFill>
                <a:effectLst/>
                <a:uLnTx/>
                <a:uFillTx/>
                <a:latin typeface="Arial" panose="020B0604020202020204" pitchFamily="34" charset="0"/>
                <a:ea typeface="+mn-ea"/>
                <a:cs typeface="+mn-cs"/>
                <a:sym typeface="HelveticaNeueCE-Roman"/>
                <a:rtl val="0"/>
              </a:rPr>
              <a:t>27</a:t>
            </a:r>
          </a:p>
        </p:txBody>
      </p:sp>
      <p:sp>
        <p:nvSpPr>
          <p:cNvPr id="233" name="TextBox 232">
            <a:extLst>
              <a:ext uri="{FF2B5EF4-FFF2-40B4-BE49-F238E27FC236}">
                <a16:creationId xmlns:a16="http://schemas.microsoft.com/office/drawing/2014/main" id="{4B704D6A-B3CA-4E9F-B75D-D3AF6EDB8A2F}"/>
              </a:ext>
            </a:extLst>
          </p:cNvPr>
          <p:cNvSpPr txBox="1"/>
          <p:nvPr/>
        </p:nvSpPr>
        <p:spPr>
          <a:xfrm>
            <a:off x="10259941" y="5255074"/>
            <a:ext cx="468000" cy="262800"/>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2557"/>
                </a:solidFill>
                <a:effectLst/>
                <a:uLnTx/>
                <a:uFillTx/>
                <a:latin typeface="Arial" panose="020B0604020202020204" pitchFamily="34" charset="0"/>
                <a:ea typeface="+mn-ea"/>
                <a:cs typeface="+mn-cs"/>
                <a:sym typeface="HelveticaNeueCE-Roman"/>
                <a:rtl val="0"/>
              </a:rPr>
              <a:t>6</a:t>
            </a:r>
          </a:p>
        </p:txBody>
      </p:sp>
      <p:sp>
        <p:nvSpPr>
          <p:cNvPr id="234" name="TextBox 233">
            <a:extLst>
              <a:ext uri="{FF2B5EF4-FFF2-40B4-BE49-F238E27FC236}">
                <a16:creationId xmlns:a16="http://schemas.microsoft.com/office/drawing/2014/main" id="{C5DD022B-9732-4D19-8418-CE20330AD69E}"/>
              </a:ext>
            </a:extLst>
          </p:cNvPr>
          <p:cNvSpPr txBox="1"/>
          <p:nvPr/>
        </p:nvSpPr>
        <p:spPr>
          <a:xfrm>
            <a:off x="11575642" y="5255074"/>
            <a:ext cx="468000" cy="262800"/>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2557"/>
                </a:solidFill>
                <a:effectLst/>
                <a:uLnTx/>
                <a:uFillTx/>
                <a:latin typeface="Arial" panose="020B0604020202020204" pitchFamily="34" charset="0"/>
                <a:ea typeface="+mn-ea"/>
                <a:cs typeface="+mn-cs"/>
                <a:sym typeface="HelveticaNeueCE-Roman"/>
                <a:rtl val="0"/>
              </a:rPr>
              <a:t>0</a:t>
            </a:r>
          </a:p>
        </p:txBody>
      </p:sp>
      <p:sp>
        <p:nvSpPr>
          <p:cNvPr id="235" name="TextBox 234">
            <a:extLst>
              <a:ext uri="{FF2B5EF4-FFF2-40B4-BE49-F238E27FC236}">
                <a16:creationId xmlns:a16="http://schemas.microsoft.com/office/drawing/2014/main" id="{397AE4C2-4D91-4D9C-A55B-AE5F95BE6C8F}"/>
              </a:ext>
            </a:extLst>
          </p:cNvPr>
          <p:cNvSpPr txBox="1"/>
          <p:nvPr/>
        </p:nvSpPr>
        <p:spPr>
          <a:xfrm>
            <a:off x="1050061" y="5442633"/>
            <a:ext cx="468000" cy="262800"/>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2557"/>
                </a:solidFill>
                <a:effectLst/>
                <a:uLnTx/>
                <a:uFillTx/>
                <a:latin typeface="Arial" panose="020B0604020202020204" pitchFamily="34" charset="0"/>
                <a:ea typeface="+mn-ea"/>
                <a:cs typeface="+mn-cs"/>
                <a:sym typeface="HelveticaNeueCE-Roman"/>
                <a:rtl val="0"/>
              </a:rPr>
              <a:t>389</a:t>
            </a:r>
          </a:p>
        </p:txBody>
      </p:sp>
      <p:sp>
        <p:nvSpPr>
          <p:cNvPr id="236" name="TextBox 235">
            <a:extLst>
              <a:ext uri="{FF2B5EF4-FFF2-40B4-BE49-F238E27FC236}">
                <a16:creationId xmlns:a16="http://schemas.microsoft.com/office/drawing/2014/main" id="{C6F42B83-6C04-449C-9697-D53E926ED434}"/>
              </a:ext>
            </a:extLst>
          </p:cNvPr>
          <p:cNvSpPr txBox="1"/>
          <p:nvPr/>
        </p:nvSpPr>
        <p:spPr>
          <a:xfrm>
            <a:off x="2365758" y="5442633"/>
            <a:ext cx="468000" cy="262800"/>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2557"/>
                </a:solidFill>
                <a:effectLst/>
                <a:uLnTx/>
                <a:uFillTx/>
                <a:latin typeface="Arial" panose="020B0604020202020204" pitchFamily="34" charset="0"/>
                <a:ea typeface="+mn-ea"/>
                <a:cs typeface="+mn-cs"/>
                <a:sym typeface="HelveticaNeueCE-Roman"/>
                <a:rtl val="0"/>
              </a:rPr>
              <a:t>283</a:t>
            </a:r>
          </a:p>
        </p:txBody>
      </p:sp>
      <p:sp>
        <p:nvSpPr>
          <p:cNvPr id="237" name="TextBox 236">
            <a:extLst>
              <a:ext uri="{FF2B5EF4-FFF2-40B4-BE49-F238E27FC236}">
                <a16:creationId xmlns:a16="http://schemas.microsoft.com/office/drawing/2014/main" id="{9F7B42B0-7765-4D08-92F3-4DDF4D8344FA}"/>
              </a:ext>
            </a:extLst>
          </p:cNvPr>
          <p:cNvSpPr txBox="1"/>
          <p:nvPr/>
        </p:nvSpPr>
        <p:spPr>
          <a:xfrm>
            <a:off x="3681454" y="5442633"/>
            <a:ext cx="468000" cy="262800"/>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2557"/>
                </a:solidFill>
                <a:effectLst/>
                <a:uLnTx/>
                <a:uFillTx/>
                <a:latin typeface="Arial" panose="020B0604020202020204" pitchFamily="34" charset="0"/>
                <a:ea typeface="+mn-ea"/>
                <a:cs typeface="+mn-cs"/>
                <a:sym typeface="HelveticaNeueCE-Roman"/>
                <a:rtl val="0"/>
              </a:rPr>
              <a:t>211</a:t>
            </a:r>
          </a:p>
        </p:txBody>
      </p:sp>
      <p:sp>
        <p:nvSpPr>
          <p:cNvPr id="238" name="TextBox 237">
            <a:extLst>
              <a:ext uri="{FF2B5EF4-FFF2-40B4-BE49-F238E27FC236}">
                <a16:creationId xmlns:a16="http://schemas.microsoft.com/office/drawing/2014/main" id="{B39CB08F-7F72-443D-B02D-39F30E7C9E2C}"/>
              </a:ext>
            </a:extLst>
          </p:cNvPr>
          <p:cNvSpPr txBox="1"/>
          <p:nvPr/>
        </p:nvSpPr>
        <p:spPr>
          <a:xfrm>
            <a:off x="4997152" y="5442633"/>
            <a:ext cx="468000" cy="262800"/>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2557"/>
                </a:solidFill>
                <a:effectLst/>
                <a:uLnTx/>
                <a:uFillTx/>
                <a:latin typeface="Arial" panose="020B0604020202020204" pitchFamily="34" charset="0"/>
                <a:ea typeface="+mn-ea"/>
                <a:cs typeface="+mn-cs"/>
                <a:sym typeface="HelveticaNeueCE-Roman"/>
                <a:rtl val="0"/>
              </a:rPr>
              <a:t>155</a:t>
            </a:r>
          </a:p>
        </p:txBody>
      </p:sp>
      <p:sp>
        <p:nvSpPr>
          <p:cNvPr id="239" name="TextBox 238">
            <a:extLst>
              <a:ext uri="{FF2B5EF4-FFF2-40B4-BE49-F238E27FC236}">
                <a16:creationId xmlns:a16="http://schemas.microsoft.com/office/drawing/2014/main" id="{131B6F1C-160B-43CC-9F72-44BBB923FBD9}"/>
              </a:ext>
            </a:extLst>
          </p:cNvPr>
          <p:cNvSpPr txBox="1"/>
          <p:nvPr/>
        </p:nvSpPr>
        <p:spPr>
          <a:xfrm>
            <a:off x="6312848" y="5442633"/>
            <a:ext cx="468000" cy="262800"/>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2557"/>
                </a:solidFill>
                <a:effectLst/>
                <a:uLnTx/>
                <a:uFillTx/>
                <a:latin typeface="Arial" panose="020B0604020202020204" pitchFamily="34" charset="0"/>
                <a:ea typeface="+mn-ea"/>
                <a:cs typeface="+mn-cs"/>
                <a:sym typeface="HelveticaNeueCE-Roman"/>
                <a:rtl val="0"/>
              </a:rPr>
              <a:t>121</a:t>
            </a:r>
          </a:p>
        </p:txBody>
      </p:sp>
      <p:sp>
        <p:nvSpPr>
          <p:cNvPr id="240" name="TextBox 239">
            <a:extLst>
              <a:ext uri="{FF2B5EF4-FFF2-40B4-BE49-F238E27FC236}">
                <a16:creationId xmlns:a16="http://schemas.microsoft.com/office/drawing/2014/main" id="{9B503D18-F20C-4180-8537-F9B18884938F}"/>
              </a:ext>
            </a:extLst>
          </p:cNvPr>
          <p:cNvSpPr txBox="1"/>
          <p:nvPr/>
        </p:nvSpPr>
        <p:spPr>
          <a:xfrm>
            <a:off x="7628547" y="5442633"/>
            <a:ext cx="468000" cy="262800"/>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2557"/>
                </a:solidFill>
                <a:effectLst/>
                <a:uLnTx/>
                <a:uFillTx/>
                <a:latin typeface="Arial" panose="020B0604020202020204" pitchFamily="34" charset="0"/>
                <a:ea typeface="+mn-ea"/>
                <a:cs typeface="+mn-cs"/>
                <a:sym typeface="HelveticaNeueCE-Roman"/>
                <a:rtl val="0"/>
              </a:rPr>
              <a:t>62</a:t>
            </a:r>
          </a:p>
        </p:txBody>
      </p:sp>
      <p:sp>
        <p:nvSpPr>
          <p:cNvPr id="241" name="TextBox 240">
            <a:extLst>
              <a:ext uri="{FF2B5EF4-FFF2-40B4-BE49-F238E27FC236}">
                <a16:creationId xmlns:a16="http://schemas.microsoft.com/office/drawing/2014/main" id="{CB3CB933-10DA-4C2D-B9E8-25CF65962AEC}"/>
              </a:ext>
            </a:extLst>
          </p:cNvPr>
          <p:cNvSpPr txBox="1"/>
          <p:nvPr/>
        </p:nvSpPr>
        <p:spPr>
          <a:xfrm>
            <a:off x="8944244" y="5442633"/>
            <a:ext cx="468000" cy="262800"/>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2557"/>
                </a:solidFill>
                <a:effectLst/>
                <a:uLnTx/>
                <a:uFillTx/>
                <a:latin typeface="Arial" panose="020B0604020202020204" pitchFamily="34" charset="0"/>
                <a:ea typeface="+mn-ea"/>
                <a:cs typeface="+mn-cs"/>
                <a:sym typeface="HelveticaNeueCE-Roman"/>
                <a:rtl val="0"/>
              </a:rPr>
              <a:t>21</a:t>
            </a:r>
          </a:p>
        </p:txBody>
      </p:sp>
      <p:sp>
        <p:nvSpPr>
          <p:cNvPr id="242" name="TextBox 241">
            <a:extLst>
              <a:ext uri="{FF2B5EF4-FFF2-40B4-BE49-F238E27FC236}">
                <a16:creationId xmlns:a16="http://schemas.microsoft.com/office/drawing/2014/main" id="{B726E291-DBB6-4842-B966-E1BFC3A195E0}"/>
              </a:ext>
            </a:extLst>
          </p:cNvPr>
          <p:cNvSpPr txBox="1"/>
          <p:nvPr/>
        </p:nvSpPr>
        <p:spPr>
          <a:xfrm>
            <a:off x="10259941" y="5442633"/>
            <a:ext cx="468000" cy="262800"/>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2557"/>
                </a:solidFill>
                <a:effectLst/>
                <a:uLnTx/>
                <a:uFillTx/>
                <a:latin typeface="Arial" panose="020B0604020202020204" pitchFamily="34" charset="0"/>
                <a:ea typeface="+mn-ea"/>
                <a:cs typeface="+mn-cs"/>
                <a:sym typeface="HelveticaNeueCE-Roman"/>
                <a:rtl val="0"/>
              </a:rPr>
              <a:t>1</a:t>
            </a:r>
          </a:p>
        </p:txBody>
      </p:sp>
      <p:sp>
        <p:nvSpPr>
          <p:cNvPr id="243" name="TextBox 242">
            <a:extLst>
              <a:ext uri="{FF2B5EF4-FFF2-40B4-BE49-F238E27FC236}">
                <a16:creationId xmlns:a16="http://schemas.microsoft.com/office/drawing/2014/main" id="{A1C20510-AEB8-42BC-9756-9AE6C0F344F7}"/>
              </a:ext>
            </a:extLst>
          </p:cNvPr>
          <p:cNvSpPr txBox="1"/>
          <p:nvPr/>
        </p:nvSpPr>
        <p:spPr>
          <a:xfrm>
            <a:off x="11575642" y="5442633"/>
            <a:ext cx="468000" cy="262800"/>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2557"/>
                </a:solidFill>
                <a:effectLst/>
                <a:uLnTx/>
                <a:uFillTx/>
                <a:latin typeface="Arial" panose="020B0604020202020204" pitchFamily="34" charset="0"/>
                <a:ea typeface="+mn-ea"/>
                <a:cs typeface="+mn-cs"/>
                <a:sym typeface="HelveticaNeueCE-Roman"/>
                <a:rtl val="0"/>
              </a:rPr>
              <a:t>0</a:t>
            </a:r>
          </a:p>
        </p:txBody>
      </p:sp>
      <p:grpSp>
        <p:nvGrpSpPr>
          <p:cNvPr id="285" name="Group 284">
            <a:extLst>
              <a:ext uri="{FF2B5EF4-FFF2-40B4-BE49-F238E27FC236}">
                <a16:creationId xmlns:a16="http://schemas.microsoft.com/office/drawing/2014/main" id="{A7BAFD85-9A05-441D-8DEE-3FBEADFA2C0B}"/>
              </a:ext>
            </a:extLst>
          </p:cNvPr>
          <p:cNvGrpSpPr/>
          <p:nvPr/>
        </p:nvGrpSpPr>
        <p:grpSpPr>
          <a:xfrm>
            <a:off x="1292945" y="1778966"/>
            <a:ext cx="10047005" cy="2440433"/>
            <a:chOff x="7241926" y="1923289"/>
            <a:chExt cx="4256046" cy="2440433"/>
          </a:xfrm>
        </p:grpSpPr>
        <p:sp>
          <p:nvSpPr>
            <p:cNvPr id="286" name="Freeform: Shape 285">
              <a:extLst>
                <a:ext uri="{FF2B5EF4-FFF2-40B4-BE49-F238E27FC236}">
                  <a16:creationId xmlns:a16="http://schemas.microsoft.com/office/drawing/2014/main" id="{1B4432C5-C991-451E-8F2A-FFD40BACA9C9}"/>
                </a:ext>
              </a:extLst>
            </p:cNvPr>
            <p:cNvSpPr/>
            <p:nvPr/>
          </p:nvSpPr>
          <p:spPr>
            <a:xfrm>
              <a:off x="7409944" y="1988888"/>
              <a:ext cx="17005" cy="96907"/>
            </a:xfrm>
            <a:custGeom>
              <a:avLst/>
              <a:gdLst>
                <a:gd name="connsiteX0" fmla="*/ 0 w 17005"/>
                <a:gd name="connsiteY0" fmla="*/ 0 h 96907"/>
                <a:gd name="connsiteX1" fmla="*/ 0 w 17005"/>
                <a:gd name="connsiteY1" fmla="*/ 96908 h 96907"/>
              </a:gdLst>
              <a:ahLst/>
              <a:cxnLst>
                <a:cxn ang="0">
                  <a:pos x="connsiteX0" y="connsiteY0"/>
                </a:cxn>
                <a:cxn ang="0">
                  <a:pos x="connsiteX1" y="connsiteY1"/>
                </a:cxn>
              </a:cxnLst>
              <a:rect l="l" t="t" r="r" b="b"/>
              <a:pathLst>
                <a:path w="17005" h="96907">
                  <a:moveTo>
                    <a:pt x="0" y="0"/>
                  </a:moveTo>
                  <a:lnTo>
                    <a:pt x="0" y="96908"/>
                  </a:lnTo>
                </a:path>
              </a:pathLst>
            </a:custGeom>
            <a:ln w="28575" cap="flat">
              <a:solidFill>
                <a:srgbClr val="00876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287" name="Freeform: Shape 286">
              <a:extLst>
                <a:ext uri="{FF2B5EF4-FFF2-40B4-BE49-F238E27FC236}">
                  <a16:creationId xmlns:a16="http://schemas.microsoft.com/office/drawing/2014/main" id="{A9D7FB13-6246-4DC2-887C-E6955DD33B28}"/>
                </a:ext>
              </a:extLst>
            </p:cNvPr>
            <p:cNvSpPr/>
            <p:nvPr/>
          </p:nvSpPr>
          <p:spPr>
            <a:xfrm>
              <a:off x="8699495" y="3269709"/>
              <a:ext cx="17005" cy="97056"/>
            </a:xfrm>
            <a:custGeom>
              <a:avLst/>
              <a:gdLst>
                <a:gd name="connsiteX0" fmla="*/ 0 w 17005"/>
                <a:gd name="connsiteY0" fmla="*/ 0 h 97056"/>
                <a:gd name="connsiteX1" fmla="*/ 0 w 17005"/>
                <a:gd name="connsiteY1" fmla="*/ 97057 h 97056"/>
              </a:gdLst>
              <a:ahLst/>
              <a:cxnLst>
                <a:cxn ang="0">
                  <a:pos x="connsiteX0" y="connsiteY0"/>
                </a:cxn>
                <a:cxn ang="0">
                  <a:pos x="connsiteX1" y="connsiteY1"/>
                </a:cxn>
              </a:cxnLst>
              <a:rect l="l" t="t" r="r" b="b"/>
              <a:pathLst>
                <a:path w="17005" h="97056">
                  <a:moveTo>
                    <a:pt x="0" y="0"/>
                  </a:moveTo>
                  <a:lnTo>
                    <a:pt x="0" y="97057"/>
                  </a:lnTo>
                </a:path>
              </a:pathLst>
            </a:custGeom>
            <a:ln w="28575" cap="flat">
              <a:solidFill>
                <a:srgbClr val="00876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288" name="Freeform: Shape 287">
              <a:extLst>
                <a:ext uri="{FF2B5EF4-FFF2-40B4-BE49-F238E27FC236}">
                  <a16:creationId xmlns:a16="http://schemas.microsoft.com/office/drawing/2014/main" id="{86D5F25C-F2C3-481D-A523-B2006D124124}"/>
                </a:ext>
              </a:extLst>
            </p:cNvPr>
            <p:cNvSpPr/>
            <p:nvPr/>
          </p:nvSpPr>
          <p:spPr>
            <a:xfrm>
              <a:off x="9496218" y="3651376"/>
              <a:ext cx="17005" cy="97056"/>
            </a:xfrm>
            <a:custGeom>
              <a:avLst/>
              <a:gdLst>
                <a:gd name="connsiteX0" fmla="*/ 0 w 17005"/>
                <a:gd name="connsiteY0" fmla="*/ 0 h 97056"/>
                <a:gd name="connsiteX1" fmla="*/ 0 w 17005"/>
                <a:gd name="connsiteY1" fmla="*/ 97057 h 97056"/>
              </a:gdLst>
              <a:ahLst/>
              <a:cxnLst>
                <a:cxn ang="0">
                  <a:pos x="connsiteX0" y="connsiteY0"/>
                </a:cxn>
                <a:cxn ang="0">
                  <a:pos x="connsiteX1" y="connsiteY1"/>
                </a:cxn>
              </a:cxnLst>
              <a:rect l="l" t="t" r="r" b="b"/>
              <a:pathLst>
                <a:path w="17005" h="97056">
                  <a:moveTo>
                    <a:pt x="0" y="0"/>
                  </a:moveTo>
                  <a:lnTo>
                    <a:pt x="0" y="97057"/>
                  </a:lnTo>
                </a:path>
              </a:pathLst>
            </a:custGeom>
            <a:ln w="28575" cap="flat">
              <a:solidFill>
                <a:srgbClr val="00876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289" name="Freeform: Shape 288">
              <a:extLst>
                <a:ext uri="{FF2B5EF4-FFF2-40B4-BE49-F238E27FC236}">
                  <a16:creationId xmlns:a16="http://schemas.microsoft.com/office/drawing/2014/main" id="{CE426283-5185-44B3-9910-C994EFEBF33A}"/>
                </a:ext>
              </a:extLst>
            </p:cNvPr>
            <p:cNvSpPr/>
            <p:nvPr/>
          </p:nvSpPr>
          <p:spPr>
            <a:xfrm>
              <a:off x="9598933" y="3702663"/>
              <a:ext cx="17005" cy="97056"/>
            </a:xfrm>
            <a:custGeom>
              <a:avLst/>
              <a:gdLst>
                <a:gd name="connsiteX0" fmla="*/ 0 w 17005"/>
                <a:gd name="connsiteY0" fmla="*/ 0 h 97056"/>
                <a:gd name="connsiteX1" fmla="*/ 0 w 17005"/>
                <a:gd name="connsiteY1" fmla="*/ 97057 h 97056"/>
              </a:gdLst>
              <a:ahLst/>
              <a:cxnLst>
                <a:cxn ang="0">
                  <a:pos x="connsiteX0" y="connsiteY0"/>
                </a:cxn>
                <a:cxn ang="0">
                  <a:pos x="connsiteX1" y="connsiteY1"/>
                </a:cxn>
              </a:cxnLst>
              <a:rect l="l" t="t" r="r" b="b"/>
              <a:pathLst>
                <a:path w="17005" h="97056">
                  <a:moveTo>
                    <a:pt x="0" y="0"/>
                  </a:moveTo>
                  <a:lnTo>
                    <a:pt x="0" y="97057"/>
                  </a:lnTo>
                </a:path>
              </a:pathLst>
            </a:custGeom>
            <a:ln w="28575" cap="flat">
              <a:solidFill>
                <a:srgbClr val="00876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290" name="Freeform: Shape 289">
              <a:extLst>
                <a:ext uri="{FF2B5EF4-FFF2-40B4-BE49-F238E27FC236}">
                  <a16:creationId xmlns:a16="http://schemas.microsoft.com/office/drawing/2014/main" id="{1DC31F87-1682-465E-A9CB-0643D80FA993}"/>
                </a:ext>
              </a:extLst>
            </p:cNvPr>
            <p:cNvSpPr/>
            <p:nvPr/>
          </p:nvSpPr>
          <p:spPr>
            <a:xfrm>
              <a:off x="9621041" y="3702663"/>
              <a:ext cx="17005" cy="97056"/>
            </a:xfrm>
            <a:custGeom>
              <a:avLst/>
              <a:gdLst>
                <a:gd name="connsiteX0" fmla="*/ 0 w 17005"/>
                <a:gd name="connsiteY0" fmla="*/ 0 h 97056"/>
                <a:gd name="connsiteX1" fmla="*/ 0 w 17005"/>
                <a:gd name="connsiteY1" fmla="*/ 97057 h 97056"/>
              </a:gdLst>
              <a:ahLst/>
              <a:cxnLst>
                <a:cxn ang="0">
                  <a:pos x="connsiteX0" y="connsiteY0"/>
                </a:cxn>
                <a:cxn ang="0">
                  <a:pos x="connsiteX1" y="connsiteY1"/>
                </a:cxn>
              </a:cxnLst>
              <a:rect l="l" t="t" r="r" b="b"/>
              <a:pathLst>
                <a:path w="17005" h="97056">
                  <a:moveTo>
                    <a:pt x="0" y="0"/>
                  </a:moveTo>
                  <a:lnTo>
                    <a:pt x="0" y="97057"/>
                  </a:lnTo>
                </a:path>
              </a:pathLst>
            </a:custGeom>
            <a:ln w="28575" cap="flat">
              <a:solidFill>
                <a:srgbClr val="00876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291" name="Freeform: Shape 290">
              <a:extLst>
                <a:ext uri="{FF2B5EF4-FFF2-40B4-BE49-F238E27FC236}">
                  <a16:creationId xmlns:a16="http://schemas.microsoft.com/office/drawing/2014/main" id="{9B278CB8-15D3-4AB8-8B04-0B2212631A96}"/>
                </a:ext>
              </a:extLst>
            </p:cNvPr>
            <p:cNvSpPr/>
            <p:nvPr/>
          </p:nvSpPr>
          <p:spPr>
            <a:xfrm>
              <a:off x="9645699" y="3731139"/>
              <a:ext cx="17005" cy="97056"/>
            </a:xfrm>
            <a:custGeom>
              <a:avLst/>
              <a:gdLst>
                <a:gd name="connsiteX0" fmla="*/ 0 w 17005"/>
                <a:gd name="connsiteY0" fmla="*/ 0 h 97056"/>
                <a:gd name="connsiteX1" fmla="*/ 0 w 17005"/>
                <a:gd name="connsiteY1" fmla="*/ 97057 h 97056"/>
              </a:gdLst>
              <a:ahLst/>
              <a:cxnLst>
                <a:cxn ang="0">
                  <a:pos x="connsiteX0" y="connsiteY0"/>
                </a:cxn>
                <a:cxn ang="0">
                  <a:pos x="connsiteX1" y="connsiteY1"/>
                </a:cxn>
              </a:cxnLst>
              <a:rect l="l" t="t" r="r" b="b"/>
              <a:pathLst>
                <a:path w="17005" h="97056">
                  <a:moveTo>
                    <a:pt x="0" y="0"/>
                  </a:moveTo>
                  <a:lnTo>
                    <a:pt x="0" y="97057"/>
                  </a:lnTo>
                </a:path>
              </a:pathLst>
            </a:custGeom>
            <a:ln w="28575" cap="flat">
              <a:solidFill>
                <a:srgbClr val="00876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292" name="Freeform: Shape 291">
              <a:extLst>
                <a:ext uri="{FF2B5EF4-FFF2-40B4-BE49-F238E27FC236}">
                  <a16:creationId xmlns:a16="http://schemas.microsoft.com/office/drawing/2014/main" id="{538A69C9-B84D-457D-B029-C51C2FBDD02F}"/>
                </a:ext>
              </a:extLst>
            </p:cNvPr>
            <p:cNvSpPr/>
            <p:nvPr/>
          </p:nvSpPr>
          <p:spPr>
            <a:xfrm>
              <a:off x="9684642" y="3746048"/>
              <a:ext cx="17005" cy="96907"/>
            </a:xfrm>
            <a:custGeom>
              <a:avLst/>
              <a:gdLst>
                <a:gd name="connsiteX0" fmla="*/ 0 w 17005"/>
                <a:gd name="connsiteY0" fmla="*/ 0 h 96907"/>
                <a:gd name="connsiteX1" fmla="*/ 0 w 17005"/>
                <a:gd name="connsiteY1" fmla="*/ 96908 h 96907"/>
              </a:gdLst>
              <a:ahLst/>
              <a:cxnLst>
                <a:cxn ang="0">
                  <a:pos x="connsiteX0" y="connsiteY0"/>
                </a:cxn>
                <a:cxn ang="0">
                  <a:pos x="connsiteX1" y="connsiteY1"/>
                </a:cxn>
              </a:cxnLst>
              <a:rect l="l" t="t" r="r" b="b"/>
              <a:pathLst>
                <a:path w="17005" h="96907">
                  <a:moveTo>
                    <a:pt x="0" y="0"/>
                  </a:moveTo>
                  <a:lnTo>
                    <a:pt x="0" y="96908"/>
                  </a:lnTo>
                </a:path>
              </a:pathLst>
            </a:custGeom>
            <a:ln w="28575" cap="flat">
              <a:solidFill>
                <a:srgbClr val="00876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293" name="Freeform: Shape 292">
              <a:extLst>
                <a:ext uri="{FF2B5EF4-FFF2-40B4-BE49-F238E27FC236}">
                  <a16:creationId xmlns:a16="http://schemas.microsoft.com/office/drawing/2014/main" id="{2C804FFE-1F81-40F6-B9D1-D20F4136D0C2}"/>
                </a:ext>
              </a:extLst>
            </p:cNvPr>
            <p:cNvSpPr/>
            <p:nvPr/>
          </p:nvSpPr>
          <p:spPr>
            <a:xfrm>
              <a:off x="9744503" y="3768858"/>
              <a:ext cx="17005" cy="96907"/>
            </a:xfrm>
            <a:custGeom>
              <a:avLst/>
              <a:gdLst>
                <a:gd name="connsiteX0" fmla="*/ 0 w 17005"/>
                <a:gd name="connsiteY0" fmla="*/ 0 h 96907"/>
                <a:gd name="connsiteX1" fmla="*/ 0 w 17005"/>
                <a:gd name="connsiteY1" fmla="*/ 96908 h 96907"/>
              </a:gdLst>
              <a:ahLst/>
              <a:cxnLst>
                <a:cxn ang="0">
                  <a:pos x="connsiteX0" y="connsiteY0"/>
                </a:cxn>
                <a:cxn ang="0">
                  <a:pos x="connsiteX1" y="connsiteY1"/>
                </a:cxn>
              </a:cxnLst>
              <a:rect l="l" t="t" r="r" b="b"/>
              <a:pathLst>
                <a:path w="17005" h="96907">
                  <a:moveTo>
                    <a:pt x="0" y="0"/>
                  </a:moveTo>
                  <a:lnTo>
                    <a:pt x="0" y="96908"/>
                  </a:lnTo>
                </a:path>
              </a:pathLst>
            </a:custGeom>
            <a:ln w="28575" cap="flat">
              <a:solidFill>
                <a:srgbClr val="00876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294" name="Freeform: Shape 293">
              <a:extLst>
                <a:ext uri="{FF2B5EF4-FFF2-40B4-BE49-F238E27FC236}">
                  <a16:creationId xmlns:a16="http://schemas.microsoft.com/office/drawing/2014/main" id="{181617AA-7175-47BB-A8F8-619A60CA365B}"/>
                </a:ext>
              </a:extLst>
            </p:cNvPr>
            <p:cNvSpPr/>
            <p:nvPr/>
          </p:nvSpPr>
          <p:spPr>
            <a:xfrm>
              <a:off x="9782256" y="3784811"/>
              <a:ext cx="17005" cy="96907"/>
            </a:xfrm>
            <a:custGeom>
              <a:avLst/>
              <a:gdLst>
                <a:gd name="connsiteX0" fmla="*/ 0 w 17005"/>
                <a:gd name="connsiteY0" fmla="*/ 0 h 96907"/>
                <a:gd name="connsiteX1" fmla="*/ 0 w 17005"/>
                <a:gd name="connsiteY1" fmla="*/ 96908 h 96907"/>
              </a:gdLst>
              <a:ahLst/>
              <a:cxnLst>
                <a:cxn ang="0">
                  <a:pos x="connsiteX0" y="connsiteY0"/>
                </a:cxn>
                <a:cxn ang="0">
                  <a:pos x="connsiteX1" y="connsiteY1"/>
                </a:cxn>
              </a:cxnLst>
              <a:rect l="l" t="t" r="r" b="b"/>
              <a:pathLst>
                <a:path w="17005" h="96907">
                  <a:moveTo>
                    <a:pt x="0" y="0"/>
                  </a:moveTo>
                  <a:lnTo>
                    <a:pt x="0" y="96908"/>
                  </a:lnTo>
                </a:path>
              </a:pathLst>
            </a:custGeom>
            <a:ln w="28575" cap="flat">
              <a:solidFill>
                <a:srgbClr val="00876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295" name="Freeform: Shape 294">
              <a:extLst>
                <a:ext uri="{FF2B5EF4-FFF2-40B4-BE49-F238E27FC236}">
                  <a16:creationId xmlns:a16="http://schemas.microsoft.com/office/drawing/2014/main" id="{15A04FA6-7149-45D5-9625-452A22E1ACE4}"/>
                </a:ext>
              </a:extLst>
            </p:cNvPr>
            <p:cNvSpPr/>
            <p:nvPr/>
          </p:nvSpPr>
          <p:spPr>
            <a:xfrm>
              <a:off x="9836845" y="3799570"/>
              <a:ext cx="17005" cy="97056"/>
            </a:xfrm>
            <a:custGeom>
              <a:avLst/>
              <a:gdLst>
                <a:gd name="connsiteX0" fmla="*/ 0 w 17005"/>
                <a:gd name="connsiteY0" fmla="*/ 0 h 97056"/>
                <a:gd name="connsiteX1" fmla="*/ 0 w 17005"/>
                <a:gd name="connsiteY1" fmla="*/ 97057 h 97056"/>
              </a:gdLst>
              <a:ahLst/>
              <a:cxnLst>
                <a:cxn ang="0">
                  <a:pos x="connsiteX0" y="connsiteY0"/>
                </a:cxn>
                <a:cxn ang="0">
                  <a:pos x="connsiteX1" y="connsiteY1"/>
                </a:cxn>
              </a:cxnLst>
              <a:rect l="l" t="t" r="r" b="b"/>
              <a:pathLst>
                <a:path w="17005" h="97056">
                  <a:moveTo>
                    <a:pt x="0" y="0"/>
                  </a:moveTo>
                  <a:lnTo>
                    <a:pt x="0" y="97057"/>
                  </a:lnTo>
                </a:path>
              </a:pathLst>
            </a:custGeom>
            <a:ln w="28575" cap="flat">
              <a:solidFill>
                <a:srgbClr val="00876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296" name="Freeform: Shape 295">
              <a:extLst>
                <a:ext uri="{FF2B5EF4-FFF2-40B4-BE49-F238E27FC236}">
                  <a16:creationId xmlns:a16="http://schemas.microsoft.com/office/drawing/2014/main" id="{EC105DF3-213D-44DB-BA28-2E5F30484F04}"/>
                </a:ext>
              </a:extLst>
            </p:cNvPr>
            <p:cNvSpPr/>
            <p:nvPr/>
          </p:nvSpPr>
          <p:spPr>
            <a:xfrm>
              <a:off x="9905718" y="3814330"/>
              <a:ext cx="17005" cy="97056"/>
            </a:xfrm>
            <a:custGeom>
              <a:avLst/>
              <a:gdLst>
                <a:gd name="connsiteX0" fmla="*/ 0 w 17005"/>
                <a:gd name="connsiteY0" fmla="*/ 0 h 97056"/>
                <a:gd name="connsiteX1" fmla="*/ 0 w 17005"/>
                <a:gd name="connsiteY1" fmla="*/ 97057 h 97056"/>
              </a:gdLst>
              <a:ahLst/>
              <a:cxnLst>
                <a:cxn ang="0">
                  <a:pos x="connsiteX0" y="connsiteY0"/>
                </a:cxn>
                <a:cxn ang="0">
                  <a:pos x="connsiteX1" y="connsiteY1"/>
                </a:cxn>
              </a:cxnLst>
              <a:rect l="l" t="t" r="r" b="b"/>
              <a:pathLst>
                <a:path w="17005" h="97056">
                  <a:moveTo>
                    <a:pt x="0" y="0"/>
                  </a:moveTo>
                  <a:lnTo>
                    <a:pt x="0" y="97057"/>
                  </a:lnTo>
                </a:path>
              </a:pathLst>
            </a:custGeom>
            <a:ln w="28575" cap="flat">
              <a:solidFill>
                <a:srgbClr val="00876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297" name="Freeform: Shape 296">
              <a:extLst>
                <a:ext uri="{FF2B5EF4-FFF2-40B4-BE49-F238E27FC236}">
                  <a16:creationId xmlns:a16="http://schemas.microsoft.com/office/drawing/2014/main" id="{9E9C5A79-E317-4109-B25C-5F3FEEF7D353}"/>
                </a:ext>
              </a:extLst>
            </p:cNvPr>
            <p:cNvSpPr/>
            <p:nvPr/>
          </p:nvSpPr>
          <p:spPr>
            <a:xfrm>
              <a:off x="9948573" y="3836097"/>
              <a:ext cx="17005" cy="96907"/>
            </a:xfrm>
            <a:custGeom>
              <a:avLst/>
              <a:gdLst>
                <a:gd name="connsiteX0" fmla="*/ 0 w 17005"/>
                <a:gd name="connsiteY0" fmla="*/ 0 h 96907"/>
                <a:gd name="connsiteX1" fmla="*/ 0 w 17005"/>
                <a:gd name="connsiteY1" fmla="*/ 96908 h 96907"/>
              </a:gdLst>
              <a:ahLst/>
              <a:cxnLst>
                <a:cxn ang="0">
                  <a:pos x="connsiteX0" y="connsiteY0"/>
                </a:cxn>
                <a:cxn ang="0">
                  <a:pos x="connsiteX1" y="connsiteY1"/>
                </a:cxn>
              </a:cxnLst>
              <a:rect l="l" t="t" r="r" b="b"/>
              <a:pathLst>
                <a:path w="17005" h="96907">
                  <a:moveTo>
                    <a:pt x="0" y="0"/>
                  </a:moveTo>
                  <a:lnTo>
                    <a:pt x="0" y="96908"/>
                  </a:lnTo>
                </a:path>
              </a:pathLst>
            </a:custGeom>
            <a:ln w="28575" cap="flat">
              <a:solidFill>
                <a:srgbClr val="00876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298" name="Freeform: Shape 297">
              <a:extLst>
                <a:ext uri="{FF2B5EF4-FFF2-40B4-BE49-F238E27FC236}">
                  <a16:creationId xmlns:a16="http://schemas.microsoft.com/office/drawing/2014/main" id="{B2124F7E-8CFD-4572-9B58-65CF139651AB}"/>
                </a:ext>
              </a:extLst>
            </p:cNvPr>
            <p:cNvSpPr/>
            <p:nvPr/>
          </p:nvSpPr>
          <p:spPr>
            <a:xfrm>
              <a:off x="9971871" y="3836097"/>
              <a:ext cx="17005" cy="96907"/>
            </a:xfrm>
            <a:custGeom>
              <a:avLst/>
              <a:gdLst>
                <a:gd name="connsiteX0" fmla="*/ 0 w 17005"/>
                <a:gd name="connsiteY0" fmla="*/ 0 h 96907"/>
                <a:gd name="connsiteX1" fmla="*/ 0 w 17005"/>
                <a:gd name="connsiteY1" fmla="*/ 96908 h 96907"/>
              </a:gdLst>
              <a:ahLst/>
              <a:cxnLst>
                <a:cxn ang="0">
                  <a:pos x="connsiteX0" y="connsiteY0"/>
                </a:cxn>
                <a:cxn ang="0">
                  <a:pos x="connsiteX1" y="connsiteY1"/>
                </a:cxn>
              </a:cxnLst>
              <a:rect l="l" t="t" r="r" b="b"/>
              <a:pathLst>
                <a:path w="17005" h="96907">
                  <a:moveTo>
                    <a:pt x="0" y="0"/>
                  </a:moveTo>
                  <a:lnTo>
                    <a:pt x="0" y="96908"/>
                  </a:lnTo>
                </a:path>
              </a:pathLst>
            </a:custGeom>
            <a:ln w="28575" cap="flat">
              <a:solidFill>
                <a:srgbClr val="00876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299" name="Freeform: Shape 298">
              <a:extLst>
                <a:ext uri="{FF2B5EF4-FFF2-40B4-BE49-F238E27FC236}">
                  <a16:creationId xmlns:a16="http://schemas.microsoft.com/office/drawing/2014/main" id="{7F7BB49D-BEA0-4A67-B6DF-0861C7EA8229}"/>
                </a:ext>
              </a:extLst>
            </p:cNvPr>
            <p:cNvSpPr/>
            <p:nvPr/>
          </p:nvSpPr>
          <p:spPr>
            <a:xfrm>
              <a:off x="10009624" y="3873668"/>
              <a:ext cx="17005" cy="96907"/>
            </a:xfrm>
            <a:custGeom>
              <a:avLst/>
              <a:gdLst>
                <a:gd name="connsiteX0" fmla="*/ 0 w 17005"/>
                <a:gd name="connsiteY0" fmla="*/ 0 h 96907"/>
                <a:gd name="connsiteX1" fmla="*/ 0 w 17005"/>
                <a:gd name="connsiteY1" fmla="*/ 96908 h 96907"/>
              </a:gdLst>
              <a:ahLst/>
              <a:cxnLst>
                <a:cxn ang="0">
                  <a:pos x="connsiteX0" y="connsiteY0"/>
                </a:cxn>
                <a:cxn ang="0">
                  <a:pos x="connsiteX1" y="connsiteY1"/>
                </a:cxn>
              </a:cxnLst>
              <a:rect l="l" t="t" r="r" b="b"/>
              <a:pathLst>
                <a:path w="17005" h="96907">
                  <a:moveTo>
                    <a:pt x="0" y="0"/>
                  </a:moveTo>
                  <a:lnTo>
                    <a:pt x="0" y="96908"/>
                  </a:lnTo>
                </a:path>
              </a:pathLst>
            </a:custGeom>
            <a:ln w="28575" cap="flat">
              <a:solidFill>
                <a:srgbClr val="00876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300" name="Freeform: Shape 299">
              <a:extLst>
                <a:ext uri="{FF2B5EF4-FFF2-40B4-BE49-F238E27FC236}">
                  <a16:creationId xmlns:a16="http://schemas.microsoft.com/office/drawing/2014/main" id="{6C05ACDA-2854-48D5-ABA5-7D090348BDC4}"/>
                </a:ext>
              </a:extLst>
            </p:cNvPr>
            <p:cNvSpPr/>
            <p:nvPr/>
          </p:nvSpPr>
          <p:spPr>
            <a:xfrm>
              <a:off x="10044656" y="3873668"/>
              <a:ext cx="17005" cy="96907"/>
            </a:xfrm>
            <a:custGeom>
              <a:avLst/>
              <a:gdLst>
                <a:gd name="connsiteX0" fmla="*/ 0 w 17005"/>
                <a:gd name="connsiteY0" fmla="*/ 0 h 96907"/>
                <a:gd name="connsiteX1" fmla="*/ 0 w 17005"/>
                <a:gd name="connsiteY1" fmla="*/ 96908 h 96907"/>
              </a:gdLst>
              <a:ahLst/>
              <a:cxnLst>
                <a:cxn ang="0">
                  <a:pos x="connsiteX0" y="connsiteY0"/>
                </a:cxn>
                <a:cxn ang="0">
                  <a:pos x="connsiteX1" y="connsiteY1"/>
                </a:cxn>
              </a:cxnLst>
              <a:rect l="l" t="t" r="r" b="b"/>
              <a:pathLst>
                <a:path w="17005" h="96907">
                  <a:moveTo>
                    <a:pt x="0" y="0"/>
                  </a:moveTo>
                  <a:lnTo>
                    <a:pt x="0" y="96908"/>
                  </a:lnTo>
                </a:path>
              </a:pathLst>
            </a:custGeom>
            <a:ln w="28575" cap="flat">
              <a:solidFill>
                <a:srgbClr val="00876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301" name="Freeform: Shape 300">
              <a:extLst>
                <a:ext uri="{FF2B5EF4-FFF2-40B4-BE49-F238E27FC236}">
                  <a16:creationId xmlns:a16="http://schemas.microsoft.com/office/drawing/2014/main" id="{F60AD886-2996-4FF5-A8DA-08E7268C94AC}"/>
                </a:ext>
              </a:extLst>
            </p:cNvPr>
            <p:cNvSpPr/>
            <p:nvPr/>
          </p:nvSpPr>
          <p:spPr>
            <a:xfrm>
              <a:off x="10060301" y="3884998"/>
              <a:ext cx="17005" cy="97056"/>
            </a:xfrm>
            <a:custGeom>
              <a:avLst/>
              <a:gdLst>
                <a:gd name="connsiteX0" fmla="*/ 0 w 17005"/>
                <a:gd name="connsiteY0" fmla="*/ 0 h 97056"/>
                <a:gd name="connsiteX1" fmla="*/ 0 w 17005"/>
                <a:gd name="connsiteY1" fmla="*/ 97057 h 97056"/>
              </a:gdLst>
              <a:ahLst/>
              <a:cxnLst>
                <a:cxn ang="0">
                  <a:pos x="connsiteX0" y="connsiteY0"/>
                </a:cxn>
                <a:cxn ang="0">
                  <a:pos x="connsiteX1" y="connsiteY1"/>
                </a:cxn>
              </a:cxnLst>
              <a:rect l="l" t="t" r="r" b="b"/>
              <a:pathLst>
                <a:path w="17005" h="97056">
                  <a:moveTo>
                    <a:pt x="0" y="0"/>
                  </a:moveTo>
                  <a:lnTo>
                    <a:pt x="0" y="97057"/>
                  </a:lnTo>
                </a:path>
              </a:pathLst>
            </a:custGeom>
            <a:ln w="28575" cap="flat">
              <a:solidFill>
                <a:srgbClr val="00876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302" name="Freeform: Shape 301">
              <a:extLst>
                <a:ext uri="{FF2B5EF4-FFF2-40B4-BE49-F238E27FC236}">
                  <a16:creationId xmlns:a16="http://schemas.microsoft.com/office/drawing/2014/main" id="{807AC14B-CF44-4F13-911A-A37E7E947C46}"/>
                </a:ext>
              </a:extLst>
            </p:cNvPr>
            <p:cNvSpPr/>
            <p:nvPr/>
          </p:nvSpPr>
          <p:spPr>
            <a:xfrm>
              <a:off x="10092782" y="3911238"/>
              <a:ext cx="17005" cy="97056"/>
            </a:xfrm>
            <a:custGeom>
              <a:avLst/>
              <a:gdLst>
                <a:gd name="connsiteX0" fmla="*/ 0 w 17005"/>
                <a:gd name="connsiteY0" fmla="*/ 0 h 97056"/>
                <a:gd name="connsiteX1" fmla="*/ 0 w 17005"/>
                <a:gd name="connsiteY1" fmla="*/ 97057 h 97056"/>
              </a:gdLst>
              <a:ahLst/>
              <a:cxnLst>
                <a:cxn ang="0">
                  <a:pos x="connsiteX0" y="connsiteY0"/>
                </a:cxn>
                <a:cxn ang="0">
                  <a:pos x="connsiteX1" y="connsiteY1"/>
                </a:cxn>
              </a:cxnLst>
              <a:rect l="l" t="t" r="r" b="b"/>
              <a:pathLst>
                <a:path w="17005" h="97056">
                  <a:moveTo>
                    <a:pt x="0" y="0"/>
                  </a:moveTo>
                  <a:lnTo>
                    <a:pt x="0" y="97057"/>
                  </a:lnTo>
                </a:path>
              </a:pathLst>
            </a:custGeom>
            <a:ln w="28575" cap="flat">
              <a:solidFill>
                <a:srgbClr val="00876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303" name="Freeform: Shape 302">
              <a:extLst>
                <a:ext uri="{FF2B5EF4-FFF2-40B4-BE49-F238E27FC236}">
                  <a16:creationId xmlns:a16="http://schemas.microsoft.com/office/drawing/2014/main" id="{FE2A9D39-ACA3-4CE9-BC82-E306CD455025}"/>
                </a:ext>
              </a:extLst>
            </p:cNvPr>
            <p:cNvSpPr/>
            <p:nvPr/>
          </p:nvSpPr>
          <p:spPr>
            <a:xfrm>
              <a:off x="10140909" y="3928383"/>
              <a:ext cx="17005" cy="96907"/>
            </a:xfrm>
            <a:custGeom>
              <a:avLst/>
              <a:gdLst>
                <a:gd name="connsiteX0" fmla="*/ 0 w 17005"/>
                <a:gd name="connsiteY0" fmla="*/ 0 h 96907"/>
                <a:gd name="connsiteX1" fmla="*/ 0 w 17005"/>
                <a:gd name="connsiteY1" fmla="*/ 96908 h 96907"/>
              </a:gdLst>
              <a:ahLst/>
              <a:cxnLst>
                <a:cxn ang="0">
                  <a:pos x="connsiteX0" y="connsiteY0"/>
                </a:cxn>
                <a:cxn ang="0">
                  <a:pos x="connsiteX1" y="connsiteY1"/>
                </a:cxn>
              </a:cxnLst>
              <a:rect l="l" t="t" r="r" b="b"/>
              <a:pathLst>
                <a:path w="17005" h="96907">
                  <a:moveTo>
                    <a:pt x="0" y="0"/>
                  </a:moveTo>
                  <a:lnTo>
                    <a:pt x="0" y="96908"/>
                  </a:lnTo>
                </a:path>
              </a:pathLst>
            </a:custGeom>
            <a:ln w="28575" cap="flat">
              <a:solidFill>
                <a:srgbClr val="00876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304" name="Freeform: Shape 303">
              <a:extLst>
                <a:ext uri="{FF2B5EF4-FFF2-40B4-BE49-F238E27FC236}">
                  <a16:creationId xmlns:a16="http://schemas.microsoft.com/office/drawing/2014/main" id="{49A2B507-FEF0-4BCE-898E-2F45E1CAD0F8}"/>
                </a:ext>
              </a:extLst>
            </p:cNvPr>
            <p:cNvSpPr/>
            <p:nvPr/>
          </p:nvSpPr>
          <p:spPr>
            <a:xfrm>
              <a:off x="10174750" y="3960288"/>
              <a:ext cx="17005" cy="96907"/>
            </a:xfrm>
            <a:custGeom>
              <a:avLst/>
              <a:gdLst>
                <a:gd name="connsiteX0" fmla="*/ 0 w 17005"/>
                <a:gd name="connsiteY0" fmla="*/ 0 h 96907"/>
                <a:gd name="connsiteX1" fmla="*/ 0 w 17005"/>
                <a:gd name="connsiteY1" fmla="*/ 96908 h 96907"/>
              </a:gdLst>
              <a:ahLst/>
              <a:cxnLst>
                <a:cxn ang="0">
                  <a:pos x="connsiteX0" y="connsiteY0"/>
                </a:cxn>
                <a:cxn ang="0">
                  <a:pos x="connsiteX1" y="connsiteY1"/>
                </a:cxn>
              </a:cxnLst>
              <a:rect l="l" t="t" r="r" b="b"/>
              <a:pathLst>
                <a:path w="17005" h="96907">
                  <a:moveTo>
                    <a:pt x="0" y="0"/>
                  </a:moveTo>
                  <a:lnTo>
                    <a:pt x="0" y="96908"/>
                  </a:lnTo>
                </a:path>
              </a:pathLst>
            </a:custGeom>
            <a:ln w="28575" cap="flat">
              <a:solidFill>
                <a:srgbClr val="00876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305" name="Freeform: Shape 304">
              <a:extLst>
                <a:ext uri="{FF2B5EF4-FFF2-40B4-BE49-F238E27FC236}">
                  <a16:creationId xmlns:a16="http://schemas.microsoft.com/office/drawing/2014/main" id="{F73A8D0C-2110-4354-8BF7-628349BF086B}"/>
                </a:ext>
              </a:extLst>
            </p:cNvPr>
            <p:cNvSpPr/>
            <p:nvPr/>
          </p:nvSpPr>
          <p:spPr>
            <a:xfrm>
              <a:off x="10222877" y="3963717"/>
              <a:ext cx="17005" cy="96907"/>
            </a:xfrm>
            <a:custGeom>
              <a:avLst/>
              <a:gdLst>
                <a:gd name="connsiteX0" fmla="*/ 0 w 17005"/>
                <a:gd name="connsiteY0" fmla="*/ 0 h 96907"/>
                <a:gd name="connsiteX1" fmla="*/ 0 w 17005"/>
                <a:gd name="connsiteY1" fmla="*/ 96908 h 96907"/>
              </a:gdLst>
              <a:ahLst/>
              <a:cxnLst>
                <a:cxn ang="0">
                  <a:pos x="connsiteX0" y="connsiteY0"/>
                </a:cxn>
                <a:cxn ang="0">
                  <a:pos x="connsiteX1" y="connsiteY1"/>
                </a:cxn>
              </a:cxnLst>
              <a:rect l="l" t="t" r="r" b="b"/>
              <a:pathLst>
                <a:path w="17005" h="96907">
                  <a:moveTo>
                    <a:pt x="0" y="0"/>
                  </a:moveTo>
                  <a:lnTo>
                    <a:pt x="0" y="96908"/>
                  </a:lnTo>
                </a:path>
              </a:pathLst>
            </a:custGeom>
            <a:ln w="28575" cap="flat">
              <a:solidFill>
                <a:srgbClr val="00876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306" name="Freeform: Shape 305">
              <a:extLst>
                <a:ext uri="{FF2B5EF4-FFF2-40B4-BE49-F238E27FC236}">
                  <a16:creationId xmlns:a16="http://schemas.microsoft.com/office/drawing/2014/main" id="{548F573D-32F7-4A65-A2DD-DEDC3A0C402D}"/>
                </a:ext>
              </a:extLst>
            </p:cNvPr>
            <p:cNvSpPr/>
            <p:nvPr/>
          </p:nvSpPr>
          <p:spPr>
            <a:xfrm>
              <a:off x="10255358" y="3963717"/>
              <a:ext cx="17005" cy="96907"/>
            </a:xfrm>
            <a:custGeom>
              <a:avLst/>
              <a:gdLst>
                <a:gd name="connsiteX0" fmla="*/ 0 w 17005"/>
                <a:gd name="connsiteY0" fmla="*/ 0 h 96907"/>
                <a:gd name="connsiteX1" fmla="*/ 0 w 17005"/>
                <a:gd name="connsiteY1" fmla="*/ 96908 h 96907"/>
              </a:gdLst>
              <a:ahLst/>
              <a:cxnLst>
                <a:cxn ang="0">
                  <a:pos x="connsiteX0" y="connsiteY0"/>
                </a:cxn>
                <a:cxn ang="0">
                  <a:pos x="connsiteX1" y="connsiteY1"/>
                </a:cxn>
              </a:cxnLst>
              <a:rect l="l" t="t" r="r" b="b"/>
              <a:pathLst>
                <a:path w="17005" h="96907">
                  <a:moveTo>
                    <a:pt x="0" y="0"/>
                  </a:moveTo>
                  <a:lnTo>
                    <a:pt x="0" y="96908"/>
                  </a:lnTo>
                </a:path>
              </a:pathLst>
            </a:custGeom>
            <a:ln w="28575" cap="flat">
              <a:solidFill>
                <a:srgbClr val="00876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307" name="Freeform: Shape 306">
              <a:extLst>
                <a:ext uri="{FF2B5EF4-FFF2-40B4-BE49-F238E27FC236}">
                  <a16:creationId xmlns:a16="http://schemas.microsoft.com/office/drawing/2014/main" id="{2A874E6D-2D25-4537-BEAF-99A0DBC6A49D}"/>
                </a:ext>
              </a:extLst>
            </p:cNvPr>
            <p:cNvSpPr/>
            <p:nvPr/>
          </p:nvSpPr>
          <p:spPr>
            <a:xfrm>
              <a:off x="10289029" y="3963717"/>
              <a:ext cx="17005" cy="96907"/>
            </a:xfrm>
            <a:custGeom>
              <a:avLst/>
              <a:gdLst>
                <a:gd name="connsiteX0" fmla="*/ 0 w 17005"/>
                <a:gd name="connsiteY0" fmla="*/ 0 h 96907"/>
                <a:gd name="connsiteX1" fmla="*/ 0 w 17005"/>
                <a:gd name="connsiteY1" fmla="*/ 96908 h 96907"/>
              </a:gdLst>
              <a:ahLst/>
              <a:cxnLst>
                <a:cxn ang="0">
                  <a:pos x="connsiteX0" y="connsiteY0"/>
                </a:cxn>
                <a:cxn ang="0">
                  <a:pos x="connsiteX1" y="connsiteY1"/>
                </a:cxn>
              </a:cxnLst>
              <a:rect l="l" t="t" r="r" b="b"/>
              <a:pathLst>
                <a:path w="17005" h="96907">
                  <a:moveTo>
                    <a:pt x="0" y="0"/>
                  </a:moveTo>
                  <a:lnTo>
                    <a:pt x="0" y="96908"/>
                  </a:lnTo>
                </a:path>
              </a:pathLst>
            </a:custGeom>
            <a:ln w="28575" cap="flat">
              <a:solidFill>
                <a:srgbClr val="00876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308" name="Freeform: Shape 307">
              <a:extLst>
                <a:ext uri="{FF2B5EF4-FFF2-40B4-BE49-F238E27FC236}">
                  <a16:creationId xmlns:a16="http://schemas.microsoft.com/office/drawing/2014/main" id="{DC9F3313-FE09-41BE-A2EE-697D1CB9780C}"/>
                </a:ext>
              </a:extLst>
            </p:cNvPr>
            <p:cNvSpPr/>
            <p:nvPr/>
          </p:nvSpPr>
          <p:spPr>
            <a:xfrm>
              <a:off x="10342428" y="3995622"/>
              <a:ext cx="17005" cy="96907"/>
            </a:xfrm>
            <a:custGeom>
              <a:avLst/>
              <a:gdLst>
                <a:gd name="connsiteX0" fmla="*/ 0 w 17005"/>
                <a:gd name="connsiteY0" fmla="*/ 0 h 96907"/>
                <a:gd name="connsiteX1" fmla="*/ 0 w 17005"/>
                <a:gd name="connsiteY1" fmla="*/ 96908 h 96907"/>
              </a:gdLst>
              <a:ahLst/>
              <a:cxnLst>
                <a:cxn ang="0">
                  <a:pos x="connsiteX0" y="connsiteY0"/>
                </a:cxn>
                <a:cxn ang="0">
                  <a:pos x="connsiteX1" y="connsiteY1"/>
                </a:cxn>
              </a:cxnLst>
              <a:rect l="l" t="t" r="r" b="b"/>
              <a:pathLst>
                <a:path w="17005" h="96907">
                  <a:moveTo>
                    <a:pt x="0" y="0"/>
                  </a:moveTo>
                  <a:lnTo>
                    <a:pt x="0" y="96908"/>
                  </a:lnTo>
                </a:path>
              </a:pathLst>
            </a:custGeom>
            <a:ln w="28575" cap="flat">
              <a:solidFill>
                <a:srgbClr val="00876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309" name="Freeform: Shape 308">
              <a:extLst>
                <a:ext uri="{FF2B5EF4-FFF2-40B4-BE49-F238E27FC236}">
                  <a16:creationId xmlns:a16="http://schemas.microsoft.com/office/drawing/2014/main" id="{FE55114D-C953-45FE-B553-96DCCFCDDF1D}"/>
                </a:ext>
              </a:extLst>
            </p:cNvPr>
            <p:cNvSpPr/>
            <p:nvPr/>
          </p:nvSpPr>
          <p:spPr>
            <a:xfrm>
              <a:off x="10357903" y="3995622"/>
              <a:ext cx="17005" cy="96907"/>
            </a:xfrm>
            <a:custGeom>
              <a:avLst/>
              <a:gdLst>
                <a:gd name="connsiteX0" fmla="*/ 0 w 17005"/>
                <a:gd name="connsiteY0" fmla="*/ 0 h 96907"/>
                <a:gd name="connsiteX1" fmla="*/ 0 w 17005"/>
                <a:gd name="connsiteY1" fmla="*/ 96908 h 96907"/>
              </a:gdLst>
              <a:ahLst/>
              <a:cxnLst>
                <a:cxn ang="0">
                  <a:pos x="connsiteX0" y="connsiteY0"/>
                </a:cxn>
                <a:cxn ang="0">
                  <a:pos x="connsiteX1" y="connsiteY1"/>
                </a:cxn>
              </a:cxnLst>
              <a:rect l="l" t="t" r="r" b="b"/>
              <a:pathLst>
                <a:path w="17005" h="96907">
                  <a:moveTo>
                    <a:pt x="0" y="0"/>
                  </a:moveTo>
                  <a:lnTo>
                    <a:pt x="0" y="96908"/>
                  </a:lnTo>
                </a:path>
              </a:pathLst>
            </a:custGeom>
            <a:ln w="28575" cap="flat">
              <a:solidFill>
                <a:srgbClr val="00876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310" name="Freeform: Shape 309">
              <a:extLst>
                <a:ext uri="{FF2B5EF4-FFF2-40B4-BE49-F238E27FC236}">
                  <a16:creationId xmlns:a16="http://schemas.microsoft.com/office/drawing/2014/main" id="{F37EB683-9258-4CF5-89D7-025B0795F50C}"/>
                </a:ext>
              </a:extLst>
            </p:cNvPr>
            <p:cNvSpPr/>
            <p:nvPr/>
          </p:nvSpPr>
          <p:spPr>
            <a:xfrm>
              <a:off x="10368447" y="3995622"/>
              <a:ext cx="17005" cy="96907"/>
            </a:xfrm>
            <a:custGeom>
              <a:avLst/>
              <a:gdLst>
                <a:gd name="connsiteX0" fmla="*/ 0 w 17005"/>
                <a:gd name="connsiteY0" fmla="*/ 0 h 96907"/>
                <a:gd name="connsiteX1" fmla="*/ 0 w 17005"/>
                <a:gd name="connsiteY1" fmla="*/ 96908 h 96907"/>
              </a:gdLst>
              <a:ahLst/>
              <a:cxnLst>
                <a:cxn ang="0">
                  <a:pos x="connsiteX0" y="connsiteY0"/>
                </a:cxn>
                <a:cxn ang="0">
                  <a:pos x="connsiteX1" y="connsiteY1"/>
                </a:cxn>
              </a:cxnLst>
              <a:rect l="l" t="t" r="r" b="b"/>
              <a:pathLst>
                <a:path w="17005" h="96907">
                  <a:moveTo>
                    <a:pt x="0" y="0"/>
                  </a:moveTo>
                  <a:lnTo>
                    <a:pt x="0" y="96908"/>
                  </a:lnTo>
                </a:path>
              </a:pathLst>
            </a:custGeom>
            <a:ln w="28575" cap="flat">
              <a:solidFill>
                <a:srgbClr val="00876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311" name="Freeform: Shape 310">
              <a:extLst>
                <a:ext uri="{FF2B5EF4-FFF2-40B4-BE49-F238E27FC236}">
                  <a16:creationId xmlns:a16="http://schemas.microsoft.com/office/drawing/2014/main" id="{5F68408E-53D1-46E2-94F1-03678CB56C93}"/>
                </a:ext>
              </a:extLst>
            </p:cNvPr>
            <p:cNvSpPr/>
            <p:nvPr/>
          </p:nvSpPr>
          <p:spPr>
            <a:xfrm>
              <a:off x="10387833" y="4017240"/>
              <a:ext cx="17005" cy="97056"/>
            </a:xfrm>
            <a:custGeom>
              <a:avLst/>
              <a:gdLst>
                <a:gd name="connsiteX0" fmla="*/ 0 w 17005"/>
                <a:gd name="connsiteY0" fmla="*/ 0 h 97056"/>
                <a:gd name="connsiteX1" fmla="*/ 0 w 17005"/>
                <a:gd name="connsiteY1" fmla="*/ 97057 h 97056"/>
              </a:gdLst>
              <a:ahLst/>
              <a:cxnLst>
                <a:cxn ang="0">
                  <a:pos x="connsiteX0" y="connsiteY0"/>
                </a:cxn>
                <a:cxn ang="0">
                  <a:pos x="connsiteX1" y="connsiteY1"/>
                </a:cxn>
              </a:cxnLst>
              <a:rect l="l" t="t" r="r" b="b"/>
              <a:pathLst>
                <a:path w="17005" h="97056">
                  <a:moveTo>
                    <a:pt x="0" y="0"/>
                  </a:moveTo>
                  <a:lnTo>
                    <a:pt x="0" y="97057"/>
                  </a:lnTo>
                </a:path>
              </a:pathLst>
            </a:custGeom>
            <a:ln w="28575" cap="flat">
              <a:solidFill>
                <a:srgbClr val="00876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312" name="Freeform: Shape 311">
              <a:extLst>
                <a:ext uri="{FF2B5EF4-FFF2-40B4-BE49-F238E27FC236}">
                  <a16:creationId xmlns:a16="http://schemas.microsoft.com/office/drawing/2014/main" id="{3670A926-ED21-4433-B1A4-67C6C38B3368}"/>
                </a:ext>
              </a:extLst>
            </p:cNvPr>
            <p:cNvSpPr/>
            <p:nvPr/>
          </p:nvSpPr>
          <p:spPr>
            <a:xfrm>
              <a:off x="10399567" y="4017240"/>
              <a:ext cx="17005" cy="97056"/>
            </a:xfrm>
            <a:custGeom>
              <a:avLst/>
              <a:gdLst>
                <a:gd name="connsiteX0" fmla="*/ 0 w 17005"/>
                <a:gd name="connsiteY0" fmla="*/ 0 h 97056"/>
                <a:gd name="connsiteX1" fmla="*/ 0 w 17005"/>
                <a:gd name="connsiteY1" fmla="*/ 97057 h 97056"/>
              </a:gdLst>
              <a:ahLst/>
              <a:cxnLst>
                <a:cxn ang="0">
                  <a:pos x="connsiteX0" y="connsiteY0"/>
                </a:cxn>
                <a:cxn ang="0">
                  <a:pos x="connsiteX1" y="connsiteY1"/>
                </a:cxn>
              </a:cxnLst>
              <a:rect l="l" t="t" r="r" b="b"/>
              <a:pathLst>
                <a:path w="17005" h="97056">
                  <a:moveTo>
                    <a:pt x="0" y="0"/>
                  </a:moveTo>
                  <a:lnTo>
                    <a:pt x="0" y="97057"/>
                  </a:lnTo>
                </a:path>
              </a:pathLst>
            </a:custGeom>
            <a:ln w="28575" cap="flat">
              <a:solidFill>
                <a:srgbClr val="00876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313" name="Freeform: Shape 312">
              <a:extLst>
                <a:ext uri="{FF2B5EF4-FFF2-40B4-BE49-F238E27FC236}">
                  <a16:creationId xmlns:a16="http://schemas.microsoft.com/office/drawing/2014/main" id="{9F192B7B-2141-44F7-9A6A-5C8A5C1154C8}"/>
                </a:ext>
              </a:extLst>
            </p:cNvPr>
            <p:cNvSpPr/>
            <p:nvPr/>
          </p:nvSpPr>
          <p:spPr>
            <a:xfrm>
              <a:off x="10451605" y="4056003"/>
              <a:ext cx="17005" cy="96907"/>
            </a:xfrm>
            <a:custGeom>
              <a:avLst/>
              <a:gdLst>
                <a:gd name="connsiteX0" fmla="*/ 0 w 17005"/>
                <a:gd name="connsiteY0" fmla="*/ 0 h 96907"/>
                <a:gd name="connsiteX1" fmla="*/ 0 w 17005"/>
                <a:gd name="connsiteY1" fmla="*/ 96908 h 96907"/>
              </a:gdLst>
              <a:ahLst/>
              <a:cxnLst>
                <a:cxn ang="0">
                  <a:pos x="connsiteX0" y="connsiteY0"/>
                </a:cxn>
                <a:cxn ang="0">
                  <a:pos x="connsiteX1" y="connsiteY1"/>
                </a:cxn>
              </a:cxnLst>
              <a:rect l="l" t="t" r="r" b="b"/>
              <a:pathLst>
                <a:path w="17005" h="96907">
                  <a:moveTo>
                    <a:pt x="0" y="0"/>
                  </a:moveTo>
                  <a:lnTo>
                    <a:pt x="0" y="96908"/>
                  </a:lnTo>
                </a:path>
              </a:pathLst>
            </a:custGeom>
            <a:ln w="28575" cap="flat">
              <a:solidFill>
                <a:srgbClr val="00876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314" name="Freeform: Shape 313">
              <a:extLst>
                <a:ext uri="{FF2B5EF4-FFF2-40B4-BE49-F238E27FC236}">
                  <a16:creationId xmlns:a16="http://schemas.microsoft.com/office/drawing/2014/main" id="{436AB940-F582-4B3B-BC9B-16028FD23D13}"/>
                </a:ext>
              </a:extLst>
            </p:cNvPr>
            <p:cNvSpPr/>
            <p:nvPr/>
          </p:nvSpPr>
          <p:spPr>
            <a:xfrm>
              <a:off x="10489188" y="4056003"/>
              <a:ext cx="17005" cy="96907"/>
            </a:xfrm>
            <a:custGeom>
              <a:avLst/>
              <a:gdLst>
                <a:gd name="connsiteX0" fmla="*/ 0 w 17005"/>
                <a:gd name="connsiteY0" fmla="*/ 0 h 96907"/>
                <a:gd name="connsiteX1" fmla="*/ 0 w 17005"/>
                <a:gd name="connsiteY1" fmla="*/ 96908 h 96907"/>
              </a:gdLst>
              <a:ahLst/>
              <a:cxnLst>
                <a:cxn ang="0">
                  <a:pos x="connsiteX0" y="connsiteY0"/>
                </a:cxn>
                <a:cxn ang="0">
                  <a:pos x="connsiteX1" y="connsiteY1"/>
                </a:cxn>
              </a:cxnLst>
              <a:rect l="l" t="t" r="r" b="b"/>
              <a:pathLst>
                <a:path w="17005" h="96907">
                  <a:moveTo>
                    <a:pt x="0" y="0"/>
                  </a:moveTo>
                  <a:lnTo>
                    <a:pt x="0" y="96908"/>
                  </a:lnTo>
                </a:path>
              </a:pathLst>
            </a:custGeom>
            <a:ln w="28575" cap="flat">
              <a:solidFill>
                <a:srgbClr val="00876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315" name="Freeform: Shape 314">
              <a:extLst>
                <a:ext uri="{FF2B5EF4-FFF2-40B4-BE49-F238E27FC236}">
                  <a16:creationId xmlns:a16="http://schemas.microsoft.com/office/drawing/2014/main" id="{16FE9E19-22A0-4EFE-BEE5-AB46E8E5E2D2}"/>
                </a:ext>
              </a:extLst>
            </p:cNvPr>
            <p:cNvSpPr/>
            <p:nvPr/>
          </p:nvSpPr>
          <p:spPr>
            <a:xfrm>
              <a:off x="10538675" y="4056003"/>
              <a:ext cx="17005" cy="96907"/>
            </a:xfrm>
            <a:custGeom>
              <a:avLst/>
              <a:gdLst>
                <a:gd name="connsiteX0" fmla="*/ 0 w 17005"/>
                <a:gd name="connsiteY0" fmla="*/ 0 h 96907"/>
                <a:gd name="connsiteX1" fmla="*/ 0 w 17005"/>
                <a:gd name="connsiteY1" fmla="*/ 96908 h 96907"/>
              </a:gdLst>
              <a:ahLst/>
              <a:cxnLst>
                <a:cxn ang="0">
                  <a:pos x="connsiteX0" y="connsiteY0"/>
                </a:cxn>
                <a:cxn ang="0">
                  <a:pos x="connsiteX1" y="connsiteY1"/>
                </a:cxn>
              </a:cxnLst>
              <a:rect l="l" t="t" r="r" b="b"/>
              <a:pathLst>
                <a:path w="17005" h="96907">
                  <a:moveTo>
                    <a:pt x="0" y="0"/>
                  </a:moveTo>
                  <a:lnTo>
                    <a:pt x="0" y="96908"/>
                  </a:lnTo>
                </a:path>
              </a:pathLst>
            </a:custGeom>
            <a:ln w="28575" cap="flat">
              <a:solidFill>
                <a:srgbClr val="00876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316" name="Freeform: Shape 315">
              <a:extLst>
                <a:ext uri="{FF2B5EF4-FFF2-40B4-BE49-F238E27FC236}">
                  <a16:creationId xmlns:a16="http://schemas.microsoft.com/office/drawing/2014/main" id="{E3D17AAD-ACF9-4FFD-8791-F4F21A8AF4C1}"/>
                </a:ext>
              </a:extLst>
            </p:cNvPr>
            <p:cNvSpPr/>
            <p:nvPr/>
          </p:nvSpPr>
          <p:spPr>
            <a:xfrm>
              <a:off x="10610099" y="4056003"/>
              <a:ext cx="17005" cy="96907"/>
            </a:xfrm>
            <a:custGeom>
              <a:avLst/>
              <a:gdLst>
                <a:gd name="connsiteX0" fmla="*/ 0 w 17005"/>
                <a:gd name="connsiteY0" fmla="*/ 0 h 96907"/>
                <a:gd name="connsiteX1" fmla="*/ 0 w 17005"/>
                <a:gd name="connsiteY1" fmla="*/ 96908 h 96907"/>
              </a:gdLst>
              <a:ahLst/>
              <a:cxnLst>
                <a:cxn ang="0">
                  <a:pos x="connsiteX0" y="connsiteY0"/>
                </a:cxn>
                <a:cxn ang="0">
                  <a:pos x="connsiteX1" y="connsiteY1"/>
                </a:cxn>
              </a:cxnLst>
              <a:rect l="l" t="t" r="r" b="b"/>
              <a:pathLst>
                <a:path w="17005" h="96907">
                  <a:moveTo>
                    <a:pt x="0" y="0"/>
                  </a:moveTo>
                  <a:lnTo>
                    <a:pt x="0" y="96908"/>
                  </a:lnTo>
                </a:path>
              </a:pathLst>
            </a:custGeom>
            <a:ln w="28575" cap="flat">
              <a:solidFill>
                <a:srgbClr val="00876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317" name="Freeform: Shape 316">
              <a:extLst>
                <a:ext uri="{FF2B5EF4-FFF2-40B4-BE49-F238E27FC236}">
                  <a16:creationId xmlns:a16="http://schemas.microsoft.com/office/drawing/2014/main" id="{3B2B5858-D25D-4C42-B9E9-83C9DA2A95E9}"/>
                </a:ext>
              </a:extLst>
            </p:cNvPr>
            <p:cNvSpPr/>
            <p:nvPr/>
          </p:nvSpPr>
          <p:spPr>
            <a:xfrm>
              <a:off x="10671320" y="4056003"/>
              <a:ext cx="17005" cy="96907"/>
            </a:xfrm>
            <a:custGeom>
              <a:avLst/>
              <a:gdLst>
                <a:gd name="connsiteX0" fmla="*/ 0 w 17005"/>
                <a:gd name="connsiteY0" fmla="*/ 0 h 96907"/>
                <a:gd name="connsiteX1" fmla="*/ 0 w 17005"/>
                <a:gd name="connsiteY1" fmla="*/ 96908 h 96907"/>
              </a:gdLst>
              <a:ahLst/>
              <a:cxnLst>
                <a:cxn ang="0">
                  <a:pos x="connsiteX0" y="connsiteY0"/>
                </a:cxn>
                <a:cxn ang="0">
                  <a:pos x="connsiteX1" y="connsiteY1"/>
                </a:cxn>
              </a:cxnLst>
              <a:rect l="l" t="t" r="r" b="b"/>
              <a:pathLst>
                <a:path w="17005" h="96907">
                  <a:moveTo>
                    <a:pt x="0" y="0"/>
                  </a:moveTo>
                  <a:lnTo>
                    <a:pt x="0" y="96908"/>
                  </a:lnTo>
                </a:path>
              </a:pathLst>
            </a:custGeom>
            <a:ln w="28575" cap="flat">
              <a:solidFill>
                <a:srgbClr val="00876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318" name="Freeform: Shape 317">
              <a:extLst>
                <a:ext uri="{FF2B5EF4-FFF2-40B4-BE49-F238E27FC236}">
                  <a16:creationId xmlns:a16="http://schemas.microsoft.com/office/drawing/2014/main" id="{B67C8EA7-2E25-44DE-9D8D-ACE56FD237C3}"/>
                </a:ext>
              </a:extLst>
            </p:cNvPr>
            <p:cNvSpPr/>
            <p:nvPr/>
          </p:nvSpPr>
          <p:spPr>
            <a:xfrm>
              <a:off x="10727099" y="4056003"/>
              <a:ext cx="17005" cy="96907"/>
            </a:xfrm>
            <a:custGeom>
              <a:avLst/>
              <a:gdLst>
                <a:gd name="connsiteX0" fmla="*/ 0 w 17005"/>
                <a:gd name="connsiteY0" fmla="*/ 0 h 96907"/>
                <a:gd name="connsiteX1" fmla="*/ 0 w 17005"/>
                <a:gd name="connsiteY1" fmla="*/ 96908 h 96907"/>
              </a:gdLst>
              <a:ahLst/>
              <a:cxnLst>
                <a:cxn ang="0">
                  <a:pos x="connsiteX0" y="connsiteY0"/>
                </a:cxn>
                <a:cxn ang="0">
                  <a:pos x="connsiteX1" y="connsiteY1"/>
                </a:cxn>
              </a:cxnLst>
              <a:rect l="l" t="t" r="r" b="b"/>
              <a:pathLst>
                <a:path w="17005" h="96907">
                  <a:moveTo>
                    <a:pt x="0" y="0"/>
                  </a:moveTo>
                  <a:lnTo>
                    <a:pt x="0" y="96908"/>
                  </a:lnTo>
                </a:path>
              </a:pathLst>
            </a:custGeom>
            <a:ln w="28575" cap="flat">
              <a:solidFill>
                <a:srgbClr val="00876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319" name="Freeform: Shape 318">
              <a:extLst>
                <a:ext uri="{FF2B5EF4-FFF2-40B4-BE49-F238E27FC236}">
                  <a16:creationId xmlns:a16="http://schemas.microsoft.com/office/drawing/2014/main" id="{778C12DF-A7D4-433B-A2CD-0541360C09DC}"/>
                </a:ext>
              </a:extLst>
            </p:cNvPr>
            <p:cNvSpPr/>
            <p:nvPr/>
          </p:nvSpPr>
          <p:spPr>
            <a:xfrm>
              <a:off x="10790871" y="4056003"/>
              <a:ext cx="17005" cy="96907"/>
            </a:xfrm>
            <a:custGeom>
              <a:avLst/>
              <a:gdLst>
                <a:gd name="connsiteX0" fmla="*/ 0 w 17005"/>
                <a:gd name="connsiteY0" fmla="*/ 0 h 96907"/>
                <a:gd name="connsiteX1" fmla="*/ 0 w 17005"/>
                <a:gd name="connsiteY1" fmla="*/ 96908 h 96907"/>
              </a:gdLst>
              <a:ahLst/>
              <a:cxnLst>
                <a:cxn ang="0">
                  <a:pos x="connsiteX0" y="connsiteY0"/>
                </a:cxn>
                <a:cxn ang="0">
                  <a:pos x="connsiteX1" y="connsiteY1"/>
                </a:cxn>
              </a:cxnLst>
              <a:rect l="l" t="t" r="r" b="b"/>
              <a:pathLst>
                <a:path w="17005" h="96907">
                  <a:moveTo>
                    <a:pt x="0" y="0"/>
                  </a:moveTo>
                  <a:lnTo>
                    <a:pt x="0" y="96908"/>
                  </a:lnTo>
                </a:path>
              </a:pathLst>
            </a:custGeom>
            <a:ln w="28575" cap="flat">
              <a:solidFill>
                <a:srgbClr val="00876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320" name="Freeform: Shape 319">
              <a:extLst>
                <a:ext uri="{FF2B5EF4-FFF2-40B4-BE49-F238E27FC236}">
                  <a16:creationId xmlns:a16="http://schemas.microsoft.com/office/drawing/2014/main" id="{98548C7E-0B11-4BDE-B975-01360CA283AB}"/>
                </a:ext>
              </a:extLst>
            </p:cNvPr>
            <p:cNvSpPr/>
            <p:nvPr/>
          </p:nvSpPr>
          <p:spPr>
            <a:xfrm>
              <a:off x="10857194" y="4056003"/>
              <a:ext cx="17005" cy="96907"/>
            </a:xfrm>
            <a:custGeom>
              <a:avLst/>
              <a:gdLst>
                <a:gd name="connsiteX0" fmla="*/ 0 w 17005"/>
                <a:gd name="connsiteY0" fmla="*/ 0 h 96907"/>
                <a:gd name="connsiteX1" fmla="*/ 0 w 17005"/>
                <a:gd name="connsiteY1" fmla="*/ 96908 h 96907"/>
              </a:gdLst>
              <a:ahLst/>
              <a:cxnLst>
                <a:cxn ang="0">
                  <a:pos x="connsiteX0" y="connsiteY0"/>
                </a:cxn>
                <a:cxn ang="0">
                  <a:pos x="connsiteX1" y="connsiteY1"/>
                </a:cxn>
              </a:cxnLst>
              <a:rect l="l" t="t" r="r" b="b"/>
              <a:pathLst>
                <a:path w="17005" h="96907">
                  <a:moveTo>
                    <a:pt x="0" y="0"/>
                  </a:moveTo>
                  <a:lnTo>
                    <a:pt x="0" y="96908"/>
                  </a:lnTo>
                </a:path>
              </a:pathLst>
            </a:custGeom>
            <a:ln w="28575" cap="flat">
              <a:solidFill>
                <a:srgbClr val="00876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321" name="Freeform: Shape 320">
              <a:extLst>
                <a:ext uri="{FF2B5EF4-FFF2-40B4-BE49-F238E27FC236}">
                  <a16:creationId xmlns:a16="http://schemas.microsoft.com/office/drawing/2014/main" id="{4204B28F-5587-4186-BF1B-8BAAA72FC189}"/>
                </a:ext>
              </a:extLst>
            </p:cNvPr>
            <p:cNvSpPr/>
            <p:nvPr/>
          </p:nvSpPr>
          <p:spPr>
            <a:xfrm>
              <a:off x="10920796" y="4056003"/>
              <a:ext cx="17005" cy="96907"/>
            </a:xfrm>
            <a:custGeom>
              <a:avLst/>
              <a:gdLst>
                <a:gd name="connsiteX0" fmla="*/ 0 w 17005"/>
                <a:gd name="connsiteY0" fmla="*/ 0 h 96907"/>
                <a:gd name="connsiteX1" fmla="*/ 0 w 17005"/>
                <a:gd name="connsiteY1" fmla="*/ 96908 h 96907"/>
              </a:gdLst>
              <a:ahLst/>
              <a:cxnLst>
                <a:cxn ang="0">
                  <a:pos x="connsiteX0" y="connsiteY0"/>
                </a:cxn>
                <a:cxn ang="0">
                  <a:pos x="connsiteX1" y="connsiteY1"/>
                </a:cxn>
              </a:cxnLst>
              <a:rect l="l" t="t" r="r" b="b"/>
              <a:pathLst>
                <a:path w="17005" h="96907">
                  <a:moveTo>
                    <a:pt x="0" y="0"/>
                  </a:moveTo>
                  <a:lnTo>
                    <a:pt x="0" y="96908"/>
                  </a:lnTo>
                </a:path>
              </a:pathLst>
            </a:custGeom>
            <a:ln w="28575" cap="flat">
              <a:solidFill>
                <a:srgbClr val="00876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322" name="Freeform: Shape 321">
              <a:extLst>
                <a:ext uri="{FF2B5EF4-FFF2-40B4-BE49-F238E27FC236}">
                  <a16:creationId xmlns:a16="http://schemas.microsoft.com/office/drawing/2014/main" id="{B9983A47-3A3C-48EE-AFCB-B500FEA570FB}"/>
                </a:ext>
              </a:extLst>
            </p:cNvPr>
            <p:cNvSpPr/>
            <p:nvPr/>
          </p:nvSpPr>
          <p:spPr>
            <a:xfrm>
              <a:off x="10966371" y="4056003"/>
              <a:ext cx="17005" cy="96907"/>
            </a:xfrm>
            <a:custGeom>
              <a:avLst/>
              <a:gdLst>
                <a:gd name="connsiteX0" fmla="*/ 0 w 17005"/>
                <a:gd name="connsiteY0" fmla="*/ 0 h 96907"/>
                <a:gd name="connsiteX1" fmla="*/ 0 w 17005"/>
                <a:gd name="connsiteY1" fmla="*/ 96908 h 96907"/>
              </a:gdLst>
              <a:ahLst/>
              <a:cxnLst>
                <a:cxn ang="0">
                  <a:pos x="connsiteX0" y="connsiteY0"/>
                </a:cxn>
                <a:cxn ang="0">
                  <a:pos x="connsiteX1" y="connsiteY1"/>
                </a:cxn>
              </a:cxnLst>
              <a:rect l="l" t="t" r="r" b="b"/>
              <a:pathLst>
                <a:path w="17005" h="96907">
                  <a:moveTo>
                    <a:pt x="0" y="0"/>
                  </a:moveTo>
                  <a:lnTo>
                    <a:pt x="0" y="96908"/>
                  </a:lnTo>
                </a:path>
              </a:pathLst>
            </a:custGeom>
            <a:ln w="28575" cap="flat">
              <a:solidFill>
                <a:srgbClr val="00876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323" name="Freeform: Shape 322">
              <a:extLst>
                <a:ext uri="{FF2B5EF4-FFF2-40B4-BE49-F238E27FC236}">
                  <a16:creationId xmlns:a16="http://schemas.microsoft.com/office/drawing/2014/main" id="{003BE960-DA12-443F-86E5-5937EB3113F4}"/>
                </a:ext>
              </a:extLst>
            </p:cNvPr>
            <p:cNvSpPr/>
            <p:nvPr/>
          </p:nvSpPr>
          <p:spPr>
            <a:xfrm>
              <a:off x="11009226" y="4110719"/>
              <a:ext cx="17005" cy="96907"/>
            </a:xfrm>
            <a:custGeom>
              <a:avLst/>
              <a:gdLst>
                <a:gd name="connsiteX0" fmla="*/ 0 w 17005"/>
                <a:gd name="connsiteY0" fmla="*/ 0 h 96907"/>
                <a:gd name="connsiteX1" fmla="*/ 0 w 17005"/>
                <a:gd name="connsiteY1" fmla="*/ 96908 h 96907"/>
              </a:gdLst>
              <a:ahLst/>
              <a:cxnLst>
                <a:cxn ang="0">
                  <a:pos x="connsiteX0" y="connsiteY0"/>
                </a:cxn>
                <a:cxn ang="0">
                  <a:pos x="connsiteX1" y="connsiteY1"/>
                </a:cxn>
              </a:cxnLst>
              <a:rect l="l" t="t" r="r" b="b"/>
              <a:pathLst>
                <a:path w="17005" h="96907">
                  <a:moveTo>
                    <a:pt x="0" y="0"/>
                  </a:moveTo>
                  <a:lnTo>
                    <a:pt x="0" y="96908"/>
                  </a:lnTo>
                </a:path>
              </a:pathLst>
            </a:custGeom>
            <a:ln w="28575" cap="flat">
              <a:solidFill>
                <a:srgbClr val="00876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324" name="Freeform: Shape 323">
              <a:extLst>
                <a:ext uri="{FF2B5EF4-FFF2-40B4-BE49-F238E27FC236}">
                  <a16:creationId xmlns:a16="http://schemas.microsoft.com/office/drawing/2014/main" id="{A6C3E3F6-977D-4E77-9A27-4445CE5A5401}"/>
                </a:ext>
              </a:extLst>
            </p:cNvPr>
            <p:cNvSpPr/>
            <p:nvPr/>
          </p:nvSpPr>
          <p:spPr>
            <a:xfrm>
              <a:off x="11080650" y="4110719"/>
              <a:ext cx="17005" cy="96907"/>
            </a:xfrm>
            <a:custGeom>
              <a:avLst/>
              <a:gdLst>
                <a:gd name="connsiteX0" fmla="*/ 0 w 17005"/>
                <a:gd name="connsiteY0" fmla="*/ 0 h 96907"/>
                <a:gd name="connsiteX1" fmla="*/ 0 w 17005"/>
                <a:gd name="connsiteY1" fmla="*/ 96908 h 96907"/>
              </a:gdLst>
              <a:ahLst/>
              <a:cxnLst>
                <a:cxn ang="0">
                  <a:pos x="connsiteX0" y="connsiteY0"/>
                </a:cxn>
                <a:cxn ang="0">
                  <a:pos x="connsiteX1" y="connsiteY1"/>
                </a:cxn>
              </a:cxnLst>
              <a:rect l="l" t="t" r="r" b="b"/>
              <a:pathLst>
                <a:path w="17005" h="96907">
                  <a:moveTo>
                    <a:pt x="0" y="0"/>
                  </a:moveTo>
                  <a:lnTo>
                    <a:pt x="0" y="96908"/>
                  </a:lnTo>
                </a:path>
              </a:pathLst>
            </a:custGeom>
            <a:ln w="28575" cap="flat">
              <a:solidFill>
                <a:srgbClr val="00876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325" name="Freeform: Shape 324">
              <a:extLst>
                <a:ext uri="{FF2B5EF4-FFF2-40B4-BE49-F238E27FC236}">
                  <a16:creationId xmlns:a16="http://schemas.microsoft.com/office/drawing/2014/main" id="{74F3070A-AF22-4C45-A7CD-D2F7B10102F9}"/>
                </a:ext>
              </a:extLst>
            </p:cNvPr>
            <p:cNvSpPr/>
            <p:nvPr/>
          </p:nvSpPr>
          <p:spPr>
            <a:xfrm>
              <a:off x="11096296" y="4172143"/>
              <a:ext cx="17005" cy="97056"/>
            </a:xfrm>
            <a:custGeom>
              <a:avLst/>
              <a:gdLst>
                <a:gd name="connsiteX0" fmla="*/ 0 w 17005"/>
                <a:gd name="connsiteY0" fmla="*/ 0 h 97056"/>
                <a:gd name="connsiteX1" fmla="*/ 0 w 17005"/>
                <a:gd name="connsiteY1" fmla="*/ 97057 h 97056"/>
              </a:gdLst>
              <a:ahLst/>
              <a:cxnLst>
                <a:cxn ang="0">
                  <a:pos x="connsiteX0" y="connsiteY0"/>
                </a:cxn>
                <a:cxn ang="0">
                  <a:pos x="connsiteX1" y="connsiteY1"/>
                </a:cxn>
              </a:cxnLst>
              <a:rect l="l" t="t" r="r" b="b"/>
              <a:pathLst>
                <a:path w="17005" h="97056">
                  <a:moveTo>
                    <a:pt x="0" y="0"/>
                  </a:moveTo>
                  <a:lnTo>
                    <a:pt x="0" y="97057"/>
                  </a:lnTo>
                </a:path>
              </a:pathLst>
            </a:custGeom>
            <a:ln w="28575" cap="flat">
              <a:solidFill>
                <a:srgbClr val="00876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326" name="Freeform: Shape 325">
              <a:extLst>
                <a:ext uri="{FF2B5EF4-FFF2-40B4-BE49-F238E27FC236}">
                  <a16:creationId xmlns:a16="http://schemas.microsoft.com/office/drawing/2014/main" id="{ECBBAB3B-C11F-4AA6-9620-510AE6941D73}"/>
                </a:ext>
              </a:extLst>
            </p:cNvPr>
            <p:cNvSpPr/>
            <p:nvPr/>
          </p:nvSpPr>
          <p:spPr>
            <a:xfrm>
              <a:off x="11128777" y="4172143"/>
              <a:ext cx="17005" cy="97056"/>
            </a:xfrm>
            <a:custGeom>
              <a:avLst/>
              <a:gdLst>
                <a:gd name="connsiteX0" fmla="*/ 0 w 17005"/>
                <a:gd name="connsiteY0" fmla="*/ 0 h 97056"/>
                <a:gd name="connsiteX1" fmla="*/ 0 w 17005"/>
                <a:gd name="connsiteY1" fmla="*/ 97057 h 97056"/>
              </a:gdLst>
              <a:ahLst/>
              <a:cxnLst>
                <a:cxn ang="0">
                  <a:pos x="connsiteX0" y="connsiteY0"/>
                </a:cxn>
                <a:cxn ang="0">
                  <a:pos x="connsiteX1" y="connsiteY1"/>
                </a:cxn>
              </a:cxnLst>
              <a:rect l="l" t="t" r="r" b="b"/>
              <a:pathLst>
                <a:path w="17005" h="97056">
                  <a:moveTo>
                    <a:pt x="0" y="0"/>
                  </a:moveTo>
                  <a:lnTo>
                    <a:pt x="0" y="97057"/>
                  </a:lnTo>
                </a:path>
              </a:pathLst>
            </a:custGeom>
            <a:ln w="28575" cap="flat">
              <a:solidFill>
                <a:srgbClr val="00876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327" name="Freeform: Shape 326">
              <a:extLst>
                <a:ext uri="{FF2B5EF4-FFF2-40B4-BE49-F238E27FC236}">
                  <a16:creationId xmlns:a16="http://schemas.microsoft.com/office/drawing/2014/main" id="{DAF1798C-CDEF-4BE7-AF3D-8A4CC1F2D113}"/>
                </a:ext>
              </a:extLst>
            </p:cNvPr>
            <p:cNvSpPr/>
            <p:nvPr/>
          </p:nvSpPr>
          <p:spPr>
            <a:xfrm>
              <a:off x="11134049" y="4167671"/>
              <a:ext cx="17005" cy="96907"/>
            </a:xfrm>
            <a:custGeom>
              <a:avLst/>
              <a:gdLst>
                <a:gd name="connsiteX0" fmla="*/ 0 w 17005"/>
                <a:gd name="connsiteY0" fmla="*/ 0 h 96907"/>
                <a:gd name="connsiteX1" fmla="*/ 0 w 17005"/>
                <a:gd name="connsiteY1" fmla="*/ 96908 h 96907"/>
              </a:gdLst>
              <a:ahLst/>
              <a:cxnLst>
                <a:cxn ang="0">
                  <a:pos x="connsiteX0" y="connsiteY0"/>
                </a:cxn>
                <a:cxn ang="0">
                  <a:pos x="connsiteX1" y="connsiteY1"/>
                </a:cxn>
              </a:cxnLst>
              <a:rect l="l" t="t" r="r" b="b"/>
              <a:pathLst>
                <a:path w="17005" h="96907">
                  <a:moveTo>
                    <a:pt x="0" y="0"/>
                  </a:moveTo>
                  <a:lnTo>
                    <a:pt x="0" y="96908"/>
                  </a:lnTo>
                </a:path>
              </a:pathLst>
            </a:custGeom>
            <a:ln w="28575" cap="flat">
              <a:solidFill>
                <a:srgbClr val="00876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334" name="Freeform: Shape 333">
              <a:extLst>
                <a:ext uri="{FF2B5EF4-FFF2-40B4-BE49-F238E27FC236}">
                  <a16:creationId xmlns:a16="http://schemas.microsoft.com/office/drawing/2014/main" id="{5EB8FC09-C11D-4599-B1AC-C9746A2D29E4}"/>
                </a:ext>
              </a:extLst>
            </p:cNvPr>
            <p:cNvSpPr/>
            <p:nvPr/>
          </p:nvSpPr>
          <p:spPr>
            <a:xfrm>
              <a:off x="11163809" y="4266815"/>
              <a:ext cx="17005" cy="96907"/>
            </a:xfrm>
            <a:custGeom>
              <a:avLst/>
              <a:gdLst>
                <a:gd name="connsiteX0" fmla="*/ 0 w 17005"/>
                <a:gd name="connsiteY0" fmla="*/ 0 h 96907"/>
                <a:gd name="connsiteX1" fmla="*/ 0 w 17005"/>
                <a:gd name="connsiteY1" fmla="*/ 96908 h 96907"/>
              </a:gdLst>
              <a:ahLst/>
              <a:cxnLst>
                <a:cxn ang="0">
                  <a:pos x="connsiteX0" y="connsiteY0"/>
                </a:cxn>
                <a:cxn ang="0">
                  <a:pos x="connsiteX1" y="connsiteY1"/>
                </a:cxn>
              </a:cxnLst>
              <a:rect l="l" t="t" r="r" b="b"/>
              <a:pathLst>
                <a:path w="17005" h="96907">
                  <a:moveTo>
                    <a:pt x="0" y="0"/>
                  </a:moveTo>
                  <a:lnTo>
                    <a:pt x="0" y="96908"/>
                  </a:lnTo>
                </a:path>
              </a:pathLst>
            </a:custGeom>
            <a:ln w="28575" cap="flat">
              <a:solidFill>
                <a:srgbClr val="00876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335" name="Freeform: Shape 334">
              <a:extLst>
                <a:ext uri="{FF2B5EF4-FFF2-40B4-BE49-F238E27FC236}">
                  <a16:creationId xmlns:a16="http://schemas.microsoft.com/office/drawing/2014/main" id="{1DE6F355-D993-4FA0-835E-90254F7340DD}"/>
                </a:ext>
              </a:extLst>
            </p:cNvPr>
            <p:cNvSpPr/>
            <p:nvPr/>
          </p:nvSpPr>
          <p:spPr>
            <a:xfrm>
              <a:off x="11188637" y="4266815"/>
              <a:ext cx="17005" cy="96907"/>
            </a:xfrm>
            <a:custGeom>
              <a:avLst/>
              <a:gdLst>
                <a:gd name="connsiteX0" fmla="*/ 0 w 17005"/>
                <a:gd name="connsiteY0" fmla="*/ 0 h 96907"/>
                <a:gd name="connsiteX1" fmla="*/ 0 w 17005"/>
                <a:gd name="connsiteY1" fmla="*/ 96908 h 96907"/>
              </a:gdLst>
              <a:ahLst/>
              <a:cxnLst>
                <a:cxn ang="0">
                  <a:pos x="connsiteX0" y="connsiteY0"/>
                </a:cxn>
                <a:cxn ang="0">
                  <a:pos x="connsiteX1" y="connsiteY1"/>
                </a:cxn>
              </a:cxnLst>
              <a:rect l="l" t="t" r="r" b="b"/>
              <a:pathLst>
                <a:path w="17005" h="96907">
                  <a:moveTo>
                    <a:pt x="0" y="0"/>
                  </a:moveTo>
                  <a:lnTo>
                    <a:pt x="0" y="96908"/>
                  </a:lnTo>
                </a:path>
              </a:pathLst>
            </a:custGeom>
            <a:ln w="28575" cap="flat">
              <a:solidFill>
                <a:srgbClr val="00876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336" name="Freeform: Shape 335">
              <a:extLst>
                <a:ext uri="{FF2B5EF4-FFF2-40B4-BE49-F238E27FC236}">
                  <a16:creationId xmlns:a16="http://schemas.microsoft.com/office/drawing/2014/main" id="{67B305B5-D9F7-4BC2-BDB4-04C444E84528}"/>
                </a:ext>
              </a:extLst>
            </p:cNvPr>
            <p:cNvSpPr/>
            <p:nvPr/>
          </p:nvSpPr>
          <p:spPr>
            <a:xfrm>
              <a:off x="11263973" y="4266815"/>
              <a:ext cx="17005" cy="96907"/>
            </a:xfrm>
            <a:custGeom>
              <a:avLst/>
              <a:gdLst>
                <a:gd name="connsiteX0" fmla="*/ 0 w 17005"/>
                <a:gd name="connsiteY0" fmla="*/ 0 h 96907"/>
                <a:gd name="connsiteX1" fmla="*/ 0 w 17005"/>
                <a:gd name="connsiteY1" fmla="*/ 96908 h 96907"/>
              </a:gdLst>
              <a:ahLst/>
              <a:cxnLst>
                <a:cxn ang="0">
                  <a:pos x="connsiteX0" y="connsiteY0"/>
                </a:cxn>
                <a:cxn ang="0">
                  <a:pos x="connsiteX1" y="connsiteY1"/>
                </a:cxn>
              </a:cxnLst>
              <a:rect l="l" t="t" r="r" b="b"/>
              <a:pathLst>
                <a:path w="17005" h="96907">
                  <a:moveTo>
                    <a:pt x="0" y="0"/>
                  </a:moveTo>
                  <a:lnTo>
                    <a:pt x="0" y="96908"/>
                  </a:lnTo>
                </a:path>
              </a:pathLst>
            </a:custGeom>
            <a:ln w="28575" cap="flat">
              <a:solidFill>
                <a:srgbClr val="00876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337" name="Freeform: Shape 336">
              <a:extLst>
                <a:ext uri="{FF2B5EF4-FFF2-40B4-BE49-F238E27FC236}">
                  <a16:creationId xmlns:a16="http://schemas.microsoft.com/office/drawing/2014/main" id="{2E2EFF34-9EB6-477A-A7A9-F4610484E724}"/>
                </a:ext>
              </a:extLst>
            </p:cNvPr>
            <p:cNvSpPr/>
            <p:nvPr/>
          </p:nvSpPr>
          <p:spPr>
            <a:xfrm>
              <a:off x="11363967" y="4266815"/>
              <a:ext cx="17005" cy="96907"/>
            </a:xfrm>
            <a:custGeom>
              <a:avLst/>
              <a:gdLst>
                <a:gd name="connsiteX0" fmla="*/ 0 w 17005"/>
                <a:gd name="connsiteY0" fmla="*/ 0 h 96907"/>
                <a:gd name="connsiteX1" fmla="*/ 0 w 17005"/>
                <a:gd name="connsiteY1" fmla="*/ 96908 h 96907"/>
              </a:gdLst>
              <a:ahLst/>
              <a:cxnLst>
                <a:cxn ang="0">
                  <a:pos x="connsiteX0" y="connsiteY0"/>
                </a:cxn>
                <a:cxn ang="0">
                  <a:pos x="connsiteX1" y="connsiteY1"/>
                </a:cxn>
              </a:cxnLst>
              <a:rect l="l" t="t" r="r" b="b"/>
              <a:pathLst>
                <a:path w="17005" h="96907">
                  <a:moveTo>
                    <a:pt x="0" y="0"/>
                  </a:moveTo>
                  <a:lnTo>
                    <a:pt x="0" y="96908"/>
                  </a:lnTo>
                </a:path>
              </a:pathLst>
            </a:custGeom>
            <a:ln w="28575" cap="flat">
              <a:solidFill>
                <a:srgbClr val="00876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338" name="Freeform: Shape 337">
              <a:extLst>
                <a:ext uri="{FF2B5EF4-FFF2-40B4-BE49-F238E27FC236}">
                  <a16:creationId xmlns:a16="http://schemas.microsoft.com/office/drawing/2014/main" id="{4FB65308-1364-4DF0-9C26-3493D90B9F69}"/>
                </a:ext>
              </a:extLst>
            </p:cNvPr>
            <p:cNvSpPr/>
            <p:nvPr/>
          </p:nvSpPr>
          <p:spPr>
            <a:xfrm>
              <a:off x="11480967" y="4266815"/>
              <a:ext cx="17005" cy="96907"/>
            </a:xfrm>
            <a:custGeom>
              <a:avLst/>
              <a:gdLst>
                <a:gd name="connsiteX0" fmla="*/ 0 w 17005"/>
                <a:gd name="connsiteY0" fmla="*/ 0 h 96907"/>
                <a:gd name="connsiteX1" fmla="*/ 0 w 17005"/>
                <a:gd name="connsiteY1" fmla="*/ 96908 h 96907"/>
              </a:gdLst>
              <a:ahLst/>
              <a:cxnLst>
                <a:cxn ang="0">
                  <a:pos x="connsiteX0" y="connsiteY0"/>
                </a:cxn>
                <a:cxn ang="0">
                  <a:pos x="connsiteX1" y="connsiteY1"/>
                </a:cxn>
              </a:cxnLst>
              <a:rect l="l" t="t" r="r" b="b"/>
              <a:pathLst>
                <a:path w="17005" h="96907">
                  <a:moveTo>
                    <a:pt x="0" y="0"/>
                  </a:moveTo>
                  <a:lnTo>
                    <a:pt x="0" y="96908"/>
                  </a:lnTo>
                </a:path>
              </a:pathLst>
            </a:custGeom>
            <a:ln w="28575" cap="flat">
              <a:solidFill>
                <a:srgbClr val="00876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339" name="Freeform: Shape 338">
              <a:extLst>
                <a:ext uri="{FF2B5EF4-FFF2-40B4-BE49-F238E27FC236}">
                  <a16:creationId xmlns:a16="http://schemas.microsoft.com/office/drawing/2014/main" id="{3D0A66FF-643B-45A0-90DD-AE87F1E4B58C}"/>
                </a:ext>
              </a:extLst>
            </p:cNvPr>
            <p:cNvSpPr/>
            <p:nvPr/>
          </p:nvSpPr>
          <p:spPr>
            <a:xfrm>
              <a:off x="7241926" y="1923289"/>
              <a:ext cx="4245333" cy="2390936"/>
            </a:xfrm>
            <a:custGeom>
              <a:avLst/>
              <a:gdLst>
                <a:gd name="connsiteX0" fmla="*/ 0 w 4245333"/>
                <a:gd name="connsiteY0" fmla="*/ 0 h 2390936"/>
                <a:gd name="connsiteX1" fmla="*/ 11564 w 4245333"/>
                <a:gd name="connsiteY1" fmla="*/ 0 h 2390936"/>
                <a:gd name="connsiteX2" fmla="*/ 11564 w 4245333"/>
                <a:gd name="connsiteY2" fmla="*/ 13418 h 2390936"/>
                <a:gd name="connsiteX3" fmla="*/ 60031 w 4245333"/>
                <a:gd name="connsiteY3" fmla="*/ 13418 h 2390936"/>
                <a:gd name="connsiteX4" fmla="*/ 60031 w 4245333"/>
                <a:gd name="connsiteY4" fmla="*/ 26985 h 2390936"/>
                <a:gd name="connsiteX5" fmla="*/ 76186 w 4245333"/>
                <a:gd name="connsiteY5" fmla="*/ 26985 h 2390936"/>
                <a:gd name="connsiteX6" fmla="*/ 76186 w 4245333"/>
                <a:gd name="connsiteY6" fmla="*/ 38316 h 2390936"/>
                <a:gd name="connsiteX7" fmla="*/ 101525 w 4245333"/>
                <a:gd name="connsiteY7" fmla="*/ 38316 h 2390936"/>
                <a:gd name="connsiteX8" fmla="*/ 101525 w 4245333"/>
                <a:gd name="connsiteY8" fmla="*/ 47112 h 2390936"/>
                <a:gd name="connsiteX9" fmla="*/ 127033 w 4245333"/>
                <a:gd name="connsiteY9" fmla="*/ 47112 h 2390936"/>
                <a:gd name="connsiteX10" fmla="*/ 127033 w 4245333"/>
                <a:gd name="connsiteY10" fmla="*/ 75439 h 2390936"/>
                <a:gd name="connsiteX11" fmla="*/ 137747 w 4245333"/>
                <a:gd name="connsiteY11" fmla="*/ 75439 h 2390936"/>
                <a:gd name="connsiteX12" fmla="*/ 137747 w 4245333"/>
                <a:gd name="connsiteY12" fmla="*/ 89006 h 2390936"/>
                <a:gd name="connsiteX13" fmla="*/ 160875 w 4245333"/>
                <a:gd name="connsiteY13" fmla="*/ 89006 h 2390936"/>
                <a:gd name="connsiteX14" fmla="*/ 160875 w 4245333"/>
                <a:gd name="connsiteY14" fmla="*/ 109878 h 2390936"/>
                <a:gd name="connsiteX15" fmla="*/ 170058 w 4245333"/>
                <a:gd name="connsiteY15" fmla="*/ 109878 h 2390936"/>
                <a:gd name="connsiteX16" fmla="*/ 170058 w 4245333"/>
                <a:gd name="connsiteY16" fmla="*/ 127471 h 2390936"/>
                <a:gd name="connsiteX17" fmla="*/ 181622 w 4245333"/>
                <a:gd name="connsiteY17" fmla="*/ 127471 h 2390936"/>
                <a:gd name="connsiteX18" fmla="*/ 181622 w 4245333"/>
                <a:gd name="connsiteY18" fmla="*/ 160419 h 2390936"/>
                <a:gd name="connsiteX19" fmla="*/ 193186 w 4245333"/>
                <a:gd name="connsiteY19" fmla="*/ 160419 h 2390936"/>
                <a:gd name="connsiteX20" fmla="*/ 193186 w 4245333"/>
                <a:gd name="connsiteY20" fmla="*/ 179354 h 2390936"/>
                <a:gd name="connsiteX21" fmla="*/ 203900 w 4245333"/>
                <a:gd name="connsiteY21" fmla="*/ 179354 h 2390936"/>
                <a:gd name="connsiteX22" fmla="*/ 203900 w 4245333"/>
                <a:gd name="connsiteY22" fmla="*/ 205593 h 2390936"/>
                <a:gd name="connsiteX23" fmla="*/ 221586 w 4245333"/>
                <a:gd name="connsiteY23" fmla="*/ 205593 h 2390936"/>
                <a:gd name="connsiteX24" fmla="*/ 221586 w 4245333"/>
                <a:gd name="connsiteY24" fmla="*/ 221099 h 2390936"/>
                <a:gd name="connsiteX25" fmla="*/ 233150 w 4245333"/>
                <a:gd name="connsiteY25" fmla="*/ 221099 h 2390936"/>
                <a:gd name="connsiteX26" fmla="*/ 233150 w 4245333"/>
                <a:gd name="connsiteY26" fmla="*/ 246146 h 2390936"/>
                <a:gd name="connsiteX27" fmla="*/ 258488 w 4245333"/>
                <a:gd name="connsiteY27" fmla="*/ 246146 h 2390936"/>
                <a:gd name="connsiteX28" fmla="*/ 258488 w 4245333"/>
                <a:gd name="connsiteY28" fmla="*/ 277901 h 2390936"/>
                <a:gd name="connsiteX29" fmla="*/ 274644 w 4245333"/>
                <a:gd name="connsiteY29" fmla="*/ 277901 h 2390936"/>
                <a:gd name="connsiteX30" fmla="*/ 274644 w 4245333"/>
                <a:gd name="connsiteY30" fmla="*/ 296687 h 2390936"/>
                <a:gd name="connsiteX31" fmla="*/ 287739 w 4245333"/>
                <a:gd name="connsiteY31" fmla="*/ 296687 h 2390936"/>
                <a:gd name="connsiteX32" fmla="*/ 287739 w 4245333"/>
                <a:gd name="connsiteY32" fmla="*/ 338581 h 2390936"/>
                <a:gd name="connsiteX33" fmla="*/ 335355 w 4245333"/>
                <a:gd name="connsiteY33" fmla="*/ 338581 h 2390936"/>
                <a:gd name="connsiteX34" fmla="*/ 335355 w 4245333"/>
                <a:gd name="connsiteY34" fmla="*/ 378984 h 2390936"/>
                <a:gd name="connsiteX35" fmla="*/ 349980 w 4245333"/>
                <a:gd name="connsiteY35" fmla="*/ 378984 h 2390936"/>
                <a:gd name="connsiteX36" fmla="*/ 349980 w 4245333"/>
                <a:gd name="connsiteY36" fmla="*/ 418790 h 2390936"/>
                <a:gd name="connsiteX37" fmla="*/ 357802 w 4245333"/>
                <a:gd name="connsiteY37" fmla="*/ 418790 h 2390936"/>
                <a:gd name="connsiteX38" fmla="*/ 357802 w 4245333"/>
                <a:gd name="connsiteY38" fmla="*/ 470673 h 2390936"/>
                <a:gd name="connsiteX39" fmla="*/ 386202 w 4245333"/>
                <a:gd name="connsiteY39" fmla="*/ 470673 h 2390936"/>
                <a:gd name="connsiteX40" fmla="*/ 386202 w 4245333"/>
                <a:gd name="connsiteY40" fmla="*/ 493037 h 2390936"/>
                <a:gd name="connsiteX41" fmla="*/ 404739 w 4245333"/>
                <a:gd name="connsiteY41" fmla="*/ 493037 h 2390936"/>
                <a:gd name="connsiteX42" fmla="*/ 404739 w 4245333"/>
                <a:gd name="connsiteY42" fmla="*/ 530011 h 2390936"/>
                <a:gd name="connsiteX43" fmla="*/ 420044 w 4245333"/>
                <a:gd name="connsiteY43" fmla="*/ 530011 h 2390936"/>
                <a:gd name="connsiteX44" fmla="*/ 420044 w 4245333"/>
                <a:gd name="connsiteY44" fmla="*/ 563854 h 2390936"/>
                <a:gd name="connsiteX45" fmla="*/ 432458 w 4245333"/>
                <a:gd name="connsiteY45" fmla="*/ 563854 h 2390936"/>
                <a:gd name="connsiteX46" fmla="*/ 432458 w 4245333"/>
                <a:gd name="connsiteY46" fmla="*/ 579359 h 2390936"/>
                <a:gd name="connsiteX47" fmla="*/ 442321 w 4245333"/>
                <a:gd name="connsiteY47" fmla="*/ 579359 h 2390936"/>
                <a:gd name="connsiteX48" fmla="*/ 442321 w 4245333"/>
                <a:gd name="connsiteY48" fmla="*/ 602915 h 2390936"/>
                <a:gd name="connsiteX49" fmla="*/ 454736 w 4245333"/>
                <a:gd name="connsiteY49" fmla="*/ 602915 h 2390936"/>
                <a:gd name="connsiteX50" fmla="*/ 454736 w 4245333"/>
                <a:gd name="connsiteY50" fmla="*/ 610966 h 2390936"/>
                <a:gd name="connsiteX51" fmla="*/ 469361 w 4245333"/>
                <a:gd name="connsiteY51" fmla="*/ 610966 h 2390936"/>
                <a:gd name="connsiteX52" fmla="*/ 469361 w 4245333"/>
                <a:gd name="connsiteY52" fmla="*/ 635267 h 2390936"/>
                <a:gd name="connsiteX53" fmla="*/ 480074 w 4245333"/>
                <a:gd name="connsiteY53" fmla="*/ 635267 h 2390936"/>
                <a:gd name="connsiteX54" fmla="*/ 480074 w 4245333"/>
                <a:gd name="connsiteY54" fmla="*/ 667619 h 2390936"/>
                <a:gd name="connsiteX55" fmla="*/ 496230 w 4245333"/>
                <a:gd name="connsiteY55" fmla="*/ 667619 h 2390936"/>
                <a:gd name="connsiteX56" fmla="*/ 496230 w 4245333"/>
                <a:gd name="connsiteY56" fmla="*/ 688641 h 2390936"/>
                <a:gd name="connsiteX57" fmla="*/ 510005 w 4245333"/>
                <a:gd name="connsiteY57" fmla="*/ 688641 h 2390936"/>
                <a:gd name="connsiteX58" fmla="*/ 510005 w 4245333"/>
                <a:gd name="connsiteY58" fmla="*/ 724273 h 2390936"/>
                <a:gd name="connsiteX59" fmla="*/ 522419 w 4245333"/>
                <a:gd name="connsiteY59" fmla="*/ 724273 h 2390936"/>
                <a:gd name="connsiteX60" fmla="*/ 522419 w 4245333"/>
                <a:gd name="connsiteY60" fmla="*/ 731131 h 2390936"/>
                <a:gd name="connsiteX61" fmla="*/ 539255 w 4245333"/>
                <a:gd name="connsiteY61" fmla="*/ 731131 h 2390936"/>
                <a:gd name="connsiteX62" fmla="*/ 539255 w 4245333"/>
                <a:gd name="connsiteY62" fmla="*/ 755433 h 2390936"/>
                <a:gd name="connsiteX63" fmla="*/ 556260 w 4245333"/>
                <a:gd name="connsiteY63" fmla="*/ 755433 h 2390936"/>
                <a:gd name="connsiteX64" fmla="*/ 556260 w 4245333"/>
                <a:gd name="connsiteY64" fmla="*/ 778243 h 2390936"/>
                <a:gd name="connsiteX65" fmla="*/ 570035 w 4245333"/>
                <a:gd name="connsiteY65" fmla="*/ 778243 h 2390936"/>
                <a:gd name="connsiteX66" fmla="*/ 570035 w 4245333"/>
                <a:gd name="connsiteY66" fmla="*/ 803290 h 2390936"/>
                <a:gd name="connsiteX67" fmla="*/ 585510 w 4245333"/>
                <a:gd name="connsiteY67" fmla="*/ 803290 h 2390936"/>
                <a:gd name="connsiteX68" fmla="*/ 585510 w 4245333"/>
                <a:gd name="connsiteY68" fmla="*/ 811341 h 2390936"/>
                <a:gd name="connsiteX69" fmla="*/ 626324 w 4245333"/>
                <a:gd name="connsiteY69" fmla="*/ 811341 h 2390936"/>
                <a:gd name="connsiteX70" fmla="*/ 626324 w 4245333"/>
                <a:gd name="connsiteY70" fmla="*/ 829530 h 2390936"/>
                <a:gd name="connsiteX71" fmla="*/ 646221 w 4245333"/>
                <a:gd name="connsiteY71" fmla="*/ 829530 h 2390936"/>
                <a:gd name="connsiteX72" fmla="*/ 646221 w 4245333"/>
                <a:gd name="connsiteY72" fmla="*/ 849060 h 2390936"/>
                <a:gd name="connsiteX73" fmla="*/ 677852 w 4245333"/>
                <a:gd name="connsiteY73" fmla="*/ 849060 h 2390936"/>
                <a:gd name="connsiteX74" fmla="*/ 677852 w 4245333"/>
                <a:gd name="connsiteY74" fmla="*/ 867398 h 2390936"/>
                <a:gd name="connsiteX75" fmla="*/ 700130 w 4245333"/>
                <a:gd name="connsiteY75" fmla="*/ 867398 h 2390936"/>
                <a:gd name="connsiteX76" fmla="*/ 700130 w 4245333"/>
                <a:gd name="connsiteY76" fmla="*/ 878133 h 2390936"/>
                <a:gd name="connsiteX77" fmla="*/ 726999 w 4245333"/>
                <a:gd name="connsiteY77" fmla="*/ 878133 h 2390936"/>
                <a:gd name="connsiteX78" fmla="*/ 726999 w 4245333"/>
                <a:gd name="connsiteY78" fmla="*/ 890954 h 2390936"/>
                <a:gd name="connsiteX79" fmla="*/ 739413 w 4245333"/>
                <a:gd name="connsiteY79" fmla="*/ 890954 h 2390936"/>
                <a:gd name="connsiteX80" fmla="*/ 739413 w 4245333"/>
                <a:gd name="connsiteY80" fmla="*/ 907801 h 2390936"/>
                <a:gd name="connsiteX81" fmla="*/ 750127 w 4245333"/>
                <a:gd name="connsiteY81" fmla="*/ 907801 h 2390936"/>
                <a:gd name="connsiteX82" fmla="*/ 750127 w 4245333"/>
                <a:gd name="connsiteY82" fmla="*/ 917194 h 2390936"/>
                <a:gd name="connsiteX83" fmla="*/ 763902 w 4245333"/>
                <a:gd name="connsiteY83" fmla="*/ 917194 h 2390936"/>
                <a:gd name="connsiteX84" fmla="*/ 763902 w 4245333"/>
                <a:gd name="connsiteY84" fmla="*/ 947608 h 2390936"/>
                <a:gd name="connsiteX85" fmla="*/ 782438 w 4245333"/>
                <a:gd name="connsiteY85" fmla="*/ 947608 h 2390936"/>
                <a:gd name="connsiteX86" fmla="*/ 782438 w 4245333"/>
                <a:gd name="connsiteY86" fmla="*/ 955659 h 2390936"/>
                <a:gd name="connsiteX87" fmla="*/ 792471 w 4245333"/>
                <a:gd name="connsiteY87" fmla="*/ 955659 h 2390936"/>
                <a:gd name="connsiteX88" fmla="*/ 792471 w 4245333"/>
                <a:gd name="connsiteY88" fmla="*/ 982048 h 2390936"/>
                <a:gd name="connsiteX89" fmla="*/ 826993 w 4245333"/>
                <a:gd name="connsiteY89" fmla="*/ 982048 h 2390936"/>
                <a:gd name="connsiteX90" fmla="*/ 826993 w 4245333"/>
                <a:gd name="connsiteY90" fmla="*/ 1002175 h 2390936"/>
                <a:gd name="connsiteX91" fmla="*/ 850971 w 4245333"/>
                <a:gd name="connsiteY91" fmla="*/ 1002175 h 2390936"/>
                <a:gd name="connsiteX92" fmla="*/ 850971 w 4245333"/>
                <a:gd name="connsiteY92" fmla="*/ 1027222 h 2390936"/>
                <a:gd name="connsiteX93" fmla="*/ 864066 w 4245333"/>
                <a:gd name="connsiteY93" fmla="*/ 1027222 h 2390936"/>
                <a:gd name="connsiteX94" fmla="*/ 864066 w 4245333"/>
                <a:gd name="connsiteY94" fmla="*/ 1049436 h 2390936"/>
                <a:gd name="connsiteX95" fmla="*/ 874779 w 4245333"/>
                <a:gd name="connsiteY95" fmla="*/ 1049436 h 2390936"/>
                <a:gd name="connsiteX96" fmla="*/ 874779 w 4245333"/>
                <a:gd name="connsiteY96" fmla="*/ 1068370 h 2390936"/>
                <a:gd name="connsiteX97" fmla="*/ 893996 w 4245333"/>
                <a:gd name="connsiteY97" fmla="*/ 1068370 h 2390936"/>
                <a:gd name="connsiteX98" fmla="*/ 893996 w 4245333"/>
                <a:gd name="connsiteY98" fmla="*/ 1091926 h 2390936"/>
                <a:gd name="connsiteX99" fmla="*/ 924777 w 4245333"/>
                <a:gd name="connsiteY99" fmla="*/ 1091926 h 2390936"/>
                <a:gd name="connsiteX100" fmla="*/ 924777 w 4245333"/>
                <a:gd name="connsiteY100" fmla="*/ 1100722 h 2390936"/>
                <a:gd name="connsiteX101" fmla="*/ 987868 w 4245333"/>
                <a:gd name="connsiteY101" fmla="*/ 1100722 h 2390936"/>
                <a:gd name="connsiteX102" fmla="*/ 987868 w 4245333"/>
                <a:gd name="connsiteY102" fmla="*/ 1115482 h 2390936"/>
                <a:gd name="connsiteX103" fmla="*/ 1012527 w 4245333"/>
                <a:gd name="connsiteY103" fmla="*/ 1115482 h 2390936"/>
                <a:gd name="connsiteX104" fmla="*/ 1012527 w 4245333"/>
                <a:gd name="connsiteY104" fmla="*/ 1130987 h 2390936"/>
                <a:gd name="connsiteX105" fmla="*/ 1030893 w 4245333"/>
                <a:gd name="connsiteY105" fmla="*/ 1130987 h 2390936"/>
                <a:gd name="connsiteX106" fmla="*/ 1030893 w 4245333"/>
                <a:gd name="connsiteY106" fmla="*/ 1140529 h 2390936"/>
                <a:gd name="connsiteX107" fmla="*/ 1054021 w 4245333"/>
                <a:gd name="connsiteY107" fmla="*/ 1140529 h 2390936"/>
                <a:gd name="connsiteX108" fmla="*/ 1054021 w 4245333"/>
                <a:gd name="connsiteY108" fmla="*/ 1153351 h 2390936"/>
                <a:gd name="connsiteX109" fmla="*/ 1069496 w 4245333"/>
                <a:gd name="connsiteY109" fmla="*/ 1153351 h 2390936"/>
                <a:gd name="connsiteX110" fmla="*/ 1069496 w 4245333"/>
                <a:gd name="connsiteY110" fmla="*/ 1164085 h 2390936"/>
                <a:gd name="connsiteX111" fmla="*/ 1084801 w 4245333"/>
                <a:gd name="connsiteY111" fmla="*/ 1164085 h 2390936"/>
                <a:gd name="connsiteX112" fmla="*/ 1084801 w 4245333"/>
                <a:gd name="connsiteY112" fmla="*/ 1174968 h 2390936"/>
                <a:gd name="connsiteX113" fmla="*/ 1114051 w 4245333"/>
                <a:gd name="connsiteY113" fmla="*/ 1174968 h 2390936"/>
                <a:gd name="connsiteX114" fmla="*/ 1114051 w 4245333"/>
                <a:gd name="connsiteY114" fmla="*/ 1195095 h 2390936"/>
                <a:gd name="connsiteX115" fmla="*/ 1127826 w 4245333"/>
                <a:gd name="connsiteY115" fmla="*/ 1195095 h 2390936"/>
                <a:gd name="connsiteX116" fmla="*/ 1127826 w 4245333"/>
                <a:gd name="connsiteY116" fmla="*/ 1207917 h 2390936"/>
                <a:gd name="connsiteX117" fmla="*/ 1140240 w 4245333"/>
                <a:gd name="connsiteY117" fmla="*/ 1207917 h 2390936"/>
                <a:gd name="connsiteX118" fmla="*/ 1140240 w 4245333"/>
                <a:gd name="connsiteY118" fmla="*/ 1218055 h 2390936"/>
                <a:gd name="connsiteX119" fmla="*/ 1174762 w 4245333"/>
                <a:gd name="connsiteY119" fmla="*/ 1218055 h 2390936"/>
                <a:gd name="connsiteX120" fmla="*/ 1174762 w 4245333"/>
                <a:gd name="connsiteY120" fmla="*/ 1245040 h 2390936"/>
                <a:gd name="connsiteX121" fmla="*/ 1184796 w 4245333"/>
                <a:gd name="connsiteY121" fmla="*/ 1245040 h 2390936"/>
                <a:gd name="connsiteX122" fmla="*/ 1213195 w 4245333"/>
                <a:gd name="connsiteY122" fmla="*/ 1245040 h 2390936"/>
                <a:gd name="connsiteX123" fmla="*/ 1213195 w 4245333"/>
                <a:gd name="connsiteY123" fmla="*/ 1258607 h 2390936"/>
                <a:gd name="connsiteX124" fmla="*/ 1243296 w 4245333"/>
                <a:gd name="connsiteY124" fmla="*/ 1258607 h 2390936"/>
                <a:gd name="connsiteX125" fmla="*/ 1243296 w 4245333"/>
                <a:gd name="connsiteY125" fmla="*/ 1269938 h 2390936"/>
                <a:gd name="connsiteX126" fmla="*/ 1277137 w 4245333"/>
                <a:gd name="connsiteY126" fmla="*/ 1269938 h 2390936"/>
                <a:gd name="connsiteX127" fmla="*/ 1277137 w 4245333"/>
                <a:gd name="connsiteY127" fmla="*/ 1287530 h 2390936"/>
                <a:gd name="connsiteX128" fmla="*/ 1291762 w 4245333"/>
                <a:gd name="connsiteY128" fmla="*/ 1287530 h 2390936"/>
                <a:gd name="connsiteX129" fmla="*/ 1291762 w 4245333"/>
                <a:gd name="connsiteY129" fmla="*/ 1299010 h 2390936"/>
                <a:gd name="connsiteX130" fmla="*/ 1310129 w 4245333"/>
                <a:gd name="connsiteY130" fmla="*/ 1299010 h 2390936"/>
                <a:gd name="connsiteX131" fmla="*/ 1310129 w 4245333"/>
                <a:gd name="connsiteY131" fmla="*/ 1328679 h 2390936"/>
                <a:gd name="connsiteX132" fmla="*/ 1322543 w 4245333"/>
                <a:gd name="connsiteY132" fmla="*/ 1328679 h 2390936"/>
                <a:gd name="connsiteX133" fmla="*/ 1322543 w 4245333"/>
                <a:gd name="connsiteY133" fmla="*/ 1340904 h 2390936"/>
                <a:gd name="connsiteX134" fmla="*/ 1346351 w 4245333"/>
                <a:gd name="connsiteY134" fmla="*/ 1340904 h 2390936"/>
                <a:gd name="connsiteX135" fmla="*/ 1346351 w 4245333"/>
                <a:gd name="connsiteY135" fmla="*/ 1353577 h 2390936"/>
                <a:gd name="connsiteX136" fmla="*/ 1375601 w 4245333"/>
                <a:gd name="connsiteY136" fmla="*/ 1353577 h 2390936"/>
                <a:gd name="connsiteX137" fmla="*/ 1375601 w 4245333"/>
                <a:gd name="connsiteY137" fmla="*/ 1363715 h 2390936"/>
                <a:gd name="connsiteX138" fmla="*/ 1405531 w 4245333"/>
                <a:gd name="connsiteY138" fmla="*/ 1363715 h 2390936"/>
                <a:gd name="connsiteX139" fmla="*/ 1405531 w 4245333"/>
                <a:gd name="connsiteY139" fmla="*/ 1377878 h 2390936"/>
                <a:gd name="connsiteX140" fmla="*/ 1441073 w 4245333"/>
                <a:gd name="connsiteY140" fmla="*/ 1377878 h 2390936"/>
                <a:gd name="connsiteX141" fmla="*/ 1441073 w 4245333"/>
                <a:gd name="connsiteY141" fmla="*/ 1388762 h 2390936"/>
                <a:gd name="connsiteX142" fmla="*/ 1466412 w 4245333"/>
                <a:gd name="connsiteY142" fmla="*/ 1388762 h 2390936"/>
                <a:gd name="connsiteX143" fmla="*/ 1466412 w 4245333"/>
                <a:gd name="connsiteY143" fmla="*/ 1403522 h 2390936"/>
                <a:gd name="connsiteX144" fmla="*/ 1494812 w 4245333"/>
                <a:gd name="connsiteY144" fmla="*/ 1403522 h 2390936"/>
                <a:gd name="connsiteX145" fmla="*/ 1494812 w 4245333"/>
                <a:gd name="connsiteY145" fmla="*/ 1415747 h 2390936"/>
                <a:gd name="connsiteX146" fmla="*/ 1519470 w 4245333"/>
                <a:gd name="connsiteY146" fmla="*/ 1415747 h 2390936"/>
                <a:gd name="connsiteX147" fmla="*/ 1519470 w 4245333"/>
                <a:gd name="connsiteY147" fmla="*/ 1427823 h 2390936"/>
                <a:gd name="connsiteX148" fmla="*/ 1535626 w 4245333"/>
                <a:gd name="connsiteY148" fmla="*/ 1427823 h 2390936"/>
                <a:gd name="connsiteX149" fmla="*/ 1535626 w 4245333"/>
                <a:gd name="connsiteY149" fmla="*/ 1446757 h 2390936"/>
                <a:gd name="connsiteX150" fmla="*/ 1546339 w 4245333"/>
                <a:gd name="connsiteY150" fmla="*/ 1446757 h 2390936"/>
                <a:gd name="connsiteX151" fmla="*/ 1546339 w 4245333"/>
                <a:gd name="connsiteY151" fmla="*/ 1455553 h 2390936"/>
                <a:gd name="connsiteX152" fmla="*/ 1558754 w 4245333"/>
                <a:gd name="connsiteY152" fmla="*/ 1455553 h 2390936"/>
                <a:gd name="connsiteX153" fmla="*/ 1558754 w 4245333"/>
                <a:gd name="connsiteY153" fmla="*/ 1469717 h 2390936"/>
                <a:gd name="connsiteX154" fmla="*/ 1589534 w 4245333"/>
                <a:gd name="connsiteY154" fmla="*/ 1469717 h 2390936"/>
                <a:gd name="connsiteX155" fmla="*/ 1589534 w 4245333"/>
                <a:gd name="connsiteY155" fmla="*/ 1483135 h 2390936"/>
                <a:gd name="connsiteX156" fmla="*/ 1605690 w 4245333"/>
                <a:gd name="connsiteY156" fmla="*/ 1483135 h 2390936"/>
                <a:gd name="connsiteX157" fmla="*/ 1605690 w 4245333"/>
                <a:gd name="connsiteY157" fmla="*/ 1496702 h 2390936"/>
                <a:gd name="connsiteX158" fmla="*/ 1644123 w 4245333"/>
                <a:gd name="connsiteY158" fmla="*/ 1496702 h 2390936"/>
                <a:gd name="connsiteX159" fmla="*/ 1644123 w 4245333"/>
                <a:gd name="connsiteY159" fmla="*/ 1510120 h 2390936"/>
                <a:gd name="connsiteX160" fmla="*/ 1668781 w 4245333"/>
                <a:gd name="connsiteY160" fmla="*/ 1510120 h 2390936"/>
                <a:gd name="connsiteX161" fmla="*/ 1668781 w 4245333"/>
                <a:gd name="connsiteY161" fmla="*/ 1547243 h 2390936"/>
                <a:gd name="connsiteX162" fmla="*/ 1688678 w 4245333"/>
                <a:gd name="connsiteY162" fmla="*/ 1547243 h 2390936"/>
                <a:gd name="connsiteX163" fmla="*/ 1688678 w 4245333"/>
                <a:gd name="connsiteY163" fmla="*/ 1561406 h 2390936"/>
                <a:gd name="connsiteX164" fmla="*/ 1715717 w 4245333"/>
                <a:gd name="connsiteY164" fmla="*/ 1561406 h 2390936"/>
                <a:gd name="connsiteX165" fmla="*/ 1715717 w 4245333"/>
                <a:gd name="connsiteY165" fmla="*/ 1575570 h 2390936"/>
                <a:gd name="connsiteX166" fmla="*/ 1758742 w 4245333"/>
                <a:gd name="connsiteY166" fmla="*/ 1575570 h 2390936"/>
                <a:gd name="connsiteX167" fmla="*/ 1758742 w 4245333"/>
                <a:gd name="connsiteY167" fmla="*/ 1592417 h 2390936"/>
                <a:gd name="connsiteX168" fmla="*/ 1773367 w 4245333"/>
                <a:gd name="connsiteY168" fmla="*/ 1592417 h 2390936"/>
                <a:gd name="connsiteX169" fmla="*/ 1773367 w 4245333"/>
                <a:gd name="connsiteY169" fmla="*/ 1603897 h 2390936"/>
                <a:gd name="connsiteX170" fmla="*/ 1787142 w 4245333"/>
                <a:gd name="connsiteY170" fmla="*/ 1603897 h 2390936"/>
                <a:gd name="connsiteX171" fmla="*/ 1787142 w 4245333"/>
                <a:gd name="connsiteY171" fmla="*/ 1614035 h 2390936"/>
                <a:gd name="connsiteX172" fmla="*/ 1844962 w 4245333"/>
                <a:gd name="connsiteY172" fmla="*/ 1614035 h 2390936"/>
                <a:gd name="connsiteX173" fmla="*/ 1844962 w 4245333"/>
                <a:gd name="connsiteY173" fmla="*/ 1628795 h 2390936"/>
                <a:gd name="connsiteX174" fmla="*/ 1877953 w 4245333"/>
                <a:gd name="connsiteY174" fmla="*/ 1628795 h 2390936"/>
                <a:gd name="connsiteX175" fmla="*/ 1877953 w 4245333"/>
                <a:gd name="connsiteY175" fmla="*/ 1642362 h 2390936"/>
                <a:gd name="connsiteX176" fmla="*/ 1898700 w 4245333"/>
                <a:gd name="connsiteY176" fmla="*/ 1642362 h 2390936"/>
                <a:gd name="connsiteX177" fmla="*/ 1898700 w 4245333"/>
                <a:gd name="connsiteY177" fmla="*/ 1657867 h 2390936"/>
                <a:gd name="connsiteX178" fmla="*/ 1925739 w 4245333"/>
                <a:gd name="connsiteY178" fmla="*/ 1657867 h 2390936"/>
                <a:gd name="connsiteX179" fmla="*/ 1925739 w 4245333"/>
                <a:gd name="connsiteY179" fmla="*/ 1665918 h 2390936"/>
                <a:gd name="connsiteX180" fmla="*/ 1964173 w 4245333"/>
                <a:gd name="connsiteY180" fmla="*/ 1665918 h 2390936"/>
                <a:gd name="connsiteX181" fmla="*/ 1964173 w 4245333"/>
                <a:gd name="connsiteY181" fmla="*/ 1692903 h 2390936"/>
                <a:gd name="connsiteX182" fmla="*/ 2109572 w 4245333"/>
                <a:gd name="connsiteY182" fmla="*/ 1692903 h 2390936"/>
                <a:gd name="connsiteX183" fmla="*/ 2109572 w 4245333"/>
                <a:gd name="connsiteY183" fmla="*/ 1709153 h 2390936"/>
                <a:gd name="connsiteX184" fmla="*/ 2171133 w 4245333"/>
                <a:gd name="connsiteY184" fmla="*/ 1709153 h 2390936"/>
                <a:gd name="connsiteX185" fmla="*/ 2171133 w 4245333"/>
                <a:gd name="connsiteY185" fmla="*/ 1721975 h 2390936"/>
                <a:gd name="connsiteX186" fmla="*/ 2191200 w 4245333"/>
                <a:gd name="connsiteY186" fmla="*/ 1721975 h 2390936"/>
                <a:gd name="connsiteX187" fmla="*/ 2191200 w 4245333"/>
                <a:gd name="connsiteY187" fmla="*/ 1731964 h 2390936"/>
                <a:gd name="connsiteX188" fmla="*/ 2209566 w 4245333"/>
                <a:gd name="connsiteY188" fmla="*/ 1731964 h 2390936"/>
                <a:gd name="connsiteX189" fmla="*/ 2209566 w 4245333"/>
                <a:gd name="connsiteY189" fmla="*/ 1742848 h 2390936"/>
                <a:gd name="connsiteX190" fmla="*/ 2241197 w 4245333"/>
                <a:gd name="connsiteY190" fmla="*/ 1742848 h 2390936"/>
                <a:gd name="connsiteX191" fmla="*/ 2241197 w 4245333"/>
                <a:gd name="connsiteY191" fmla="*/ 1767149 h 2390936"/>
                <a:gd name="connsiteX192" fmla="*/ 2261094 w 4245333"/>
                <a:gd name="connsiteY192" fmla="*/ 1767149 h 2390936"/>
                <a:gd name="connsiteX193" fmla="*/ 2261094 w 4245333"/>
                <a:gd name="connsiteY193" fmla="*/ 1796818 h 2390936"/>
                <a:gd name="connsiteX194" fmla="*/ 2314152 w 4245333"/>
                <a:gd name="connsiteY194" fmla="*/ 1796818 h 2390936"/>
                <a:gd name="connsiteX195" fmla="*/ 2314152 w 4245333"/>
                <a:gd name="connsiteY195" fmla="*/ 1814261 h 2390936"/>
                <a:gd name="connsiteX196" fmla="*/ 2328777 w 4245333"/>
                <a:gd name="connsiteY196" fmla="*/ 1814261 h 2390936"/>
                <a:gd name="connsiteX197" fmla="*/ 2328777 w 4245333"/>
                <a:gd name="connsiteY197" fmla="*/ 1829766 h 2390936"/>
                <a:gd name="connsiteX198" fmla="*/ 2390338 w 4245333"/>
                <a:gd name="connsiteY198" fmla="*/ 1829766 h 2390936"/>
                <a:gd name="connsiteX199" fmla="*/ 2390338 w 4245333"/>
                <a:gd name="connsiteY199" fmla="*/ 1846762 h 2390936"/>
                <a:gd name="connsiteX200" fmla="*/ 2436594 w 4245333"/>
                <a:gd name="connsiteY200" fmla="*/ 1846762 h 2390936"/>
                <a:gd name="connsiteX201" fmla="*/ 2436594 w 4245333"/>
                <a:gd name="connsiteY201" fmla="*/ 1861522 h 2390936"/>
                <a:gd name="connsiteX202" fmla="*/ 2465844 w 4245333"/>
                <a:gd name="connsiteY202" fmla="*/ 1861522 h 2390936"/>
                <a:gd name="connsiteX203" fmla="*/ 2465844 w 4245333"/>
                <a:gd name="connsiteY203" fmla="*/ 1892533 h 2390936"/>
                <a:gd name="connsiteX204" fmla="*/ 2518052 w 4245333"/>
                <a:gd name="connsiteY204" fmla="*/ 1892533 h 2390936"/>
                <a:gd name="connsiteX205" fmla="*/ 2518052 w 4245333"/>
                <a:gd name="connsiteY205" fmla="*/ 1906100 h 2390936"/>
                <a:gd name="connsiteX206" fmla="*/ 2554275 w 4245333"/>
                <a:gd name="connsiteY206" fmla="*/ 1906100 h 2390936"/>
                <a:gd name="connsiteX207" fmla="*/ 2554275 w 4245333"/>
                <a:gd name="connsiteY207" fmla="*/ 1916238 h 2390936"/>
                <a:gd name="connsiteX208" fmla="*/ 2592028 w 4245333"/>
                <a:gd name="connsiteY208" fmla="*/ 1916238 h 2390936"/>
                <a:gd name="connsiteX209" fmla="*/ 2592028 w 4245333"/>
                <a:gd name="connsiteY209" fmla="*/ 1937110 h 2390936"/>
                <a:gd name="connsiteX210" fmla="*/ 2671275 w 4245333"/>
                <a:gd name="connsiteY210" fmla="*/ 1937110 h 2390936"/>
                <a:gd name="connsiteX211" fmla="*/ 2671275 w 4245333"/>
                <a:gd name="connsiteY211" fmla="*/ 1948590 h 2390936"/>
                <a:gd name="connsiteX212" fmla="*/ 2688110 w 4245333"/>
                <a:gd name="connsiteY212" fmla="*/ 1948590 h 2390936"/>
                <a:gd name="connsiteX213" fmla="*/ 2688110 w 4245333"/>
                <a:gd name="connsiteY213" fmla="*/ 1960070 h 2390936"/>
                <a:gd name="connsiteX214" fmla="*/ 2736577 w 4245333"/>
                <a:gd name="connsiteY214" fmla="*/ 1960070 h 2390936"/>
                <a:gd name="connsiteX215" fmla="*/ 2736577 w 4245333"/>
                <a:gd name="connsiteY215" fmla="*/ 1980197 h 2390936"/>
                <a:gd name="connsiteX216" fmla="*/ 2768208 w 4245333"/>
                <a:gd name="connsiteY216" fmla="*/ 1980197 h 2390936"/>
                <a:gd name="connsiteX217" fmla="*/ 2768208 w 4245333"/>
                <a:gd name="connsiteY217" fmla="*/ 1995702 h 2390936"/>
                <a:gd name="connsiteX218" fmla="*/ 2810382 w 4245333"/>
                <a:gd name="connsiteY218" fmla="*/ 1995702 h 2390936"/>
                <a:gd name="connsiteX219" fmla="*/ 2810382 w 4245333"/>
                <a:gd name="connsiteY219" fmla="*/ 2017320 h 2390936"/>
                <a:gd name="connsiteX220" fmla="*/ 2848135 w 4245333"/>
                <a:gd name="connsiteY220" fmla="*/ 2017320 h 2390936"/>
                <a:gd name="connsiteX221" fmla="*/ 2848135 w 4245333"/>
                <a:gd name="connsiteY221" fmla="*/ 2038192 h 2390936"/>
                <a:gd name="connsiteX222" fmla="*/ 2888949 w 4245333"/>
                <a:gd name="connsiteY222" fmla="*/ 2038192 h 2390936"/>
                <a:gd name="connsiteX223" fmla="*/ 2888949 w 4245333"/>
                <a:gd name="connsiteY223" fmla="*/ 2055039 h 2390936"/>
                <a:gd name="connsiteX224" fmla="*/ 2905785 w 4245333"/>
                <a:gd name="connsiteY224" fmla="*/ 2055039 h 2390936"/>
                <a:gd name="connsiteX225" fmla="*/ 2905785 w 4245333"/>
                <a:gd name="connsiteY225" fmla="*/ 2073974 h 2390936"/>
                <a:gd name="connsiteX226" fmla="*/ 2928233 w 4245333"/>
                <a:gd name="connsiteY226" fmla="*/ 2073974 h 2390936"/>
                <a:gd name="connsiteX227" fmla="*/ 2928233 w 4245333"/>
                <a:gd name="connsiteY227" fmla="*/ 2086199 h 2390936"/>
                <a:gd name="connsiteX228" fmla="*/ 3060538 w 4245333"/>
                <a:gd name="connsiteY228" fmla="*/ 2086199 h 2390936"/>
                <a:gd name="connsiteX229" fmla="*/ 3060538 w 4245333"/>
                <a:gd name="connsiteY229" fmla="*/ 2100959 h 2390936"/>
                <a:gd name="connsiteX230" fmla="*/ 3093529 w 4245333"/>
                <a:gd name="connsiteY230" fmla="*/ 2100959 h 2390936"/>
                <a:gd name="connsiteX231" fmla="*/ 3093529 w 4245333"/>
                <a:gd name="connsiteY231" fmla="*/ 2114526 h 2390936"/>
                <a:gd name="connsiteX232" fmla="*/ 3132813 w 4245333"/>
                <a:gd name="connsiteY232" fmla="*/ 2114526 h 2390936"/>
                <a:gd name="connsiteX233" fmla="*/ 3132813 w 4245333"/>
                <a:gd name="connsiteY233" fmla="*/ 2142853 h 2390936"/>
                <a:gd name="connsiteX234" fmla="*/ 3196585 w 4245333"/>
                <a:gd name="connsiteY234" fmla="*/ 2142853 h 2390936"/>
                <a:gd name="connsiteX235" fmla="*/ 3196585 w 4245333"/>
                <a:gd name="connsiteY235" fmla="*/ 2163725 h 2390936"/>
                <a:gd name="connsiteX236" fmla="*/ 3205938 w 4245333"/>
                <a:gd name="connsiteY236" fmla="*/ 2163725 h 2390936"/>
                <a:gd name="connsiteX237" fmla="*/ 3205938 w 4245333"/>
                <a:gd name="connsiteY237" fmla="*/ 2181914 h 2390936"/>
                <a:gd name="connsiteX238" fmla="*/ 3582957 w 4245333"/>
                <a:gd name="connsiteY238" fmla="*/ 2181914 h 2390936"/>
                <a:gd name="connsiteX239" fmla="*/ 3758287 w 4245333"/>
                <a:gd name="connsiteY239" fmla="*/ 2181914 h 2390936"/>
                <a:gd name="connsiteX240" fmla="*/ 3758287 w 4245333"/>
                <a:gd name="connsiteY240" fmla="*/ 2233797 h 2390936"/>
                <a:gd name="connsiteX241" fmla="*/ 3844506 w 4245333"/>
                <a:gd name="connsiteY241" fmla="*/ 2233797 h 2390936"/>
                <a:gd name="connsiteX242" fmla="*/ 3844506 w 4245333"/>
                <a:gd name="connsiteY242" fmla="*/ 2291792 h 2390936"/>
                <a:gd name="connsiteX243" fmla="*/ 3907598 w 4245333"/>
                <a:gd name="connsiteY243" fmla="*/ 2291792 h 2390936"/>
                <a:gd name="connsiteX244" fmla="*/ 3907598 w 4245333"/>
                <a:gd name="connsiteY244" fmla="*/ 2390936 h 2390936"/>
                <a:gd name="connsiteX245" fmla="*/ 4226117 w 4245333"/>
                <a:gd name="connsiteY245" fmla="*/ 2390936 h 2390936"/>
                <a:gd name="connsiteX246" fmla="*/ 4245333 w 4245333"/>
                <a:gd name="connsiteY246" fmla="*/ 2390936 h 2390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Lst>
              <a:rect l="l" t="t" r="r" b="b"/>
              <a:pathLst>
                <a:path w="4245333" h="2390936">
                  <a:moveTo>
                    <a:pt x="0" y="0"/>
                  </a:moveTo>
                  <a:lnTo>
                    <a:pt x="11564" y="0"/>
                  </a:lnTo>
                  <a:lnTo>
                    <a:pt x="11564" y="13418"/>
                  </a:lnTo>
                  <a:lnTo>
                    <a:pt x="60031" y="13418"/>
                  </a:lnTo>
                  <a:lnTo>
                    <a:pt x="60031" y="26985"/>
                  </a:lnTo>
                  <a:lnTo>
                    <a:pt x="76186" y="26985"/>
                  </a:lnTo>
                  <a:lnTo>
                    <a:pt x="76186" y="38316"/>
                  </a:lnTo>
                  <a:lnTo>
                    <a:pt x="101525" y="38316"/>
                  </a:lnTo>
                  <a:lnTo>
                    <a:pt x="101525" y="47112"/>
                  </a:lnTo>
                  <a:lnTo>
                    <a:pt x="127033" y="47112"/>
                  </a:lnTo>
                  <a:lnTo>
                    <a:pt x="127033" y="75439"/>
                  </a:lnTo>
                  <a:lnTo>
                    <a:pt x="137747" y="75439"/>
                  </a:lnTo>
                  <a:lnTo>
                    <a:pt x="137747" y="89006"/>
                  </a:lnTo>
                  <a:lnTo>
                    <a:pt x="160875" y="89006"/>
                  </a:lnTo>
                  <a:lnTo>
                    <a:pt x="160875" y="109878"/>
                  </a:lnTo>
                  <a:lnTo>
                    <a:pt x="170058" y="109878"/>
                  </a:lnTo>
                  <a:lnTo>
                    <a:pt x="170058" y="127471"/>
                  </a:lnTo>
                  <a:lnTo>
                    <a:pt x="181622" y="127471"/>
                  </a:lnTo>
                  <a:lnTo>
                    <a:pt x="181622" y="160419"/>
                  </a:lnTo>
                  <a:lnTo>
                    <a:pt x="193186" y="160419"/>
                  </a:lnTo>
                  <a:lnTo>
                    <a:pt x="193186" y="179354"/>
                  </a:lnTo>
                  <a:lnTo>
                    <a:pt x="203900" y="179354"/>
                  </a:lnTo>
                  <a:lnTo>
                    <a:pt x="203900" y="205593"/>
                  </a:lnTo>
                  <a:lnTo>
                    <a:pt x="221586" y="205593"/>
                  </a:lnTo>
                  <a:lnTo>
                    <a:pt x="221586" y="221099"/>
                  </a:lnTo>
                  <a:lnTo>
                    <a:pt x="233150" y="221099"/>
                  </a:lnTo>
                  <a:lnTo>
                    <a:pt x="233150" y="246146"/>
                  </a:lnTo>
                  <a:lnTo>
                    <a:pt x="258488" y="246146"/>
                  </a:lnTo>
                  <a:lnTo>
                    <a:pt x="258488" y="277901"/>
                  </a:lnTo>
                  <a:lnTo>
                    <a:pt x="274644" y="277901"/>
                  </a:lnTo>
                  <a:lnTo>
                    <a:pt x="274644" y="296687"/>
                  </a:lnTo>
                  <a:lnTo>
                    <a:pt x="287739" y="296687"/>
                  </a:lnTo>
                  <a:lnTo>
                    <a:pt x="287739" y="338581"/>
                  </a:lnTo>
                  <a:lnTo>
                    <a:pt x="335355" y="338581"/>
                  </a:lnTo>
                  <a:lnTo>
                    <a:pt x="335355" y="378984"/>
                  </a:lnTo>
                  <a:lnTo>
                    <a:pt x="349980" y="378984"/>
                  </a:lnTo>
                  <a:lnTo>
                    <a:pt x="349980" y="418790"/>
                  </a:lnTo>
                  <a:lnTo>
                    <a:pt x="357802" y="418790"/>
                  </a:lnTo>
                  <a:lnTo>
                    <a:pt x="357802" y="470673"/>
                  </a:lnTo>
                  <a:lnTo>
                    <a:pt x="386202" y="470673"/>
                  </a:lnTo>
                  <a:lnTo>
                    <a:pt x="386202" y="493037"/>
                  </a:lnTo>
                  <a:lnTo>
                    <a:pt x="404739" y="493037"/>
                  </a:lnTo>
                  <a:lnTo>
                    <a:pt x="404739" y="530011"/>
                  </a:lnTo>
                  <a:lnTo>
                    <a:pt x="420044" y="530011"/>
                  </a:lnTo>
                  <a:lnTo>
                    <a:pt x="420044" y="563854"/>
                  </a:lnTo>
                  <a:lnTo>
                    <a:pt x="432458" y="563854"/>
                  </a:lnTo>
                  <a:lnTo>
                    <a:pt x="432458" y="579359"/>
                  </a:lnTo>
                  <a:lnTo>
                    <a:pt x="442321" y="579359"/>
                  </a:lnTo>
                  <a:lnTo>
                    <a:pt x="442321" y="602915"/>
                  </a:lnTo>
                  <a:lnTo>
                    <a:pt x="454736" y="602915"/>
                  </a:lnTo>
                  <a:lnTo>
                    <a:pt x="454736" y="610966"/>
                  </a:lnTo>
                  <a:lnTo>
                    <a:pt x="469361" y="610966"/>
                  </a:lnTo>
                  <a:lnTo>
                    <a:pt x="469361" y="635267"/>
                  </a:lnTo>
                  <a:lnTo>
                    <a:pt x="480074" y="635267"/>
                  </a:lnTo>
                  <a:lnTo>
                    <a:pt x="480074" y="667619"/>
                  </a:lnTo>
                  <a:lnTo>
                    <a:pt x="496230" y="667619"/>
                  </a:lnTo>
                  <a:lnTo>
                    <a:pt x="496230" y="688641"/>
                  </a:lnTo>
                  <a:lnTo>
                    <a:pt x="510005" y="688641"/>
                  </a:lnTo>
                  <a:lnTo>
                    <a:pt x="510005" y="724273"/>
                  </a:lnTo>
                  <a:lnTo>
                    <a:pt x="522419" y="724273"/>
                  </a:lnTo>
                  <a:lnTo>
                    <a:pt x="522419" y="731131"/>
                  </a:lnTo>
                  <a:lnTo>
                    <a:pt x="539255" y="731131"/>
                  </a:lnTo>
                  <a:lnTo>
                    <a:pt x="539255" y="755433"/>
                  </a:lnTo>
                  <a:lnTo>
                    <a:pt x="556260" y="755433"/>
                  </a:lnTo>
                  <a:lnTo>
                    <a:pt x="556260" y="778243"/>
                  </a:lnTo>
                  <a:lnTo>
                    <a:pt x="570035" y="778243"/>
                  </a:lnTo>
                  <a:lnTo>
                    <a:pt x="570035" y="803290"/>
                  </a:lnTo>
                  <a:lnTo>
                    <a:pt x="585510" y="803290"/>
                  </a:lnTo>
                  <a:lnTo>
                    <a:pt x="585510" y="811341"/>
                  </a:lnTo>
                  <a:lnTo>
                    <a:pt x="626324" y="811341"/>
                  </a:lnTo>
                  <a:lnTo>
                    <a:pt x="626324" y="829530"/>
                  </a:lnTo>
                  <a:lnTo>
                    <a:pt x="646221" y="829530"/>
                  </a:lnTo>
                  <a:lnTo>
                    <a:pt x="646221" y="849060"/>
                  </a:lnTo>
                  <a:lnTo>
                    <a:pt x="677852" y="849060"/>
                  </a:lnTo>
                  <a:lnTo>
                    <a:pt x="677852" y="867398"/>
                  </a:lnTo>
                  <a:lnTo>
                    <a:pt x="700130" y="867398"/>
                  </a:lnTo>
                  <a:lnTo>
                    <a:pt x="700130" y="878133"/>
                  </a:lnTo>
                  <a:lnTo>
                    <a:pt x="726999" y="878133"/>
                  </a:lnTo>
                  <a:lnTo>
                    <a:pt x="726999" y="890954"/>
                  </a:lnTo>
                  <a:lnTo>
                    <a:pt x="739413" y="890954"/>
                  </a:lnTo>
                  <a:lnTo>
                    <a:pt x="739413" y="907801"/>
                  </a:lnTo>
                  <a:lnTo>
                    <a:pt x="750127" y="907801"/>
                  </a:lnTo>
                  <a:lnTo>
                    <a:pt x="750127" y="917194"/>
                  </a:lnTo>
                  <a:lnTo>
                    <a:pt x="763902" y="917194"/>
                  </a:lnTo>
                  <a:lnTo>
                    <a:pt x="763902" y="947608"/>
                  </a:lnTo>
                  <a:lnTo>
                    <a:pt x="782438" y="947608"/>
                  </a:lnTo>
                  <a:lnTo>
                    <a:pt x="782438" y="955659"/>
                  </a:lnTo>
                  <a:lnTo>
                    <a:pt x="792471" y="955659"/>
                  </a:lnTo>
                  <a:lnTo>
                    <a:pt x="792471" y="982048"/>
                  </a:lnTo>
                  <a:lnTo>
                    <a:pt x="826993" y="982048"/>
                  </a:lnTo>
                  <a:lnTo>
                    <a:pt x="826993" y="1002175"/>
                  </a:lnTo>
                  <a:lnTo>
                    <a:pt x="850971" y="1002175"/>
                  </a:lnTo>
                  <a:lnTo>
                    <a:pt x="850971" y="1027222"/>
                  </a:lnTo>
                  <a:lnTo>
                    <a:pt x="864066" y="1027222"/>
                  </a:lnTo>
                  <a:lnTo>
                    <a:pt x="864066" y="1049436"/>
                  </a:lnTo>
                  <a:lnTo>
                    <a:pt x="874779" y="1049436"/>
                  </a:lnTo>
                  <a:lnTo>
                    <a:pt x="874779" y="1068370"/>
                  </a:lnTo>
                  <a:lnTo>
                    <a:pt x="893996" y="1068370"/>
                  </a:lnTo>
                  <a:lnTo>
                    <a:pt x="893996" y="1091926"/>
                  </a:lnTo>
                  <a:lnTo>
                    <a:pt x="924777" y="1091926"/>
                  </a:lnTo>
                  <a:lnTo>
                    <a:pt x="924777" y="1100722"/>
                  </a:lnTo>
                  <a:lnTo>
                    <a:pt x="987868" y="1100722"/>
                  </a:lnTo>
                  <a:lnTo>
                    <a:pt x="987868" y="1115482"/>
                  </a:lnTo>
                  <a:lnTo>
                    <a:pt x="1012527" y="1115482"/>
                  </a:lnTo>
                  <a:lnTo>
                    <a:pt x="1012527" y="1130987"/>
                  </a:lnTo>
                  <a:lnTo>
                    <a:pt x="1030893" y="1130987"/>
                  </a:lnTo>
                  <a:lnTo>
                    <a:pt x="1030893" y="1140529"/>
                  </a:lnTo>
                  <a:lnTo>
                    <a:pt x="1054021" y="1140529"/>
                  </a:lnTo>
                  <a:lnTo>
                    <a:pt x="1054021" y="1153351"/>
                  </a:lnTo>
                  <a:lnTo>
                    <a:pt x="1069496" y="1153351"/>
                  </a:lnTo>
                  <a:lnTo>
                    <a:pt x="1069496" y="1164085"/>
                  </a:lnTo>
                  <a:lnTo>
                    <a:pt x="1084801" y="1164085"/>
                  </a:lnTo>
                  <a:lnTo>
                    <a:pt x="1084801" y="1174968"/>
                  </a:lnTo>
                  <a:lnTo>
                    <a:pt x="1114051" y="1174968"/>
                  </a:lnTo>
                  <a:lnTo>
                    <a:pt x="1114051" y="1195095"/>
                  </a:lnTo>
                  <a:lnTo>
                    <a:pt x="1127826" y="1195095"/>
                  </a:lnTo>
                  <a:lnTo>
                    <a:pt x="1127826" y="1207917"/>
                  </a:lnTo>
                  <a:lnTo>
                    <a:pt x="1140240" y="1207917"/>
                  </a:lnTo>
                  <a:lnTo>
                    <a:pt x="1140240" y="1218055"/>
                  </a:lnTo>
                  <a:lnTo>
                    <a:pt x="1174762" y="1218055"/>
                  </a:lnTo>
                  <a:lnTo>
                    <a:pt x="1174762" y="1245040"/>
                  </a:lnTo>
                  <a:lnTo>
                    <a:pt x="1184796" y="1245040"/>
                  </a:lnTo>
                  <a:lnTo>
                    <a:pt x="1213195" y="1245040"/>
                  </a:lnTo>
                  <a:lnTo>
                    <a:pt x="1213195" y="1258607"/>
                  </a:lnTo>
                  <a:lnTo>
                    <a:pt x="1243296" y="1258607"/>
                  </a:lnTo>
                  <a:lnTo>
                    <a:pt x="1243296" y="1269938"/>
                  </a:lnTo>
                  <a:lnTo>
                    <a:pt x="1277137" y="1269938"/>
                  </a:lnTo>
                  <a:lnTo>
                    <a:pt x="1277137" y="1287530"/>
                  </a:lnTo>
                  <a:lnTo>
                    <a:pt x="1291762" y="1287530"/>
                  </a:lnTo>
                  <a:lnTo>
                    <a:pt x="1291762" y="1299010"/>
                  </a:lnTo>
                  <a:lnTo>
                    <a:pt x="1310129" y="1299010"/>
                  </a:lnTo>
                  <a:lnTo>
                    <a:pt x="1310129" y="1328679"/>
                  </a:lnTo>
                  <a:lnTo>
                    <a:pt x="1322543" y="1328679"/>
                  </a:lnTo>
                  <a:lnTo>
                    <a:pt x="1322543" y="1340904"/>
                  </a:lnTo>
                  <a:lnTo>
                    <a:pt x="1346351" y="1340904"/>
                  </a:lnTo>
                  <a:lnTo>
                    <a:pt x="1346351" y="1353577"/>
                  </a:lnTo>
                  <a:lnTo>
                    <a:pt x="1375601" y="1353577"/>
                  </a:lnTo>
                  <a:lnTo>
                    <a:pt x="1375601" y="1363715"/>
                  </a:lnTo>
                  <a:lnTo>
                    <a:pt x="1405531" y="1363715"/>
                  </a:lnTo>
                  <a:lnTo>
                    <a:pt x="1405531" y="1377878"/>
                  </a:lnTo>
                  <a:lnTo>
                    <a:pt x="1441073" y="1377878"/>
                  </a:lnTo>
                  <a:lnTo>
                    <a:pt x="1441073" y="1388762"/>
                  </a:lnTo>
                  <a:lnTo>
                    <a:pt x="1466412" y="1388762"/>
                  </a:lnTo>
                  <a:lnTo>
                    <a:pt x="1466412" y="1403522"/>
                  </a:lnTo>
                  <a:lnTo>
                    <a:pt x="1494812" y="1403522"/>
                  </a:lnTo>
                  <a:lnTo>
                    <a:pt x="1494812" y="1415747"/>
                  </a:lnTo>
                  <a:lnTo>
                    <a:pt x="1519470" y="1415747"/>
                  </a:lnTo>
                  <a:lnTo>
                    <a:pt x="1519470" y="1427823"/>
                  </a:lnTo>
                  <a:lnTo>
                    <a:pt x="1535626" y="1427823"/>
                  </a:lnTo>
                  <a:lnTo>
                    <a:pt x="1535626" y="1446757"/>
                  </a:lnTo>
                  <a:lnTo>
                    <a:pt x="1546339" y="1446757"/>
                  </a:lnTo>
                  <a:lnTo>
                    <a:pt x="1546339" y="1455553"/>
                  </a:lnTo>
                  <a:lnTo>
                    <a:pt x="1558754" y="1455553"/>
                  </a:lnTo>
                  <a:lnTo>
                    <a:pt x="1558754" y="1469717"/>
                  </a:lnTo>
                  <a:lnTo>
                    <a:pt x="1589534" y="1469717"/>
                  </a:lnTo>
                  <a:lnTo>
                    <a:pt x="1589534" y="1483135"/>
                  </a:lnTo>
                  <a:lnTo>
                    <a:pt x="1605690" y="1483135"/>
                  </a:lnTo>
                  <a:lnTo>
                    <a:pt x="1605690" y="1496702"/>
                  </a:lnTo>
                  <a:lnTo>
                    <a:pt x="1644123" y="1496702"/>
                  </a:lnTo>
                  <a:lnTo>
                    <a:pt x="1644123" y="1510120"/>
                  </a:lnTo>
                  <a:lnTo>
                    <a:pt x="1668781" y="1510120"/>
                  </a:lnTo>
                  <a:lnTo>
                    <a:pt x="1668781" y="1547243"/>
                  </a:lnTo>
                  <a:lnTo>
                    <a:pt x="1688678" y="1547243"/>
                  </a:lnTo>
                  <a:lnTo>
                    <a:pt x="1688678" y="1561406"/>
                  </a:lnTo>
                  <a:lnTo>
                    <a:pt x="1715717" y="1561406"/>
                  </a:lnTo>
                  <a:lnTo>
                    <a:pt x="1715717" y="1575570"/>
                  </a:lnTo>
                  <a:lnTo>
                    <a:pt x="1758742" y="1575570"/>
                  </a:lnTo>
                  <a:lnTo>
                    <a:pt x="1758742" y="1592417"/>
                  </a:lnTo>
                  <a:lnTo>
                    <a:pt x="1773367" y="1592417"/>
                  </a:lnTo>
                  <a:lnTo>
                    <a:pt x="1773367" y="1603897"/>
                  </a:lnTo>
                  <a:lnTo>
                    <a:pt x="1787142" y="1603897"/>
                  </a:lnTo>
                  <a:lnTo>
                    <a:pt x="1787142" y="1614035"/>
                  </a:lnTo>
                  <a:lnTo>
                    <a:pt x="1844962" y="1614035"/>
                  </a:lnTo>
                  <a:lnTo>
                    <a:pt x="1844962" y="1628795"/>
                  </a:lnTo>
                  <a:lnTo>
                    <a:pt x="1877953" y="1628795"/>
                  </a:lnTo>
                  <a:lnTo>
                    <a:pt x="1877953" y="1642362"/>
                  </a:lnTo>
                  <a:lnTo>
                    <a:pt x="1898700" y="1642362"/>
                  </a:lnTo>
                  <a:lnTo>
                    <a:pt x="1898700" y="1657867"/>
                  </a:lnTo>
                  <a:lnTo>
                    <a:pt x="1925739" y="1657867"/>
                  </a:lnTo>
                  <a:lnTo>
                    <a:pt x="1925739" y="1665918"/>
                  </a:lnTo>
                  <a:lnTo>
                    <a:pt x="1964173" y="1665918"/>
                  </a:lnTo>
                  <a:lnTo>
                    <a:pt x="1964173" y="1692903"/>
                  </a:lnTo>
                  <a:lnTo>
                    <a:pt x="2109572" y="1692903"/>
                  </a:lnTo>
                  <a:lnTo>
                    <a:pt x="2109572" y="1709153"/>
                  </a:lnTo>
                  <a:lnTo>
                    <a:pt x="2171133" y="1709153"/>
                  </a:lnTo>
                  <a:lnTo>
                    <a:pt x="2171133" y="1721975"/>
                  </a:lnTo>
                  <a:lnTo>
                    <a:pt x="2191200" y="1721975"/>
                  </a:lnTo>
                  <a:lnTo>
                    <a:pt x="2191200" y="1731964"/>
                  </a:lnTo>
                  <a:lnTo>
                    <a:pt x="2209566" y="1731964"/>
                  </a:lnTo>
                  <a:lnTo>
                    <a:pt x="2209566" y="1742848"/>
                  </a:lnTo>
                  <a:lnTo>
                    <a:pt x="2241197" y="1742848"/>
                  </a:lnTo>
                  <a:lnTo>
                    <a:pt x="2241197" y="1767149"/>
                  </a:lnTo>
                  <a:lnTo>
                    <a:pt x="2261094" y="1767149"/>
                  </a:lnTo>
                  <a:lnTo>
                    <a:pt x="2261094" y="1796818"/>
                  </a:lnTo>
                  <a:lnTo>
                    <a:pt x="2314152" y="1796818"/>
                  </a:lnTo>
                  <a:lnTo>
                    <a:pt x="2314152" y="1814261"/>
                  </a:lnTo>
                  <a:lnTo>
                    <a:pt x="2328777" y="1814261"/>
                  </a:lnTo>
                  <a:lnTo>
                    <a:pt x="2328777" y="1829766"/>
                  </a:lnTo>
                  <a:lnTo>
                    <a:pt x="2390338" y="1829766"/>
                  </a:lnTo>
                  <a:lnTo>
                    <a:pt x="2390338" y="1846762"/>
                  </a:lnTo>
                  <a:lnTo>
                    <a:pt x="2436594" y="1846762"/>
                  </a:lnTo>
                  <a:lnTo>
                    <a:pt x="2436594" y="1861522"/>
                  </a:lnTo>
                  <a:lnTo>
                    <a:pt x="2465844" y="1861522"/>
                  </a:lnTo>
                  <a:lnTo>
                    <a:pt x="2465844" y="1892533"/>
                  </a:lnTo>
                  <a:lnTo>
                    <a:pt x="2518052" y="1892533"/>
                  </a:lnTo>
                  <a:lnTo>
                    <a:pt x="2518052" y="1906100"/>
                  </a:lnTo>
                  <a:lnTo>
                    <a:pt x="2554275" y="1906100"/>
                  </a:lnTo>
                  <a:lnTo>
                    <a:pt x="2554275" y="1916238"/>
                  </a:lnTo>
                  <a:lnTo>
                    <a:pt x="2592028" y="1916238"/>
                  </a:lnTo>
                  <a:lnTo>
                    <a:pt x="2592028" y="1937110"/>
                  </a:lnTo>
                  <a:lnTo>
                    <a:pt x="2671275" y="1937110"/>
                  </a:lnTo>
                  <a:lnTo>
                    <a:pt x="2671275" y="1948590"/>
                  </a:lnTo>
                  <a:lnTo>
                    <a:pt x="2688110" y="1948590"/>
                  </a:lnTo>
                  <a:lnTo>
                    <a:pt x="2688110" y="1960070"/>
                  </a:lnTo>
                  <a:lnTo>
                    <a:pt x="2736577" y="1960070"/>
                  </a:lnTo>
                  <a:lnTo>
                    <a:pt x="2736577" y="1980197"/>
                  </a:lnTo>
                  <a:lnTo>
                    <a:pt x="2768208" y="1980197"/>
                  </a:lnTo>
                  <a:lnTo>
                    <a:pt x="2768208" y="1995702"/>
                  </a:lnTo>
                  <a:lnTo>
                    <a:pt x="2810382" y="1995702"/>
                  </a:lnTo>
                  <a:lnTo>
                    <a:pt x="2810382" y="2017320"/>
                  </a:lnTo>
                  <a:lnTo>
                    <a:pt x="2848135" y="2017320"/>
                  </a:lnTo>
                  <a:lnTo>
                    <a:pt x="2848135" y="2038192"/>
                  </a:lnTo>
                  <a:lnTo>
                    <a:pt x="2888949" y="2038192"/>
                  </a:lnTo>
                  <a:lnTo>
                    <a:pt x="2888949" y="2055039"/>
                  </a:lnTo>
                  <a:lnTo>
                    <a:pt x="2905785" y="2055039"/>
                  </a:lnTo>
                  <a:lnTo>
                    <a:pt x="2905785" y="2073974"/>
                  </a:lnTo>
                  <a:lnTo>
                    <a:pt x="2928233" y="2073974"/>
                  </a:lnTo>
                  <a:lnTo>
                    <a:pt x="2928233" y="2086199"/>
                  </a:lnTo>
                  <a:lnTo>
                    <a:pt x="3060538" y="2086199"/>
                  </a:lnTo>
                  <a:lnTo>
                    <a:pt x="3060538" y="2100959"/>
                  </a:lnTo>
                  <a:lnTo>
                    <a:pt x="3093529" y="2100959"/>
                  </a:lnTo>
                  <a:lnTo>
                    <a:pt x="3093529" y="2114526"/>
                  </a:lnTo>
                  <a:lnTo>
                    <a:pt x="3132813" y="2114526"/>
                  </a:lnTo>
                  <a:lnTo>
                    <a:pt x="3132813" y="2142853"/>
                  </a:lnTo>
                  <a:lnTo>
                    <a:pt x="3196585" y="2142853"/>
                  </a:lnTo>
                  <a:lnTo>
                    <a:pt x="3196585" y="2163725"/>
                  </a:lnTo>
                  <a:lnTo>
                    <a:pt x="3205938" y="2163725"/>
                  </a:lnTo>
                  <a:lnTo>
                    <a:pt x="3205938" y="2181914"/>
                  </a:lnTo>
                  <a:lnTo>
                    <a:pt x="3582957" y="2181914"/>
                  </a:lnTo>
                  <a:lnTo>
                    <a:pt x="3758287" y="2181914"/>
                  </a:lnTo>
                  <a:lnTo>
                    <a:pt x="3758287" y="2233797"/>
                  </a:lnTo>
                  <a:lnTo>
                    <a:pt x="3844506" y="2233797"/>
                  </a:lnTo>
                  <a:lnTo>
                    <a:pt x="3844506" y="2291792"/>
                  </a:lnTo>
                  <a:lnTo>
                    <a:pt x="3907598" y="2291792"/>
                  </a:lnTo>
                  <a:lnTo>
                    <a:pt x="3907598" y="2390936"/>
                  </a:lnTo>
                  <a:lnTo>
                    <a:pt x="4226117" y="2390936"/>
                  </a:lnTo>
                  <a:lnTo>
                    <a:pt x="4245333" y="2390936"/>
                  </a:lnTo>
                </a:path>
              </a:pathLst>
            </a:custGeom>
            <a:noFill/>
            <a:ln w="28575" cap="flat">
              <a:solidFill>
                <a:srgbClr val="00876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grpSp>
      <p:sp>
        <p:nvSpPr>
          <p:cNvPr id="244" name="Freeform: Shape 243">
            <a:extLst>
              <a:ext uri="{FF2B5EF4-FFF2-40B4-BE49-F238E27FC236}">
                <a16:creationId xmlns:a16="http://schemas.microsoft.com/office/drawing/2014/main" id="{098B7207-86AE-47A6-9983-5580F30E3CC4}"/>
              </a:ext>
            </a:extLst>
          </p:cNvPr>
          <p:cNvSpPr/>
          <p:nvPr/>
        </p:nvSpPr>
        <p:spPr>
          <a:xfrm>
            <a:off x="3599257" y="2901007"/>
            <a:ext cx="40143" cy="97056"/>
          </a:xfrm>
          <a:custGeom>
            <a:avLst/>
            <a:gdLst>
              <a:gd name="connsiteX0" fmla="*/ 0 w 17005"/>
              <a:gd name="connsiteY0" fmla="*/ 0 h 97056"/>
              <a:gd name="connsiteX1" fmla="*/ 0 w 17005"/>
              <a:gd name="connsiteY1" fmla="*/ 97057 h 97056"/>
            </a:gdLst>
            <a:ahLst/>
            <a:cxnLst>
              <a:cxn ang="0">
                <a:pos x="connsiteX0" y="connsiteY0"/>
              </a:cxn>
              <a:cxn ang="0">
                <a:pos x="connsiteX1" y="connsiteY1"/>
              </a:cxn>
            </a:cxnLst>
            <a:rect l="l" t="t" r="r" b="b"/>
            <a:pathLst>
              <a:path w="17005" h="97056">
                <a:moveTo>
                  <a:pt x="0" y="0"/>
                </a:moveTo>
                <a:lnTo>
                  <a:pt x="0" y="97057"/>
                </a:lnTo>
              </a:path>
            </a:pathLst>
          </a:custGeom>
          <a:ln w="28575"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245" name="Freeform: Shape 244">
            <a:extLst>
              <a:ext uri="{FF2B5EF4-FFF2-40B4-BE49-F238E27FC236}">
                <a16:creationId xmlns:a16="http://schemas.microsoft.com/office/drawing/2014/main" id="{3EE00E3B-8DF5-43F6-92E4-CC66C8C2A4A0}"/>
              </a:ext>
            </a:extLst>
          </p:cNvPr>
          <p:cNvSpPr/>
          <p:nvPr/>
        </p:nvSpPr>
        <p:spPr>
          <a:xfrm>
            <a:off x="3266857" y="2758180"/>
            <a:ext cx="40143" cy="96907"/>
          </a:xfrm>
          <a:custGeom>
            <a:avLst/>
            <a:gdLst>
              <a:gd name="connsiteX0" fmla="*/ 0 w 17005"/>
              <a:gd name="connsiteY0" fmla="*/ 0 h 96907"/>
              <a:gd name="connsiteX1" fmla="*/ 0 w 17005"/>
              <a:gd name="connsiteY1" fmla="*/ 96908 h 96907"/>
            </a:gdLst>
            <a:ahLst/>
            <a:cxnLst>
              <a:cxn ang="0">
                <a:pos x="connsiteX0" y="connsiteY0"/>
              </a:cxn>
              <a:cxn ang="0">
                <a:pos x="connsiteX1" y="connsiteY1"/>
              </a:cxn>
            </a:cxnLst>
            <a:rect l="l" t="t" r="r" b="b"/>
            <a:pathLst>
              <a:path w="17005" h="96907">
                <a:moveTo>
                  <a:pt x="0" y="0"/>
                </a:moveTo>
                <a:lnTo>
                  <a:pt x="0" y="96908"/>
                </a:lnTo>
              </a:path>
            </a:pathLst>
          </a:custGeom>
          <a:ln w="28575"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246" name="Freeform: Shape 245">
            <a:extLst>
              <a:ext uri="{FF2B5EF4-FFF2-40B4-BE49-F238E27FC236}">
                <a16:creationId xmlns:a16="http://schemas.microsoft.com/office/drawing/2014/main" id="{CBE808CA-631D-46FE-917B-1C41102E36C7}"/>
              </a:ext>
            </a:extLst>
          </p:cNvPr>
          <p:cNvSpPr/>
          <p:nvPr/>
        </p:nvSpPr>
        <p:spPr>
          <a:xfrm>
            <a:off x="2184156" y="2229065"/>
            <a:ext cx="40143" cy="96907"/>
          </a:xfrm>
          <a:custGeom>
            <a:avLst/>
            <a:gdLst>
              <a:gd name="connsiteX0" fmla="*/ 0 w 17005"/>
              <a:gd name="connsiteY0" fmla="*/ 0 h 96907"/>
              <a:gd name="connsiteX1" fmla="*/ 0 w 17005"/>
              <a:gd name="connsiteY1" fmla="*/ 96908 h 96907"/>
            </a:gdLst>
            <a:ahLst/>
            <a:cxnLst>
              <a:cxn ang="0">
                <a:pos x="connsiteX0" y="connsiteY0"/>
              </a:cxn>
              <a:cxn ang="0">
                <a:pos x="connsiteX1" y="connsiteY1"/>
              </a:cxn>
            </a:cxnLst>
            <a:rect l="l" t="t" r="r" b="b"/>
            <a:pathLst>
              <a:path w="17005" h="96907">
                <a:moveTo>
                  <a:pt x="0" y="0"/>
                </a:moveTo>
                <a:lnTo>
                  <a:pt x="0" y="96908"/>
                </a:lnTo>
              </a:path>
            </a:pathLst>
          </a:custGeom>
          <a:ln w="28575"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247" name="Freeform: Shape 246">
            <a:extLst>
              <a:ext uri="{FF2B5EF4-FFF2-40B4-BE49-F238E27FC236}">
                <a16:creationId xmlns:a16="http://schemas.microsoft.com/office/drawing/2014/main" id="{79473946-E616-4E01-AF4D-670EED6E0E5E}"/>
              </a:ext>
            </a:extLst>
          </p:cNvPr>
          <p:cNvSpPr/>
          <p:nvPr/>
        </p:nvSpPr>
        <p:spPr>
          <a:xfrm>
            <a:off x="1732931" y="1955636"/>
            <a:ext cx="40143" cy="97056"/>
          </a:xfrm>
          <a:custGeom>
            <a:avLst/>
            <a:gdLst>
              <a:gd name="connsiteX0" fmla="*/ 0 w 17005"/>
              <a:gd name="connsiteY0" fmla="*/ 0 h 97056"/>
              <a:gd name="connsiteX1" fmla="*/ 0 w 17005"/>
              <a:gd name="connsiteY1" fmla="*/ 97057 h 97056"/>
            </a:gdLst>
            <a:ahLst/>
            <a:cxnLst>
              <a:cxn ang="0">
                <a:pos x="connsiteX0" y="connsiteY0"/>
              </a:cxn>
              <a:cxn ang="0">
                <a:pos x="connsiteX1" y="connsiteY1"/>
              </a:cxn>
            </a:cxnLst>
            <a:rect l="l" t="t" r="r" b="b"/>
            <a:pathLst>
              <a:path w="17005" h="97056">
                <a:moveTo>
                  <a:pt x="0" y="0"/>
                </a:moveTo>
                <a:lnTo>
                  <a:pt x="0" y="97057"/>
                </a:lnTo>
              </a:path>
            </a:pathLst>
          </a:custGeom>
          <a:ln w="28575"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248" name="Freeform: Shape 247">
            <a:extLst>
              <a:ext uri="{FF2B5EF4-FFF2-40B4-BE49-F238E27FC236}">
                <a16:creationId xmlns:a16="http://schemas.microsoft.com/office/drawing/2014/main" id="{72972875-9CBC-4A9F-A67C-324AB8C4C05E}"/>
              </a:ext>
            </a:extLst>
          </p:cNvPr>
          <p:cNvSpPr/>
          <p:nvPr/>
        </p:nvSpPr>
        <p:spPr>
          <a:xfrm>
            <a:off x="1732931" y="1955636"/>
            <a:ext cx="40143" cy="97056"/>
          </a:xfrm>
          <a:custGeom>
            <a:avLst/>
            <a:gdLst>
              <a:gd name="connsiteX0" fmla="*/ 0 w 17005"/>
              <a:gd name="connsiteY0" fmla="*/ 0 h 97056"/>
              <a:gd name="connsiteX1" fmla="*/ 0 w 17005"/>
              <a:gd name="connsiteY1" fmla="*/ 97057 h 97056"/>
            </a:gdLst>
            <a:ahLst/>
            <a:cxnLst>
              <a:cxn ang="0">
                <a:pos x="connsiteX0" y="connsiteY0"/>
              </a:cxn>
              <a:cxn ang="0">
                <a:pos x="connsiteX1" y="connsiteY1"/>
              </a:cxn>
            </a:cxnLst>
            <a:rect l="l" t="t" r="r" b="b"/>
            <a:pathLst>
              <a:path w="17005" h="97056">
                <a:moveTo>
                  <a:pt x="0" y="0"/>
                </a:moveTo>
                <a:lnTo>
                  <a:pt x="0" y="97057"/>
                </a:lnTo>
              </a:path>
            </a:pathLst>
          </a:custGeom>
          <a:ln w="28575"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249" name="Freeform: Shape 248">
            <a:extLst>
              <a:ext uri="{FF2B5EF4-FFF2-40B4-BE49-F238E27FC236}">
                <a16:creationId xmlns:a16="http://schemas.microsoft.com/office/drawing/2014/main" id="{063E3922-E0B6-4C8E-BAB4-22B03EF9BB62}"/>
              </a:ext>
            </a:extLst>
          </p:cNvPr>
          <p:cNvSpPr/>
          <p:nvPr/>
        </p:nvSpPr>
        <p:spPr>
          <a:xfrm>
            <a:off x="1414584" y="1772257"/>
            <a:ext cx="40143" cy="96907"/>
          </a:xfrm>
          <a:custGeom>
            <a:avLst/>
            <a:gdLst>
              <a:gd name="connsiteX0" fmla="*/ 0 w 17005"/>
              <a:gd name="connsiteY0" fmla="*/ 0 h 96907"/>
              <a:gd name="connsiteX1" fmla="*/ 0 w 17005"/>
              <a:gd name="connsiteY1" fmla="*/ 96908 h 96907"/>
            </a:gdLst>
            <a:ahLst/>
            <a:cxnLst>
              <a:cxn ang="0">
                <a:pos x="connsiteX0" y="connsiteY0"/>
              </a:cxn>
              <a:cxn ang="0">
                <a:pos x="connsiteX1" y="connsiteY1"/>
              </a:cxn>
            </a:cxnLst>
            <a:rect l="l" t="t" r="r" b="b"/>
            <a:pathLst>
              <a:path w="17005" h="96907">
                <a:moveTo>
                  <a:pt x="0" y="0"/>
                </a:moveTo>
                <a:lnTo>
                  <a:pt x="0" y="96908"/>
                </a:lnTo>
              </a:path>
            </a:pathLst>
          </a:custGeom>
          <a:ln w="28575"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250" name="Freeform: Shape 249">
            <a:extLst>
              <a:ext uri="{FF2B5EF4-FFF2-40B4-BE49-F238E27FC236}">
                <a16:creationId xmlns:a16="http://schemas.microsoft.com/office/drawing/2014/main" id="{5BB42BFA-9088-44B9-938F-5B3C8284F766}"/>
              </a:ext>
            </a:extLst>
          </p:cNvPr>
          <p:cNvSpPr/>
          <p:nvPr/>
        </p:nvSpPr>
        <p:spPr>
          <a:xfrm>
            <a:off x="3789542" y="2971526"/>
            <a:ext cx="40143" cy="97056"/>
          </a:xfrm>
          <a:custGeom>
            <a:avLst/>
            <a:gdLst>
              <a:gd name="connsiteX0" fmla="*/ 0 w 17005"/>
              <a:gd name="connsiteY0" fmla="*/ 0 h 97056"/>
              <a:gd name="connsiteX1" fmla="*/ 0 w 17005"/>
              <a:gd name="connsiteY1" fmla="*/ 97057 h 97056"/>
            </a:gdLst>
            <a:ahLst/>
            <a:cxnLst>
              <a:cxn ang="0">
                <a:pos x="connsiteX0" y="connsiteY0"/>
              </a:cxn>
              <a:cxn ang="0">
                <a:pos x="connsiteX1" y="connsiteY1"/>
              </a:cxn>
            </a:cxnLst>
            <a:rect l="l" t="t" r="r" b="b"/>
            <a:pathLst>
              <a:path w="17005" h="97056">
                <a:moveTo>
                  <a:pt x="0" y="0"/>
                </a:moveTo>
                <a:lnTo>
                  <a:pt x="0" y="97057"/>
                </a:lnTo>
              </a:path>
            </a:pathLst>
          </a:custGeom>
          <a:ln w="28575"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251" name="Freeform: Shape 250">
            <a:extLst>
              <a:ext uri="{FF2B5EF4-FFF2-40B4-BE49-F238E27FC236}">
                <a16:creationId xmlns:a16="http://schemas.microsoft.com/office/drawing/2014/main" id="{4E999788-F992-4175-AB75-D9A2A00824AA}"/>
              </a:ext>
            </a:extLst>
          </p:cNvPr>
          <p:cNvSpPr/>
          <p:nvPr/>
        </p:nvSpPr>
        <p:spPr>
          <a:xfrm>
            <a:off x="4368829" y="3216777"/>
            <a:ext cx="40143" cy="96907"/>
          </a:xfrm>
          <a:custGeom>
            <a:avLst/>
            <a:gdLst>
              <a:gd name="connsiteX0" fmla="*/ 0 w 17005"/>
              <a:gd name="connsiteY0" fmla="*/ 0 h 96907"/>
              <a:gd name="connsiteX1" fmla="*/ 0 w 17005"/>
              <a:gd name="connsiteY1" fmla="*/ 96908 h 96907"/>
            </a:gdLst>
            <a:ahLst/>
            <a:cxnLst>
              <a:cxn ang="0">
                <a:pos x="connsiteX0" y="connsiteY0"/>
              </a:cxn>
              <a:cxn ang="0">
                <a:pos x="connsiteX1" y="connsiteY1"/>
              </a:cxn>
            </a:cxnLst>
            <a:rect l="l" t="t" r="r" b="b"/>
            <a:pathLst>
              <a:path w="17005" h="96907">
                <a:moveTo>
                  <a:pt x="0" y="0"/>
                </a:moveTo>
                <a:lnTo>
                  <a:pt x="0" y="96908"/>
                </a:lnTo>
              </a:path>
            </a:pathLst>
          </a:custGeom>
          <a:ln w="28575"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252" name="Freeform: Shape 251">
            <a:extLst>
              <a:ext uri="{FF2B5EF4-FFF2-40B4-BE49-F238E27FC236}">
                <a16:creationId xmlns:a16="http://schemas.microsoft.com/office/drawing/2014/main" id="{C6352C7E-E326-49E4-9C27-B535372AB606}"/>
              </a:ext>
            </a:extLst>
          </p:cNvPr>
          <p:cNvSpPr/>
          <p:nvPr/>
        </p:nvSpPr>
        <p:spPr>
          <a:xfrm>
            <a:off x="5651050" y="3513017"/>
            <a:ext cx="40143" cy="97056"/>
          </a:xfrm>
          <a:custGeom>
            <a:avLst/>
            <a:gdLst>
              <a:gd name="connsiteX0" fmla="*/ 0 w 17005"/>
              <a:gd name="connsiteY0" fmla="*/ 0 h 97056"/>
              <a:gd name="connsiteX1" fmla="*/ 0 w 17005"/>
              <a:gd name="connsiteY1" fmla="*/ 97057 h 97056"/>
            </a:gdLst>
            <a:ahLst/>
            <a:cxnLst>
              <a:cxn ang="0">
                <a:pos x="connsiteX0" y="connsiteY0"/>
              </a:cxn>
              <a:cxn ang="0">
                <a:pos x="connsiteX1" y="connsiteY1"/>
              </a:cxn>
            </a:cxnLst>
            <a:rect l="l" t="t" r="r" b="b"/>
            <a:pathLst>
              <a:path w="17005" h="97056">
                <a:moveTo>
                  <a:pt x="0" y="0"/>
                </a:moveTo>
                <a:lnTo>
                  <a:pt x="0" y="97057"/>
                </a:lnTo>
              </a:path>
            </a:pathLst>
          </a:custGeom>
          <a:ln w="28575"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253" name="Freeform: Shape 252">
            <a:extLst>
              <a:ext uri="{FF2B5EF4-FFF2-40B4-BE49-F238E27FC236}">
                <a16:creationId xmlns:a16="http://schemas.microsoft.com/office/drawing/2014/main" id="{610972FD-1C8A-41AD-A6C7-DCEFC90D4078}"/>
              </a:ext>
            </a:extLst>
          </p:cNvPr>
          <p:cNvSpPr/>
          <p:nvPr/>
        </p:nvSpPr>
        <p:spPr>
          <a:xfrm>
            <a:off x="6952140" y="3768704"/>
            <a:ext cx="40143" cy="97056"/>
          </a:xfrm>
          <a:custGeom>
            <a:avLst/>
            <a:gdLst>
              <a:gd name="connsiteX0" fmla="*/ 0 w 17005"/>
              <a:gd name="connsiteY0" fmla="*/ 0 h 97056"/>
              <a:gd name="connsiteX1" fmla="*/ 0 w 17005"/>
              <a:gd name="connsiteY1" fmla="*/ 97057 h 97056"/>
            </a:gdLst>
            <a:ahLst/>
            <a:cxnLst>
              <a:cxn ang="0">
                <a:pos x="connsiteX0" y="connsiteY0"/>
              </a:cxn>
              <a:cxn ang="0">
                <a:pos x="connsiteX1" y="connsiteY1"/>
              </a:cxn>
            </a:cxnLst>
            <a:rect l="l" t="t" r="r" b="b"/>
            <a:pathLst>
              <a:path w="17005" h="97056">
                <a:moveTo>
                  <a:pt x="0" y="0"/>
                </a:moveTo>
                <a:lnTo>
                  <a:pt x="0" y="97057"/>
                </a:lnTo>
              </a:path>
            </a:pathLst>
          </a:custGeom>
          <a:ln w="28575"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254" name="Freeform: Shape 253">
            <a:extLst>
              <a:ext uri="{FF2B5EF4-FFF2-40B4-BE49-F238E27FC236}">
                <a16:creationId xmlns:a16="http://schemas.microsoft.com/office/drawing/2014/main" id="{77ED8B61-B913-46C0-A264-F9DD1B0BEF51}"/>
              </a:ext>
            </a:extLst>
          </p:cNvPr>
          <p:cNvSpPr/>
          <p:nvPr/>
        </p:nvSpPr>
        <p:spPr>
          <a:xfrm>
            <a:off x="7038048" y="3791515"/>
            <a:ext cx="40143" cy="97056"/>
          </a:xfrm>
          <a:custGeom>
            <a:avLst/>
            <a:gdLst>
              <a:gd name="connsiteX0" fmla="*/ 0 w 17005"/>
              <a:gd name="connsiteY0" fmla="*/ 0 h 97056"/>
              <a:gd name="connsiteX1" fmla="*/ 0 w 17005"/>
              <a:gd name="connsiteY1" fmla="*/ 97057 h 97056"/>
            </a:gdLst>
            <a:ahLst/>
            <a:cxnLst>
              <a:cxn ang="0">
                <a:pos x="connsiteX0" y="connsiteY0"/>
              </a:cxn>
              <a:cxn ang="0">
                <a:pos x="connsiteX1" y="connsiteY1"/>
              </a:cxn>
            </a:cxnLst>
            <a:rect l="l" t="t" r="r" b="b"/>
            <a:pathLst>
              <a:path w="17005" h="97056">
                <a:moveTo>
                  <a:pt x="0" y="0"/>
                </a:moveTo>
                <a:lnTo>
                  <a:pt x="0" y="97057"/>
                </a:lnTo>
              </a:path>
            </a:pathLst>
          </a:custGeom>
          <a:ln w="28575"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255" name="Freeform: Shape 254">
            <a:extLst>
              <a:ext uri="{FF2B5EF4-FFF2-40B4-BE49-F238E27FC236}">
                <a16:creationId xmlns:a16="http://schemas.microsoft.com/office/drawing/2014/main" id="{D7A6B537-DE86-47B9-B8EA-AB666895278D}"/>
              </a:ext>
            </a:extLst>
          </p:cNvPr>
          <p:cNvSpPr/>
          <p:nvPr/>
        </p:nvSpPr>
        <p:spPr>
          <a:xfrm>
            <a:off x="7203846" y="3831470"/>
            <a:ext cx="40143" cy="96907"/>
          </a:xfrm>
          <a:custGeom>
            <a:avLst/>
            <a:gdLst>
              <a:gd name="connsiteX0" fmla="*/ 0 w 17005"/>
              <a:gd name="connsiteY0" fmla="*/ 0 h 96907"/>
              <a:gd name="connsiteX1" fmla="*/ 0 w 17005"/>
              <a:gd name="connsiteY1" fmla="*/ 96908 h 96907"/>
            </a:gdLst>
            <a:ahLst/>
            <a:cxnLst>
              <a:cxn ang="0">
                <a:pos x="connsiteX0" y="connsiteY0"/>
              </a:cxn>
              <a:cxn ang="0">
                <a:pos x="connsiteX1" y="connsiteY1"/>
              </a:cxn>
            </a:cxnLst>
            <a:rect l="l" t="t" r="r" b="b"/>
            <a:pathLst>
              <a:path w="17005" h="96907">
                <a:moveTo>
                  <a:pt x="0" y="0"/>
                </a:moveTo>
                <a:lnTo>
                  <a:pt x="0" y="96908"/>
                </a:lnTo>
              </a:path>
            </a:pathLst>
          </a:custGeom>
          <a:ln w="28575"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256" name="Freeform: Shape 255">
            <a:extLst>
              <a:ext uri="{FF2B5EF4-FFF2-40B4-BE49-F238E27FC236}">
                <a16:creationId xmlns:a16="http://schemas.microsoft.com/office/drawing/2014/main" id="{7DE70AFF-C97C-4F75-B343-18F73F17098C}"/>
              </a:ext>
            </a:extLst>
          </p:cNvPr>
          <p:cNvSpPr/>
          <p:nvPr/>
        </p:nvSpPr>
        <p:spPr>
          <a:xfrm>
            <a:off x="7323478" y="3849659"/>
            <a:ext cx="40143" cy="97056"/>
          </a:xfrm>
          <a:custGeom>
            <a:avLst/>
            <a:gdLst>
              <a:gd name="connsiteX0" fmla="*/ 0 w 17005"/>
              <a:gd name="connsiteY0" fmla="*/ 0 h 97056"/>
              <a:gd name="connsiteX1" fmla="*/ 0 w 17005"/>
              <a:gd name="connsiteY1" fmla="*/ 97057 h 97056"/>
            </a:gdLst>
            <a:ahLst/>
            <a:cxnLst>
              <a:cxn ang="0">
                <a:pos x="connsiteX0" y="connsiteY0"/>
              </a:cxn>
              <a:cxn ang="0">
                <a:pos x="connsiteX1" y="connsiteY1"/>
              </a:cxn>
            </a:cxnLst>
            <a:rect l="l" t="t" r="r" b="b"/>
            <a:pathLst>
              <a:path w="17005" h="97056">
                <a:moveTo>
                  <a:pt x="0" y="0"/>
                </a:moveTo>
                <a:lnTo>
                  <a:pt x="0" y="97057"/>
                </a:lnTo>
              </a:path>
            </a:pathLst>
          </a:custGeom>
          <a:ln w="28575"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257" name="Freeform: Shape 256">
            <a:extLst>
              <a:ext uri="{FF2B5EF4-FFF2-40B4-BE49-F238E27FC236}">
                <a16:creationId xmlns:a16="http://schemas.microsoft.com/office/drawing/2014/main" id="{7E0DDD52-E492-4E68-814F-8F51A2B25311}"/>
              </a:ext>
            </a:extLst>
          </p:cNvPr>
          <p:cNvSpPr/>
          <p:nvPr/>
        </p:nvSpPr>
        <p:spPr>
          <a:xfrm>
            <a:off x="7464786" y="3862183"/>
            <a:ext cx="40143" cy="97056"/>
          </a:xfrm>
          <a:custGeom>
            <a:avLst/>
            <a:gdLst>
              <a:gd name="connsiteX0" fmla="*/ 0 w 17005"/>
              <a:gd name="connsiteY0" fmla="*/ 0 h 97056"/>
              <a:gd name="connsiteX1" fmla="*/ 0 w 17005"/>
              <a:gd name="connsiteY1" fmla="*/ 97057 h 97056"/>
            </a:gdLst>
            <a:ahLst/>
            <a:cxnLst>
              <a:cxn ang="0">
                <a:pos x="connsiteX0" y="connsiteY0"/>
              </a:cxn>
              <a:cxn ang="0">
                <a:pos x="connsiteX1" y="connsiteY1"/>
              </a:cxn>
            </a:cxnLst>
            <a:rect l="l" t="t" r="r" b="b"/>
            <a:pathLst>
              <a:path w="17005" h="97056">
                <a:moveTo>
                  <a:pt x="0" y="0"/>
                </a:moveTo>
                <a:lnTo>
                  <a:pt x="0" y="97057"/>
                </a:lnTo>
              </a:path>
            </a:pathLst>
          </a:custGeom>
          <a:ln w="28575"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258" name="Freeform: Shape 257">
            <a:extLst>
              <a:ext uri="{FF2B5EF4-FFF2-40B4-BE49-F238E27FC236}">
                <a16:creationId xmlns:a16="http://schemas.microsoft.com/office/drawing/2014/main" id="{923903F8-EEAC-4A7B-A3B2-8B75A4D47EB9}"/>
              </a:ext>
            </a:extLst>
          </p:cNvPr>
          <p:cNvSpPr/>
          <p:nvPr/>
        </p:nvSpPr>
        <p:spPr>
          <a:xfrm>
            <a:off x="7544675" y="3880371"/>
            <a:ext cx="40143" cy="97056"/>
          </a:xfrm>
          <a:custGeom>
            <a:avLst/>
            <a:gdLst>
              <a:gd name="connsiteX0" fmla="*/ 0 w 17005"/>
              <a:gd name="connsiteY0" fmla="*/ 0 h 97056"/>
              <a:gd name="connsiteX1" fmla="*/ 0 w 17005"/>
              <a:gd name="connsiteY1" fmla="*/ 97057 h 97056"/>
            </a:gdLst>
            <a:ahLst/>
            <a:cxnLst>
              <a:cxn ang="0">
                <a:pos x="connsiteX0" y="connsiteY0"/>
              </a:cxn>
              <a:cxn ang="0">
                <a:pos x="connsiteX1" y="connsiteY1"/>
              </a:cxn>
            </a:cxnLst>
            <a:rect l="l" t="t" r="r" b="b"/>
            <a:pathLst>
              <a:path w="17005" h="97056">
                <a:moveTo>
                  <a:pt x="0" y="0"/>
                </a:moveTo>
                <a:lnTo>
                  <a:pt x="0" y="97057"/>
                </a:lnTo>
              </a:path>
            </a:pathLst>
          </a:custGeom>
          <a:ln w="28575"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259" name="Freeform: Shape 258">
            <a:extLst>
              <a:ext uri="{FF2B5EF4-FFF2-40B4-BE49-F238E27FC236}">
                <a16:creationId xmlns:a16="http://schemas.microsoft.com/office/drawing/2014/main" id="{7F390548-DE43-4BA7-A09C-7AC37C3FB0A3}"/>
              </a:ext>
            </a:extLst>
          </p:cNvPr>
          <p:cNvSpPr/>
          <p:nvPr/>
        </p:nvSpPr>
        <p:spPr>
          <a:xfrm>
            <a:off x="7664306" y="3880371"/>
            <a:ext cx="40143" cy="97056"/>
          </a:xfrm>
          <a:custGeom>
            <a:avLst/>
            <a:gdLst>
              <a:gd name="connsiteX0" fmla="*/ 0 w 17005"/>
              <a:gd name="connsiteY0" fmla="*/ 0 h 97056"/>
              <a:gd name="connsiteX1" fmla="*/ 0 w 17005"/>
              <a:gd name="connsiteY1" fmla="*/ 97057 h 97056"/>
            </a:gdLst>
            <a:ahLst/>
            <a:cxnLst>
              <a:cxn ang="0">
                <a:pos x="connsiteX0" y="connsiteY0"/>
              </a:cxn>
              <a:cxn ang="0">
                <a:pos x="connsiteX1" y="connsiteY1"/>
              </a:cxn>
            </a:cxnLst>
            <a:rect l="l" t="t" r="r" b="b"/>
            <a:pathLst>
              <a:path w="17005" h="97056">
                <a:moveTo>
                  <a:pt x="0" y="0"/>
                </a:moveTo>
                <a:lnTo>
                  <a:pt x="0" y="97057"/>
                </a:lnTo>
              </a:path>
            </a:pathLst>
          </a:custGeom>
          <a:ln w="28575"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260" name="Freeform: Shape 259">
            <a:extLst>
              <a:ext uri="{FF2B5EF4-FFF2-40B4-BE49-F238E27FC236}">
                <a16:creationId xmlns:a16="http://schemas.microsoft.com/office/drawing/2014/main" id="{4758D8A3-2726-44F9-870B-ABDCF8F07EAB}"/>
              </a:ext>
            </a:extLst>
          </p:cNvPr>
          <p:cNvSpPr/>
          <p:nvPr/>
        </p:nvSpPr>
        <p:spPr>
          <a:xfrm>
            <a:off x="7799193" y="3899753"/>
            <a:ext cx="40143" cy="97056"/>
          </a:xfrm>
          <a:custGeom>
            <a:avLst/>
            <a:gdLst>
              <a:gd name="connsiteX0" fmla="*/ 0 w 17005"/>
              <a:gd name="connsiteY0" fmla="*/ 0 h 97056"/>
              <a:gd name="connsiteX1" fmla="*/ 0 w 17005"/>
              <a:gd name="connsiteY1" fmla="*/ 97057 h 97056"/>
            </a:gdLst>
            <a:ahLst/>
            <a:cxnLst>
              <a:cxn ang="0">
                <a:pos x="connsiteX0" y="connsiteY0"/>
              </a:cxn>
              <a:cxn ang="0">
                <a:pos x="connsiteX1" y="connsiteY1"/>
              </a:cxn>
            </a:cxnLst>
            <a:rect l="l" t="t" r="r" b="b"/>
            <a:pathLst>
              <a:path w="17005" h="97056">
                <a:moveTo>
                  <a:pt x="0" y="0"/>
                </a:moveTo>
                <a:lnTo>
                  <a:pt x="0" y="97057"/>
                </a:lnTo>
              </a:path>
            </a:pathLst>
          </a:custGeom>
          <a:ln w="28575"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261" name="Freeform: Shape 260">
            <a:extLst>
              <a:ext uri="{FF2B5EF4-FFF2-40B4-BE49-F238E27FC236}">
                <a16:creationId xmlns:a16="http://schemas.microsoft.com/office/drawing/2014/main" id="{8E82658F-CCA3-4A5B-9BA1-5A7CB97FFF72}"/>
              </a:ext>
            </a:extLst>
          </p:cNvPr>
          <p:cNvSpPr/>
          <p:nvPr/>
        </p:nvSpPr>
        <p:spPr>
          <a:xfrm>
            <a:off x="7869847" y="3899753"/>
            <a:ext cx="40143" cy="97056"/>
          </a:xfrm>
          <a:custGeom>
            <a:avLst/>
            <a:gdLst>
              <a:gd name="connsiteX0" fmla="*/ 0 w 17005"/>
              <a:gd name="connsiteY0" fmla="*/ 0 h 97056"/>
              <a:gd name="connsiteX1" fmla="*/ 0 w 17005"/>
              <a:gd name="connsiteY1" fmla="*/ 97057 h 97056"/>
            </a:gdLst>
            <a:ahLst/>
            <a:cxnLst>
              <a:cxn ang="0">
                <a:pos x="connsiteX0" y="connsiteY0"/>
              </a:cxn>
              <a:cxn ang="0">
                <a:pos x="connsiteX1" y="connsiteY1"/>
              </a:cxn>
            </a:cxnLst>
            <a:rect l="l" t="t" r="r" b="b"/>
            <a:pathLst>
              <a:path w="17005" h="97056">
                <a:moveTo>
                  <a:pt x="0" y="0"/>
                </a:moveTo>
                <a:lnTo>
                  <a:pt x="0" y="97057"/>
                </a:lnTo>
              </a:path>
            </a:pathLst>
          </a:custGeom>
          <a:ln w="28575"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262" name="Freeform: Shape 261">
            <a:extLst>
              <a:ext uri="{FF2B5EF4-FFF2-40B4-BE49-F238E27FC236}">
                <a16:creationId xmlns:a16="http://schemas.microsoft.com/office/drawing/2014/main" id="{F612E42F-4BAC-4D93-B97B-EFF3FD834DBF}"/>
              </a:ext>
            </a:extLst>
          </p:cNvPr>
          <p:cNvSpPr/>
          <p:nvPr/>
        </p:nvSpPr>
        <p:spPr>
          <a:xfrm>
            <a:off x="7943312" y="3927185"/>
            <a:ext cx="40143" cy="96907"/>
          </a:xfrm>
          <a:custGeom>
            <a:avLst/>
            <a:gdLst>
              <a:gd name="connsiteX0" fmla="*/ 0 w 17005"/>
              <a:gd name="connsiteY0" fmla="*/ 0 h 96907"/>
              <a:gd name="connsiteX1" fmla="*/ 0 w 17005"/>
              <a:gd name="connsiteY1" fmla="*/ 96908 h 96907"/>
            </a:gdLst>
            <a:ahLst/>
            <a:cxnLst>
              <a:cxn ang="0">
                <a:pos x="connsiteX0" y="connsiteY0"/>
              </a:cxn>
              <a:cxn ang="0">
                <a:pos x="connsiteX1" y="connsiteY1"/>
              </a:cxn>
            </a:cxnLst>
            <a:rect l="l" t="t" r="r" b="b"/>
            <a:pathLst>
              <a:path w="17005" h="96907">
                <a:moveTo>
                  <a:pt x="0" y="0"/>
                </a:moveTo>
                <a:lnTo>
                  <a:pt x="0" y="96908"/>
                </a:lnTo>
              </a:path>
            </a:pathLst>
          </a:custGeom>
          <a:ln w="28575"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263" name="Freeform: Shape 262">
            <a:extLst>
              <a:ext uri="{FF2B5EF4-FFF2-40B4-BE49-F238E27FC236}">
                <a16:creationId xmlns:a16="http://schemas.microsoft.com/office/drawing/2014/main" id="{A3CE0EC1-8FC2-4DB8-A09E-437718D403CE}"/>
              </a:ext>
            </a:extLst>
          </p:cNvPr>
          <p:cNvSpPr/>
          <p:nvPr/>
        </p:nvSpPr>
        <p:spPr>
          <a:xfrm>
            <a:off x="8035243" y="3936280"/>
            <a:ext cx="40143" cy="97056"/>
          </a:xfrm>
          <a:custGeom>
            <a:avLst/>
            <a:gdLst>
              <a:gd name="connsiteX0" fmla="*/ 0 w 17005"/>
              <a:gd name="connsiteY0" fmla="*/ 0 h 97056"/>
              <a:gd name="connsiteX1" fmla="*/ 0 w 17005"/>
              <a:gd name="connsiteY1" fmla="*/ 97057 h 97056"/>
            </a:gdLst>
            <a:ahLst/>
            <a:cxnLst>
              <a:cxn ang="0">
                <a:pos x="connsiteX0" y="connsiteY0"/>
              </a:cxn>
              <a:cxn ang="0">
                <a:pos x="connsiteX1" y="connsiteY1"/>
              </a:cxn>
            </a:cxnLst>
            <a:rect l="l" t="t" r="r" b="b"/>
            <a:pathLst>
              <a:path w="17005" h="97056">
                <a:moveTo>
                  <a:pt x="0" y="0"/>
                </a:moveTo>
                <a:lnTo>
                  <a:pt x="0" y="97057"/>
                </a:lnTo>
              </a:path>
            </a:pathLst>
          </a:custGeom>
          <a:ln w="28575"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264" name="Freeform: Shape 263">
            <a:extLst>
              <a:ext uri="{FF2B5EF4-FFF2-40B4-BE49-F238E27FC236}">
                <a16:creationId xmlns:a16="http://schemas.microsoft.com/office/drawing/2014/main" id="{C54298D5-2091-4A5F-9363-FD6D63FBC202}"/>
              </a:ext>
            </a:extLst>
          </p:cNvPr>
          <p:cNvSpPr/>
          <p:nvPr/>
        </p:nvSpPr>
        <p:spPr>
          <a:xfrm>
            <a:off x="8158086" y="3977279"/>
            <a:ext cx="40143" cy="97056"/>
          </a:xfrm>
          <a:custGeom>
            <a:avLst/>
            <a:gdLst>
              <a:gd name="connsiteX0" fmla="*/ 0 w 17005"/>
              <a:gd name="connsiteY0" fmla="*/ 0 h 97056"/>
              <a:gd name="connsiteX1" fmla="*/ 0 w 17005"/>
              <a:gd name="connsiteY1" fmla="*/ 97057 h 97056"/>
            </a:gdLst>
            <a:ahLst/>
            <a:cxnLst>
              <a:cxn ang="0">
                <a:pos x="connsiteX0" y="connsiteY0"/>
              </a:cxn>
              <a:cxn ang="0">
                <a:pos x="connsiteX1" y="connsiteY1"/>
              </a:cxn>
            </a:cxnLst>
            <a:rect l="l" t="t" r="r" b="b"/>
            <a:pathLst>
              <a:path w="17005" h="97056">
                <a:moveTo>
                  <a:pt x="0" y="0"/>
                </a:moveTo>
                <a:lnTo>
                  <a:pt x="0" y="97057"/>
                </a:lnTo>
              </a:path>
            </a:pathLst>
          </a:custGeom>
          <a:ln w="28575"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265" name="Freeform: Shape 264">
            <a:extLst>
              <a:ext uri="{FF2B5EF4-FFF2-40B4-BE49-F238E27FC236}">
                <a16:creationId xmlns:a16="http://schemas.microsoft.com/office/drawing/2014/main" id="{33917654-D4AD-444E-BA41-D5A5F736D674}"/>
              </a:ext>
            </a:extLst>
          </p:cNvPr>
          <p:cNvSpPr/>
          <p:nvPr/>
        </p:nvSpPr>
        <p:spPr>
          <a:xfrm>
            <a:off x="8216295" y="3977279"/>
            <a:ext cx="40143" cy="97056"/>
          </a:xfrm>
          <a:custGeom>
            <a:avLst/>
            <a:gdLst>
              <a:gd name="connsiteX0" fmla="*/ 0 w 17005"/>
              <a:gd name="connsiteY0" fmla="*/ 0 h 97056"/>
              <a:gd name="connsiteX1" fmla="*/ 0 w 17005"/>
              <a:gd name="connsiteY1" fmla="*/ 97057 h 97056"/>
            </a:gdLst>
            <a:ahLst/>
            <a:cxnLst>
              <a:cxn ang="0">
                <a:pos x="connsiteX0" y="connsiteY0"/>
              </a:cxn>
              <a:cxn ang="0">
                <a:pos x="connsiteX1" y="connsiteY1"/>
              </a:cxn>
            </a:cxnLst>
            <a:rect l="l" t="t" r="r" b="b"/>
            <a:pathLst>
              <a:path w="17005" h="97056">
                <a:moveTo>
                  <a:pt x="0" y="0"/>
                </a:moveTo>
                <a:lnTo>
                  <a:pt x="0" y="97057"/>
                </a:lnTo>
              </a:path>
            </a:pathLst>
          </a:custGeom>
          <a:ln w="28575"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266" name="Freeform: Shape 265">
            <a:extLst>
              <a:ext uri="{FF2B5EF4-FFF2-40B4-BE49-F238E27FC236}">
                <a16:creationId xmlns:a16="http://schemas.microsoft.com/office/drawing/2014/main" id="{CA869209-BC89-49E7-BE4F-83823F68C415}"/>
              </a:ext>
            </a:extLst>
          </p:cNvPr>
          <p:cNvSpPr/>
          <p:nvPr/>
        </p:nvSpPr>
        <p:spPr>
          <a:xfrm>
            <a:off x="8372860" y="3997853"/>
            <a:ext cx="40143" cy="96907"/>
          </a:xfrm>
          <a:custGeom>
            <a:avLst/>
            <a:gdLst>
              <a:gd name="connsiteX0" fmla="*/ 0 w 17005"/>
              <a:gd name="connsiteY0" fmla="*/ 0 h 96907"/>
              <a:gd name="connsiteX1" fmla="*/ 0 w 17005"/>
              <a:gd name="connsiteY1" fmla="*/ 96908 h 96907"/>
            </a:gdLst>
            <a:ahLst/>
            <a:cxnLst>
              <a:cxn ang="0">
                <a:pos x="connsiteX0" y="connsiteY0"/>
              </a:cxn>
              <a:cxn ang="0">
                <a:pos x="connsiteX1" y="connsiteY1"/>
              </a:cxn>
            </a:cxnLst>
            <a:rect l="l" t="t" r="r" b="b"/>
            <a:pathLst>
              <a:path w="17005" h="96907">
                <a:moveTo>
                  <a:pt x="0" y="0"/>
                </a:moveTo>
                <a:lnTo>
                  <a:pt x="0" y="96908"/>
                </a:lnTo>
              </a:path>
            </a:pathLst>
          </a:custGeom>
          <a:ln w="28575"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267" name="Freeform: Shape 266">
            <a:extLst>
              <a:ext uri="{FF2B5EF4-FFF2-40B4-BE49-F238E27FC236}">
                <a16:creationId xmlns:a16="http://schemas.microsoft.com/office/drawing/2014/main" id="{BD30B571-52FC-464A-899C-B95D6523C665}"/>
              </a:ext>
            </a:extLst>
          </p:cNvPr>
          <p:cNvSpPr/>
          <p:nvPr/>
        </p:nvSpPr>
        <p:spPr>
          <a:xfrm>
            <a:off x="8483257" y="3997853"/>
            <a:ext cx="40143" cy="96907"/>
          </a:xfrm>
          <a:custGeom>
            <a:avLst/>
            <a:gdLst>
              <a:gd name="connsiteX0" fmla="*/ 0 w 17005"/>
              <a:gd name="connsiteY0" fmla="*/ 0 h 96907"/>
              <a:gd name="connsiteX1" fmla="*/ 0 w 17005"/>
              <a:gd name="connsiteY1" fmla="*/ 96908 h 96907"/>
            </a:gdLst>
            <a:ahLst/>
            <a:cxnLst>
              <a:cxn ang="0">
                <a:pos x="connsiteX0" y="connsiteY0"/>
              </a:cxn>
              <a:cxn ang="0">
                <a:pos x="connsiteX1" y="connsiteY1"/>
              </a:cxn>
            </a:cxnLst>
            <a:rect l="l" t="t" r="r" b="b"/>
            <a:pathLst>
              <a:path w="17005" h="96907">
                <a:moveTo>
                  <a:pt x="0" y="0"/>
                </a:moveTo>
                <a:lnTo>
                  <a:pt x="0" y="96908"/>
                </a:lnTo>
              </a:path>
            </a:pathLst>
          </a:custGeom>
          <a:ln w="28575"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268" name="Freeform: Shape 267">
            <a:extLst>
              <a:ext uri="{FF2B5EF4-FFF2-40B4-BE49-F238E27FC236}">
                <a16:creationId xmlns:a16="http://schemas.microsoft.com/office/drawing/2014/main" id="{8716938A-27EC-4B60-A0C6-77AFF4F9AF7C}"/>
              </a:ext>
            </a:extLst>
          </p:cNvPr>
          <p:cNvSpPr/>
          <p:nvPr/>
        </p:nvSpPr>
        <p:spPr>
          <a:xfrm>
            <a:off x="8649055" y="3997853"/>
            <a:ext cx="40143" cy="96907"/>
          </a:xfrm>
          <a:custGeom>
            <a:avLst/>
            <a:gdLst>
              <a:gd name="connsiteX0" fmla="*/ 0 w 17005"/>
              <a:gd name="connsiteY0" fmla="*/ 0 h 96907"/>
              <a:gd name="connsiteX1" fmla="*/ 0 w 17005"/>
              <a:gd name="connsiteY1" fmla="*/ 96908 h 96907"/>
            </a:gdLst>
            <a:ahLst/>
            <a:cxnLst>
              <a:cxn ang="0">
                <a:pos x="connsiteX0" y="connsiteY0"/>
              </a:cxn>
              <a:cxn ang="0">
                <a:pos x="connsiteX1" y="connsiteY1"/>
              </a:cxn>
            </a:cxnLst>
            <a:rect l="l" t="t" r="r" b="b"/>
            <a:pathLst>
              <a:path w="17005" h="96907">
                <a:moveTo>
                  <a:pt x="0" y="0"/>
                </a:moveTo>
                <a:lnTo>
                  <a:pt x="0" y="96908"/>
                </a:lnTo>
              </a:path>
            </a:pathLst>
          </a:custGeom>
          <a:ln w="28575"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269" name="Freeform: Shape 268">
            <a:extLst>
              <a:ext uri="{FF2B5EF4-FFF2-40B4-BE49-F238E27FC236}">
                <a16:creationId xmlns:a16="http://schemas.microsoft.com/office/drawing/2014/main" id="{6892E0B7-D59D-4EBE-9614-6BEED07613E2}"/>
              </a:ext>
            </a:extLst>
          </p:cNvPr>
          <p:cNvSpPr/>
          <p:nvPr/>
        </p:nvSpPr>
        <p:spPr>
          <a:xfrm>
            <a:off x="8820874" y="4010377"/>
            <a:ext cx="40143" cy="96907"/>
          </a:xfrm>
          <a:custGeom>
            <a:avLst/>
            <a:gdLst>
              <a:gd name="connsiteX0" fmla="*/ 0 w 17005"/>
              <a:gd name="connsiteY0" fmla="*/ 0 h 96907"/>
              <a:gd name="connsiteX1" fmla="*/ 0 w 17005"/>
              <a:gd name="connsiteY1" fmla="*/ 96908 h 96907"/>
            </a:gdLst>
            <a:ahLst/>
            <a:cxnLst>
              <a:cxn ang="0">
                <a:pos x="connsiteX0" y="connsiteY0"/>
              </a:cxn>
              <a:cxn ang="0">
                <a:pos x="connsiteX1" y="connsiteY1"/>
              </a:cxn>
            </a:cxnLst>
            <a:rect l="l" t="t" r="r" b="b"/>
            <a:pathLst>
              <a:path w="17005" h="96907">
                <a:moveTo>
                  <a:pt x="0" y="0"/>
                </a:moveTo>
                <a:lnTo>
                  <a:pt x="0" y="96908"/>
                </a:lnTo>
              </a:path>
            </a:pathLst>
          </a:custGeom>
          <a:ln w="28575"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270" name="Freeform: Shape 269">
            <a:extLst>
              <a:ext uri="{FF2B5EF4-FFF2-40B4-BE49-F238E27FC236}">
                <a16:creationId xmlns:a16="http://schemas.microsoft.com/office/drawing/2014/main" id="{5A50346F-00D5-4C77-8282-731276E70247}"/>
              </a:ext>
            </a:extLst>
          </p:cNvPr>
          <p:cNvSpPr/>
          <p:nvPr/>
        </p:nvSpPr>
        <p:spPr>
          <a:xfrm>
            <a:off x="8873061" y="4010377"/>
            <a:ext cx="40143" cy="96907"/>
          </a:xfrm>
          <a:custGeom>
            <a:avLst/>
            <a:gdLst>
              <a:gd name="connsiteX0" fmla="*/ 0 w 17005"/>
              <a:gd name="connsiteY0" fmla="*/ 0 h 96907"/>
              <a:gd name="connsiteX1" fmla="*/ 0 w 17005"/>
              <a:gd name="connsiteY1" fmla="*/ 96908 h 96907"/>
            </a:gdLst>
            <a:ahLst/>
            <a:cxnLst>
              <a:cxn ang="0">
                <a:pos x="connsiteX0" y="connsiteY0"/>
              </a:cxn>
              <a:cxn ang="0">
                <a:pos x="connsiteX1" y="connsiteY1"/>
              </a:cxn>
            </a:cxnLst>
            <a:rect l="l" t="t" r="r" b="b"/>
            <a:pathLst>
              <a:path w="17005" h="96907">
                <a:moveTo>
                  <a:pt x="0" y="0"/>
                </a:moveTo>
                <a:lnTo>
                  <a:pt x="0" y="96908"/>
                </a:lnTo>
              </a:path>
            </a:pathLst>
          </a:custGeom>
          <a:ln w="28575"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271" name="Freeform: Shape 270">
            <a:extLst>
              <a:ext uri="{FF2B5EF4-FFF2-40B4-BE49-F238E27FC236}">
                <a16:creationId xmlns:a16="http://schemas.microsoft.com/office/drawing/2014/main" id="{83CD3F7F-1339-440F-883E-A6C2B2833608}"/>
              </a:ext>
            </a:extLst>
          </p:cNvPr>
          <p:cNvSpPr/>
          <p:nvPr/>
        </p:nvSpPr>
        <p:spPr>
          <a:xfrm>
            <a:off x="8989882" y="4010377"/>
            <a:ext cx="40143" cy="96907"/>
          </a:xfrm>
          <a:custGeom>
            <a:avLst/>
            <a:gdLst>
              <a:gd name="connsiteX0" fmla="*/ 0 w 17005"/>
              <a:gd name="connsiteY0" fmla="*/ 0 h 96907"/>
              <a:gd name="connsiteX1" fmla="*/ 0 w 17005"/>
              <a:gd name="connsiteY1" fmla="*/ 96908 h 96907"/>
            </a:gdLst>
            <a:ahLst/>
            <a:cxnLst>
              <a:cxn ang="0">
                <a:pos x="connsiteX0" y="connsiteY0"/>
              </a:cxn>
              <a:cxn ang="0">
                <a:pos x="connsiteX1" y="connsiteY1"/>
              </a:cxn>
            </a:cxnLst>
            <a:rect l="l" t="t" r="r" b="b"/>
            <a:pathLst>
              <a:path w="17005" h="96907">
                <a:moveTo>
                  <a:pt x="0" y="0"/>
                </a:moveTo>
                <a:lnTo>
                  <a:pt x="0" y="96908"/>
                </a:lnTo>
              </a:path>
            </a:pathLst>
          </a:custGeom>
          <a:ln w="28575"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272" name="Freeform: Shape 271">
            <a:extLst>
              <a:ext uri="{FF2B5EF4-FFF2-40B4-BE49-F238E27FC236}">
                <a16:creationId xmlns:a16="http://schemas.microsoft.com/office/drawing/2014/main" id="{CB2ABE67-7181-4B6F-8971-DB0C9788694A}"/>
              </a:ext>
            </a:extLst>
          </p:cNvPr>
          <p:cNvSpPr/>
          <p:nvPr/>
        </p:nvSpPr>
        <p:spPr>
          <a:xfrm>
            <a:off x="9063348" y="4010377"/>
            <a:ext cx="40143" cy="96907"/>
          </a:xfrm>
          <a:custGeom>
            <a:avLst/>
            <a:gdLst>
              <a:gd name="connsiteX0" fmla="*/ 0 w 17005"/>
              <a:gd name="connsiteY0" fmla="*/ 0 h 96907"/>
              <a:gd name="connsiteX1" fmla="*/ 0 w 17005"/>
              <a:gd name="connsiteY1" fmla="*/ 96908 h 96907"/>
            </a:gdLst>
            <a:ahLst/>
            <a:cxnLst>
              <a:cxn ang="0">
                <a:pos x="connsiteX0" y="connsiteY0"/>
              </a:cxn>
              <a:cxn ang="0">
                <a:pos x="connsiteX1" y="connsiteY1"/>
              </a:cxn>
            </a:cxnLst>
            <a:rect l="l" t="t" r="r" b="b"/>
            <a:pathLst>
              <a:path w="17005" h="96907">
                <a:moveTo>
                  <a:pt x="0" y="0"/>
                </a:moveTo>
                <a:lnTo>
                  <a:pt x="0" y="96908"/>
                </a:lnTo>
              </a:path>
            </a:pathLst>
          </a:custGeom>
          <a:ln w="28575"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273" name="Freeform: Shape 272">
            <a:extLst>
              <a:ext uri="{FF2B5EF4-FFF2-40B4-BE49-F238E27FC236}">
                <a16:creationId xmlns:a16="http://schemas.microsoft.com/office/drawing/2014/main" id="{CD818460-1CA6-4482-B3F4-30E4B1FDDB6A}"/>
              </a:ext>
            </a:extLst>
          </p:cNvPr>
          <p:cNvSpPr/>
          <p:nvPr/>
        </p:nvSpPr>
        <p:spPr>
          <a:xfrm>
            <a:off x="9339543" y="4035424"/>
            <a:ext cx="40143" cy="97056"/>
          </a:xfrm>
          <a:custGeom>
            <a:avLst/>
            <a:gdLst>
              <a:gd name="connsiteX0" fmla="*/ 0 w 17005"/>
              <a:gd name="connsiteY0" fmla="*/ 0 h 97056"/>
              <a:gd name="connsiteX1" fmla="*/ 0 w 17005"/>
              <a:gd name="connsiteY1" fmla="*/ 97057 h 97056"/>
            </a:gdLst>
            <a:ahLst/>
            <a:cxnLst>
              <a:cxn ang="0">
                <a:pos x="connsiteX0" y="connsiteY0"/>
              </a:cxn>
              <a:cxn ang="0">
                <a:pos x="connsiteX1" y="connsiteY1"/>
              </a:cxn>
            </a:cxnLst>
            <a:rect l="l" t="t" r="r" b="b"/>
            <a:pathLst>
              <a:path w="17005" h="97056">
                <a:moveTo>
                  <a:pt x="0" y="0"/>
                </a:moveTo>
                <a:lnTo>
                  <a:pt x="0" y="97057"/>
                </a:lnTo>
              </a:path>
            </a:pathLst>
          </a:custGeom>
          <a:ln w="28575"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274" name="Freeform: Shape 273">
            <a:extLst>
              <a:ext uri="{FF2B5EF4-FFF2-40B4-BE49-F238E27FC236}">
                <a16:creationId xmlns:a16="http://schemas.microsoft.com/office/drawing/2014/main" id="{5F980BAE-F626-4BDA-8277-D8A642DC5077}"/>
              </a:ext>
            </a:extLst>
          </p:cNvPr>
          <p:cNvSpPr/>
          <p:nvPr/>
        </p:nvSpPr>
        <p:spPr>
          <a:xfrm>
            <a:off x="9434686" y="4035424"/>
            <a:ext cx="40143" cy="97056"/>
          </a:xfrm>
          <a:custGeom>
            <a:avLst/>
            <a:gdLst>
              <a:gd name="connsiteX0" fmla="*/ 0 w 17005"/>
              <a:gd name="connsiteY0" fmla="*/ 0 h 97056"/>
              <a:gd name="connsiteX1" fmla="*/ 0 w 17005"/>
              <a:gd name="connsiteY1" fmla="*/ 97057 h 97056"/>
            </a:gdLst>
            <a:ahLst/>
            <a:cxnLst>
              <a:cxn ang="0">
                <a:pos x="connsiteX0" y="connsiteY0"/>
              </a:cxn>
              <a:cxn ang="0">
                <a:pos x="connsiteX1" y="connsiteY1"/>
              </a:cxn>
            </a:cxnLst>
            <a:rect l="l" t="t" r="r" b="b"/>
            <a:pathLst>
              <a:path w="17005" h="97056">
                <a:moveTo>
                  <a:pt x="0" y="0"/>
                </a:moveTo>
                <a:lnTo>
                  <a:pt x="0" y="97057"/>
                </a:lnTo>
              </a:path>
            </a:pathLst>
          </a:custGeom>
          <a:ln w="28575"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275" name="Freeform: Shape 274">
            <a:extLst>
              <a:ext uri="{FF2B5EF4-FFF2-40B4-BE49-F238E27FC236}">
                <a16:creationId xmlns:a16="http://schemas.microsoft.com/office/drawing/2014/main" id="{83B1A850-2044-4DBB-AB17-D5BB75AE1C96}"/>
              </a:ext>
            </a:extLst>
          </p:cNvPr>
          <p:cNvSpPr/>
          <p:nvPr/>
        </p:nvSpPr>
        <p:spPr>
          <a:xfrm>
            <a:off x="9609716" y="4133375"/>
            <a:ext cx="40143" cy="97056"/>
          </a:xfrm>
          <a:custGeom>
            <a:avLst/>
            <a:gdLst>
              <a:gd name="connsiteX0" fmla="*/ 0 w 17005"/>
              <a:gd name="connsiteY0" fmla="*/ 0 h 97056"/>
              <a:gd name="connsiteX1" fmla="*/ 0 w 17005"/>
              <a:gd name="connsiteY1" fmla="*/ 97057 h 97056"/>
            </a:gdLst>
            <a:ahLst/>
            <a:cxnLst>
              <a:cxn ang="0">
                <a:pos x="connsiteX0" y="connsiteY0"/>
              </a:cxn>
              <a:cxn ang="0">
                <a:pos x="connsiteX1" y="connsiteY1"/>
              </a:cxn>
            </a:cxnLst>
            <a:rect l="l" t="t" r="r" b="b"/>
            <a:pathLst>
              <a:path w="17005" h="97056">
                <a:moveTo>
                  <a:pt x="0" y="0"/>
                </a:moveTo>
                <a:lnTo>
                  <a:pt x="0" y="97057"/>
                </a:lnTo>
              </a:path>
            </a:pathLst>
          </a:custGeom>
          <a:ln w="28575"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276" name="Freeform: Shape 275">
            <a:extLst>
              <a:ext uri="{FF2B5EF4-FFF2-40B4-BE49-F238E27FC236}">
                <a16:creationId xmlns:a16="http://schemas.microsoft.com/office/drawing/2014/main" id="{7C9B2190-88E4-445F-A703-56FA6491D3AD}"/>
              </a:ext>
            </a:extLst>
          </p:cNvPr>
          <p:cNvSpPr/>
          <p:nvPr/>
        </p:nvSpPr>
        <p:spPr>
          <a:xfrm>
            <a:off x="9652673" y="4133375"/>
            <a:ext cx="40143" cy="97056"/>
          </a:xfrm>
          <a:custGeom>
            <a:avLst/>
            <a:gdLst>
              <a:gd name="connsiteX0" fmla="*/ 0 w 17005"/>
              <a:gd name="connsiteY0" fmla="*/ 0 h 97056"/>
              <a:gd name="connsiteX1" fmla="*/ 0 w 17005"/>
              <a:gd name="connsiteY1" fmla="*/ 97057 h 97056"/>
            </a:gdLst>
            <a:ahLst/>
            <a:cxnLst>
              <a:cxn ang="0">
                <a:pos x="connsiteX0" y="connsiteY0"/>
              </a:cxn>
              <a:cxn ang="0">
                <a:pos x="connsiteX1" y="connsiteY1"/>
              </a:cxn>
            </a:cxnLst>
            <a:rect l="l" t="t" r="r" b="b"/>
            <a:pathLst>
              <a:path w="17005" h="97056">
                <a:moveTo>
                  <a:pt x="0" y="0"/>
                </a:moveTo>
                <a:lnTo>
                  <a:pt x="0" y="97057"/>
                </a:lnTo>
              </a:path>
            </a:pathLst>
          </a:custGeom>
          <a:ln w="28575"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277" name="Freeform: Shape 276">
            <a:extLst>
              <a:ext uri="{FF2B5EF4-FFF2-40B4-BE49-F238E27FC236}">
                <a16:creationId xmlns:a16="http://schemas.microsoft.com/office/drawing/2014/main" id="{03A3BF2A-8A20-4DAC-A5C4-4F4D73197073}"/>
              </a:ext>
            </a:extLst>
          </p:cNvPr>
          <p:cNvSpPr/>
          <p:nvPr/>
        </p:nvSpPr>
        <p:spPr>
          <a:xfrm>
            <a:off x="9769090" y="4133375"/>
            <a:ext cx="40143" cy="97056"/>
          </a:xfrm>
          <a:custGeom>
            <a:avLst/>
            <a:gdLst>
              <a:gd name="connsiteX0" fmla="*/ 0 w 17005"/>
              <a:gd name="connsiteY0" fmla="*/ 0 h 97056"/>
              <a:gd name="connsiteX1" fmla="*/ 0 w 17005"/>
              <a:gd name="connsiteY1" fmla="*/ 97057 h 97056"/>
            </a:gdLst>
            <a:ahLst/>
            <a:cxnLst>
              <a:cxn ang="0">
                <a:pos x="connsiteX0" y="connsiteY0"/>
              </a:cxn>
              <a:cxn ang="0">
                <a:pos x="connsiteX1" y="connsiteY1"/>
              </a:cxn>
            </a:cxnLst>
            <a:rect l="l" t="t" r="r" b="b"/>
            <a:pathLst>
              <a:path w="17005" h="97056">
                <a:moveTo>
                  <a:pt x="0" y="0"/>
                </a:moveTo>
                <a:lnTo>
                  <a:pt x="0" y="97057"/>
                </a:lnTo>
              </a:path>
            </a:pathLst>
          </a:custGeom>
          <a:ln w="28575"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278" name="Freeform: Shape 277">
            <a:extLst>
              <a:ext uri="{FF2B5EF4-FFF2-40B4-BE49-F238E27FC236}">
                <a16:creationId xmlns:a16="http://schemas.microsoft.com/office/drawing/2014/main" id="{4A9E0D3D-F59F-4AF0-A868-1EDFBB7D55F9}"/>
              </a:ext>
            </a:extLst>
          </p:cNvPr>
          <p:cNvSpPr/>
          <p:nvPr/>
        </p:nvSpPr>
        <p:spPr>
          <a:xfrm>
            <a:off x="9894745" y="4133375"/>
            <a:ext cx="40143" cy="97056"/>
          </a:xfrm>
          <a:custGeom>
            <a:avLst/>
            <a:gdLst>
              <a:gd name="connsiteX0" fmla="*/ 0 w 17005"/>
              <a:gd name="connsiteY0" fmla="*/ 0 h 97056"/>
              <a:gd name="connsiteX1" fmla="*/ 0 w 17005"/>
              <a:gd name="connsiteY1" fmla="*/ 97057 h 97056"/>
            </a:gdLst>
            <a:ahLst/>
            <a:cxnLst>
              <a:cxn ang="0">
                <a:pos x="connsiteX0" y="connsiteY0"/>
              </a:cxn>
              <a:cxn ang="0">
                <a:pos x="connsiteX1" y="connsiteY1"/>
              </a:cxn>
            </a:cxnLst>
            <a:rect l="l" t="t" r="r" b="b"/>
            <a:pathLst>
              <a:path w="17005" h="97056">
                <a:moveTo>
                  <a:pt x="0" y="0"/>
                </a:moveTo>
                <a:lnTo>
                  <a:pt x="0" y="97057"/>
                </a:lnTo>
              </a:path>
            </a:pathLst>
          </a:custGeom>
          <a:ln w="28575"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279" name="Freeform: Shape 278">
            <a:extLst>
              <a:ext uri="{FF2B5EF4-FFF2-40B4-BE49-F238E27FC236}">
                <a16:creationId xmlns:a16="http://schemas.microsoft.com/office/drawing/2014/main" id="{572BA8C4-DBE9-46C6-BFE7-79982EE02F55}"/>
              </a:ext>
            </a:extLst>
          </p:cNvPr>
          <p:cNvSpPr/>
          <p:nvPr/>
        </p:nvSpPr>
        <p:spPr>
          <a:xfrm>
            <a:off x="10039266" y="4133375"/>
            <a:ext cx="40143" cy="97056"/>
          </a:xfrm>
          <a:custGeom>
            <a:avLst/>
            <a:gdLst>
              <a:gd name="connsiteX0" fmla="*/ 0 w 17005"/>
              <a:gd name="connsiteY0" fmla="*/ 0 h 97056"/>
              <a:gd name="connsiteX1" fmla="*/ 0 w 17005"/>
              <a:gd name="connsiteY1" fmla="*/ 97057 h 97056"/>
            </a:gdLst>
            <a:ahLst/>
            <a:cxnLst>
              <a:cxn ang="0">
                <a:pos x="connsiteX0" y="connsiteY0"/>
              </a:cxn>
              <a:cxn ang="0">
                <a:pos x="connsiteX1" y="connsiteY1"/>
              </a:cxn>
            </a:cxnLst>
            <a:rect l="l" t="t" r="r" b="b"/>
            <a:pathLst>
              <a:path w="17005" h="97056">
                <a:moveTo>
                  <a:pt x="0" y="0"/>
                </a:moveTo>
                <a:lnTo>
                  <a:pt x="0" y="97057"/>
                </a:lnTo>
              </a:path>
            </a:pathLst>
          </a:custGeom>
          <a:ln w="28575"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280" name="Freeform: Shape 279">
            <a:extLst>
              <a:ext uri="{FF2B5EF4-FFF2-40B4-BE49-F238E27FC236}">
                <a16:creationId xmlns:a16="http://schemas.microsoft.com/office/drawing/2014/main" id="{9DC2FCC2-A98D-47D0-A64C-5A89268DA2C5}"/>
              </a:ext>
            </a:extLst>
          </p:cNvPr>
          <p:cNvSpPr/>
          <p:nvPr/>
        </p:nvSpPr>
        <p:spPr>
          <a:xfrm>
            <a:off x="10100284" y="4133375"/>
            <a:ext cx="40143" cy="97056"/>
          </a:xfrm>
          <a:custGeom>
            <a:avLst/>
            <a:gdLst>
              <a:gd name="connsiteX0" fmla="*/ 0 w 17005"/>
              <a:gd name="connsiteY0" fmla="*/ 0 h 97056"/>
              <a:gd name="connsiteX1" fmla="*/ 0 w 17005"/>
              <a:gd name="connsiteY1" fmla="*/ 97057 h 97056"/>
            </a:gdLst>
            <a:ahLst/>
            <a:cxnLst>
              <a:cxn ang="0">
                <a:pos x="connsiteX0" y="connsiteY0"/>
              </a:cxn>
              <a:cxn ang="0">
                <a:pos x="connsiteX1" y="connsiteY1"/>
              </a:cxn>
            </a:cxnLst>
            <a:rect l="l" t="t" r="r" b="b"/>
            <a:pathLst>
              <a:path w="17005" h="97056">
                <a:moveTo>
                  <a:pt x="0" y="0"/>
                </a:moveTo>
                <a:lnTo>
                  <a:pt x="0" y="97057"/>
                </a:lnTo>
              </a:path>
            </a:pathLst>
          </a:custGeom>
          <a:ln w="28575"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281" name="Freeform: Shape 280">
            <a:extLst>
              <a:ext uri="{FF2B5EF4-FFF2-40B4-BE49-F238E27FC236}">
                <a16:creationId xmlns:a16="http://schemas.microsoft.com/office/drawing/2014/main" id="{585EDD2D-C39A-4345-BDA6-F5FDBE4C5FD4}"/>
              </a:ext>
            </a:extLst>
          </p:cNvPr>
          <p:cNvSpPr/>
          <p:nvPr/>
        </p:nvSpPr>
        <p:spPr>
          <a:xfrm>
            <a:off x="10238381" y="4133375"/>
            <a:ext cx="40143" cy="97056"/>
          </a:xfrm>
          <a:custGeom>
            <a:avLst/>
            <a:gdLst>
              <a:gd name="connsiteX0" fmla="*/ 0 w 17005"/>
              <a:gd name="connsiteY0" fmla="*/ 0 h 97056"/>
              <a:gd name="connsiteX1" fmla="*/ 0 w 17005"/>
              <a:gd name="connsiteY1" fmla="*/ 97057 h 97056"/>
            </a:gdLst>
            <a:ahLst/>
            <a:cxnLst>
              <a:cxn ang="0">
                <a:pos x="connsiteX0" y="connsiteY0"/>
              </a:cxn>
              <a:cxn ang="0">
                <a:pos x="connsiteX1" y="connsiteY1"/>
              </a:cxn>
            </a:cxnLst>
            <a:rect l="l" t="t" r="r" b="b"/>
            <a:pathLst>
              <a:path w="17005" h="97056">
                <a:moveTo>
                  <a:pt x="0" y="0"/>
                </a:moveTo>
                <a:lnTo>
                  <a:pt x="0" y="97057"/>
                </a:lnTo>
              </a:path>
            </a:pathLst>
          </a:custGeom>
          <a:ln w="28575"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282" name="Freeform: Shape 281">
            <a:extLst>
              <a:ext uri="{FF2B5EF4-FFF2-40B4-BE49-F238E27FC236}">
                <a16:creationId xmlns:a16="http://schemas.microsoft.com/office/drawing/2014/main" id="{B5CF9007-E0E4-4F21-9981-C98CBBC69812}"/>
              </a:ext>
            </a:extLst>
          </p:cNvPr>
          <p:cNvSpPr/>
          <p:nvPr/>
        </p:nvSpPr>
        <p:spPr>
          <a:xfrm>
            <a:off x="10290570" y="4133375"/>
            <a:ext cx="40143" cy="97056"/>
          </a:xfrm>
          <a:custGeom>
            <a:avLst/>
            <a:gdLst>
              <a:gd name="connsiteX0" fmla="*/ 0 w 17005"/>
              <a:gd name="connsiteY0" fmla="*/ 0 h 97056"/>
              <a:gd name="connsiteX1" fmla="*/ 0 w 17005"/>
              <a:gd name="connsiteY1" fmla="*/ 97057 h 97056"/>
            </a:gdLst>
            <a:ahLst/>
            <a:cxnLst>
              <a:cxn ang="0">
                <a:pos x="connsiteX0" y="connsiteY0"/>
              </a:cxn>
              <a:cxn ang="0">
                <a:pos x="connsiteX1" y="connsiteY1"/>
              </a:cxn>
            </a:cxnLst>
            <a:rect l="l" t="t" r="r" b="b"/>
            <a:pathLst>
              <a:path w="17005" h="97056">
                <a:moveTo>
                  <a:pt x="0" y="0"/>
                </a:moveTo>
                <a:lnTo>
                  <a:pt x="0" y="97057"/>
                </a:lnTo>
              </a:path>
            </a:pathLst>
          </a:custGeom>
          <a:ln w="28575"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283" name="Freeform: Shape 282">
            <a:extLst>
              <a:ext uri="{FF2B5EF4-FFF2-40B4-BE49-F238E27FC236}">
                <a16:creationId xmlns:a16="http://schemas.microsoft.com/office/drawing/2014/main" id="{C4F934B6-E12F-4815-A388-C85FE21EFA16}"/>
              </a:ext>
            </a:extLst>
          </p:cNvPr>
          <p:cNvSpPr/>
          <p:nvPr/>
        </p:nvSpPr>
        <p:spPr>
          <a:xfrm>
            <a:off x="10839750" y="4133375"/>
            <a:ext cx="40143" cy="97056"/>
          </a:xfrm>
          <a:custGeom>
            <a:avLst/>
            <a:gdLst>
              <a:gd name="connsiteX0" fmla="*/ 0 w 17005"/>
              <a:gd name="connsiteY0" fmla="*/ 0 h 97056"/>
              <a:gd name="connsiteX1" fmla="*/ 0 w 17005"/>
              <a:gd name="connsiteY1" fmla="*/ 97057 h 97056"/>
            </a:gdLst>
            <a:ahLst/>
            <a:cxnLst>
              <a:cxn ang="0">
                <a:pos x="connsiteX0" y="connsiteY0"/>
              </a:cxn>
              <a:cxn ang="0">
                <a:pos x="connsiteX1" y="connsiteY1"/>
              </a:cxn>
            </a:cxnLst>
            <a:rect l="l" t="t" r="r" b="b"/>
            <a:pathLst>
              <a:path w="17005" h="97056">
                <a:moveTo>
                  <a:pt x="0" y="0"/>
                </a:moveTo>
                <a:lnTo>
                  <a:pt x="0" y="97057"/>
                </a:lnTo>
              </a:path>
            </a:pathLst>
          </a:custGeom>
          <a:ln w="28575"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284" name="Freeform: Shape 283">
            <a:extLst>
              <a:ext uri="{FF2B5EF4-FFF2-40B4-BE49-F238E27FC236}">
                <a16:creationId xmlns:a16="http://schemas.microsoft.com/office/drawing/2014/main" id="{EBAC1889-6531-4F4A-AD58-CF265E33D496}"/>
              </a:ext>
            </a:extLst>
          </p:cNvPr>
          <p:cNvSpPr/>
          <p:nvPr/>
        </p:nvSpPr>
        <p:spPr>
          <a:xfrm>
            <a:off x="1290537" y="1778220"/>
            <a:ext cx="9570086" cy="2402863"/>
          </a:xfrm>
          <a:custGeom>
            <a:avLst/>
            <a:gdLst>
              <a:gd name="connsiteX0" fmla="*/ 0 w 4054017"/>
              <a:gd name="connsiteY0" fmla="*/ 0 h 2402863"/>
              <a:gd name="connsiteX1" fmla="*/ 11054 w 4054017"/>
              <a:gd name="connsiteY1" fmla="*/ 0 h 2402863"/>
              <a:gd name="connsiteX2" fmla="*/ 11054 w 4054017"/>
              <a:gd name="connsiteY2" fmla="*/ 15803 h 2402863"/>
              <a:gd name="connsiteX3" fmla="*/ 23638 w 4054017"/>
              <a:gd name="connsiteY3" fmla="*/ 15803 h 2402863"/>
              <a:gd name="connsiteX4" fmla="*/ 23638 w 4054017"/>
              <a:gd name="connsiteY4" fmla="*/ 28327 h 2402863"/>
              <a:gd name="connsiteX5" fmla="*/ 47956 w 4054017"/>
              <a:gd name="connsiteY5" fmla="*/ 28327 h 2402863"/>
              <a:gd name="connsiteX6" fmla="*/ 47956 w 4054017"/>
              <a:gd name="connsiteY6" fmla="*/ 42788 h 2402863"/>
              <a:gd name="connsiteX7" fmla="*/ 58160 w 4054017"/>
              <a:gd name="connsiteY7" fmla="*/ 42788 h 2402863"/>
              <a:gd name="connsiteX8" fmla="*/ 58160 w 4054017"/>
              <a:gd name="connsiteY8" fmla="*/ 54566 h 2402863"/>
              <a:gd name="connsiteX9" fmla="*/ 75506 w 4054017"/>
              <a:gd name="connsiteY9" fmla="*/ 54566 h 2402863"/>
              <a:gd name="connsiteX10" fmla="*/ 75506 w 4054017"/>
              <a:gd name="connsiteY10" fmla="*/ 68283 h 2402863"/>
              <a:gd name="connsiteX11" fmla="*/ 88940 w 4054017"/>
              <a:gd name="connsiteY11" fmla="*/ 68283 h 2402863"/>
              <a:gd name="connsiteX12" fmla="*/ 88940 w 4054017"/>
              <a:gd name="connsiteY12" fmla="*/ 80806 h 2402863"/>
              <a:gd name="connsiteX13" fmla="*/ 99994 w 4054017"/>
              <a:gd name="connsiteY13" fmla="*/ 80806 h 2402863"/>
              <a:gd name="connsiteX14" fmla="*/ 99994 w 4054017"/>
              <a:gd name="connsiteY14" fmla="*/ 97951 h 2402863"/>
              <a:gd name="connsiteX15" fmla="*/ 111048 w 4054017"/>
              <a:gd name="connsiteY15" fmla="*/ 97951 h 2402863"/>
              <a:gd name="connsiteX16" fmla="*/ 111048 w 4054017"/>
              <a:gd name="connsiteY16" fmla="*/ 127620 h 2402863"/>
              <a:gd name="connsiteX17" fmla="*/ 125163 w 4054017"/>
              <a:gd name="connsiteY17" fmla="*/ 127620 h 2402863"/>
              <a:gd name="connsiteX18" fmla="*/ 125163 w 4054017"/>
              <a:gd name="connsiteY18" fmla="*/ 144914 h 2402863"/>
              <a:gd name="connsiteX19" fmla="*/ 134686 w 4054017"/>
              <a:gd name="connsiteY19" fmla="*/ 144914 h 2402863"/>
              <a:gd name="connsiteX20" fmla="*/ 134686 w 4054017"/>
              <a:gd name="connsiteY20" fmla="*/ 176670 h 2402863"/>
              <a:gd name="connsiteX21" fmla="*/ 149651 w 4054017"/>
              <a:gd name="connsiteY21" fmla="*/ 176670 h 2402863"/>
              <a:gd name="connsiteX22" fmla="*/ 149651 w 4054017"/>
              <a:gd name="connsiteY22" fmla="*/ 189790 h 2402863"/>
              <a:gd name="connsiteX23" fmla="*/ 160535 w 4054017"/>
              <a:gd name="connsiteY23" fmla="*/ 189790 h 2402863"/>
              <a:gd name="connsiteX24" fmla="*/ 160535 w 4054017"/>
              <a:gd name="connsiteY24" fmla="*/ 205742 h 2402863"/>
              <a:gd name="connsiteX25" fmla="*/ 184173 w 4054017"/>
              <a:gd name="connsiteY25" fmla="*/ 205742 h 2402863"/>
              <a:gd name="connsiteX26" fmla="*/ 184173 w 4054017"/>
              <a:gd name="connsiteY26" fmla="*/ 238095 h 2402863"/>
              <a:gd name="connsiteX27" fmla="*/ 196077 w 4054017"/>
              <a:gd name="connsiteY27" fmla="*/ 238095 h 2402863"/>
              <a:gd name="connsiteX28" fmla="*/ 196077 w 4054017"/>
              <a:gd name="connsiteY28" fmla="*/ 254047 h 2402863"/>
              <a:gd name="connsiteX29" fmla="*/ 209512 w 4054017"/>
              <a:gd name="connsiteY29" fmla="*/ 254047 h 2402863"/>
              <a:gd name="connsiteX30" fmla="*/ 209512 w 4054017"/>
              <a:gd name="connsiteY30" fmla="*/ 261651 h 2402863"/>
              <a:gd name="connsiteX31" fmla="*/ 225157 w 4054017"/>
              <a:gd name="connsiteY31" fmla="*/ 261651 h 2402863"/>
              <a:gd name="connsiteX32" fmla="*/ 225157 w 4054017"/>
              <a:gd name="connsiteY32" fmla="*/ 274771 h 2402863"/>
              <a:gd name="connsiteX33" fmla="*/ 235361 w 4054017"/>
              <a:gd name="connsiteY33" fmla="*/ 274771 h 2402863"/>
              <a:gd name="connsiteX34" fmla="*/ 235361 w 4054017"/>
              <a:gd name="connsiteY34" fmla="*/ 285803 h 2402863"/>
              <a:gd name="connsiteX35" fmla="*/ 259849 w 4054017"/>
              <a:gd name="connsiteY35" fmla="*/ 285803 h 2402863"/>
              <a:gd name="connsiteX36" fmla="*/ 259849 w 4054017"/>
              <a:gd name="connsiteY36" fmla="*/ 304439 h 2402863"/>
              <a:gd name="connsiteX37" fmla="*/ 273964 w 4054017"/>
              <a:gd name="connsiteY37" fmla="*/ 304439 h 2402863"/>
              <a:gd name="connsiteX38" fmla="*/ 273964 w 4054017"/>
              <a:gd name="connsiteY38" fmla="*/ 328592 h 2402863"/>
              <a:gd name="connsiteX39" fmla="*/ 281106 w 4054017"/>
              <a:gd name="connsiteY39" fmla="*/ 328592 h 2402863"/>
              <a:gd name="connsiteX40" fmla="*/ 281106 w 4054017"/>
              <a:gd name="connsiteY40" fmla="*/ 341711 h 2402863"/>
              <a:gd name="connsiteX41" fmla="*/ 303894 w 4054017"/>
              <a:gd name="connsiteY41" fmla="*/ 341711 h 2402863"/>
              <a:gd name="connsiteX42" fmla="*/ 303894 w 4054017"/>
              <a:gd name="connsiteY42" fmla="*/ 363031 h 2402863"/>
              <a:gd name="connsiteX43" fmla="*/ 316478 w 4054017"/>
              <a:gd name="connsiteY43" fmla="*/ 363031 h 2402863"/>
              <a:gd name="connsiteX44" fmla="*/ 316478 w 4054017"/>
              <a:gd name="connsiteY44" fmla="*/ 391358 h 2402863"/>
              <a:gd name="connsiteX45" fmla="*/ 326682 w 4054017"/>
              <a:gd name="connsiteY45" fmla="*/ 391358 h 2402863"/>
              <a:gd name="connsiteX46" fmla="*/ 326682 w 4054017"/>
              <a:gd name="connsiteY46" fmla="*/ 429376 h 2402863"/>
              <a:gd name="connsiteX47" fmla="*/ 342497 w 4054017"/>
              <a:gd name="connsiteY47" fmla="*/ 429376 h 2402863"/>
              <a:gd name="connsiteX48" fmla="*/ 342497 w 4054017"/>
              <a:gd name="connsiteY48" fmla="*/ 447266 h 2402863"/>
              <a:gd name="connsiteX49" fmla="*/ 353551 w 4054017"/>
              <a:gd name="connsiteY49" fmla="*/ 447266 h 2402863"/>
              <a:gd name="connsiteX50" fmla="*/ 353551 w 4054017"/>
              <a:gd name="connsiteY50" fmla="*/ 477680 h 2402863"/>
              <a:gd name="connsiteX51" fmla="*/ 374808 w 4054017"/>
              <a:gd name="connsiteY51" fmla="*/ 477680 h 2402863"/>
              <a:gd name="connsiteX52" fmla="*/ 374808 w 4054017"/>
              <a:gd name="connsiteY52" fmla="*/ 497658 h 2402863"/>
              <a:gd name="connsiteX53" fmla="*/ 390454 w 4054017"/>
              <a:gd name="connsiteY53" fmla="*/ 497658 h 2402863"/>
              <a:gd name="connsiteX54" fmla="*/ 390454 w 4054017"/>
              <a:gd name="connsiteY54" fmla="*/ 521214 h 2402863"/>
              <a:gd name="connsiteX55" fmla="*/ 410180 w 4054017"/>
              <a:gd name="connsiteY55" fmla="*/ 521214 h 2402863"/>
              <a:gd name="connsiteX56" fmla="*/ 410180 w 4054017"/>
              <a:gd name="connsiteY56" fmla="*/ 548050 h 2402863"/>
              <a:gd name="connsiteX57" fmla="*/ 423615 w 4054017"/>
              <a:gd name="connsiteY57" fmla="*/ 548050 h 2402863"/>
              <a:gd name="connsiteX58" fmla="*/ 423615 w 4054017"/>
              <a:gd name="connsiteY58" fmla="*/ 574290 h 2402863"/>
              <a:gd name="connsiteX59" fmla="*/ 438580 w 4054017"/>
              <a:gd name="connsiteY59" fmla="*/ 574290 h 2402863"/>
              <a:gd name="connsiteX60" fmla="*/ 438580 w 4054017"/>
              <a:gd name="connsiteY60" fmla="*/ 604704 h 2402863"/>
              <a:gd name="connsiteX61" fmla="*/ 449634 w 4054017"/>
              <a:gd name="connsiteY61" fmla="*/ 604704 h 2402863"/>
              <a:gd name="connsiteX62" fmla="*/ 449634 w 4054017"/>
              <a:gd name="connsiteY62" fmla="*/ 623936 h 2402863"/>
              <a:gd name="connsiteX63" fmla="*/ 462218 w 4054017"/>
              <a:gd name="connsiteY63" fmla="*/ 623936 h 2402863"/>
              <a:gd name="connsiteX64" fmla="*/ 462218 w 4054017"/>
              <a:gd name="connsiteY64" fmla="*/ 636460 h 2402863"/>
              <a:gd name="connsiteX65" fmla="*/ 474803 w 4054017"/>
              <a:gd name="connsiteY65" fmla="*/ 636460 h 2402863"/>
              <a:gd name="connsiteX66" fmla="*/ 474803 w 4054017"/>
              <a:gd name="connsiteY66" fmla="*/ 669558 h 2402863"/>
              <a:gd name="connsiteX67" fmla="*/ 489768 w 4054017"/>
              <a:gd name="connsiteY67" fmla="*/ 669558 h 2402863"/>
              <a:gd name="connsiteX68" fmla="*/ 489768 w 4054017"/>
              <a:gd name="connsiteY68" fmla="*/ 685361 h 2402863"/>
              <a:gd name="connsiteX69" fmla="*/ 500822 w 4054017"/>
              <a:gd name="connsiteY69" fmla="*/ 685361 h 2402863"/>
              <a:gd name="connsiteX70" fmla="*/ 500822 w 4054017"/>
              <a:gd name="connsiteY70" fmla="*/ 695797 h 2402863"/>
              <a:gd name="connsiteX71" fmla="*/ 513406 w 4054017"/>
              <a:gd name="connsiteY71" fmla="*/ 695797 h 2402863"/>
              <a:gd name="connsiteX72" fmla="*/ 513406 w 4054017"/>
              <a:gd name="connsiteY72" fmla="*/ 719950 h 2402863"/>
              <a:gd name="connsiteX73" fmla="*/ 536874 w 4054017"/>
              <a:gd name="connsiteY73" fmla="*/ 719950 h 2402863"/>
              <a:gd name="connsiteX74" fmla="*/ 536874 w 4054017"/>
              <a:gd name="connsiteY74" fmla="*/ 737244 h 2402863"/>
              <a:gd name="connsiteX75" fmla="*/ 562212 w 4054017"/>
              <a:gd name="connsiteY75" fmla="*/ 737244 h 2402863"/>
              <a:gd name="connsiteX76" fmla="*/ 562212 w 4054017"/>
              <a:gd name="connsiteY76" fmla="*/ 746189 h 2402863"/>
              <a:gd name="connsiteX77" fmla="*/ 574797 w 4054017"/>
              <a:gd name="connsiteY77" fmla="*/ 746189 h 2402863"/>
              <a:gd name="connsiteX78" fmla="*/ 574797 w 4054017"/>
              <a:gd name="connsiteY78" fmla="*/ 759309 h 2402863"/>
              <a:gd name="connsiteX79" fmla="*/ 585000 w 4054017"/>
              <a:gd name="connsiteY79" fmla="*/ 759309 h 2402863"/>
              <a:gd name="connsiteX80" fmla="*/ 585000 w 4054017"/>
              <a:gd name="connsiteY80" fmla="*/ 796581 h 2402863"/>
              <a:gd name="connsiteX81" fmla="*/ 601496 w 4054017"/>
              <a:gd name="connsiteY81" fmla="*/ 796581 h 2402863"/>
              <a:gd name="connsiteX82" fmla="*/ 601496 w 4054017"/>
              <a:gd name="connsiteY82" fmla="*/ 811043 h 2402863"/>
              <a:gd name="connsiteX83" fmla="*/ 618842 w 4054017"/>
              <a:gd name="connsiteY83" fmla="*/ 811043 h 2402863"/>
              <a:gd name="connsiteX84" fmla="*/ 618842 w 4054017"/>
              <a:gd name="connsiteY84" fmla="*/ 840711 h 2402863"/>
              <a:gd name="connsiteX85" fmla="*/ 632957 w 4054017"/>
              <a:gd name="connsiteY85" fmla="*/ 840711 h 2402863"/>
              <a:gd name="connsiteX86" fmla="*/ 632957 w 4054017"/>
              <a:gd name="connsiteY86" fmla="*/ 855919 h 2402863"/>
              <a:gd name="connsiteX87" fmla="*/ 644011 w 4054017"/>
              <a:gd name="connsiteY87" fmla="*/ 855919 h 2402863"/>
              <a:gd name="connsiteX88" fmla="*/ 644011 w 4054017"/>
              <a:gd name="connsiteY88" fmla="*/ 882904 h 2402863"/>
              <a:gd name="connsiteX89" fmla="*/ 665268 w 4054017"/>
              <a:gd name="connsiteY89" fmla="*/ 882904 h 2402863"/>
              <a:gd name="connsiteX90" fmla="*/ 665268 w 4054017"/>
              <a:gd name="connsiteY90" fmla="*/ 899452 h 2402863"/>
              <a:gd name="connsiteX91" fmla="*/ 677852 w 4054017"/>
              <a:gd name="connsiteY91" fmla="*/ 899452 h 2402863"/>
              <a:gd name="connsiteX92" fmla="*/ 677852 w 4054017"/>
              <a:gd name="connsiteY92" fmla="*/ 919430 h 2402863"/>
              <a:gd name="connsiteX93" fmla="*/ 692817 w 4054017"/>
              <a:gd name="connsiteY93" fmla="*/ 919430 h 2402863"/>
              <a:gd name="connsiteX94" fmla="*/ 692817 w 4054017"/>
              <a:gd name="connsiteY94" fmla="*/ 933296 h 2402863"/>
              <a:gd name="connsiteX95" fmla="*/ 709313 w 4054017"/>
              <a:gd name="connsiteY95" fmla="*/ 933296 h 2402863"/>
              <a:gd name="connsiteX96" fmla="*/ 709313 w 4054017"/>
              <a:gd name="connsiteY96" fmla="*/ 944925 h 2402863"/>
              <a:gd name="connsiteX97" fmla="*/ 736182 w 4054017"/>
              <a:gd name="connsiteY97" fmla="*/ 944925 h 2402863"/>
              <a:gd name="connsiteX98" fmla="*/ 736182 w 4054017"/>
              <a:gd name="connsiteY98" fmla="*/ 956702 h 2402863"/>
              <a:gd name="connsiteX99" fmla="*/ 751827 w 4054017"/>
              <a:gd name="connsiteY99" fmla="*/ 956702 h 2402863"/>
              <a:gd name="connsiteX100" fmla="*/ 751827 w 4054017"/>
              <a:gd name="connsiteY100" fmla="*/ 980855 h 2402863"/>
              <a:gd name="connsiteX101" fmla="*/ 768493 w 4054017"/>
              <a:gd name="connsiteY101" fmla="*/ 980855 h 2402863"/>
              <a:gd name="connsiteX102" fmla="*/ 768493 w 4054017"/>
              <a:gd name="connsiteY102" fmla="*/ 994720 h 2402863"/>
              <a:gd name="connsiteX103" fmla="*/ 792131 w 4054017"/>
              <a:gd name="connsiteY103" fmla="*/ 994720 h 2402863"/>
              <a:gd name="connsiteX104" fmla="*/ 792131 w 4054017"/>
              <a:gd name="connsiteY104" fmla="*/ 1004262 h 2402863"/>
              <a:gd name="connsiteX105" fmla="*/ 819681 w 4054017"/>
              <a:gd name="connsiteY105" fmla="*/ 1004262 h 2402863"/>
              <a:gd name="connsiteX106" fmla="*/ 819681 w 4054017"/>
              <a:gd name="connsiteY106" fmla="*/ 1015443 h 2402863"/>
              <a:gd name="connsiteX107" fmla="*/ 835326 w 4054017"/>
              <a:gd name="connsiteY107" fmla="*/ 1015443 h 2402863"/>
              <a:gd name="connsiteX108" fmla="*/ 835326 w 4054017"/>
              <a:gd name="connsiteY108" fmla="*/ 1035421 h 2402863"/>
              <a:gd name="connsiteX109" fmla="*/ 849611 w 4054017"/>
              <a:gd name="connsiteY109" fmla="*/ 1035421 h 2402863"/>
              <a:gd name="connsiteX110" fmla="*/ 849611 w 4054017"/>
              <a:gd name="connsiteY110" fmla="*/ 1054654 h 2402863"/>
              <a:gd name="connsiteX111" fmla="*/ 870018 w 4054017"/>
              <a:gd name="connsiteY111" fmla="*/ 1054654 h 2402863"/>
              <a:gd name="connsiteX112" fmla="*/ 870018 w 4054017"/>
              <a:gd name="connsiteY112" fmla="*/ 1082981 h 2402863"/>
              <a:gd name="connsiteX113" fmla="*/ 885833 w 4054017"/>
              <a:gd name="connsiteY113" fmla="*/ 1082981 h 2402863"/>
              <a:gd name="connsiteX114" fmla="*/ 885833 w 4054017"/>
              <a:gd name="connsiteY114" fmla="*/ 1094013 h 2402863"/>
              <a:gd name="connsiteX115" fmla="*/ 895186 w 4054017"/>
              <a:gd name="connsiteY115" fmla="*/ 1094013 h 2402863"/>
              <a:gd name="connsiteX116" fmla="*/ 895186 w 4054017"/>
              <a:gd name="connsiteY116" fmla="*/ 1109220 h 2402863"/>
              <a:gd name="connsiteX117" fmla="*/ 907771 w 4054017"/>
              <a:gd name="connsiteY117" fmla="*/ 1109220 h 2402863"/>
              <a:gd name="connsiteX118" fmla="*/ 907771 w 4054017"/>
              <a:gd name="connsiteY118" fmla="*/ 1129944 h 2402863"/>
              <a:gd name="connsiteX119" fmla="*/ 929878 w 4054017"/>
              <a:gd name="connsiteY119" fmla="*/ 1129944 h 2402863"/>
              <a:gd name="connsiteX120" fmla="*/ 929878 w 4054017"/>
              <a:gd name="connsiteY120" fmla="*/ 1145896 h 2402863"/>
              <a:gd name="connsiteX121" fmla="*/ 944844 w 4054017"/>
              <a:gd name="connsiteY121" fmla="*/ 1145896 h 2402863"/>
              <a:gd name="connsiteX122" fmla="*/ 944844 w 4054017"/>
              <a:gd name="connsiteY122" fmla="*/ 1158271 h 2402863"/>
              <a:gd name="connsiteX123" fmla="*/ 955897 w 4054017"/>
              <a:gd name="connsiteY123" fmla="*/ 1158271 h 2402863"/>
              <a:gd name="connsiteX124" fmla="*/ 955897 w 4054017"/>
              <a:gd name="connsiteY124" fmla="*/ 1167216 h 2402863"/>
              <a:gd name="connsiteX125" fmla="*/ 980216 w 4054017"/>
              <a:gd name="connsiteY125" fmla="*/ 1167216 h 2402863"/>
              <a:gd name="connsiteX126" fmla="*/ 980216 w 4054017"/>
              <a:gd name="connsiteY126" fmla="*/ 1182423 h 2402863"/>
              <a:gd name="connsiteX127" fmla="*/ 1005384 w 4054017"/>
              <a:gd name="connsiteY127" fmla="*/ 1182423 h 2402863"/>
              <a:gd name="connsiteX128" fmla="*/ 1005384 w 4054017"/>
              <a:gd name="connsiteY128" fmla="*/ 1191368 h 2402863"/>
              <a:gd name="connsiteX129" fmla="*/ 1017969 w 4054017"/>
              <a:gd name="connsiteY129" fmla="*/ 1191368 h 2402863"/>
              <a:gd name="connsiteX130" fmla="*/ 1017969 w 4054017"/>
              <a:gd name="connsiteY130" fmla="*/ 1207917 h 2402863"/>
              <a:gd name="connsiteX131" fmla="*/ 1031403 w 4054017"/>
              <a:gd name="connsiteY131" fmla="*/ 1207917 h 2402863"/>
              <a:gd name="connsiteX132" fmla="*/ 1031403 w 4054017"/>
              <a:gd name="connsiteY132" fmla="*/ 1220441 h 2402863"/>
              <a:gd name="connsiteX133" fmla="*/ 1044838 w 4054017"/>
              <a:gd name="connsiteY133" fmla="*/ 1220441 h 2402863"/>
              <a:gd name="connsiteX134" fmla="*/ 1044838 w 4054017"/>
              <a:gd name="connsiteY134" fmla="*/ 1234902 h 2402863"/>
              <a:gd name="connsiteX135" fmla="*/ 1080210 w 4054017"/>
              <a:gd name="connsiteY135" fmla="*/ 1234902 h 2402863"/>
              <a:gd name="connsiteX136" fmla="*/ 1080210 w 4054017"/>
              <a:gd name="connsiteY136" fmla="*/ 1248618 h 2402863"/>
              <a:gd name="connsiteX137" fmla="*/ 1098406 w 4054017"/>
              <a:gd name="connsiteY137" fmla="*/ 1248618 h 2402863"/>
              <a:gd name="connsiteX138" fmla="*/ 1098406 w 4054017"/>
              <a:gd name="connsiteY138" fmla="*/ 1260396 h 2402863"/>
              <a:gd name="connsiteX139" fmla="*/ 1123575 w 4054017"/>
              <a:gd name="connsiteY139" fmla="*/ 1260396 h 2402863"/>
              <a:gd name="connsiteX140" fmla="*/ 1123575 w 4054017"/>
              <a:gd name="connsiteY140" fmla="*/ 1289469 h 2402863"/>
              <a:gd name="connsiteX141" fmla="*/ 1136159 w 4054017"/>
              <a:gd name="connsiteY141" fmla="*/ 1289469 h 2402863"/>
              <a:gd name="connsiteX142" fmla="*/ 1136159 w 4054017"/>
              <a:gd name="connsiteY142" fmla="*/ 1317050 h 2402863"/>
              <a:gd name="connsiteX143" fmla="*/ 1162858 w 4054017"/>
              <a:gd name="connsiteY143" fmla="*/ 1317050 h 2402863"/>
              <a:gd name="connsiteX144" fmla="*/ 1162858 w 4054017"/>
              <a:gd name="connsiteY144" fmla="*/ 1328828 h 2402863"/>
              <a:gd name="connsiteX145" fmla="*/ 1173912 w 4054017"/>
              <a:gd name="connsiteY145" fmla="*/ 1328828 h 2402863"/>
              <a:gd name="connsiteX146" fmla="*/ 1173912 w 4054017"/>
              <a:gd name="connsiteY146" fmla="*/ 1341799 h 2402863"/>
              <a:gd name="connsiteX147" fmla="*/ 1190408 w 4054017"/>
              <a:gd name="connsiteY147" fmla="*/ 1341799 h 2402863"/>
              <a:gd name="connsiteX148" fmla="*/ 1190408 w 4054017"/>
              <a:gd name="connsiteY148" fmla="*/ 1364013 h 2402863"/>
              <a:gd name="connsiteX149" fmla="*/ 1225099 w 4054017"/>
              <a:gd name="connsiteY149" fmla="*/ 1364013 h 2402863"/>
              <a:gd name="connsiteX150" fmla="*/ 1225099 w 4054017"/>
              <a:gd name="connsiteY150" fmla="*/ 1386078 h 2402863"/>
              <a:gd name="connsiteX151" fmla="*/ 1236153 w 4054017"/>
              <a:gd name="connsiteY151" fmla="*/ 1386078 h 2402863"/>
              <a:gd name="connsiteX152" fmla="*/ 1236153 w 4054017"/>
              <a:gd name="connsiteY152" fmla="*/ 1414405 h 2402863"/>
              <a:gd name="connsiteX153" fmla="*/ 1248738 w 4054017"/>
              <a:gd name="connsiteY153" fmla="*/ 1414405 h 2402863"/>
              <a:gd name="connsiteX154" fmla="*/ 1248738 w 4054017"/>
              <a:gd name="connsiteY154" fmla="*/ 1425438 h 2402863"/>
              <a:gd name="connsiteX155" fmla="*/ 1263703 w 4054017"/>
              <a:gd name="connsiteY155" fmla="*/ 1425438 h 2402863"/>
              <a:gd name="connsiteX156" fmla="*/ 1263703 w 4054017"/>
              <a:gd name="connsiteY156" fmla="*/ 1441986 h 2402863"/>
              <a:gd name="connsiteX157" fmla="*/ 1276287 w 4054017"/>
              <a:gd name="connsiteY157" fmla="*/ 1441986 h 2402863"/>
              <a:gd name="connsiteX158" fmla="*/ 1276287 w 4054017"/>
              <a:gd name="connsiteY158" fmla="*/ 1466139 h 2402863"/>
              <a:gd name="connsiteX159" fmla="*/ 1298395 w 4054017"/>
              <a:gd name="connsiteY159" fmla="*/ 1466139 h 2402863"/>
              <a:gd name="connsiteX160" fmla="*/ 1298395 w 4054017"/>
              <a:gd name="connsiteY160" fmla="*/ 1488204 h 2402863"/>
              <a:gd name="connsiteX161" fmla="*/ 1340059 w 4054017"/>
              <a:gd name="connsiteY161" fmla="*/ 1488204 h 2402863"/>
              <a:gd name="connsiteX162" fmla="*/ 1340059 w 4054017"/>
              <a:gd name="connsiteY162" fmla="*/ 1501324 h 2402863"/>
              <a:gd name="connsiteX163" fmla="*/ 1358935 w 4054017"/>
              <a:gd name="connsiteY163" fmla="*/ 1501324 h 2402863"/>
              <a:gd name="connsiteX164" fmla="*/ 1358935 w 4054017"/>
              <a:gd name="connsiteY164" fmla="*/ 1523389 h 2402863"/>
              <a:gd name="connsiteX165" fmla="*/ 1442434 w 4054017"/>
              <a:gd name="connsiteY165" fmla="*/ 1523389 h 2402863"/>
              <a:gd name="connsiteX166" fmla="*/ 1442434 w 4054017"/>
              <a:gd name="connsiteY166" fmla="*/ 1539938 h 2402863"/>
              <a:gd name="connsiteX167" fmla="*/ 1451787 w 4054017"/>
              <a:gd name="connsiteY167" fmla="*/ 1539938 h 2402863"/>
              <a:gd name="connsiteX168" fmla="*/ 1451787 w 4054017"/>
              <a:gd name="connsiteY168" fmla="*/ 1550970 h 2402863"/>
              <a:gd name="connsiteX169" fmla="*/ 1480187 w 4054017"/>
              <a:gd name="connsiteY169" fmla="*/ 1550970 h 2402863"/>
              <a:gd name="connsiteX170" fmla="*/ 1480187 w 4054017"/>
              <a:gd name="connsiteY170" fmla="*/ 1574526 h 2402863"/>
              <a:gd name="connsiteX171" fmla="*/ 1490390 w 4054017"/>
              <a:gd name="connsiteY171" fmla="*/ 1574526 h 2402863"/>
              <a:gd name="connsiteX172" fmla="*/ 1490390 w 4054017"/>
              <a:gd name="connsiteY172" fmla="*/ 1590330 h 2402863"/>
              <a:gd name="connsiteX173" fmla="*/ 1503825 w 4054017"/>
              <a:gd name="connsiteY173" fmla="*/ 1590330 h 2402863"/>
              <a:gd name="connsiteX174" fmla="*/ 1503825 w 4054017"/>
              <a:gd name="connsiteY174" fmla="*/ 1607624 h 2402863"/>
              <a:gd name="connsiteX175" fmla="*/ 1534605 w 4054017"/>
              <a:gd name="connsiteY175" fmla="*/ 1607624 h 2402863"/>
              <a:gd name="connsiteX176" fmla="*/ 1534605 w 4054017"/>
              <a:gd name="connsiteY176" fmla="*/ 1627602 h 2402863"/>
              <a:gd name="connsiteX177" fmla="*/ 1549571 w 4054017"/>
              <a:gd name="connsiteY177" fmla="*/ 1627602 h 2402863"/>
              <a:gd name="connsiteX178" fmla="*/ 1549571 w 4054017"/>
              <a:gd name="connsiteY178" fmla="*/ 1639380 h 2402863"/>
              <a:gd name="connsiteX179" fmla="*/ 1562835 w 4054017"/>
              <a:gd name="connsiteY179" fmla="*/ 1639380 h 2402863"/>
              <a:gd name="connsiteX180" fmla="*/ 1562835 w 4054017"/>
              <a:gd name="connsiteY180" fmla="*/ 1652500 h 2402863"/>
              <a:gd name="connsiteX181" fmla="*/ 1569978 w 4054017"/>
              <a:gd name="connsiteY181" fmla="*/ 1652500 h 2402863"/>
              <a:gd name="connsiteX182" fmla="*/ 1569978 w 4054017"/>
              <a:gd name="connsiteY182" fmla="*/ 1661445 h 2402863"/>
              <a:gd name="connsiteX183" fmla="*/ 1615723 w 4054017"/>
              <a:gd name="connsiteY183" fmla="*/ 1661445 h 2402863"/>
              <a:gd name="connsiteX184" fmla="*/ 1615723 w 4054017"/>
              <a:gd name="connsiteY184" fmla="*/ 1674565 h 2402863"/>
              <a:gd name="connsiteX185" fmla="*/ 1640042 w 4054017"/>
              <a:gd name="connsiteY185" fmla="*/ 1674565 h 2402863"/>
              <a:gd name="connsiteX186" fmla="*/ 1640042 w 4054017"/>
              <a:gd name="connsiteY186" fmla="*/ 1694543 h 2402863"/>
              <a:gd name="connsiteX187" fmla="*/ 1717248 w 4054017"/>
              <a:gd name="connsiteY187" fmla="*/ 1694543 h 2402863"/>
              <a:gd name="connsiteX188" fmla="*/ 1717248 w 4054017"/>
              <a:gd name="connsiteY188" fmla="*/ 1711092 h 2402863"/>
              <a:gd name="connsiteX189" fmla="*/ 1739186 w 4054017"/>
              <a:gd name="connsiteY189" fmla="*/ 1711092 h 2402863"/>
              <a:gd name="connsiteX190" fmla="*/ 1739186 w 4054017"/>
              <a:gd name="connsiteY190" fmla="*/ 1725702 h 2402863"/>
              <a:gd name="connsiteX191" fmla="*/ 1752620 w 4054017"/>
              <a:gd name="connsiteY191" fmla="*/ 1725702 h 2402863"/>
              <a:gd name="connsiteX192" fmla="*/ 1752620 w 4054017"/>
              <a:gd name="connsiteY192" fmla="*/ 1747767 h 2402863"/>
              <a:gd name="connsiteX193" fmla="*/ 1762823 w 4054017"/>
              <a:gd name="connsiteY193" fmla="*/ 1747767 h 2402863"/>
              <a:gd name="connsiteX194" fmla="*/ 1762823 w 4054017"/>
              <a:gd name="connsiteY194" fmla="*/ 1771920 h 2402863"/>
              <a:gd name="connsiteX195" fmla="*/ 1827446 w 4054017"/>
              <a:gd name="connsiteY195" fmla="*/ 1771920 h 2402863"/>
              <a:gd name="connsiteX196" fmla="*/ 1827446 w 4054017"/>
              <a:gd name="connsiteY196" fmla="*/ 1786381 h 2402863"/>
              <a:gd name="connsiteX197" fmla="*/ 1894449 w 4054017"/>
              <a:gd name="connsiteY197" fmla="*/ 1786381 h 2402863"/>
              <a:gd name="connsiteX198" fmla="*/ 1894449 w 4054017"/>
              <a:gd name="connsiteY198" fmla="*/ 1798756 h 2402863"/>
              <a:gd name="connsiteX199" fmla="*/ 1937644 w 4054017"/>
              <a:gd name="connsiteY199" fmla="*/ 1798756 h 2402863"/>
              <a:gd name="connsiteX200" fmla="*/ 1937644 w 4054017"/>
              <a:gd name="connsiteY200" fmla="*/ 1816795 h 2402863"/>
              <a:gd name="connsiteX201" fmla="*/ 1950228 w 4054017"/>
              <a:gd name="connsiteY201" fmla="*/ 1816795 h 2402863"/>
              <a:gd name="connsiteX202" fmla="*/ 1950228 w 4054017"/>
              <a:gd name="connsiteY202" fmla="*/ 1834090 h 2402863"/>
              <a:gd name="connsiteX203" fmla="*/ 1987301 w 4054017"/>
              <a:gd name="connsiteY203" fmla="*/ 1834090 h 2402863"/>
              <a:gd name="connsiteX204" fmla="*/ 1987301 w 4054017"/>
              <a:gd name="connsiteY204" fmla="*/ 1847806 h 2402863"/>
              <a:gd name="connsiteX205" fmla="*/ 2010088 w 4054017"/>
              <a:gd name="connsiteY205" fmla="*/ 1847806 h 2402863"/>
              <a:gd name="connsiteX206" fmla="*/ 2010088 w 4054017"/>
              <a:gd name="connsiteY206" fmla="*/ 1871362 h 2402863"/>
              <a:gd name="connsiteX207" fmla="*/ 2066037 w 4054017"/>
              <a:gd name="connsiteY207" fmla="*/ 1871362 h 2402863"/>
              <a:gd name="connsiteX208" fmla="*/ 2066037 w 4054017"/>
              <a:gd name="connsiteY208" fmla="*/ 1886420 h 2402863"/>
              <a:gd name="connsiteX209" fmla="*/ 2106171 w 4054017"/>
              <a:gd name="connsiteY209" fmla="*/ 1886420 h 2402863"/>
              <a:gd name="connsiteX210" fmla="*/ 2106171 w 4054017"/>
              <a:gd name="connsiteY210" fmla="*/ 1897453 h 2402863"/>
              <a:gd name="connsiteX211" fmla="*/ 2125898 w 4054017"/>
              <a:gd name="connsiteY211" fmla="*/ 1897453 h 2402863"/>
              <a:gd name="connsiteX212" fmla="*/ 2125898 w 4054017"/>
              <a:gd name="connsiteY212" fmla="*/ 1922350 h 2402863"/>
              <a:gd name="connsiteX213" fmla="*/ 2191200 w 4054017"/>
              <a:gd name="connsiteY213" fmla="*/ 1922350 h 2402863"/>
              <a:gd name="connsiteX214" fmla="*/ 2191200 w 4054017"/>
              <a:gd name="connsiteY214" fmla="*/ 1947845 h 2402863"/>
              <a:gd name="connsiteX215" fmla="*/ 2241538 w 4054017"/>
              <a:gd name="connsiteY215" fmla="*/ 1947845 h 2402863"/>
              <a:gd name="connsiteX216" fmla="*/ 2241538 w 4054017"/>
              <a:gd name="connsiteY216" fmla="*/ 1967226 h 2402863"/>
              <a:gd name="connsiteX217" fmla="*/ 2275379 w 4054017"/>
              <a:gd name="connsiteY217" fmla="*/ 1967226 h 2402863"/>
              <a:gd name="connsiteX218" fmla="*/ 2275379 w 4054017"/>
              <a:gd name="connsiteY218" fmla="*/ 1982433 h 2402863"/>
              <a:gd name="connsiteX219" fmla="*/ 2295956 w 4054017"/>
              <a:gd name="connsiteY219" fmla="*/ 1982433 h 2402863"/>
              <a:gd name="connsiteX220" fmla="*/ 2295956 w 4054017"/>
              <a:gd name="connsiteY220" fmla="*/ 2007927 h 2402863"/>
              <a:gd name="connsiteX221" fmla="*/ 2325886 w 4054017"/>
              <a:gd name="connsiteY221" fmla="*/ 2007927 h 2402863"/>
              <a:gd name="connsiteX222" fmla="*/ 2325886 w 4054017"/>
              <a:gd name="connsiteY222" fmla="*/ 2018960 h 2402863"/>
              <a:gd name="connsiteX223" fmla="*/ 2362109 w 4054017"/>
              <a:gd name="connsiteY223" fmla="*/ 2018960 h 2402863"/>
              <a:gd name="connsiteX224" fmla="*/ 2362109 w 4054017"/>
              <a:gd name="connsiteY224" fmla="*/ 2034167 h 2402863"/>
              <a:gd name="connsiteX225" fmla="*/ 2410915 w 4054017"/>
              <a:gd name="connsiteY225" fmla="*/ 2034167 h 2402863"/>
              <a:gd name="connsiteX226" fmla="*/ 2410915 w 4054017"/>
              <a:gd name="connsiteY226" fmla="*/ 2056977 h 2402863"/>
              <a:gd name="connsiteX227" fmla="*/ 2446288 w 4054017"/>
              <a:gd name="connsiteY227" fmla="*/ 2056977 h 2402863"/>
              <a:gd name="connsiteX228" fmla="*/ 2446288 w 4054017"/>
              <a:gd name="connsiteY228" fmla="*/ 2065923 h 2402863"/>
              <a:gd name="connsiteX229" fmla="*/ 2474687 w 4054017"/>
              <a:gd name="connsiteY229" fmla="*/ 2065923 h 2402863"/>
              <a:gd name="connsiteX230" fmla="*/ 2474687 w 4054017"/>
              <a:gd name="connsiteY230" fmla="*/ 2097679 h 2402863"/>
              <a:gd name="connsiteX231" fmla="*/ 2516352 w 4054017"/>
              <a:gd name="connsiteY231" fmla="*/ 2097679 h 2402863"/>
              <a:gd name="connsiteX232" fmla="*/ 2516352 w 4054017"/>
              <a:gd name="connsiteY232" fmla="*/ 2105282 h 2402863"/>
              <a:gd name="connsiteX233" fmla="*/ 2554955 w 4054017"/>
              <a:gd name="connsiteY233" fmla="*/ 2105282 h 2402863"/>
              <a:gd name="connsiteX234" fmla="*/ 2554955 w 4054017"/>
              <a:gd name="connsiteY234" fmla="*/ 2120489 h 2402863"/>
              <a:gd name="connsiteX235" fmla="*/ 2613285 w 4054017"/>
              <a:gd name="connsiteY235" fmla="*/ 2120489 h 2402863"/>
              <a:gd name="connsiteX236" fmla="*/ 2613285 w 4054017"/>
              <a:gd name="connsiteY236" fmla="*/ 2137038 h 2402863"/>
              <a:gd name="connsiteX237" fmla="*/ 2634542 w 4054017"/>
              <a:gd name="connsiteY237" fmla="*/ 2137038 h 2402863"/>
              <a:gd name="connsiteX238" fmla="*/ 2634542 w 4054017"/>
              <a:gd name="connsiteY238" fmla="*/ 2151500 h 2402863"/>
              <a:gd name="connsiteX239" fmla="*/ 2755793 w 4054017"/>
              <a:gd name="connsiteY239" fmla="*/ 2151500 h 2402863"/>
              <a:gd name="connsiteX240" fmla="*/ 2755793 w 4054017"/>
              <a:gd name="connsiteY240" fmla="*/ 2174310 h 2402863"/>
              <a:gd name="connsiteX241" fmla="*/ 2800519 w 4054017"/>
              <a:gd name="connsiteY241" fmla="*/ 2174310 h 2402863"/>
              <a:gd name="connsiteX242" fmla="*/ 2800519 w 4054017"/>
              <a:gd name="connsiteY242" fmla="*/ 2191605 h 2402863"/>
              <a:gd name="connsiteX243" fmla="*/ 2851026 w 4054017"/>
              <a:gd name="connsiteY243" fmla="*/ 2191605 h 2402863"/>
              <a:gd name="connsiteX244" fmla="*/ 2851026 w 4054017"/>
              <a:gd name="connsiteY244" fmla="*/ 2203979 h 2402863"/>
              <a:gd name="connsiteX245" fmla="*/ 2877725 w 4054017"/>
              <a:gd name="connsiteY245" fmla="*/ 2203979 h 2402863"/>
              <a:gd name="connsiteX246" fmla="*/ 2877725 w 4054017"/>
              <a:gd name="connsiteY246" fmla="*/ 2229622 h 2402863"/>
              <a:gd name="connsiteX247" fmla="*/ 2898983 w 4054017"/>
              <a:gd name="connsiteY247" fmla="*/ 2229622 h 2402863"/>
              <a:gd name="connsiteX248" fmla="*/ 2898983 w 4054017"/>
              <a:gd name="connsiteY248" fmla="*/ 2247513 h 2402863"/>
              <a:gd name="connsiteX249" fmla="*/ 2981631 w 4054017"/>
              <a:gd name="connsiteY249" fmla="*/ 2247513 h 2402863"/>
              <a:gd name="connsiteX250" fmla="*/ 2981631 w 4054017"/>
              <a:gd name="connsiteY250" fmla="*/ 2262720 h 2402863"/>
              <a:gd name="connsiteX251" fmla="*/ 3163593 w 4054017"/>
              <a:gd name="connsiteY251" fmla="*/ 2262720 h 2402863"/>
              <a:gd name="connsiteX252" fmla="*/ 3163593 w 4054017"/>
              <a:gd name="connsiteY252" fmla="*/ 2281952 h 2402863"/>
              <a:gd name="connsiteX253" fmla="*/ 3306952 w 4054017"/>
              <a:gd name="connsiteY253" fmla="*/ 2281952 h 2402863"/>
              <a:gd name="connsiteX254" fmla="*/ 3306952 w 4054017"/>
              <a:gd name="connsiteY254" fmla="*/ 2308937 h 2402863"/>
              <a:gd name="connsiteX255" fmla="*/ 3475310 w 4054017"/>
              <a:gd name="connsiteY255" fmla="*/ 2308937 h 2402863"/>
              <a:gd name="connsiteX256" fmla="*/ 3475310 w 4054017"/>
              <a:gd name="connsiteY256" fmla="*/ 2328915 h 2402863"/>
              <a:gd name="connsiteX257" fmla="*/ 3491976 w 4054017"/>
              <a:gd name="connsiteY257" fmla="*/ 2328915 h 2402863"/>
              <a:gd name="connsiteX258" fmla="*/ 3491976 w 4054017"/>
              <a:gd name="connsiteY258" fmla="*/ 2369617 h 2402863"/>
              <a:gd name="connsiteX259" fmla="*/ 3498268 w 4054017"/>
              <a:gd name="connsiteY259" fmla="*/ 2369617 h 2402863"/>
              <a:gd name="connsiteX260" fmla="*/ 3498268 w 4054017"/>
              <a:gd name="connsiteY260" fmla="*/ 2402863 h 2402863"/>
              <a:gd name="connsiteX261" fmla="*/ 3633634 w 4054017"/>
              <a:gd name="connsiteY261" fmla="*/ 2402863 h 2402863"/>
              <a:gd name="connsiteX262" fmla="*/ 4054018 w 4054017"/>
              <a:gd name="connsiteY262" fmla="*/ 2402863 h 2402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Lst>
            <a:rect l="l" t="t" r="r" b="b"/>
            <a:pathLst>
              <a:path w="4054017" h="2402863">
                <a:moveTo>
                  <a:pt x="0" y="0"/>
                </a:moveTo>
                <a:lnTo>
                  <a:pt x="11054" y="0"/>
                </a:lnTo>
                <a:lnTo>
                  <a:pt x="11054" y="15803"/>
                </a:lnTo>
                <a:lnTo>
                  <a:pt x="23638" y="15803"/>
                </a:lnTo>
                <a:lnTo>
                  <a:pt x="23638" y="28327"/>
                </a:lnTo>
                <a:lnTo>
                  <a:pt x="47956" y="28327"/>
                </a:lnTo>
                <a:lnTo>
                  <a:pt x="47956" y="42788"/>
                </a:lnTo>
                <a:lnTo>
                  <a:pt x="58160" y="42788"/>
                </a:lnTo>
                <a:lnTo>
                  <a:pt x="58160" y="54566"/>
                </a:lnTo>
                <a:lnTo>
                  <a:pt x="75506" y="54566"/>
                </a:lnTo>
                <a:lnTo>
                  <a:pt x="75506" y="68283"/>
                </a:lnTo>
                <a:lnTo>
                  <a:pt x="88940" y="68283"/>
                </a:lnTo>
                <a:lnTo>
                  <a:pt x="88940" y="80806"/>
                </a:lnTo>
                <a:lnTo>
                  <a:pt x="99994" y="80806"/>
                </a:lnTo>
                <a:lnTo>
                  <a:pt x="99994" y="97951"/>
                </a:lnTo>
                <a:lnTo>
                  <a:pt x="111048" y="97951"/>
                </a:lnTo>
                <a:lnTo>
                  <a:pt x="111048" y="127620"/>
                </a:lnTo>
                <a:lnTo>
                  <a:pt x="125163" y="127620"/>
                </a:lnTo>
                <a:lnTo>
                  <a:pt x="125163" y="144914"/>
                </a:lnTo>
                <a:lnTo>
                  <a:pt x="134686" y="144914"/>
                </a:lnTo>
                <a:lnTo>
                  <a:pt x="134686" y="176670"/>
                </a:lnTo>
                <a:lnTo>
                  <a:pt x="149651" y="176670"/>
                </a:lnTo>
                <a:lnTo>
                  <a:pt x="149651" y="189790"/>
                </a:lnTo>
                <a:lnTo>
                  <a:pt x="160535" y="189790"/>
                </a:lnTo>
                <a:lnTo>
                  <a:pt x="160535" y="205742"/>
                </a:lnTo>
                <a:lnTo>
                  <a:pt x="184173" y="205742"/>
                </a:lnTo>
                <a:lnTo>
                  <a:pt x="184173" y="238095"/>
                </a:lnTo>
                <a:lnTo>
                  <a:pt x="196077" y="238095"/>
                </a:lnTo>
                <a:lnTo>
                  <a:pt x="196077" y="254047"/>
                </a:lnTo>
                <a:lnTo>
                  <a:pt x="209512" y="254047"/>
                </a:lnTo>
                <a:lnTo>
                  <a:pt x="209512" y="261651"/>
                </a:lnTo>
                <a:lnTo>
                  <a:pt x="225157" y="261651"/>
                </a:lnTo>
                <a:lnTo>
                  <a:pt x="225157" y="274771"/>
                </a:lnTo>
                <a:lnTo>
                  <a:pt x="235361" y="274771"/>
                </a:lnTo>
                <a:lnTo>
                  <a:pt x="235361" y="285803"/>
                </a:lnTo>
                <a:lnTo>
                  <a:pt x="259849" y="285803"/>
                </a:lnTo>
                <a:lnTo>
                  <a:pt x="259849" y="304439"/>
                </a:lnTo>
                <a:lnTo>
                  <a:pt x="273964" y="304439"/>
                </a:lnTo>
                <a:lnTo>
                  <a:pt x="273964" y="328592"/>
                </a:lnTo>
                <a:lnTo>
                  <a:pt x="281106" y="328592"/>
                </a:lnTo>
                <a:lnTo>
                  <a:pt x="281106" y="341711"/>
                </a:lnTo>
                <a:lnTo>
                  <a:pt x="303894" y="341711"/>
                </a:lnTo>
                <a:lnTo>
                  <a:pt x="303894" y="363031"/>
                </a:lnTo>
                <a:lnTo>
                  <a:pt x="316478" y="363031"/>
                </a:lnTo>
                <a:lnTo>
                  <a:pt x="316478" y="391358"/>
                </a:lnTo>
                <a:lnTo>
                  <a:pt x="326682" y="391358"/>
                </a:lnTo>
                <a:lnTo>
                  <a:pt x="326682" y="429376"/>
                </a:lnTo>
                <a:lnTo>
                  <a:pt x="342497" y="429376"/>
                </a:lnTo>
                <a:lnTo>
                  <a:pt x="342497" y="447266"/>
                </a:lnTo>
                <a:lnTo>
                  <a:pt x="353551" y="447266"/>
                </a:lnTo>
                <a:lnTo>
                  <a:pt x="353551" y="477680"/>
                </a:lnTo>
                <a:lnTo>
                  <a:pt x="374808" y="477680"/>
                </a:lnTo>
                <a:lnTo>
                  <a:pt x="374808" y="497658"/>
                </a:lnTo>
                <a:lnTo>
                  <a:pt x="390454" y="497658"/>
                </a:lnTo>
                <a:lnTo>
                  <a:pt x="390454" y="521214"/>
                </a:lnTo>
                <a:lnTo>
                  <a:pt x="410180" y="521214"/>
                </a:lnTo>
                <a:lnTo>
                  <a:pt x="410180" y="548050"/>
                </a:lnTo>
                <a:lnTo>
                  <a:pt x="423615" y="548050"/>
                </a:lnTo>
                <a:lnTo>
                  <a:pt x="423615" y="574290"/>
                </a:lnTo>
                <a:lnTo>
                  <a:pt x="438580" y="574290"/>
                </a:lnTo>
                <a:lnTo>
                  <a:pt x="438580" y="604704"/>
                </a:lnTo>
                <a:lnTo>
                  <a:pt x="449634" y="604704"/>
                </a:lnTo>
                <a:lnTo>
                  <a:pt x="449634" y="623936"/>
                </a:lnTo>
                <a:lnTo>
                  <a:pt x="462218" y="623936"/>
                </a:lnTo>
                <a:lnTo>
                  <a:pt x="462218" y="636460"/>
                </a:lnTo>
                <a:lnTo>
                  <a:pt x="474803" y="636460"/>
                </a:lnTo>
                <a:lnTo>
                  <a:pt x="474803" y="669558"/>
                </a:lnTo>
                <a:lnTo>
                  <a:pt x="489768" y="669558"/>
                </a:lnTo>
                <a:lnTo>
                  <a:pt x="489768" y="685361"/>
                </a:lnTo>
                <a:lnTo>
                  <a:pt x="500822" y="685361"/>
                </a:lnTo>
                <a:lnTo>
                  <a:pt x="500822" y="695797"/>
                </a:lnTo>
                <a:lnTo>
                  <a:pt x="513406" y="695797"/>
                </a:lnTo>
                <a:lnTo>
                  <a:pt x="513406" y="719950"/>
                </a:lnTo>
                <a:lnTo>
                  <a:pt x="536874" y="719950"/>
                </a:lnTo>
                <a:lnTo>
                  <a:pt x="536874" y="737244"/>
                </a:lnTo>
                <a:lnTo>
                  <a:pt x="562212" y="737244"/>
                </a:lnTo>
                <a:lnTo>
                  <a:pt x="562212" y="746189"/>
                </a:lnTo>
                <a:lnTo>
                  <a:pt x="574797" y="746189"/>
                </a:lnTo>
                <a:lnTo>
                  <a:pt x="574797" y="759309"/>
                </a:lnTo>
                <a:lnTo>
                  <a:pt x="585000" y="759309"/>
                </a:lnTo>
                <a:lnTo>
                  <a:pt x="585000" y="796581"/>
                </a:lnTo>
                <a:lnTo>
                  <a:pt x="601496" y="796581"/>
                </a:lnTo>
                <a:lnTo>
                  <a:pt x="601496" y="811043"/>
                </a:lnTo>
                <a:lnTo>
                  <a:pt x="618842" y="811043"/>
                </a:lnTo>
                <a:lnTo>
                  <a:pt x="618842" y="840711"/>
                </a:lnTo>
                <a:lnTo>
                  <a:pt x="632957" y="840711"/>
                </a:lnTo>
                <a:lnTo>
                  <a:pt x="632957" y="855919"/>
                </a:lnTo>
                <a:lnTo>
                  <a:pt x="644011" y="855919"/>
                </a:lnTo>
                <a:lnTo>
                  <a:pt x="644011" y="882904"/>
                </a:lnTo>
                <a:lnTo>
                  <a:pt x="665268" y="882904"/>
                </a:lnTo>
                <a:lnTo>
                  <a:pt x="665268" y="899452"/>
                </a:lnTo>
                <a:lnTo>
                  <a:pt x="677852" y="899452"/>
                </a:lnTo>
                <a:lnTo>
                  <a:pt x="677852" y="919430"/>
                </a:lnTo>
                <a:lnTo>
                  <a:pt x="692817" y="919430"/>
                </a:lnTo>
                <a:lnTo>
                  <a:pt x="692817" y="933296"/>
                </a:lnTo>
                <a:lnTo>
                  <a:pt x="709313" y="933296"/>
                </a:lnTo>
                <a:lnTo>
                  <a:pt x="709313" y="944925"/>
                </a:lnTo>
                <a:lnTo>
                  <a:pt x="736182" y="944925"/>
                </a:lnTo>
                <a:lnTo>
                  <a:pt x="736182" y="956702"/>
                </a:lnTo>
                <a:lnTo>
                  <a:pt x="751827" y="956702"/>
                </a:lnTo>
                <a:lnTo>
                  <a:pt x="751827" y="980855"/>
                </a:lnTo>
                <a:lnTo>
                  <a:pt x="768493" y="980855"/>
                </a:lnTo>
                <a:lnTo>
                  <a:pt x="768493" y="994720"/>
                </a:lnTo>
                <a:lnTo>
                  <a:pt x="792131" y="994720"/>
                </a:lnTo>
                <a:lnTo>
                  <a:pt x="792131" y="1004262"/>
                </a:lnTo>
                <a:lnTo>
                  <a:pt x="819681" y="1004262"/>
                </a:lnTo>
                <a:lnTo>
                  <a:pt x="819681" y="1015443"/>
                </a:lnTo>
                <a:lnTo>
                  <a:pt x="835326" y="1015443"/>
                </a:lnTo>
                <a:lnTo>
                  <a:pt x="835326" y="1035421"/>
                </a:lnTo>
                <a:lnTo>
                  <a:pt x="849611" y="1035421"/>
                </a:lnTo>
                <a:lnTo>
                  <a:pt x="849611" y="1054654"/>
                </a:lnTo>
                <a:lnTo>
                  <a:pt x="870018" y="1054654"/>
                </a:lnTo>
                <a:lnTo>
                  <a:pt x="870018" y="1082981"/>
                </a:lnTo>
                <a:lnTo>
                  <a:pt x="885833" y="1082981"/>
                </a:lnTo>
                <a:lnTo>
                  <a:pt x="885833" y="1094013"/>
                </a:lnTo>
                <a:lnTo>
                  <a:pt x="895186" y="1094013"/>
                </a:lnTo>
                <a:lnTo>
                  <a:pt x="895186" y="1109220"/>
                </a:lnTo>
                <a:lnTo>
                  <a:pt x="907771" y="1109220"/>
                </a:lnTo>
                <a:lnTo>
                  <a:pt x="907771" y="1129944"/>
                </a:lnTo>
                <a:lnTo>
                  <a:pt x="929878" y="1129944"/>
                </a:lnTo>
                <a:lnTo>
                  <a:pt x="929878" y="1145896"/>
                </a:lnTo>
                <a:lnTo>
                  <a:pt x="944844" y="1145896"/>
                </a:lnTo>
                <a:lnTo>
                  <a:pt x="944844" y="1158271"/>
                </a:lnTo>
                <a:lnTo>
                  <a:pt x="955897" y="1158271"/>
                </a:lnTo>
                <a:lnTo>
                  <a:pt x="955897" y="1167216"/>
                </a:lnTo>
                <a:lnTo>
                  <a:pt x="980216" y="1167216"/>
                </a:lnTo>
                <a:lnTo>
                  <a:pt x="980216" y="1182423"/>
                </a:lnTo>
                <a:lnTo>
                  <a:pt x="1005384" y="1182423"/>
                </a:lnTo>
                <a:lnTo>
                  <a:pt x="1005384" y="1191368"/>
                </a:lnTo>
                <a:lnTo>
                  <a:pt x="1017969" y="1191368"/>
                </a:lnTo>
                <a:lnTo>
                  <a:pt x="1017969" y="1207917"/>
                </a:lnTo>
                <a:lnTo>
                  <a:pt x="1031403" y="1207917"/>
                </a:lnTo>
                <a:lnTo>
                  <a:pt x="1031403" y="1220441"/>
                </a:lnTo>
                <a:lnTo>
                  <a:pt x="1044838" y="1220441"/>
                </a:lnTo>
                <a:lnTo>
                  <a:pt x="1044838" y="1234902"/>
                </a:lnTo>
                <a:lnTo>
                  <a:pt x="1080210" y="1234902"/>
                </a:lnTo>
                <a:lnTo>
                  <a:pt x="1080210" y="1248618"/>
                </a:lnTo>
                <a:lnTo>
                  <a:pt x="1098406" y="1248618"/>
                </a:lnTo>
                <a:lnTo>
                  <a:pt x="1098406" y="1260396"/>
                </a:lnTo>
                <a:lnTo>
                  <a:pt x="1123575" y="1260396"/>
                </a:lnTo>
                <a:lnTo>
                  <a:pt x="1123575" y="1289469"/>
                </a:lnTo>
                <a:lnTo>
                  <a:pt x="1136159" y="1289469"/>
                </a:lnTo>
                <a:lnTo>
                  <a:pt x="1136159" y="1317050"/>
                </a:lnTo>
                <a:lnTo>
                  <a:pt x="1162858" y="1317050"/>
                </a:lnTo>
                <a:lnTo>
                  <a:pt x="1162858" y="1328828"/>
                </a:lnTo>
                <a:lnTo>
                  <a:pt x="1173912" y="1328828"/>
                </a:lnTo>
                <a:lnTo>
                  <a:pt x="1173912" y="1341799"/>
                </a:lnTo>
                <a:lnTo>
                  <a:pt x="1190408" y="1341799"/>
                </a:lnTo>
                <a:lnTo>
                  <a:pt x="1190408" y="1364013"/>
                </a:lnTo>
                <a:lnTo>
                  <a:pt x="1225099" y="1364013"/>
                </a:lnTo>
                <a:lnTo>
                  <a:pt x="1225099" y="1386078"/>
                </a:lnTo>
                <a:lnTo>
                  <a:pt x="1236153" y="1386078"/>
                </a:lnTo>
                <a:lnTo>
                  <a:pt x="1236153" y="1414405"/>
                </a:lnTo>
                <a:lnTo>
                  <a:pt x="1248738" y="1414405"/>
                </a:lnTo>
                <a:lnTo>
                  <a:pt x="1248738" y="1425438"/>
                </a:lnTo>
                <a:lnTo>
                  <a:pt x="1263703" y="1425438"/>
                </a:lnTo>
                <a:lnTo>
                  <a:pt x="1263703" y="1441986"/>
                </a:lnTo>
                <a:lnTo>
                  <a:pt x="1276287" y="1441986"/>
                </a:lnTo>
                <a:lnTo>
                  <a:pt x="1276287" y="1466139"/>
                </a:lnTo>
                <a:lnTo>
                  <a:pt x="1298395" y="1466139"/>
                </a:lnTo>
                <a:lnTo>
                  <a:pt x="1298395" y="1488204"/>
                </a:lnTo>
                <a:lnTo>
                  <a:pt x="1340059" y="1488204"/>
                </a:lnTo>
                <a:lnTo>
                  <a:pt x="1340059" y="1501324"/>
                </a:lnTo>
                <a:lnTo>
                  <a:pt x="1358935" y="1501324"/>
                </a:lnTo>
                <a:lnTo>
                  <a:pt x="1358935" y="1523389"/>
                </a:lnTo>
                <a:lnTo>
                  <a:pt x="1442434" y="1523389"/>
                </a:lnTo>
                <a:lnTo>
                  <a:pt x="1442434" y="1539938"/>
                </a:lnTo>
                <a:lnTo>
                  <a:pt x="1451787" y="1539938"/>
                </a:lnTo>
                <a:lnTo>
                  <a:pt x="1451787" y="1550970"/>
                </a:lnTo>
                <a:lnTo>
                  <a:pt x="1480187" y="1550970"/>
                </a:lnTo>
                <a:lnTo>
                  <a:pt x="1480187" y="1574526"/>
                </a:lnTo>
                <a:lnTo>
                  <a:pt x="1490390" y="1574526"/>
                </a:lnTo>
                <a:lnTo>
                  <a:pt x="1490390" y="1590330"/>
                </a:lnTo>
                <a:lnTo>
                  <a:pt x="1503825" y="1590330"/>
                </a:lnTo>
                <a:lnTo>
                  <a:pt x="1503825" y="1607624"/>
                </a:lnTo>
                <a:lnTo>
                  <a:pt x="1534605" y="1607624"/>
                </a:lnTo>
                <a:lnTo>
                  <a:pt x="1534605" y="1627602"/>
                </a:lnTo>
                <a:lnTo>
                  <a:pt x="1549571" y="1627602"/>
                </a:lnTo>
                <a:lnTo>
                  <a:pt x="1549571" y="1639380"/>
                </a:lnTo>
                <a:lnTo>
                  <a:pt x="1562835" y="1639380"/>
                </a:lnTo>
                <a:lnTo>
                  <a:pt x="1562835" y="1652500"/>
                </a:lnTo>
                <a:lnTo>
                  <a:pt x="1569978" y="1652500"/>
                </a:lnTo>
                <a:lnTo>
                  <a:pt x="1569978" y="1661445"/>
                </a:lnTo>
                <a:lnTo>
                  <a:pt x="1615723" y="1661445"/>
                </a:lnTo>
                <a:lnTo>
                  <a:pt x="1615723" y="1674565"/>
                </a:lnTo>
                <a:lnTo>
                  <a:pt x="1640042" y="1674565"/>
                </a:lnTo>
                <a:lnTo>
                  <a:pt x="1640042" y="1694543"/>
                </a:lnTo>
                <a:lnTo>
                  <a:pt x="1717248" y="1694543"/>
                </a:lnTo>
                <a:lnTo>
                  <a:pt x="1717248" y="1711092"/>
                </a:lnTo>
                <a:lnTo>
                  <a:pt x="1739186" y="1711092"/>
                </a:lnTo>
                <a:lnTo>
                  <a:pt x="1739186" y="1725702"/>
                </a:lnTo>
                <a:lnTo>
                  <a:pt x="1752620" y="1725702"/>
                </a:lnTo>
                <a:lnTo>
                  <a:pt x="1752620" y="1747767"/>
                </a:lnTo>
                <a:lnTo>
                  <a:pt x="1762823" y="1747767"/>
                </a:lnTo>
                <a:lnTo>
                  <a:pt x="1762823" y="1771920"/>
                </a:lnTo>
                <a:lnTo>
                  <a:pt x="1827446" y="1771920"/>
                </a:lnTo>
                <a:lnTo>
                  <a:pt x="1827446" y="1786381"/>
                </a:lnTo>
                <a:lnTo>
                  <a:pt x="1894449" y="1786381"/>
                </a:lnTo>
                <a:lnTo>
                  <a:pt x="1894449" y="1798756"/>
                </a:lnTo>
                <a:lnTo>
                  <a:pt x="1937644" y="1798756"/>
                </a:lnTo>
                <a:lnTo>
                  <a:pt x="1937644" y="1816795"/>
                </a:lnTo>
                <a:lnTo>
                  <a:pt x="1950228" y="1816795"/>
                </a:lnTo>
                <a:lnTo>
                  <a:pt x="1950228" y="1834090"/>
                </a:lnTo>
                <a:lnTo>
                  <a:pt x="1987301" y="1834090"/>
                </a:lnTo>
                <a:lnTo>
                  <a:pt x="1987301" y="1847806"/>
                </a:lnTo>
                <a:lnTo>
                  <a:pt x="2010088" y="1847806"/>
                </a:lnTo>
                <a:lnTo>
                  <a:pt x="2010088" y="1871362"/>
                </a:lnTo>
                <a:lnTo>
                  <a:pt x="2066037" y="1871362"/>
                </a:lnTo>
                <a:lnTo>
                  <a:pt x="2066037" y="1886420"/>
                </a:lnTo>
                <a:lnTo>
                  <a:pt x="2106171" y="1886420"/>
                </a:lnTo>
                <a:lnTo>
                  <a:pt x="2106171" y="1897453"/>
                </a:lnTo>
                <a:lnTo>
                  <a:pt x="2125898" y="1897453"/>
                </a:lnTo>
                <a:lnTo>
                  <a:pt x="2125898" y="1922350"/>
                </a:lnTo>
                <a:lnTo>
                  <a:pt x="2191200" y="1922350"/>
                </a:lnTo>
                <a:lnTo>
                  <a:pt x="2191200" y="1947845"/>
                </a:lnTo>
                <a:lnTo>
                  <a:pt x="2241538" y="1947845"/>
                </a:lnTo>
                <a:lnTo>
                  <a:pt x="2241538" y="1967226"/>
                </a:lnTo>
                <a:lnTo>
                  <a:pt x="2275379" y="1967226"/>
                </a:lnTo>
                <a:lnTo>
                  <a:pt x="2275379" y="1982433"/>
                </a:lnTo>
                <a:lnTo>
                  <a:pt x="2295956" y="1982433"/>
                </a:lnTo>
                <a:lnTo>
                  <a:pt x="2295956" y="2007927"/>
                </a:lnTo>
                <a:lnTo>
                  <a:pt x="2325886" y="2007927"/>
                </a:lnTo>
                <a:lnTo>
                  <a:pt x="2325886" y="2018960"/>
                </a:lnTo>
                <a:lnTo>
                  <a:pt x="2362109" y="2018960"/>
                </a:lnTo>
                <a:lnTo>
                  <a:pt x="2362109" y="2034167"/>
                </a:lnTo>
                <a:lnTo>
                  <a:pt x="2410915" y="2034167"/>
                </a:lnTo>
                <a:lnTo>
                  <a:pt x="2410915" y="2056977"/>
                </a:lnTo>
                <a:lnTo>
                  <a:pt x="2446288" y="2056977"/>
                </a:lnTo>
                <a:lnTo>
                  <a:pt x="2446288" y="2065923"/>
                </a:lnTo>
                <a:lnTo>
                  <a:pt x="2474687" y="2065923"/>
                </a:lnTo>
                <a:lnTo>
                  <a:pt x="2474687" y="2097679"/>
                </a:lnTo>
                <a:lnTo>
                  <a:pt x="2516352" y="2097679"/>
                </a:lnTo>
                <a:lnTo>
                  <a:pt x="2516352" y="2105282"/>
                </a:lnTo>
                <a:lnTo>
                  <a:pt x="2554955" y="2105282"/>
                </a:lnTo>
                <a:lnTo>
                  <a:pt x="2554955" y="2120489"/>
                </a:lnTo>
                <a:lnTo>
                  <a:pt x="2613285" y="2120489"/>
                </a:lnTo>
                <a:lnTo>
                  <a:pt x="2613285" y="2137038"/>
                </a:lnTo>
                <a:lnTo>
                  <a:pt x="2634542" y="2137038"/>
                </a:lnTo>
                <a:lnTo>
                  <a:pt x="2634542" y="2151500"/>
                </a:lnTo>
                <a:lnTo>
                  <a:pt x="2755793" y="2151500"/>
                </a:lnTo>
                <a:lnTo>
                  <a:pt x="2755793" y="2174310"/>
                </a:lnTo>
                <a:lnTo>
                  <a:pt x="2800519" y="2174310"/>
                </a:lnTo>
                <a:lnTo>
                  <a:pt x="2800519" y="2191605"/>
                </a:lnTo>
                <a:lnTo>
                  <a:pt x="2851026" y="2191605"/>
                </a:lnTo>
                <a:lnTo>
                  <a:pt x="2851026" y="2203979"/>
                </a:lnTo>
                <a:lnTo>
                  <a:pt x="2877725" y="2203979"/>
                </a:lnTo>
                <a:lnTo>
                  <a:pt x="2877725" y="2229622"/>
                </a:lnTo>
                <a:lnTo>
                  <a:pt x="2898983" y="2229622"/>
                </a:lnTo>
                <a:lnTo>
                  <a:pt x="2898983" y="2247513"/>
                </a:lnTo>
                <a:lnTo>
                  <a:pt x="2981631" y="2247513"/>
                </a:lnTo>
                <a:lnTo>
                  <a:pt x="2981631" y="2262720"/>
                </a:lnTo>
                <a:lnTo>
                  <a:pt x="3163593" y="2262720"/>
                </a:lnTo>
                <a:lnTo>
                  <a:pt x="3163593" y="2281952"/>
                </a:lnTo>
                <a:lnTo>
                  <a:pt x="3306952" y="2281952"/>
                </a:lnTo>
                <a:lnTo>
                  <a:pt x="3306952" y="2308937"/>
                </a:lnTo>
                <a:lnTo>
                  <a:pt x="3475310" y="2308937"/>
                </a:lnTo>
                <a:lnTo>
                  <a:pt x="3475310" y="2328915"/>
                </a:lnTo>
                <a:lnTo>
                  <a:pt x="3491976" y="2328915"/>
                </a:lnTo>
                <a:lnTo>
                  <a:pt x="3491976" y="2369617"/>
                </a:lnTo>
                <a:lnTo>
                  <a:pt x="3498268" y="2369617"/>
                </a:lnTo>
                <a:lnTo>
                  <a:pt x="3498268" y="2402863"/>
                </a:lnTo>
                <a:lnTo>
                  <a:pt x="3633634" y="2402863"/>
                </a:lnTo>
                <a:lnTo>
                  <a:pt x="4054018" y="2402863"/>
                </a:lnTo>
              </a:path>
            </a:pathLst>
          </a:custGeom>
          <a:noFill/>
          <a:ln w="28575"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342" name="TextBox 341">
            <a:extLst>
              <a:ext uri="{FF2B5EF4-FFF2-40B4-BE49-F238E27FC236}">
                <a16:creationId xmlns:a16="http://schemas.microsoft.com/office/drawing/2014/main" id="{7D373157-AEC6-4ECA-B056-CEEE868553A1}"/>
              </a:ext>
            </a:extLst>
          </p:cNvPr>
          <p:cNvSpPr txBox="1"/>
          <p:nvPr/>
        </p:nvSpPr>
        <p:spPr>
          <a:xfrm>
            <a:off x="1731504" y="4166181"/>
            <a:ext cx="100059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002557"/>
                </a:solidFill>
                <a:effectLst/>
                <a:uLnTx/>
                <a:uFillTx/>
                <a:latin typeface="Arial" panose="020B0604020202020204"/>
                <a:ea typeface="+mn-ea"/>
                <a:cs typeface="+mn-cs"/>
                <a:sym typeface="HelveticaNeueCE-Roman"/>
                <a:rtl val="0"/>
              </a:rPr>
              <a:t>Durvalumab</a:t>
            </a:r>
          </a:p>
        </p:txBody>
      </p:sp>
      <p:sp>
        <p:nvSpPr>
          <p:cNvPr id="343" name="TextBox 342">
            <a:extLst>
              <a:ext uri="{FF2B5EF4-FFF2-40B4-BE49-F238E27FC236}">
                <a16:creationId xmlns:a16="http://schemas.microsoft.com/office/drawing/2014/main" id="{3891CD14-F479-49BC-A935-8A1717E01423}"/>
              </a:ext>
            </a:extLst>
          </p:cNvPr>
          <p:cNvSpPr txBox="1"/>
          <p:nvPr/>
        </p:nvSpPr>
        <p:spPr>
          <a:xfrm>
            <a:off x="1731504" y="4353740"/>
            <a:ext cx="83548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002557"/>
                </a:solidFill>
                <a:effectLst/>
                <a:uLnTx/>
                <a:uFillTx/>
                <a:latin typeface="Arial" panose="020B0604020202020204"/>
                <a:ea typeface="+mn-ea"/>
                <a:cs typeface="+mn-cs"/>
                <a:sym typeface="HelveticaNeueCE-Roman"/>
                <a:rtl val="0"/>
              </a:rPr>
              <a:t>Sorafenib</a:t>
            </a:r>
          </a:p>
        </p:txBody>
      </p:sp>
      <p:cxnSp>
        <p:nvCxnSpPr>
          <p:cNvPr id="168" name="Straight Connector 167">
            <a:extLst>
              <a:ext uri="{FF2B5EF4-FFF2-40B4-BE49-F238E27FC236}">
                <a16:creationId xmlns:a16="http://schemas.microsoft.com/office/drawing/2014/main" id="{0EA61D96-BB46-4E31-BD1E-BC8BCFE764A8}"/>
              </a:ext>
            </a:extLst>
          </p:cNvPr>
          <p:cNvCxnSpPr>
            <a:cxnSpLocks/>
          </p:cNvCxnSpPr>
          <p:nvPr/>
        </p:nvCxnSpPr>
        <p:spPr>
          <a:xfrm flipH="1">
            <a:off x="1412403" y="4301326"/>
            <a:ext cx="335756" cy="0"/>
          </a:xfrm>
          <a:prstGeom prst="line">
            <a:avLst/>
          </a:prstGeom>
          <a:noFill/>
          <a:ln w="28575" cap="flat">
            <a:solidFill>
              <a:srgbClr val="008764"/>
            </a:solidFill>
            <a:prstDash val="solid"/>
            <a:miter/>
          </a:ln>
        </p:spPr>
      </p:cxnSp>
      <p:cxnSp>
        <p:nvCxnSpPr>
          <p:cNvPr id="169" name="Straight Connector 168">
            <a:extLst>
              <a:ext uri="{FF2B5EF4-FFF2-40B4-BE49-F238E27FC236}">
                <a16:creationId xmlns:a16="http://schemas.microsoft.com/office/drawing/2014/main" id="{B0884B1E-E346-495C-8C82-B8A6451936D7}"/>
              </a:ext>
            </a:extLst>
          </p:cNvPr>
          <p:cNvCxnSpPr>
            <a:cxnSpLocks/>
          </p:cNvCxnSpPr>
          <p:nvPr/>
        </p:nvCxnSpPr>
        <p:spPr>
          <a:xfrm flipH="1">
            <a:off x="1412403" y="4493589"/>
            <a:ext cx="335756" cy="0"/>
          </a:xfrm>
          <a:prstGeom prst="line">
            <a:avLst/>
          </a:prstGeom>
          <a:ln w="28575" cap="flat">
            <a:solidFill>
              <a:srgbClr val="830051"/>
            </a:solidFill>
            <a:prstDash val="solid"/>
            <a:miter/>
          </a:ln>
        </p:spPr>
      </p:cxnSp>
      <p:sp>
        <p:nvSpPr>
          <p:cNvPr id="370" name="Freeform: Shape 369">
            <a:extLst>
              <a:ext uri="{FF2B5EF4-FFF2-40B4-BE49-F238E27FC236}">
                <a16:creationId xmlns:a16="http://schemas.microsoft.com/office/drawing/2014/main" id="{48DCB7CB-F92A-465E-8D07-E1D246F4BC72}"/>
              </a:ext>
            </a:extLst>
          </p:cNvPr>
          <p:cNvSpPr/>
          <p:nvPr/>
        </p:nvSpPr>
        <p:spPr>
          <a:xfrm>
            <a:off x="1126628" y="4673391"/>
            <a:ext cx="72000" cy="14815"/>
          </a:xfrm>
          <a:custGeom>
            <a:avLst/>
            <a:gdLst>
              <a:gd name="connsiteX0" fmla="*/ 121278 w 121278"/>
              <a:gd name="connsiteY0" fmla="*/ 0 h 12349"/>
              <a:gd name="connsiteX1" fmla="*/ 0 w 121278"/>
              <a:gd name="connsiteY1" fmla="*/ 0 h 12349"/>
            </a:gdLst>
            <a:ahLst/>
            <a:cxnLst>
              <a:cxn ang="0">
                <a:pos x="connsiteX0" y="connsiteY0"/>
              </a:cxn>
              <a:cxn ang="0">
                <a:pos x="connsiteX1" y="connsiteY1"/>
              </a:cxn>
            </a:cxnLst>
            <a:rect l="l" t="t" r="r" b="b"/>
            <a:pathLst>
              <a:path w="121278" h="12349">
                <a:moveTo>
                  <a:pt x="121278" y="0"/>
                </a:moveTo>
                <a:lnTo>
                  <a:pt x="0" y="0"/>
                </a:lnTo>
              </a:path>
            </a:pathLst>
          </a:custGeom>
          <a:ln w="19050"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371" name="TextBox 370">
            <a:extLst>
              <a:ext uri="{FF2B5EF4-FFF2-40B4-BE49-F238E27FC236}">
                <a16:creationId xmlns:a16="http://schemas.microsoft.com/office/drawing/2014/main" id="{B59CA093-8B28-445F-97D4-D2116D6ADE1F}"/>
              </a:ext>
            </a:extLst>
          </p:cNvPr>
          <p:cNvSpPr txBox="1"/>
          <p:nvPr/>
        </p:nvSpPr>
        <p:spPr>
          <a:xfrm>
            <a:off x="761927" y="4533522"/>
            <a:ext cx="397866"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2557"/>
                </a:solidFill>
                <a:effectLst/>
                <a:uLnTx/>
                <a:uFillTx/>
                <a:latin typeface="Arial" panose="020B0604020202020204"/>
                <a:ea typeface="+mn-ea"/>
                <a:cs typeface="+mn-cs"/>
                <a:sym typeface="HelveticaNeueCE-Roman"/>
                <a:rtl val="0"/>
              </a:rPr>
              <a:t>0.0</a:t>
            </a:r>
          </a:p>
        </p:txBody>
      </p:sp>
      <p:sp>
        <p:nvSpPr>
          <p:cNvPr id="372" name="Freeform: Shape 371">
            <a:extLst>
              <a:ext uri="{FF2B5EF4-FFF2-40B4-BE49-F238E27FC236}">
                <a16:creationId xmlns:a16="http://schemas.microsoft.com/office/drawing/2014/main" id="{8620A4E8-7923-43AD-8A83-1A3D416BDDE0}"/>
              </a:ext>
            </a:extLst>
          </p:cNvPr>
          <p:cNvSpPr/>
          <p:nvPr/>
        </p:nvSpPr>
        <p:spPr>
          <a:xfrm>
            <a:off x="1126628" y="4384623"/>
            <a:ext cx="72000" cy="14815"/>
          </a:xfrm>
          <a:custGeom>
            <a:avLst/>
            <a:gdLst>
              <a:gd name="connsiteX0" fmla="*/ 121278 w 121278"/>
              <a:gd name="connsiteY0" fmla="*/ 0 h 12349"/>
              <a:gd name="connsiteX1" fmla="*/ 0 w 121278"/>
              <a:gd name="connsiteY1" fmla="*/ 0 h 12349"/>
            </a:gdLst>
            <a:ahLst/>
            <a:cxnLst>
              <a:cxn ang="0">
                <a:pos x="connsiteX0" y="connsiteY0"/>
              </a:cxn>
              <a:cxn ang="0">
                <a:pos x="connsiteX1" y="connsiteY1"/>
              </a:cxn>
            </a:cxnLst>
            <a:rect l="l" t="t" r="r" b="b"/>
            <a:pathLst>
              <a:path w="121278" h="12349">
                <a:moveTo>
                  <a:pt x="121278" y="0"/>
                </a:moveTo>
                <a:lnTo>
                  <a:pt x="0" y="0"/>
                </a:lnTo>
              </a:path>
            </a:pathLst>
          </a:custGeom>
          <a:ln w="19050"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373" name="TextBox 372">
            <a:extLst>
              <a:ext uri="{FF2B5EF4-FFF2-40B4-BE49-F238E27FC236}">
                <a16:creationId xmlns:a16="http://schemas.microsoft.com/office/drawing/2014/main" id="{48EE2BD8-A19A-4114-BA85-300A404FDD4B}"/>
              </a:ext>
            </a:extLst>
          </p:cNvPr>
          <p:cNvSpPr txBox="1"/>
          <p:nvPr/>
        </p:nvSpPr>
        <p:spPr>
          <a:xfrm>
            <a:off x="761927" y="4244902"/>
            <a:ext cx="397866"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2557"/>
                </a:solidFill>
                <a:effectLst/>
                <a:uLnTx/>
                <a:uFillTx/>
                <a:latin typeface="Arial" panose="020B0604020202020204"/>
                <a:ea typeface="+mn-ea"/>
                <a:cs typeface="+mn-cs"/>
                <a:sym typeface="HelveticaNeueCE-Roman"/>
                <a:rtl val="0"/>
              </a:rPr>
              <a:t>0.1</a:t>
            </a:r>
          </a:p>
        </p:txBody>
      </p:sp>
      <p:sp>
        <p:nvSpPr>
          <p:cNvPr id="374" name="Freeform: Shape 373">
            <a:extLst>
              <a:ext uri="{FF2B5EF4-FFF2-40B4-BE49-F238E27FC236}">
                <a16:creationId xmlns:a16="http://schemas.microsoft.com/office/drawing/2014/main" id="{C94E8F00-F96E-44DB-BA50-C8FC416EA96F}"/>
              </a:ext>
            </a:extLst>
          </p:cNvPr>
          <p:cNvSpPr/>
          <p:nvPr/>
        </p:nvSpPr>
        <p:spPr>
          <a:xfrm>
            <a:off x="1126628" y="4096003"/>
            <a:ext cx="72000" cy="14815"/>
          </a:xfrm>
          <a:custGeom>
            <a:avLst/>
            <a:gdLst>
              <a:gd name="connsiteX0" fmla="*/ 121278 w 121278"/>
              <a:gd name="connsiteY0" fmla="*/ 0 h 12349"/>
              <a:gd name="connsiteX1" fmla="*/ 0 w 121278"/>
              <a:gd name="connsiteY1" fmla="*/ 0 h 12349"/>
            </a:gdLst>
            <a:ahLst/>
            <a:cxnLst>
              <a:cxn ang="0">
                <a:pos x="connsiteX0" y="connsiteY0"/>
              </a:cxn>
              <a:cxn ang="0">
                <a:pos x="connsiteX1" y="connsiteY1"/>
              </a:cxn>
            </a:cxnLst>
            <a:rect l="l" t="t" r="r" b="b"/>
            <a:pathLst>
              <a:path w="121278" h="12349">
                <a:moveTo>
                  <a:pt x="121278" y="0"/>
                </a:moveTo>
                <a:lnTo>
                  <a:pt x="0" y="0"/>
                </a:lnTo>
              </a:path>
            </a:pathLst>
          </a:custGeom>
          <a:ln w="19050"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375" name="TextBox 374">
            <a:extLst>
              <a:ext uri="{FF2B5EF4-FFF2-40B4-BE49-F238E27FC236}">
                <a16:creationId xmlns:a16="http://schemas.microsoft.com/office/drawing/2014/main" id="{5A73C725-B34D-4D3D-9E22-9CB736283AD5}"/>
              </a:ext>
            </a:extLst>
          </p:cNvPr>
          <p:cNvSpPr txBox="1"/>
          <p:nvPr/>
        </p:nvSpPr>
        <p:spPr>
          <a:xfrm>
            <a:off x="761927" y="3956282"/>
            <a:ext cx="397866"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2557"/>
                </a:solidFill>
                <a:effectLst/>
                <a:uLnTx/>
                <a:uFillTx/>
                <a:latin typeface="Arial" panose="020B0604020202020204"/>
                <a:ea typeface="+mn-ea"/>
                <a:cs typeface="+mn-cs"/>
                <a:sym typeface="HelveticaNeueCE-Roman"/>
                <a:rtl val="0"/>
              </a:rPr>
              <a:t>0.2</a:t>
            </a:r>
          </a:p>
        </p:txBody>
      </p:sp>
      <p:sp>
        <p:nvSpPr>
          <p:cNvPr id="376" name="Freeform: Shape 375">
            <a:extLst>
              <a:ext uri="{FF2B5EF4-FFF2-40B4-BE49-F238E27FC236}">
                <a16:creationId xmlns:a16="http://schemas.microsoft.com/office/drawing/2014/main" id="{F1D8604A-81AB-490B-B482-597A1F055DF7}"/>
              </a:ext>
            </a:extLst>
          </p:cNvPr>
          <p:cNvSpPr/>
          <p:nvPr/>
        </p:nvSpPr>
        <p:spPr>
          <a:xfrm>
            <a:off x="1126628" y="3807383"/>
            <a:ext cx="72000" cy="14815"/>
          </a:xfrm>
          <a:custGeom>
            <a:avLst/>
            <a:gdLst>
              <a:gd name="connsiteX0" fmla="*/ 121278 w 121278"/>
              <a:gd name="connsiteY0" fmla="*/ 0 h 12349"/>
              <a:gd name="connsiteX1" fmla="*/ 0 w 121278"/>
              <a:gd name="connsiteY1" fmla="*/ 0 h 12349"/>
            </a:gdLst>
            <a:ahLst/>
            <a:cxnLst>
              <a:cxn ang="0">
                <a:pos x="connsiteX0" y="connsiteY0"/>
              </a:cxn>
              <a:cxn ang="0">
                <a:pos x="connsiteX1" y="connsiteY1"/>
              </a:cxn>
            </a:cxnLst>
            <a:rect l="l" t="t" r="r" b="b"/>
            <a:pathLst>
              <a:path w="121278" h="12349">
                <a:moveTo>
                  <a:pt x="121278" y="0"/>
                </a:moveTo>
                <a:lnTo>
                  <a:pt x="0" y="0"/>
                </a:lnTo>
              </a:path>
            </a:pathLst>
          </a:custGeom>
          <a:ln w="19050"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377" name="TextBox 376">
            <a:extLst>
              <a:ext uri="{FF2B5EF4-FFF2-40B4-BE49-F238E27FC236}">
                <a16:creationId xmlns:a16="http://schemas.microsoft.com/office/drawing/2014/main" id="{751B0EAA-7855-4AFE-A42A-F35BB081F747}"/>
              </a:ext>
            </a:extLst>
          </p:cNvPr>
          <p:cNvSpPr txBox="1"/>
          <p:nvPr/>
        </p:nvSpPr>
        <p:spPr>
          <a:xfrm>
            <a:off x="761927" y="3667662"/>
            <a:ext cx="397866"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2557"/>
                </a:solidFill>
                <a:effectLst/>
                <a:uLnTx/>
                <a:uFillTx/>
                <a:latin typeface="Arial" panose="020B0604020202020204"/>
                <a:ea typeface="+mn-ea"/>
                <a:cs typeface="+mn-cs"/>
                <a:sym typeface="HelveticaNeueCE-Roman"/>
                <a:rtl val="0"/>
              </a:rPr>
              <a:t>0.3</a:t>
            </a:r>
          </a:p>
        </p:txBody>
      </p:sp>
      <p:sp>
        <p:nvSpPr>
          <p:cNvPr id="378" name="Freeform: Shape 377">
            <a:extLst>
              <a:ext uri="{FF2B5EF4-FFF2-40B4-BE49-F238E27FC236}">
                <a16:creationId xmlns:a16="http://schemas.microsoft.com/office/drawing/2014/main" id="{7F4E900F-01C2-45D7-91AF-CDDC6BE8BCCE}"/>
              </a:ext>
            </a:extLst>
          </p:cNvPr>
          <p:cNvSpPr/>
          <p:nvPr/>
        </p:nvSpPr>
        <p:spPr>
          <a:xfrm>
            <a:off x="1126628" y="3518614"/>
            <a:ext cx="72000" cy="14815"/>
          </a:xfrm>
          <a:custGeom>
            <a:avLst/>
            <a:gdLst>
              <a:gd name="connsiteX0" fmla="*/ 121278 w 121278"/>
              <a:gd name="connsiteY0" fmla="*/ 0 h 12349"/>
              <a:gd name="connsiteX1" fmla="*/ 0 w 121278"/>
              <a:gd name="connsiteY1" fmla="*/ 0 h 12349"/>
            </a:gdLst>
            <a:ahLst/>
            <a:cxnLst>
              <a:cxn ang="0">
                <a:pos x="connsiteX0" y="connsiteY0"/>
              </a:cxn>
              <a:cxn ang="0">
                <a:pos x="connsiteX1" y="connsiteY1"/>
              </a:cxn>
            </a:cxnLst>
            <a:rect l="l" t="t" r="r" b="b"/>
            <a:pathLst>
              <a:path w="121278" h="12349">
                <a:moveTo>
                  <a:pt x="121278" y="0"/>
                </a:moveTo>
                <a:lnTo>
                  <a:pt x="0" y="0"/>
                </a:lnTo>
              </a:path>
            </a:pathLst>
          </a:custGeom>
          <a:ln w="19050"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379" name="TextBox 378">
            <a:extLst>
              <a:ext uri="{FF2B5EF4-FFF2-40B4-BE49-F238E27FC236}">
                <a16:creationId xmlns:a16="http://schemas.microsoft.com/office/drawing/2014/main" id="{0503FA31-0483-490A-81B0-0DB423B45710}"/>
              </a:ext>
            </a:extLst>
          </p:cNvPr>
          <p:cNvSpPr txBox="1"/>
          <p:nvPr/>
        </p:nvSpPr>
        <p:spPr>
          <a:xfrm>
            <a:off x="761927" y="3378893"/>
            <a:ext cx="397866"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2557"/>
                </a:solidFill>
                <a:effectLst/>
                <a:uLnTx/>
                <a:uFillTx/>
                <a:latin typeface="Arial" panose="020B0604020202020204"/>
                <a:ea typeface="+mn-ea"/>
                <a:cs typeface="+mn-cs"/>
                <a:sym typeface="HelveticaNeueCE-Roman"/>
                <a:rtl val="0"/>
              </a:rPr>
              <a:t>0.4</a:t>
            </a:r>
          </a:p>
        </p:txBody>
      </p:sp>
      <p:sp>
        <p:nvSpPr>
          <p:cNvPr id="380" name="Freeform: Shape 379">
            <a:extLst>
              <a:ext uri="{FF2B5EF4-FFF2-40B4-BE49-F238E27FC236}">
                <a16:creationId xmlns:a16="http://schemas.microsoft.com/office/drawing/2014/main" id="{6617D8A4-465C-4B61-AB71-23799BC6308D}"/>
              </a:ext>
            </a:extLst>
          </p:cNvPr>
          <p:cNvSpPr/>
          <p:nvPr/>
        </p:nvSpPr>
        <p:spPr>
          <a:xfrm>
            <a:off x="1126628" y="3229995"/>
            <a:ext cx="72000" cy="14815"/>
          </a:xfrm>
          <a:custGeom>
            <a:avLst/>
            <a:gdLst>
              <a:gd name="connsiteX0" fmla="*/ 121278 w 121278"/>
              <a:gd name="connsiteY0" fmla="*/ 0 h 12349"/>
              <a:gd name="connsiteX1" fmla="*/ 0 w 121278"/>
              <a:gd name="connsiteY1" fmla="*/ 0 h 12349"/>
            </a:gdLst>
            <a:ahLst/>
            <a:cxnLst>
              <a:cxn ang="0">
                <a:pos x="connsiteX0" y="connsiteY0"/>
              </a:cxn>
              <a:cxn ang="0">
                <a:pos x="connsiteX1" y="connsiteY1"/>
              </a:cxn>
            </a:cxnLst>
            <a:rect l="l" t="t" r="r" b="b"/>
            <a:pathLst>
              <a:path w="121278" h="12349">
                <a:moveTo>
                  <a:pt x="121278" y="0"/>
                </a:moveTo>
                <a:lnTo>
                  <a:pt x="0" y="0"/>
                </a:lnTo>
              </a:path>
            </a:pathLst>
          </a:custGeom>
          <a:ln w="19050"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381" name="TextBox 380">
            <a:extLst>
              <a:ext uri="{FF2B5EF4-FFF2-40B4-BE49-F238E27FC236}">
                <a16:creationId xmlns:a16="http://schemas.microsoft.com/office/drawing/2014/main" id="{1B6006A9-CF80-404D-BA25-A811EC085906}"/>
              </a:ext>
            </a:extLst>
          </p:cNvPr>
          <p:cNvSpPr txBox="1"/>
          <p:nvPr/>
        </p:nvSpPr>
        <p:spPr>
          <a:xfrm>
            <a:off x="761927" y="3090273"/>
            <a:ext cx="397866"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2557"/>
                </a:solidFill>
                <a:effectLst/>
                <a:uLnTx/>
                <a:uFillTx/>
                <a:latin typeface="Arial" panose="020B0604020202020204"/>
                <a:ea typeface="+mn-ea"/>
                <a:cs typeface="+mn-cs"/>
                <a:sym typeface="HelveticaNeueCE-Roman"/>
                <a:rtl val="0"/>
              </a:rPr>
              <a:t>0.5</a:t>
            </a:r>
          </a:p>
        </p:txBody>
      </p:sp>
      <p:sp>
        <p:nvSpPr>
          <p:cNvPr id="382" name="TextBox 381">
            <a:extLst>
              <a:ext uri="{FF2B5EF4-FFF2-40B4-BE49-F238E27FC236}">
                <a16:creationId xmlns:a16="http://schemas.microsoft.com/office/drawing/2014/main" id="{59238128-AF8E-45CB-BEE2-95A425711AA9}"/>
              </a:ext>
            </a:extLst>
          </p:cNvPr>
          <p:cNvSpPr txBox="1"/>
          <p:nvPr/>
        </p:nvSpPr>
        <p:spPr>
          <a:xfrm rot="16200000">
            <a:off x="-899871" y="3133998"/>
            <a:ext cx="2948219"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27" normalizeH="0" baseline="0" noProof="0" dirty="0">
                <a:ln>
                  <a:noFill/>
                </a:ln>
                <a:solidFill>
                  <a:srgbClr val="002557"/>
                </a:solidFill>
                <a:effectLst/>
                <a:uLnTx/>
                <a:uFillTx/>
                <a:latin typeface="Arial" panose="020B0604020202020204"/>
                <a:ea typeface="+mn-ea"/>
                <a:cs typeface="+mn-cs"/>
                <a:sym typeface="HelveticaNeueCE-Roman"/>
                <a:rtl val="0"/>
              </a:rPr>
              <a:t>Probability of overall survival</a:t>
            </a:r>
          </a:p>
        </p:txBody>
      </p:sp>
      <p:sp>
        <p:nvSpPr>
          <p:cNvPr id="383" name="Freeform: Shape 382">
            <a:extLst>
              <a:ext uri="{FF2B5EF4-FFF2-40B4-BE49-F238E27FC236}">
                <a16:creationId xmlns:a16="http://schemas.microsoft.com/office/drawing/2014/main" id="{872EA19E-7BF4-411D-B467-6DC3453935AE}"/>
              </a:ext>
            </a:extLst>
          </p:cNvPr>
          <p:cNvSpPr/>
          <p:nvPr/>
        </p:nvSpPr>
        <p:spPr>
          <a:xfrm>
            <a:off x="1126628" y="2941374"/>
            <a:ext cx="72000" cy="14815"/>
          </a:xfrm>
          <a:custGeom>
            <a:avLst/>
            <a:gdLst>
              <a:gd name="connsiteX0" fmla="*/ 121278 w 121278"/>
              <a:gd name="connsiteY0" fmla="*/ 0 h 12349"/>
              <a:gd name="connsiteX1" fmla="*/ 0 w 121278"/>
              <a:gd name="connsiteY1" fmla="*/ 0 h 12349"/>
            </a:gdLst>
            <a:ahLst/>
            <a:cxnLst>
              <a:cxn ang="0">
                <a:pos x="connsiteX0" y="connsiteY0"/>
              </a:cxn>
              <a:cxn ang="0">
                <a:pos x="connsiteX1" y="connsiteY1"/>
              </a:cxn>
            </a:cxnLst>
            <a:rect l="l" t="t" r="r" b="b"/>
            <a:pathLst>
              <a:path w="121278" h="12349">
                <a:moveTo>
                  <a:pt x="121278" y="0"/>
                </a:moveTo>
                <a:lnTo>
                  <a:pt x="0" y="0"/>
                </a:lnTo>
              </a:path>
            </a:pathLst>
          </a:custGeom>
          <a:ln w="19050"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384" name="TextBox 383">
            <a:extLst>
              <a:ext uri="{FF2B5EF4-FFF2-40B4-BE49-F238E27FC236}">
                <a16:creationId xmlns:a16="http://schemas.microsoft.com/office/drawing/2014/main" id="{2C3D389D-21E0-4CE9-BA7F-7310C4877D5B}"/>
              </a:ext>
            </a:extLst>
          </p:cNvPr>
          <p:cNvSpPr txBox="1"/>
          <p:nvPr/>
        </p:nvSpPr>
        <p:spPr>
          <a:xfrm>
            <a:off x="761927" y="2801653"/>
            <a:ext cx="397866"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2557"/>
                </a:solidFill>
                <a:effectLst/>
                <a:uLnTx/>
                <a:uFillTx/>
                <a:latin typeface="Arial" panose="020B0604020202020204"/>
                <a:ea typeface="+mn-ea"/>
                <a:cs typeface="+mn-cs"/>
                <a:sym typeface="HelveticaNeueCE-Roman"/>
                <a:rtl val="0"/>
              </a:rPr>
              <a:t>0.6</a:t>
            </a:r>
          </a:p>
        </p:txBody>
      </p:sp>
      <p:sp>
        <p:nvSpPr>
          <p:cNvPr id="385" name="Freeform: Shape 384">
            <a:extLst>
              <a:ext uri="{FF2B5EF4-FFF2-40B4-BE49-F238E27FC236}">
                <a16:creationId xmlns:a16="http://schemas.microsoft.com/office/drawing/2014/main" id="{F7AF939B-C09C-4533-99CC-765709A3DCAA}"/>
              </a:ext>
            </a:extLst>
          </p:cNvPr>
          <p:cNvSpPr/>
          <p:nvPr/>
        </p:nvSpPr>
        <p:spPr>
          <a:xfrm>
            <a:off x="1126628" y="2652755"/>
            <a:ext cx="72000" cy="14815"/>
          </a:xfrm>
          <a:custGeom>
            <a:avLst/>
            <a:gdLst>
              <a:gd name="connsiteX0" fmla="*/ 121278 w 121278"/>
              <a:gd name="connsiteY0" fmla="*/ 0 h 12349"/>
              <a:gd name="connsiteX1" fmla="*/ 0 w 121278"/>
              <a:gd name="connsiteY1" fmla="*/ 0 h 12349"/>
            </a:gdLst>
            <a:ahLst/>
            <a:cxnLst>
              <a:cxn ang="0">
                <a:pos x="connsiteX0" y="connsiteY0"/>
              </a:cxn>
              <a:cxn ang="0">
                <a:pos x="connsiteX1" y="connsiteY1"/>
              </a:cxn>
            </a:cxnLst>
            <a:rect l="l" t="t" r="r" b="b"/>
            <a:pathLst>
              <a:path w="121278" h="12349">
                <a:moveTo>
                  <a:pt x="121278" y="0"/>
                </a:moveTo>
                <a:lnTo>
                  <a:pt x="0" y="0"/>
                </a:lnTo>
              </a:path>
            </a:pathLst>
          </a:custGeom>
          <a:ln w="19050"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386" name="TextBox 385">
            <a:extLst>
              <a:ext uri="{FF2B5EF4-FFF2-40B4-BE49-F238E27FC236}">
                <a16:creationId xmlns:a16="http://schemas.microsoft.com/office/drawing/2014/main" id="{7E367140-851B-4B27-9EC7-58B5F1FD69B3}"/>
              </a:ext>
            </a:extLst>
          </p:cNvPr>
          <p:cNvSpPr txBox="1"/>
          <p:nvPr/>
        </p:nvSpPr>
        <p:spPr>
          <a:xfrm>
            <a:off x="761927" y="2513032"/>
            <a:ext cx="397866"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2557"/>
                </a:solidFill>
                <a:effectLst/>
                <a:uLnTx/>
                <a:uFillTx/>
                <a:latin typeface="Arial" panose="020B0604020202020204"/>
                <a:ea typeface="+mn-ea"/>
                <a:cs typeface="+mn-cs"/>
                <a:sym typeface="HelveticaNeueCE-Roman"/>
                <a:rtl val="0"/>
              </a:rPr>
              <a:t>0.7</a:t>
            </a:r>
          </a:p>
        </p:txBody>
      </p:sp>
      <p:sp>
        <p:nvSpPr>
          <p:cNvPr id="387" name="Freeform: Shape 386">
            <a:extLst>
              <a:ext uri="{FF2B5EF4-FFF2-40B4-BE49-F238E27FC236}">
                <a16:creationId xmlns:a16="http://schemas.microsoft.com/office/drawing/2014/main" id="{5B6C2F0F-1D2D-4DEC-A8DF-1E79D067D74B}"/>
              </a:ext>
            </a:extLst>
          </p:cNvPr>
          <p:cNvSpPr/>
          <p:nvPr/>
        </p:nvSpPr>
        <p:spPr>
          <a:xfrm>
            <a:off x="1126628" y="2363986"/>
            <a:ext cx="72000" cy="14815"/>
          </a:xfrm>
          <a:custGeom>
            <a:avLst/>
            <a:gdLst>
              <a:gd name="connsiteX0" fmla="*/ 121278 w 121278"/>
              <a:gd name="connsiteY0" fmla="*/ 0 h 12349"/>
              <a:gd name="connsiteX1" fmla="*/ 0 w 121278"/>
              <a:gd name="connsiteY1" fmla="*/ 0 h 12349"/>
            </a:gdLst>
            <a:ahLst/>
            <a:cxnLst>
              <a:cxn ang="0">
                <a:pos x="connsiteX0" y="connsiteY0"/>
              </a:cxn>
              <a:cxn ang="0">
                <a:pos x="connsiteX1" y="connsiteY1"/>
              </a:cxn>
            </a:cxnLst>
            <a:rect l="l" t="t" r="r" b="b"/>
            <a:pathLst>
              <a:path w="121278" h="12349">
                <a:moveTo>
                  <a:pt x="121278" y="0"/>
                </a:moveTo>
                <a:lnTo>
                  <a:pt x="0" y="0"/>
                </a:lnTo>
              </a:path>
            </a:pathLst>
          </a:custGeom>
          <a:ln w="19050"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388" name="TextBox 387">
            <a:extLst>
              <a:ext uri="{FF2B5EF4-FFF2-40B4-BE49-F238E27FC236}">
                <a16:creationId xmlns:a16="http://schemas.microsoft.com/office/drawing/2014/main" id="{D50D1490-4959-49DD-93E7-7C57B2F080CA}"/>
              </a:ext>
            </a:extLst>
          </p:cNvPr>
          <p:cNvSpPr txBox="1"/>
          <p:nvPr/>
        </p:nvSpPr>
        <p:spPr>
          <a:xfrm>
            <a:off x="761927" y="2224264"/>
            <a:ext cx="397866"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2557"/>
                </a:solidFill>
                <a:effectLst/>
                <a:uLnTx/>
                <a:uFillTx/>
                <a:latin typeface="Arial" panose="020B0604020202020204"/>
                <a:ea typeface="+mn-ea"/>
                <a:cs typeface="+mn-cs"/>
                <a:sym typeface="HelveticaNeueCE-Roman"/>
                <a:rtl val="0"/>
              </a:rPr>
              <a:t>0.8</a:t>
            </a:r>
          </a:p>
        </p:txBody>
      </p:sp>
      <p:sp>
        <p:nvSpPr>
          <p:cNvPr id="389" name="Freeform: Shape 388">
            <a:extLst>
              <a:ext uri="{FF2B5EF4-FFF2-40B4-BE49-F238E27FC236}">
                <a16:creationId xmlns:a16="http://schemas.microsoft.com/office/drawing/2014/main" id="{671BD06E-BACB-41E2-8242-A48EBD2847C2}"/>
              </a:ext>
            </a:extLst>
          </p:cNvPr>
          <p:cNvSpPr/>
          <p:nvPr/>
        </p:nvSpPr>
        <p:spPr>
          <a:xfrm>
            <a:off x="1126628" y="2075366"/>
            <a:ext cx="72000" cy="14815"/>
          </a:xfrm>
          <a:custGeom>
            <a:avLst/>
            <a:gdLst>
              <a:gd name="connsiteX0" fmla="*/ 121278 w 121278"/>
              <a:gd name="connsiteY0" fmla="*/ 0 h 12349"/>
              <a:gd name="connsiteX1" fmla="*/ 0 w 121278"/>
              <a:gd name="connsiteY1" fmla="*/ 0 h 12349"/>
            </a:gdLst>
            <a:ahLst/>
            <a:cxnLst>
              <a:cxn ang="0">
                <a:pos x="connsiteX0" y="connsiteY0"/>
              </a:cxn>
              <a:cxn ang="0">
                <a:pos x="connsiteX1" y="connsiteY1"/>
              </a:cxn>
            </a:cxnLst>
            <a:rect l="l" t="t" r="r" b="b"/>
            <a:pathLst>
              <a:path w="121278" h="12349">
                <a:moveTo>
                  <a:pt x="121278" y="0"/>
                </a:moveTo>
                <a:lnTo>
                  <a:pt x="0" y="0"/>
                </a:lnTo>
              </a:path>
            </a:pathLst>
          </a:custGeom>
          <a:ln w="19050"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390" name="TextBox 389">
            <a:extLst>
              <a:ext uri="{FF2B5EF4-FFF2-40B4-BE49-F238E27FC236}">
                <a16:creationId xmlns:a16="http://schemas.microsoft.com/office/drawing/2014/main" id="{C0366F35-4B80-4F7B-9387-55E1E441E675}"/>
              </a:ext>
            </a:extLst>
          </p:cNvPr>
          <p:cNvSpPr txBox="1"/>
          <p:nvPr/>
        </p:nvSpPr>
        <p:spPr>
          <a:xfrm>
            <a:off x="761927" y="1935645"/>
            <a:ext cx="397866"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2557"/>
                </a:solidFill>
                <a:effectLst/>
                <a:uLnTx/>
                <a:uFillTx/>
                <a:latin typeface="Arial" panose="020B0604020202020204"/>
                <a:ea typeface="+mn-ea"/>
                <a:cs typeface="+mn-cs"/>
                <a:sym typeface="HelveticaNeueCE-Roman"/>
                <a:rtl val="0"/>
              </a:rPr>
              <a:t>0.9</a:t>
            </a:r>
          </a:p>
        </p:txBody>
      </p:sp>
      <p:sp>
        <p:nvSpPr>
          <p:cNvPr id="391" name="Freeform: Shape 390">
            <a:extLst>
              <a:ext uri="{FF2B5EF4-FFF2-40B4-BE49-F238E27FC236}">
                <a16:creationId xmlns:a16="http://schemas.microsoft.com/office/drawing/2014/main" id="{8D59003B-493C-4335-8CFA-41F34021AAB8}"/>
              </a:ext>
            </a:extLst>
          </p:cNvPr>
          <p:cNvSpPr/>
          <p:nvPr/>
        </p:nvSpPr>
        <p:spPr>
          <a:xfrm>
            <a:off x="1126628" y="1783570"/>
            <a:ext cx="72000" cy="14815"/>
          </a:xfrm>
          <a:custGeom>
            <a:avLst/>
            <a:gdLst>
              <a:gd name="connsiteX0" fmla="*/ 121278 w 121278"/>
              <a:gd name="connsiteY0" fmla="*/ 0 h 12349"/>
              <a:gd name="connsiteX1" fmla="*/ 0 w 121278"/>
              <a:gd name="connsiteY1" fmla="*/ 0 h 12349"/>
            </a:gdLst>
            <a:ahLst/>
            <a:cxnLst>
              <a:cxn ang="0">
                <a:pos x="connsiteX0" y="connsiteY0"/>
              </a:cxn>
              <a:cxn ang="0">
                <a:pos x="connsiteX1" y="connsiteY1"/>
              </a:cxn>
            </a:cxnLst>
            <a:rect l="l" t="t" r="r" b="b"/>
            <a:pathLst>
              <a:path w="121278" h="12349">
                <a:moveTo>
                  <a:pt x="121278" y="0"/>
                </a:moveTo>
                <a:lnTo>
                  <a:pt x="0" y="0"/>
                </a:lnTo>
              </a:path>
            </a:pathLst>
          </a:custGeom>
          <a:ln w="19050"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434" name="TextBox 433">
            <a:extLst>
              <a:ext uri="{FF2B5EF4-FFF2-40B4-BE49-F238E27FC236}">
                <a16:creationId xmlns:a16="http://schemas.microsoft.com/office/drawing/2014/main" id="{DD4C5B31-2F23-4ED0-84C5-27993341A232}"/>
              </a:ext>
            </a:extLst>
          </p:cNvPr>
          <p:cNvSpPr txBox="1"/>
          <p:nvPr/>
        </p:nvSpPr>
        <p:spPr>
          <a:xfrm>
            <a:off x="952501" y="4802635"/>
            <a:ext cx="663119" cy="276999"/>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2557"/>
                </a:solidFill>
                <a:effectLst/>
                <a:uLnTx/>
                <a:uFillTx/>
                <a:latin typeface="Arial" panose="020B0604020202020204" pitchFamily="34" charset="0"/>
                <a:ea typeface="+mn-ea"/>
                <a:cs typeface="+mn-cs"/>
                <a:sym typeface="HelveticaNeueCE-Roman"/>
                <a:rtl val="0"/>
              </a:rPr>
              <a:t>0</a:t>
            </a:r>
          </a:p>
        </p:txBody>
      </p:sp>
      <p:sp>
        <p:nvSpPr>
          <p:cNvPr id="435" name="TextBox 434">
            <a:extLst>
              <a:ext uri="{FF2B5EF4-FFF2-40B4-BE49-F238E27FC236}">
                <a16:creationId xmlns:a16="http://schemas.microsoft.com/office/drawing/2014/main" id="{33A38BCD-6653-4B34-A67D-FF5E123B1D27}"/>
              </a:ext>
            </a:extLst>
          </p:cNvPr>
          <p:cNvSpPr txBox="1"/>
          <p:nvPr/>
        </p:nvSpPr>
        <p:spPr>
          <a:xfrm>
            <a:off x="2268198" y="4802635"/>
            <a:ext cx="663119" cy="276999"/>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2557"/>
                </a:solidFill>
                <a:effectLst/>
                <a:uLnTx/>
                <a:uFillTx/>
                <a:latin typeface="Arial" panose="020B0604020202020204" pitchFamily="34" charset="0"/>
                <a:ea typeface="+mn-ea"/>
                <a:cs typeface="+mn-cs"/>
                <a:sym typeface="HelveticaNeueCE-Roman"/>
                <a:rtl val="0"/>
              </a:rPr>
              <a:t>6</a:t>
            </a:r>
          </a:p>
        </p:txBody>
      </p:sp>
      <p:sp>
        <p:nvSpPr>
          <p:cNvPr id="436" name="TextBox 435">
            <a:extLst>
              <a:ext uri="{FF2B5EF4-FFF2-40B4-BE49-F238E27FC236}">
                <a16:creationId xmlns:a16="http://schemas.microsoft.com/office/drawing/2014/main" id="{154F2F7E-1EB3-4252-9D2D-8A09546CFBCA}"/>
              </a:ext>
            </a:extLst>
          </p:cNvPr>
          <p:cNvSpPr txBox="1"/>
          <p:nvPr/>
        </p:nvSpPr>
        <p:spPr>
          <a:xfrm>
            <a:off x="3583895" y="4802635"/>
            <a:ext cx="663119" cy="276999"/>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2557"/>
                </a:solidFill>
                <a:effectLst/>
                <a:uLnTx/>
                <a:uFillTx/>
                <a:latin typeface="Arial" panose="020B0604020202020204" pitchFamily="34" charset="0"/>
                <a:ea typeface="+mn-ea"/>
                <a:cs typeface="+mn-cs"/>
                <a:sym typeface="HelveticaNeueCE-Roman"/>
                <a:rtl val="0"/>
              </a:rPr>
              <a:t>12</a:t>
            </a:r>
          </a:p>
        </p:txBody>
      </p:sp>
      <p:sp>
        <p:nvSpPr>
          <p:cNvPr id="437" name="TextBox 436">
            <a:extLst>
              <a:ext uri="{FF2B5EF4-FFF2-40B4-BE49-F238E27FC236}">
                <a16:creationId xmlns:a16="http://schemas.microsoft.com/office/drawing/2014/main" id="{B80C3109-538C-40E6-836B-D9FBA3DA09B7}"/>
              </a:ext>
            </a:extLst>
          </p:cNvPr>
          <p:cNvSpPr txBox="1"/>
          <p:nvPr/>
        </p:nvSpPr>
        <p:spPr>
          <a:xfrm>
            <a:off x="4899592" y="4802635"/>
            <a:ext cx="663119" cy="276999"/>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2557"/>
                </a:solidFill>
                <a:effectLst/>
                <a:uLnTx/>
                <a:uFillTx/>
                <a:latin typeface="Arial" panose="020B0604020202020204" pitchFamily="34" charset="0"/>
                <a:ea typeface="+mn-ea"/>
                <a:cs typeface="+mn-cs"/>
                <a:sym typeface="HelveticaNeueCE-Roman"/>
                <a:rtl val="0"/>
              </a:rPr>
              <a:t>18</a:t>
            </a:r>
          </a:p>
        </p:txBody>
      </p:sp>
      <p:sp>
        <p:nvSpPr>
          <p:cNvPr id="438" name="TextBox 437">
            <a:extLst>
              <a:ext uri="{FF2B5EF4-FFF2-40B4-BE49-F238E27FC236}">
                <a16:creationId xmlns:a16="http://schemas.microsoft.com/office/drawing/2014/main" id="{92B48054-0F46-415B-B99E-65573B1434F0}"/>
              </a:ext>
            </a:extLst>
          </p:cNvPr>
          <p:cNvSpPr txBox="1"/>
          <p:nvPr/>
        </p:nvSpPr>
        <p:spPr>
          <a:xfrm>
            <a:off x="6215289" y="4802635"/>
            <a:ext cx="663119" cy="276999"/>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2557"/>
                </a:solidFill>
                <a:effectLst/>
                <a:uLnTx/>
                <a:uFillTx/>
                <a:latin typeface="Arial" panose="020B0604020202020204" pitchFamily="34" charset="0"/>
                <a:ea typeface="+mn-ea"/>
                <a:cs typeface="+mn-cs"/>
                <a:sym typeface="HelveticaNeueCE-Roman"/>
                <a:rtl val="0"/>
              </a:rPr>
              <a:t>24</a:t>
            </a:r>
          </a:p>
        </p:txBody>
      </p:sp>
      <p:sp>
        <p:nvSpPr>
          <p:cNvPr id="439" name="TextBox 438">
            <a:extLst>
              <a:ext uri="{FF2B5EF4-FFF2-40B4-BE49-F238E27FC236}">
                <a16:creationId xmlns:a16="http://schemas.microsoft.com/office/drawing/2014/main" id="{872EE476-DF29-42AE-9CDC-85108135EDA1}"/>
              </a:ext>
            </a:extLst>
          </p:cNvPr>
          <p:cNvSpPr txBox="1"/>
          <p:nvPr/>
        </p:nvSpPr>
        <p:spPr>
          <a:xfrm>
            <a:off x="7530987" y="4802635"/>
            <a:ext cx="663119" cy="276999"/>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2557"/>
                </a:solidFill>
                <a:effectLst/>
                <a:uLnTx/>
                <a:uFillTx/>
                <a:latin typeface="Arial" panose="020B0604020202020204" pitchFamily="34" charset="0"/>
                <a:ea typeface="+mn-ea"/>
                <a:cs typeface="+mn-cs"/>
                <a:sym typeface="HelveticaNeueCE-Roman"/>
                <a:rtl val="0"/>
              </a:rPr>
              <a:t>30</a:t>
            </a:r>
          </a:p>
        </p:txBody>
      </p:sp>
      <p:sp>
        <p:nvSpPr>
          <p:cNvPr id="440" name="TextBox 439">
            <a:extLst>
              <a:ext uri="{FF2B5EF4-FFF2-40B4-BE49-F238E27FC236}">
                <a16:creationId xmlns:a16="http://schemas.microsoft.com/office/drawing/2014/main" id="{E9D616F4-0B2F-46B3-9F5A-C80F134C8E5C}"/>
              </a:ext>
            </a:extLst>
          </p:cNvPr>
          <p:cNvSpPr txBox="1"/>
          <p:nvPr/>
        </p:nvSpPr>
        <p:spPr>
          <a:xfrm>
            <a:off x="3191556" y="4984128"/>
            <a:ext cx="6710591"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27" normalizeH="0" baseline="0" noProof="0" dirty="0">
                <a:ln>
                  <a:noFill/>
                </a:ln>
                <a:solidFill>
                  <a:srgbClr val="002557"/>
                </a:solidFill>
                <a:effectLst/>
                <a:uLnTx/>
                <a:uFillTx/>
                <a:latin typeface="Arial" panose="020B0604020202020204"/>
                <a:ea typeface="+mn-ea"/>
                <a:cs typeface="+mn-cs"/>
                <a:sym typeface="HelveticaNeueCE-Roman"/>
                <a:rtl val="0"/>
              </a:rPr>
              <a:t>Time from randomization (months)</a:t>
            </a:r>
          </a:p>
        </p:txBody>
      </p:sp>
      <p:sp>
        <p:nvSpPr>
          <p:cNvPr id="441" name="TextBox 440">
            <a:extLst>
              <a:ext uri="{FF2B5EF4-FFF2-40B4-BE49-F238E27FC236}">
                <a16:creationId xmlns:a16="http://schemas.microsoft.com/office/drawing/2014/main" id="{D7C6CA95-DAB9-4A82-B928-22A1F21E185F}"/>
              </a:ext>
            </a:extLst>
          </p:cNvPr>
          <p:cNvSpPr txBox="1"/>
          <p:nvPr/>
        </p:nvSpPr>
        <p:spPr>
          <a:xfrm>
            <a:off x="8846684" y="4802635"/>
            <a:ext cx="663119" cy="276999"/>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2557"/>
                </a:solidFill>
                <a:effectLst/>
                <a:uLnTx/>
                <a:uFillTx/>
                <a:latin typeface="Arial" panose="020B0604020202020204" pitchFamily="34" charset="0"/>
                <a:ea typeface="+mn-ea"/>
                <a:cs typeface="+mn-cs"/>
                <a:sym typeface="HelveticaNeueCE-Roman"/>
                <a:rtl val="0"/>
              </a:rPr>
              <a:t>36</a:t>
            </a:r>
          </a:p>
        </p:txBody>
      </p:sp>
      <p:sp>
        <p:nvSpPr>
          <p:cNvPr id="442" name="TextBox 441">
            <a:extLst>
              <a:ext uri="{FF2B5EF4-FFF2-40B4-BE49-F238E27FC236}">
                <a16:creationId xmlns:a16="http://schemas.microsoft.com/office/drawing/2014/main" id="{85A0CD32-1D2D-4A82-9F82-35CCACC31554}"/>
              </a:ext>
            </a:extLst>
          </p:cNvPr>
          <p:cNvSpPr txBox="1"/>
          <p:nvPr/>
        </p:nvSpPr>
        <p:spPr>
          <a:xfrm>
            <a:off x="10162381" y="4802635"/>
            <a:ext cx="663119" cy="276999"/>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2557"/>
                </a:solidFill>
                <a:effectLst/>
                <a:uLnTx/>
                <a:uFillTx/>
                <a:latin typeface="Arial" panose="020B0604020202020204" pitchFamily="34" charset="0"/>
                <a:ea typeface="+mn-ea"/>
                <a:cs typeface="+mn-cs"/>
                <a:sym typeface="HelveticaNeueCE-Roman"/>
                <a:rtl val="0"/>
              </a:rPr>
              <a:t>42</a:t>
            </a:r>
          </a:p>
        </p:txBody>
      </p:sp>
      <p:sp>
        <p:nvSpPr>
          <p:cNvPr id="443" name="TextBox 442">
            <a:extLst>
              <a:ext uri="{FF2B5EF4-FFF2-40B4-BE49-F238E27FC236}">
                <a16:creationId xmlns:a16="http://schemas.microsoft.com/office/drawing/2014/main" id="{A6534A47-5754-4BDA-A77D-178D4B156C21}"/>
              </a:ext>
            </a:extLst>
          </p:cNvPr>
          <p:cNvSpPr txBox="1"/>
          <p:nvPr/>
        </p:nvSpPr>
        <p:spPr>
          <a:xfrm>
            <a:off x="11478082" y="4802635"/>
            <a:ext cx="663119" cy="276999"/>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2557"/>
                </a:solidFill>
                <a:effectLst/>
                <a:uLnTx/>
                <a:uFillTx/>
                <a:latin typeface="Arial" panose="020B0604020202020204" pitchFamily="34" charset="0"/>
                <a:ea typeface="+mn-ea"/>
                <a:cs typeface="+mn-cs"/>
                <a:sym typeface="HelveticaNeueCE-Roman"/>
                <a:rtl val="0"/>
              </a:rPr>
              <a:t>48</a:t>
            </a:r>
          </a:p>
        </p:txBody>
      </p:sp>
      <p:sp>
        <p:nvSpPr>
          <p:cNvPr id="444" name="Freeform: Shape 443">
            <a:extLst>
              <a:ext uri="{FF2B5EF4-FFF2-40B4-BE49-F238E27FC236}">
                <a16:creationId xmlns:a16="http://schemas.microsoft.com/office/drawing/2014/main" id="{16BCA202-52A1-4BB4-B1F0-45ECA0D5B5D1}"/>
              </a:ext>
            </a:extLst>
          </p:cNvPr>
          <p:cNvSpPr/>
          <p:nvPr/>
        </p:nvSpPr>
        <p:spPr>
          <a:xfrm>
            <a:off x="1277283" y="4751677"/>
            <a:ext cx="0" cy="72000"/>
          </a:xfrm>
          <a:custGeom>
            <a:avLst/>
            <a:gdLst>
              <a:gd name="connsiteX0" fmla="*/ 0 w 21389"/>
              <a:gd name="connsiteY0" fmla="*/ 0 h 69900"/>
              <a:gd name="connsiteX1" fmla="*/ 0 w 21389"/>
              <a:gd name="connsiteY1" fmla="*/ 69900 h 69900"/>
            </a:gdLst>
            <a:ahLst/>
            <a:cxnLst>
              <a:cxn ang="0">
                <a:pos x="connsiteX0" y="connsiteY0"/>
              </a:cxn>
              <a:cxn ang="0">
                <a:pos x="connsiteX1" y="connsiteY1"/>
              </a:cxn>
            </a:cxnLst>
            <a:rect l="l" t="t" r="r" b="b"/>
            <a:pathLst>
              <a:path w="21389" h="69900">
                <a:moveTo>
                  <a:pt x="0" y="0"/>
                </a:moveTo>
                <a:lnTo>
                  <a:pt x="0" y="69900"/>
                </a:lnTo>
              </a:path>
            </a:pathLst>
          </a:custGeom>
          <a:ln w="19050"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445" name="Freeform: Shape 444">
            <a:extLst>
              <a:ext uri="{FF2B5EF4-FFF2-40B4-BE49-F238E27FC236}">
                <a16:creationId xmlns:a16="http://schemas.microsoft.com/office/drawing/2014/main" id="{B8D2860C-173A-494A-9298-FA0F38B34B7D}"/>
              </a:ext>
            </a:extLst>
          </p:cNvPr>
          <p:cNvSpPr/>
          <p:nvPr/>
        </p:nvSpPr>
        <p:spPr>
          <a:xfrm>
            <a:off x="2593828" y="4751677"/>
            <a:ext cx="0" cy="72000"/>
          </a:xfrm>
          <a:custGeom>
            <a:avLst/>
            <a:gdLst>
              <a:gd name="connsiteX0" fmla="*/ 0 w 21389"/>
              <a:gd name="connsiteY0" fmla="*/ 0 h 69900"/>
              <a:gd name="connsiteX1" fmla="*/ 0 w 21389"/>
              <a:gd name="connsiteY1" fmla="*/ 69900 h 69900"/>
            </a:gdLst>
            <a:ahLst/>
            <a:cxnLst>
              <a:cxn ang="0">
                <a:pos x="connsiteX0" y="connsiteY0"/>
              </a:cxn>
              <a:cxn ang="0">
                <a:pos x="connsiteX1" y="connsiteY1"/>
              </a:cxn>
            </a:cxnLst>
            <a:rect l="l" t="t" r="r" b="b"/>
            <a:pathLst>
              <a:path w="21389" h="69900">
                <a:moveTo>
                  <a:pt x="0" y="0"/>
                </a:moveTo>
                <a:lnTo>
                  <a:pt x="0" y="69900"/>
                </a:lnTo>
              </a:path>
            </a:pathLst>
          </a:custGeom>
          <a:ln w="19050"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446" name="Freeform: Shape 445">
            <a:extLst>
              <a:ext uri="{FF2B5EF4-FFF2-40B4-BE49-F238E27FC236}">
                <a16:creationId xmlns:a16="http://schemas.microsoft.com/office/drawing/2014/main" id="{1F2E6C60-B514-4444-9C38-A2A84A29ACFC}"/>
              </a:ext>
            </a:extLst>
          </p:cNvPr>
          <p:cNvSpPr/>
          <p:nvPr/>
        </p:nvSpPr>
        <p:spPr>
          <a:xfrm>
            <a:off x="3910372" y="4751677"/>
            <a:ext cx="0" cy="72000"/>
          </a:xfrm>
          <a:custGeom>
            <a:avLst/>
            <a:gdLst>
              <a:gd name="connsiteX0" fmla="*/ 0 w 21389"/>
              <a:gd name="connsiteY0" fmla="*/ 0 h 69900"/>
              <a:gd name="connsiteX1" fmla="*/ 0 w 21389"/>
              <a:gd name="connsiteY1" fmla="*/ 69900 h 69900"/>
            </a:gdLst>
            <a:ahLst/>
            <a:cxnLst>
              <a:cxn ang="0">
                <a:pos x="connsiteX0" y="connsiteY0"/>
              </a:cxn>
              <a:cxn ang="0">
                <a:pos x="connsiteX1" y="connsiteY1"/>
              </a:cxn>
            </a:cxnLst>
            <a:rect l="l" t="t" r="r" b="b"/>
            <a:pathLst>
              <a:path w="21389" h="69900">
                <a:moveTo>
                  <a:pt x="0" y="0"/>
                </a:moveTo>
                <a:lnTo>
                  <a:pt x="0" y="69900"/>
                </a:lnTo>
              </a:path>
            </a:pathLst>
          </a:custGeom>
          <a:ln w="19050"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447" name="Freeform: Shape 446">
            <a:extLst>
              <a:ext uri="{FF2B5EF4-FFF2-40B4-BE49-F238E27FC236}">
                <a16:creationId xmlns:a16="http://schemas.microsoft.com/office/drawing/2014/main" id="{E6437428-9DF0-4776-9E11-33BA393243AC}"/>
              </a:ext>
            </a:extLst>
          </p:cNvPr>
          <p:cNvSpPr/>
          <p:nvPr/>
        </p:nvSpPr>
        <p:spPr>
          <a:xfrm>
            <a:off x="5226917" y="4751677"/>
            <a:ext cx="0" cy="72000"/>
          </a:xfrm>
          <a:custGeom>
            <a:avLst/>
            <a:gdLst>
              <a:gd name="connsiteX0" fmla="*/ 0 w 21389"/>
              <a:gd name="connsiteY0" fmla="*/ 0 h 69900"/>
              <a:gd name="connsiteX1" fmla="*/ 0 w 21389"/>
              <a:gd name="connsiteY1" fmla="*/ 69900 h 69900"/>
            </a:gdLst>
            <a:ahLst/>
            <a:cxnLst>
              <a:cxn ang="0">
                <a:pos x="connsiteX0" y="connsiteY0"/>
              </a:cxn>
              <a:cxn ang="0">
                <a:pos x="connsiteX1" y="connsiteY1"/>
              </a:cxn>
            </a:cxnLst>
            <a:rect l="l" t="t" r="r" b="b"/>
            <a:pathLst>
              <a:path w="21389" h="69900">
                <a:moveTo>
                  <a:pt x="0" y="0"/>
                </a:moveTo>
                <a:lnTo>
                  <a:pt x="0" y="69900"/>
                </a:lnTo>
              </a:path>
            </a:pathLst>
          </a:custGeom>
          <a:ln w="19050"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448" name="Freeform: Shape 447">
            <a:extLst>
              <a:ext uri="{FF2B5EF4-FFF2-40B4-BE49-F238E27FC236}">
                <a16:creationId xmlns:a16="http://schemas.microsoft.com/office/drawing/2014/main" id="{ECEA2071-3A74-4D89-BA45-E0DB70CA1FEA}"/>
              </a:ext>
            </a:extLst>
          </p:cNvPr>
          <p:cNvSpPr/>
          <p:nvPr/>
        </p:nvSpPr>
        <p:spPr>
          <a:xfrm>
            <a:off x="6543461" y="4751677"/>
            <a:ext cx="0" cy="72000"/>
          </a:xfrm>
          <a:custGeom>
            <a:avLst/>
            <a:gdLst>
              <a:gd name="connsiteX0" fmla="*/ 0 w 21389"/>
              <a:gd name="connsiteY0" fmla="*/ 0 h 69900"/>
              <a:gd name="connsiteX1" fmla="*/ 0 w 21389"/>
              <a:gd name="connsiteY1" fmla="*/ 69900 h 69900"/>
            </a:gdLst>
            <a:ahLst/>
            <a:cxnLst>
              <a:cxn ang="0">
                <a:pos x="connsiteX0" y="connsiteY0"/>
              </a:cxn>
              <a:cxn ang="0">
                <a:pos x="connsiteX1" y="connsiteY1"/>
              </a:cxn>
            </a:cxnLst>
            <a:rect l="l" t="t" r="r" b="b"/>
            <a:pathLst>
              <a:path w="21389" h="69900">
                <a:moveTo>
                  <a:pt x="0" y="0"/>
                </a:moveTo>
                <a:lnTo>
                  <a:pt x="0" y="69900"/>
                </a:lnTo>
              </a:path>
            </a:pathLst>
          </a:custGeom>
          <a:ln w="19050"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449" name="Freeform: Shape 448">
            <a:extLst>
              <a:ext uri="{FF2B5EF4-FFF2-40B4-BE49-F238E27FC236}">
                <a16:creationId xmlns:a16="http://schemas.microsoft.com/office/drawing/2014/main" id="{F31001C4-BBF5-4384-8E79-6A18D4BD7C55}"/>
              </a:ext>
            </a:extLst>
          </p:cNvPr>
          <p:cNvSpPr/>
          <p:nvPr/>
        </p:nvSpPr>
        <p:spPr>
          <a:xfrm>
            <a:off x="7860005" y="4751677"/>
            <a:ext cx="0" cy="72000"/>
          </a:xfrm>
          <a:custGeom>
            <a:avLst/>
            <a:gdLst>
              <a:gd name="connsiteX0" fmla="*/ 0 w 21389"/>
              <a:gd name="connsiteY0" fmla="*/ 0 h 69900"/>
              <a:gd name="connsiteX1" fmla="*/ 0 w 21389"/>
              <a:gd name="connsiteY1" fmla="*/ 69900 h 69900"/>
            </a:gdLst>
            <a:ahLst/>
            <a:cxnLst>
              <a:cxn ang="0">
                <a:pos x="connsiteX0" y="connsiteY0"/>
              </a:cxn>
              <a:cxn ang="0">
                <a:pos x="connsiteX1" y="connsiteY1"/>
              </a:cxn>
            </a:cxnLst>
            <a:rect l="l" t="t" r="r" b="b"/>
            <a:pathLst>
              <a:path w="21389" h="69900">
                <a:moveTo>
                  <a:pt x="0" y="0"/>
                </a:moveTo>
                <a:lnTo>
                  <a:pt x="0" y="69900"/>
                </a:lnTo>
              </a:path>
            </a:pathLst>
          </a:custGeom>
          <a:ln w="19050"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450" name="Freeform: Shape 449">
            <a:extLst>
              <a:ext uri="{FF2B5EF4-FFF2-40B4-BE49-F238E27FC236}">
                <a16:creationId xmlns:a16="http://schemas.microsoft.com/office/drawing/2014/main" id="{A3D3488E-3691-4792-8781-16D0159AAF1B}"/>
              </a:ext>
            </a:extLst>
          </p:cNvPr>
          <p:cNvSpPr/>
          <p:nvPr/>
        </p:nvSpPr>
        <p:spPr>
          <a:xfrm>
            <a:off x="9176550" y="4751677"/>
            <a:ext cx="0" cy="72000"/>
          </a:xfrm>
          <a:custGeom>
            <a:avLst/>
            <a:gdLst>
              <a:gd name="connsiteX0" fmla="*/ 0 w 21389"/>
              <a:gd name="connsiteY0" fmla="*/ 0 h 69900"/>
              <a:gd name="connsiteX1" fmla="*/ 0 w 21389"/>
              <a:gd name="connsiteY1" fmla="*/ 69900 h 69900"/>
            </a:gdLst>
            <a:ahLst/>
            <a:cxnLst>
              <a:cxn ang="0">
                <a:pos x="connsiteX0" y="connsiteY0"/>
              </a:cxn>
              <a:cxn ang="0">
                <a:pos x="connsiteX1" y="connsiteY1"/>
              </a:cxn>
            </a:cxnLst>
            <a:rect l="l" t="t" r="r" b="b"/>
            <a:pathLst>
              <a:path w="21389" h="69900">
                <a:moveTo>
                  <a:pt x="0" y="0"/>
                </a:moveTo>
                <a:lnTo>
                  <a:pt x="0" y="69900"/>
                </a:lnTo>
              </a:path>
            </a:pathLst>
          </a:custGeom>
          <a:ln w="19050"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451" name="Freeform: Shape 450">
            <a:extLst>
              <a:ext uri="{FF2B5EF4-FFF2-40B4-BE49-F238E27FC236}">
                <a16:creationId xmlns:a16="http://schemas.microsoft.com/office/drawing/2014/main" id="{F98BF352-0789-4C53-98C2-4097F9FE26B2}"/>
              </a:ext>
            </a:extLst>
          </p:cNvPr>
          <p:cNvSpPr/>
          <p:nvPr/>
        </p:nvSpPr>
        <p:spPr>
          <a:xfrm>
            <a:off x="10493094" y="4751677"/>
            <a:ext cx="0" cy="72000"/>
          </a:xfrm>
          <a:custGeom>
            <a:avLst/>
            <a:gdLst>
              <a:gd name="connsiteX0" fmla="*/ 0 w 21389"/>
              <a:gd name="connsiteY0" fmla="*/ 0 h 69900"/>
              <a:gd name="connsiteX1" fmla="*/ 0 w 21389"/>
              <a:gd name="connsiteY1" fmla="*/ 69900 h 69900"/>
            </a:gdLst>
            <a:ahLst/>
            <a:cxnLst>
              <a:cxn ang="0">
                <a:pos x="connsiteX0" y="connsiteY0"/>
              </a:cxn>
              <a:cxn ang="0">
                <a:pos x="connsiteX1" y="connsiteY1"/>
              </a:cxn>
            </a:cxnLst>
            <a:rect l="l" t="t" r="r" b="b"/>
            <a:pathLst>
              <a:path w="21389" h="69900">
                <a:moveTo>
                  <a:pt x="0" y="0"/>
                </a:moveTo>
                <a:lnTo>
                  <a:pt x="0" y="69900"/>
                </a:lnTo>
              </a:path>
            </a:pathLst>
          </a:custGeom>
          <a:ln w="19050"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452" name="Freeform: Shape 451">
            <a:extLst>
              <a:ext uri="{FF2B5EF4-FFF2-40B4-BE49-F238E27FC236}">
                <a16:creationId xmlns:a16="http://schemas.microsoft.com/office/drawing/2014/main" id="{F2DFB0D1-7E5B-4957-9547-E99E40566DFF}"/>
              </a:ext>
            </a:extLst>
          </p:cNvPr>
          <p:cNvSpPr/>
          <p:nvPr/>
        </p:nvSpPr>
        <p:spPr>
          <a:xfrm>
            <a:off x="11809642" y="4751677"/>
            <a:ext cx="0" cy="72000"/>
          </a:xfrm>
          <a:custGeom>
            <a:avLst/>
            <a:gdLst>
              <a:gd name="connsiteX0" fmla="*/ 0 w 21389"/>
              <a:gd name="connsiteY0" fmla="*/ 0 h 69900"/>
              <a:gd name="connsiteX1" fmla="*/ 0 w 21389"/>
              <a:gd name="connsiteY1" fmla="*/ 69900 h 69900"/>
            </a:gdLst>
            <a:ahLst/>
            <a:cxnLst>
              <a:cxn ang="0">
                <a:pos x="connsiteX0" y="connsiteY0"/>
              </a:cxn>
              <a:cxn ang="0">
                <a:pos x="connsiteX1" y="connsiteY1"/>
              </a:cxn>
            </a:cxnLst>
            <a:rect l="l" t="t" r="r" b="b"/>
            <a:pathLst>
              <a:path w="21389" h="69900">
                <a:moveTo>
                  <a:pt x="0" y="0"/>
                </a:moveTo>
                <a:lnTo>
                  <a:pt x="0" y="69900"/>
                </a:lnTo>
              </a:path>
            </a:pathLst>
          </a:custGeom>
          <a:ln w="19050" cap="flat">
            <a:solidFill>
              <a:srgbClr val="002557"/>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graphicFrame>
        <p:nvGraphicFramePr>
          <p:cNvPr id="511" name="Table 510">
            <a:extLst>
              <a:ext uri="{FF2B5EF4-FFF2-40B4-BE49-F238E27FC236}">
                <a16:creationId xmlns:a16="http://schemas.microsoft.com/office/drawing/2014/main" id="{A22F75C3-8B18-4055-A3E8-32BB2080E1F5}"/>
              </a:ext>
            </a:extLst>
          </p:cNvPr>
          <p:cNvGraphicFramePr>
            <a:graphicFrameLocks noGrp="1"/>
          </p:cNvGraphicFramePr>
          <p:nvPr/>
        </p:nvGraphicFramePr>
        <p:xfrm>
          <a:off x="5706506" y="1143000"/>
          <a:ext cx="6081004" cy="1105875"/>
        </p:xfrm>
        <a:graphic>
          <a:graphicData uri="http://schemas.openxmlformats.org/drawingml/2006/table">
            <a:tbl>
              <a:tblPr firstRow="1" bandRow="1">
                <a:tableStyleId>{0505E3EF-67EA-436B-97B2-0124C06EBD24}</a:tableStyleId>
              </a:tblPr>
              <a:tblGrid>
                <a:gridCol w="2830522">
                  <a:extLst>
                    <a:ext uri="{9D8B030D-6E8A-4147-A177-3AD203B41FA5}">
                      <a16:colId xmlns:a16="http://schemas.microsoft.com/office/drawing/2014/main" val="683402423"/>
                    </a:ext>
                  </a:extLst>
                </a:gridCol>
                <a:gridCol w="1625241">
                  <a:extLst>
                    <a:ext uri="{9D8B030D-6E8A-4147-A177-3AD203B41FA5}">
                      <a16:colId xmlns:a16="http://schemas.microsoft.com/office/drawing/2014/main" val="1461441399"/>
                    </a:ext>
                  </a:extLst>
                </a:gridCol>
                <a:gridCol w="1625241">
                  <a:extLst>
                    <a:ext uri="{9D8B030D-6E8A-4147-A177-3AD203B41FA5}">
                      <a16:colId xmlns:a16="http://schemas.microsoft.com/office/drawing/2014/main" val="108430981"/>
                    </a:ext>
                  </a:extLst>
                </a:gridCol>
              </a:tblGrid>
              <a:tr h="328635">
                <a:tc>
                  <a:txBody>
                    <a:bodyPr/>
                    <a:lstStyle/>
                    <a:p>
                      <a:pPr>
                        <a:lnSpc>
                          <a:spcPct val="100000"/>
                        </a:lnSpc>
                      </a:pPr>
                      <a:endParaRPr lang="en-US" sz="1100" dirty="0">
                        <a:latin typeface="+mn-lt"/>
                      </a:endParaRPr>
                    </a:p>
                  </a:txBody>
                  <a:tcPr anchor="ctr"/>
                </a:tc>
                <a:tc>
                  <a:txBody>
                    <a:bodyPr/>
                    <a:lstStyle/>
                    <a:p>
                      <a:pPr marL="0" algn="ctr" defTabSz="914400" rtl="0" eaLnBrk="1" latinLnBrk="0" hangingPunct="1">
                        <a:lnSpc>
                          <a:spcPct val="100000"/>
                        </a:lnSpc>
                        <a:spcBef>
                          <a:spcPts val="600"/>
                        </a:spcBef>
                        <a:spcAft>
                          <a:spcPts val="200"/>
                        </a:spcAft>
                      </a:pPr>
                      <a:r>
                        <a:rPr lang="en-GB" sz="1100" b="1" kern="1200" dirty="0">
                          <a:solidFill>
                            <a:schemeClr val="bg1"/>
                          </a:solidFill>
                          <a:latin typeface="+mn-lt"/>
                          <a:ea typeface="+mn-ea"/>
                          <a:cs typeface="+mn-cs"/>
                        </a:rPr>
                        <a:t>Durvalumab (n=389)</a:t>
                      </a:r>
                    </a:p>
                  </a:txBody>
                  <a:tcPr anchor="ctr">
                    <a:solidFill>
                      <a:srgbClr val="008764"/>
                    </a:solidFill>
                  </a:tcPr>
                </a:tc>
                <a:tc>
                  <a:txBody>
                    <a:bodyPr/>
                    <a:lstStyle/>
                    <a:p>
                      <a:pPr marL="0" marR="0" lvl="0" indent="0" algn="ctr" defTabSz="914400" rtl="0" eaLnBrk="1" fontAlgn="auto" latinLnBrk="0" hangingPunct="1">
                        <a:lnSpc>
                          <a:spcPct val="100000"/>
                        </a:lnSpc>
                        <a:spcBef>
                          <a:spcPts val="600"/>
                        </a:spcBef>
                        <a:spcAft>
                          <a:spcPts val="200"/>
                        </a:spcAft>
                        <a:buClrTx/>
                        <a:buSzTx/>
                        <a:buFontTx/>
                        <a:buNone/>
                        <a:tabLst/>
                        <a:defRPr/>
                      </a:pPr>
                      <a:r>
                        <a:rPr lang="en-GB" sz="1100" b="1" dirty="0">
                          <a:solidFill>
                            <a:schemeClr val="bg1"/>
                          </a:solidFill>
                          <a:effectLst/>
                        </a:rPr>
                        <a:t>Sorafenib (n=389)</a:t>
                      </a:r>
                      <a:endParaRPr lang="en-GB" sz="11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anchor="ctr">
                    <a:solidFill>
                      <a:srgbClr val="830051"/>
                    </a:solidFill>
                  </a:tcPr>
                </a:tc>
                <a:extLst>
                  <a:ext uri="{0D108BD9-81ED-4DB2-BD59-A6C34878D82A}">
                    <a16:rowId xmlns:a16="http://schemas.microsoft.com/office/drawing/2014/main" val="3856136383"/>
                  </a:ext>
                </a:extLst>
              </a:tr>
              <a:tr h="200832">
                <a:tc>
                  <a:txBody>
                    <a:bodyPr/>
                    <a:lstStyle/>
                    <a:p>
                      <a:pPr>
                        <a:lnSpc>
                          <a:spcPct val="100000"/>
                        </a:lnSpc>
                      </a:pPr>
                      <a:r>
                        <a:rPr lang="en-US" sz="1100" b="1" dirty="0">
                          <a:solidFill>
                            <a:srgbClr val="002557"/>
                          </a:solidFill>
                        </a:rPr>
                        <a:t>OS events, n (%)</a:t>
                      </a:r>
                    </a:p>
                  </a:txBody>
                  <a:tcPr anchor="ctr">
                    <a:solidFill>
                      <a:schemeClr val="bg1">
                        <a:lumMod val="95000"/>
                      </a:schemeClr>
                    </a:solidFill>
                  </a:tcPr>
                </a:tc>
                <a:tc>
                  <a:txBody>
                    <a:bodyPr/>
                    <a:lstStyle/>
                    <a:p>
                      <a:pPr marL="0" algn="ctr" defTabSz="914400" rtl="0" eaLnBrk="1" latinLnBrk="0" hangingPunct="1">
                        <a:lnSpc>
                          <a:spcPct val="100000"/>
                        </a:lnSpc>
                        <a:spcBef>
                          <a:spcPts val="0"/>
                        </a:spcBef>
                        <a:spcAft>
                          <a:spcPts val="0"/>
                        </a:spcAft>
                      </a:pPr>
                      <a:r>
                        <a:rPr lang="en-GB" sz="1100" kern="1200" dirty="0">
                          <a:solidFill>
                            <a:srgbClr val="002557"/>
                          </a:solidFill>
                          <a:latin typeface="+mn-lt"/>
                          <a:ea typeface="+mn-ea"/>
                          <a:cs typeface="+mn-cs"/>
                        </a:rPr>
                        <a:t>280 (72.0)</a:t>
                      </a:r>
                    </a:p>
                  </a:txBody>
                  <a:tcPr anchor="ctr">
                    <a:solidFill>
                      <a:schemeClr val="bg1">
                        <a:lumMod val="95000"/>
                      </a:schemeClr>
                    </a:solidFill>
                  </a:tcPr>
                </a:tc>
                <a:tc>
                  <a:txBody>
                    <a:bodyPr/>
                    <a:lstStyle/>
                    <a:p>
                      <a:pPr marL="0" algn="ctr" defTabSz="914400" rtl="0" eaLnBrk="1" latinLnBrk="0" hangingPunct="1">
                        <a:lnSpc>
                          <a:spcPct val="100000"/>
                        </a:lnSpc>
                        <a:spcBef>
                          <a:spcPts val="0"/>
                        </a:spcBef>
                        <a:spcAft>
                          <a:spcPts val="0"/>
                        </a:spcAft>
                      </a:pPr>
                      <a:r>
                        <a:rPr lang="en-GB" sz="1100" kern="1200" dirty="0">
                          <a:solidFill>
                            <a:srgbClr val="002557"/>
                          </a:solidFill>
                          <a:latin typeface="+mn-lt"/>
                          <a:ea typeface="+mn-ea"/>
                          <a:cs typeface="+mn-cs"/>
                        </a:rPr>
                        <a:t>293 (75.3)</a:t>
                      </a:r>
                    </a:p>
                  </a:txBody>
                  <a:tcPr anchor="ctr">
                    <a:solidFill>
                      <a:schemeClr val="bg1">
                        <a:lumMod val="95000"/>
                      </a:schemeClr>
                    </a:solidFill>
                  </a:tcPr>
                </a:tc>
                <a:extLst>
                  <a:ext uri="{0D108BD9-81ED-4DB2-BD59-A6C34878D82A}">
                    <a16:rowId xmlns:a16="http://schemas.microsoft.com/office/drawing/2014/main" val="2210665207"/>
                  </a:ext>
                </a:extLst>
              </a:tr>
              <a:tr h="200832">
                <a:tc>
                  <a:txBody>
                    <a:bodyPr/>
                    <a:lstStyle/>
                    <a:p>
                      <a:pPr>
                        <a:lnSpc>
                          <a:spcPct val="100000"/>
                        </a:lnSpc>
                      </a:pPr>
                      <a:r>
                        <a:rPr lang="en-US" sz="1100" b="1" dirty="0">
                          <a:solidFill>
                            <a:srgbClr val="002557"/>
                          </a:solidFill>
                        </a:rPr>
                        <a:t>Median OS (95% CI), months</a:t>
                      </a:r>
                    </a:p>
                  </a:txBody>
                  <a:tcPr anchor="ctr">
                    <a:solidFill>
                      <a:schemeClr val="bg2"/>
                    </a:solidFill>
                  </a:tcPr>
                </a:tc>
                <a:tc>
                  <a:txBody>
                    <a:bodyPr/>
                    <a:lstStyle/>
                    <a:p>
                      <a:pPr marL="0" algn="ctr" defTabSz="914400" rtl="0" eaLnBrk="1" latinLnBrk="0" hangingPunct="1">
                        <a:lnSpc>
                          <a:spcPct val="100000"/>
                        </a:lnSpc>
                        <a:spcBef>
                          <a:spcPts val="0"/>
                        </a:spcBef>
                        <a:spcAft>
                          <a:spcPts val="0"/>
                        </a:spcAft>
                      </a:pPr>
                      <a:r>
                        <a:rPr lang="en-GB" sz="1100" kern="1200" dirty="0">
                          <a:solidFill>
                            <a:srgbClr val="002557"/>
                          </a:solidFill>
                          <a:latin typeface="+mn-lt"/>
                          <a:ea typeface="+mn-ea"/>
                          <a:cs typeface="+mn-cs"/>
                        </a:rPr>
                        <a:t>16.6 (14.1–19.1)</a:t>
                      </a:r>
                    </a:p>
                  </a:txBody>
                  <a:tcPr anchor="ctr">
                    <a:solidFill>
                      <a:schemeClr val="bg2"/>
                    </a:solidFill>
                  </a:tcPr>
                </a:tc>
                <a:tc>
                  <a:txBody>
                    <a:bodyPr/>
                    <a:lstStyle/>
                    <a:p>
                      <a:pPr marL="0" algn="ctr" defTabSz="914400" rtl="0" eaLnBrk="1" latinLnBrk="0" hangingPunct="1">
                        <a:lnSpc>
                          <a:spcPct val="100000"/>
                        </a:lnSpc>
                        <a:spcBef>
                          <a:spcPts val="0"/>
                        </a:spcBef>
                        <a:spcAft>
                          <a:spcPts val="0"/>
                        </a:spcAft>
                      </a:pPr>
                      <a:r>
                        <a:rPr lang="en-GB" sz="1100" kern="1200" dirty="0">
                          <a:solidFill>
                            <a:srgbClr val="002557"/>
                          </a:solidFill>
                          <a:latin typeface="+mn-lt"/>
                          <a:ea typeface="+mn-ea"/>
                          <a:cs typeface="+mn-cs"/>
                        </a:rPr>
                        <a:t>13.8 (12.3–16.1)</a:t>
                      </a:r>
                    </a:p>
                  </a:txBody>
                  <a:tcPr anchor="ctr">
                    <a:solidFill>
                      <a:schemeClr val="bg2"/>
                    </a:solidFill>
                  </a:tcPr>
                </a:tc>
                <a:extLst>
                  <a:ext uri="{0D108BD9-81ED-4DB2-BD59-A6C34878D82A}">
                    <a16:rowId xmlns:a16="http://schemas.microsoft.com/office/drawing/2014/main" val="2595467933"/>
                  </a:ext>
                </a:extLst>
              </a:tr>
              <a:tr h="200832">
                <a:tc>
                  <a:txBody>
                    <a:bodyPr/>
                    <a:lstStyle/>
                    <a:p>
                      <a:pPr>
                        <a:lnSpc>
                          <a:spcPct val="100000"/>
                        </a:lnSpc>
                      </a:pPr>
                      <a:r>
                        <a:rPr lang="pt-BR" sz="1100" b="1" dirty="0">
                          <a:solidFill>
                            <a:srgbClr val="002557"/>
                          </a:solidFill>
                        </a:rPr>
                        <a:t>HR (95.67% CI)</a:t>
                      </a:r>
                      <a:endParaRPr lang="pt-BR" sz="1100" b="1" baseline="0" dirty="0">
                        <a:solidFill>
                          <a:srgbClr val="002557"/>
                        </a:solidFill>
                      </a:endParaRPr>
                    </a:p>
                  </a:txBody>
                  <a:tcPr anchor="ctr">
                    <a:solidFill>
                      <a:schemeClr val="bg1">
                        <a:lumMod val="95000"/>
                      </a:schemeClr>
                    </a:solidFill>
                  </a:tcPr>
                </a:tc>
                <a:tc gridSpan="2">
                  <a:txBody>
                    <a:bodyPr/>
                    <a:lstStyle/>
                    <a:p>
                      <a:pPr marL="0" algn="ctr" defTabSz="914400" rtl="0" eaLnBrk="1" latinLnBrk="0" hangingPunct="1">
                        <a:lnSpc>
                          <a:spcPct val="100000"/>
                        </a:lnSpc>
                        <a:spcBef>
                          <a:spcPts val="0"/>
                        </a:spcBef>
                        <a:spcAft>
                          <a:spcPts val="0"/>
                        </a:spcAft>
                      </a:pPr>
                      <a:r>
                        <a:rPr lang="en-GB" sz="1100" kern="1200" dirty="0">
                          <a:solidFill>
                            <a:srgbClr val="002557"/>
                          </a:solidFill>
                          <a:latin typeface="+mn-lt"/>
                          <a:ea typeface="+mn-ea"/>
                          <a:cs typeface="+mn-cs"/>
                        </a:rPr>
                        <a:t>0.86 (0.73–1.03)</a:t>
                      </a:r>
                    </a:p>
                  </a:txBody>
                  <a:tcPr anchor="ctr">
                    <a:solidFill>
                      <a:schemeClr val="bg1">
                        <a:lumMod val="95000"/>
                      </a:schemeClr>
                    </a:solidFill>
                  </a:tcPr>
                </a:tc>
                <a:tc hMerge="1">
                  <a:txBody>
                    <a:bodyPr/>
                    <a:lstStyle/>
                    <a:p>
                      <a:pPr marL="0" algn="ctr" defTabSz="914400" rtl="0" eaLnBrk="1" latinLnBrk="0" hangingPunct="1">
                        <a:lnSpc>
                          <a:spcPct val="100000"/>
                        </a:lnSpc>
                        <a:spcBef>
                          <a:spcPts val="0"/>
                        </a:spcBef>
                        <a:spcAft>
                          <a:spcPts val="0"/>
                        </a:spcAft>
                      </a:pPr>
                      <a:endParaRPr lang="en-GB" sz="800" kern="1200" dirty="0">
                        <a:solidFill>
                          <a:schemeClr val="dk1"/>
                        </a:solidFill>
                        <a:latin typeface="+mn-lt"/>
                        <a:ea typeface="+mn-ea"/>
                        <a:cs typeface="+mn-cs"/>
                      </a:endParaRPr>
                    </a:p>
                  </a:txBody>
                  <a:tcPr anchor="ctr"/>
                </a:tc>
                <a:extLst>
                  <a:ext uri="{0D108BD9-81ED-4DB2-BD59-A6C34878D82A}">
                    <a16:rowId xmlns:a16="http://schemas.microsoft.com/office/drawing/2014/main" val="2060301772"/>
                  </a:ext>
                </a:extLst>
              </a:tr>
            </a:tbl>
          </a:graphicData>
        </a:graphic>
      </p:graphicFrame>
      <p:sp>
        <p:nvSpPr>
          <p:cNvPr id="512" name="TextBox 511">
            <a:extLst>
              <a:ext uri="{FF2B5EF4-FFF2-40B4-BE49-F238E27FC236}">
                <a16:creationId xmlns:a16="http://schemas.microsoft.com/office/drawing/2014/main" id="{EE26DEEA-2EED-4525-BC0E-2CF04CE7748E}"/>
              </a:ext>
            </a:extLst>
          </p:cNvPr>
          <p:cNvSpPr txBox="1"/>
          <p:nvPr/>
        </p:nvSpPr>
        <p:spPr>
          <a:xfrm>
            <a:off x="228990" y="5068855"/>
            <a:ext cx="1170513" cy="2616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defPPr>
              <a:defRPr lang="en-US"/>
            </a:defPPr>
            <a:lvl1pPr>
              <a:defRPr sz="1200" b="1" spc="0" baseline="0">
                <a:solidFill>
                  <a:schemeClr val="bg1"/>
                </a:solidFill>
                <a:latin typeface="+mj-lt"/>
                <a:rtl val="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002557"/>
                </a:solidFill>
                <a:effectLst/>
                <a:uLnTx/>
                <a:uFillTx/>
                <a:latin typeface="Arial" panose="020B0604020202020204"/>
                <a:ea typeface="+mn-ea"/>
                <a:cs typeface="+mn-cs"/>
                <a:sym typeface="HelveticaNeue-Bold"/>
                <a:rtl val="0"/>
              </a:rPr>
              <a:t>No. at risk</a:t>
            </a:r>
          </a:p>
        </p:txBody>
      </p:sp>
      <p:sp>
        <p:nvSpPr>
          <p:cNvPr id="513" name="TextBox 512">
            <a:extLst>
              <a:ext uri="{FF2B5EF4-FFF2-40B4-BE49-F238E27FC236}">
                <a16:creationId xmlns:a16="http://schemas.microsoft.com/office/drawing/2014/main" id="{45EC9BE0-EF2A-4EDB-9FDF-B4257D12C15B}"/>
              </a:ext>
            </a:extLst>
          </p:cNvPr>
          <p:cNvSpPr txBox="1"/>
          <p:nvPr/>
        </p:nvSpPr>
        <p:spPr>
          <a:xfrm>
            <a:off x="228990" y="5256264"/>
            <a:ext cx="1118547"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002557"/>
                </a:solidFill>
                <a:effectLst/>
                <a:uLnTx/>
                <a:uFillTx/>
                <a:latin typeface="Arial" panose="020B0604020202020204"/>
                <a:ea typeface="+mn-ea"/>
                <a:cs typeface="+mn-cs"/>
                <a:sym typeface="HelveticaNeueCE-Roman"/>
                <a:rtl val="0"/>
              </a:rPr>
              <a:t>Durvalumab</a:t>
            </a:r>
          </a:p>
        </p:txBody>
      </p:sp>
      <p:sp>
        <p:nvSpPr>
          <p:cNvPr id="514" name="TextBox 513">
            <a:extLst>
              <a:ext uri="{FF2B5EF4-FFF2-40B4-BE49-F238E27FC236}">
                <a16:creationId xmlns:a16="http://schemas.microsoft.com/office/drawing/2014/main" id="{89796837-176B-4AFF-920B-F538C13BD2C0}"/>
              </a:ext>
            </a:extLst>
          </p:cNvPr>
          <p:cNvSpPr txBox="1"/>
          <p:nvPr/>
        </p:nvSpPr>
        <p:spPr>
          <a:xfrm>
            <a:off x="228990" y="5443823"/>
            <a:ext cx="835485"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002557"/>
                </a:solidFill>
                <a:effectLst/>
                <a:uLnTx/>
                <a:uFillTx/>
                <a:latin typeface="Arial" panose="020B0604020202020204"/>
                <a:ea typeface="+mn-ea"/>
                <a:cs typeface="+mn-cs"/>
                <a:sym typeface="HelveticaNeueCE-Roman"/>
                <a:rtl val="0"/>
              </a:rPr>
              <a:t>Sorafenib</a:t>
            </a:r>
          </a:p>
        </p:txBody>
      </p:sp>
      <p:sp>
        <p:nvSpPr>
          <p:cNvPr id="516" name="Freeform: Shape 515">
            <a:extLst>
              <a:ext uri="{FF2B5EF4-FFF2-40B4-BE49-F238E27FC236}">
                <a16:creationId xmlns:a16="http://schemas.microsoft.com/office/drawing/2014/main" id="{7EF645C5-03AB-4C3D-896A-9D197271F638}"/>
              </a:ext>
            </a:extLst>
          </p:cNvPr>
          <p:cNvSpPr/>
          <p:nvPr/>
        </p:nvSpPr>
        <p:spPr>
          <a:xfrm>
            <a:off x="1195226" y="1774875"/>
            <a:ext cx="10623600" cy="2969636"/>
          </a:xfrm>
          <a:custGeom>
            <a:avLst/>
            <a:gdLst>
              <a:gd name="connsiteX0" fmla="*/ 0 w 9083895"/>
              <a:gd name="connsiteY0" fmla="*/ 0 h 2465405"/>
              <a:gd name="connsiteX1" fmla="*/ 0 w 9083895"/>
              <a:gd name="connsiteY1" fmla="*/ 2465406 h 2465405"/>
              <a:gd name="connsiteX2" fmla="*/ 9083896 w 9083895"/>
              <a:gd name="connsiteY2" fmla="*/ 2465406 h 2465405"/>
            </a:gdLst>
            <a:ahLst/>
            <a:cxnLst>
              <a:cxn ang="0">
                <a:pos x="connsiteX0" y="connsiteY0"/>
              </a:cxn>
              <a:cxn ang="0">
                <a:pos x="connsiteX1" y="connsiteY1"/>
              </a:cxn>
              <a:cxn ang="0">
                <a:pos x="connsiteX2" y="connsiteY2"/>
              </a:cxn>
            </a:cxnLst>
            <a:rect l="l" t="t" r="r" b="b"/>
            <a:pathLst>
              <a:path w="9083895" h="2465405">
                <a:moveTo>
                  <a:pt x="0" y="0"/>
                </a:moveTo>
                <a:lnTo>
                  <a:pt x="0" y="2465406"/>
                </a:lnTo>
                <a:lnTo>
                  <a:pt x="9083896" y="2465406"/>
                </a:lnTo>
              </a:path>
            </a:pathLst>
          </a:custGeom>
          <a:ln w="19050" cap="flat">
            <a:solidFill>
              <a:srgbClr val="002557"/>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2" name="TextBox 1">
            <a:extLst>
              <a:ext uri="{FF2B5EF4-FFF2-40B4-BE49-F238E27FC236}">
                <a16:creationId xmlns:a16="http://schemas.microsoft.com/office/drawing/2014/main" id="{8F9FDE8B-A4FF-4C90-A314-CF1BD46A536F}"/>
              </a:ext>
            </a:extLst>
          </p:cNvPr>
          <p:cNvSpPr txBox="1"/>
          <p:nvPr/>
        </p:nvSpPr>
        <p:spPr>
          <a:xfrm>
            <a:off x="5663032" y="2228918"/>
            <a:ext cx="4710779"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dirty="0">
                <a:ln>
                  <a:noFill/>
                </a:ln>
                <a:solidFill>
                  <a:srgbClr val="002557"/>
                </a:solidFill>
                <a:effectLst/>
                <a:uLnTx/>
                <a:uFillTx/>
                <a:latin typeface="Arial" panose="020B0604020202020204"/>
                <a:ea typeface="+mn-ea"/>
                <a:cs typeface="+mn-cs"/>
              </a:rPr>
              <a:t>Noninferiority margin=1.08</a:t>
            </a:r>
          </a:p>
        </p:txBody>
      </p:sp>
      <p:cxnSp>
        <p:nvCxnSpPr>
          <p:cNvPr id="167" name="Straight Connector 166">
            <a:extLst>
              <a:ext uri="{FF2B5EF4-FFF2-40B4-BE49-F238E27FC236}">
                <a16:creationId xmlns:a16="http://schemas.microsoft.com/office/drawing/2014/main" id="{390D8A28-DDF1-4676-80B6-8C77E063F3D3}"/>
              </a:ext>
            </a:extLst>
          </p:cNvPr>
          <p:cNvCxnSpPr>
            <a:cxnSpLocks/>
          </p:cNvCxnSpPr>
          <p:nvPr/>
        </p:nvCxnSpPr>
        <p:spPr>
          <a:xfrm flipV="1">
            <a:off x="3223692" y="2752033"/>
            <a:ext cx="3807" cy="1975348"/>
          </a:xfrm>
          <a:prstGeom prst="line">
            <a:avLst/>
          </a:prstGeom>
          <a:ln w="19050" cap="flat">
            <a:solidFill>
              <a:srgbClr val="002557"/>
            </a:solidFill>
            <a:prstDash val="sysDash"/>
            <a:miter/>
          </a:ln>
        </p:spPr>
      </p:cxnSp>
      <p:graphicFrame>
        <p:nvGraphicFramePr>
          <p:cNvPr id="170" name="Table 169">
            <a:extLst>
              <a:ext uri="{FF2B5EF4-FFF2-40B4-BE49-F238E27FC236}">
                <a16:creationId xmlns:a16="http://schemas.microsoft.com/office/drawing/2014/main" id="{D2DE8848-AF60-4F36-AD0D-445361C9571D}"/>
              </a:ext>
            </a:extLst>
          </p:cNvPr>
          <p:cNvGraphicFramePr>
            <a:graphicFrameLocks noGrp="1"/>
          </p:cNvGraphicFramePr>
          <p:nvPr/>
        </p:nvGraphicFramePr>
        <p:xfrm>
          <a:off x="1328401" y="3414007"/>
          <a:ext cx="1699782" cy="731520"/>
        </p:xfrm>
        <a:graphic>
          <a:graphicData uri="http://schemas.openxmlformats.org/drawingml/2006/table">
            <a:tbl>
              <a:tblPr firstRow="1" bandRow="1">
                <a:tableStyleId>{0505E3EF-67EA-436B-97B2-0124C06EBD24}</a:tableStyleId>
              </a:tblPr>
              <a:tblGrid>
                <a:gridCol w="1699782">
                  <a:extLst>
                    <a:ext uri="{9D8B030D-6E8A-4147-A177-3AD203B41FA5}">
                      <a16:colId xmlns:a16="http://schemas.microsoft.com/office/drawing/2014/main" val="683402423"/>
                    </a:ext>
                  </a:extLst>
                </a:gridCol>
              </a:tblGrid>
              <a:tr h="0">
                <a:tc>
                  <a:txBody>
                    <a:bodyPr/>
                    <a:lstStyle/>
                    <a:p>
                      <a:pPr algn="ctr">
                        <a:lnSpc>
                          <a:spcPct val="100000"/>
                        </a:lnSpc>
                      </a:pPr>
                      <a:r>
                        <a:rPr lang="pt-BR" sz="1200" b="1" dirty="0">
                          <a:solidFill>
                            <a:srgbClr val="002557"/>
                          </a:solidFill>
                        </a:rPr>
                        <a:t>HR for time up to </a:t>
                      </a:r>
                    </a:p>
                    <a:p>
                      <a:pPr algn="ctr">
                        <a:lnSpc>
                          <a:spcPct val="100000"/>
                        </a:lnSpc>
                      </a:pPr>
                      <a:r>
                        <a:rPr lang="pt-BR" sz="1200" b="1" dirty="0">
                          <a:solidFill>
                            <a:srgbClr val="002557"/>
                          </a:solidFill>
                        </a:rPr>
                        <a:t>9 months (95% CI)</a:t>
                      </a:r>
                    </a:p>
                  </a:txBody>
                  <a:tcPr marL="0" marR="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60301772"/>
                  </a:ext>
                </a:extLst>
              </a:tr>
              <a:tr h="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002557"/>
                          </a:solidFill>
                          <a:latin typeface="+mn-lt"/>
                          <a:ea typeface="+mn-ea"/>
                          <a:cs typeface="+mn-cs"/>
                        </a:rPr>
                        <a:t>0.98 (0.77–1.24)</a:t>
                      </a:r>
                    </a:p>
                  </a:txBody>
                  <a:tcPr marL="0" marR="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43723854"/>
                  </a:ext>
                </a:extLst>
              </a:tr>
            </a:tbl>
          </a:graphicData>
        </a:graphic>
      </p:graphicFrame>
      <p:graphicFrame>
        <p:nvGraphicFramePr>
          <p:cNvPr id="171" name="Table 170">
            <a:extLst>
              <a:ext uri="{FF2B5EF4-FFF2-40B4-BE49-F238E27FC236}">
                <a16:creationId xmlns:a16="http://schemas.microsoft.com/office/drawing/2014/main" id="{68488ABC-23F1-483A-A855-72AF590CD053}"/>
              </a:ext>
            </a:extLst>
          </p:cNvPr>
          <p:cNvGraphicFramePr>
            <a:graphicFrameLocks noGrp="1"/>
          </p:cNvGraphicFramePr>
          <p:nvPr/>
        </p:nvGraphicFramePr>
        <p:xfrm>
          <a:off x="3281306" y="3456079"/>
          <a:ext cx="1743731" cy="731520"/>
        </p:xfrm>
        <a:graphic>
          <a:graphicData uri="http://schemas.openxmlformats.org/drawingml/2006/table">
            <a:tbl>
              <a:tblPr firstRow="1" bandRow="1">
                <a:tableStyleId>{0505E3EF-67EA-436B-97B2-0124C06EBD24}</a:tableStyleId>
              </a:tblPr>
              <a:tblGrid>
                <a:gridCol w="1743731">
                  <a:extLst>
                    <a:ext uri="{9D8B030D-6E8A-4147-A177-3AD203B41FA5}">
                      <a16:colId xmlns:a16="http://schemas.microsoft.com/office/drawing/2014/main" val="683402423"/>
                    </a:ext>
                  </a:extLst>
                </a:gridCol>
              </a:tblGrid>
              <a:tr h="0">
                <a:tc>
                  <a:txBody>
                    <a:bodyPr/>
                    <a:lstStyle/>
                    <a:p>
                      <a:pPr algn="ctr">
                        <a:lnSpc>
                          <a:spcPct val="100000"/>
                        </a:lnSpc>
                      </a:pPr>
                      <a:r>
                        <a:rPr lang="pt-BR" sz="1200" b="1" dirty="0">
                          <a:solidFill>
                            <a:srgbClr val="002557"/>
                          </a:solidFill>
                        </a:rPr>
                        <a:t>HR for time after</a:t>
                      </a:r>
                    </a:p>
                    <a:p>
                      <a:pPr algn="ctr">
                        <a:lnSpc>
                          <a:spcPct val="100000"/>
                        </a:lnSpc>
                      </a:pPr>
                      <a:r>
                        <a:rPr lang="pt-BR" sz="1200" b="1" dirty="0">
                          <a:solidFill>
                            <a:srgbClr val="002557"/>
                          </a:solidFill>
                        </a:rPr>
                        <a:t> 9 months (95% CI)</a:t>
                      </a:r>
                    </a:p>
                  </a:txBody>
                  <a:tcPr marL="0" marR="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60301772"/>
                  </a:ext>
                </a:extLst>
              </a:tr>
              <a:tr h="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002557"/>
                          </a:solidFill>
                          <a:latin typeface="+mn-lt"/>
                          <a:ea typeface="+mn-ea"/>
                          <a:cs typeface="+mn-cs"/>
                        </a:rPr>
                        <a:t>0.77 (0.61–0.97)</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43723854"/>
                  </a:ext>
                </a:extLst>
              </a:tr>
            </a:tbl>
          </a:graphicData>
        </a:graphic>
      </p:graphicFrame>
    </p:spTree>
    <p:extLst>
      <p:ext uri="{BB962C8B-B14F-4D97-AF65-F5344CB8AC3E}">
        <p14:creationId xmlns:p14="http://schemas.microsoft.com/office/powerpoint/2010/main" val="310391479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F28761EA-0287-41C6-B1CD-CA5D3E3C573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9" name="think-cell Slide" r:id="rId5" imgW="592" imgH="591" progId="TCLayout.ActiveDocument.1">
                  <p:embed/>
                </p:oleObj>
              </mc:Choice>
              <mc:Fallback>
                <p:oleObj name="think-cell Slide" r:id="rId5" imgW="592" imgH="591" progId="TCLayout.ActiveDocument.1">
                  <p:embed/>
                  <p:pic>
                    <p:nvPicPr>
                      <p:cNvPr id="18" name="Object 17" hidden="1">
                        <a:extLst>
                          <a:ext uri="{FF2B5EF4-FFF2-40B4-BE49-F238E27FC236}">
                            <a16:creationId xmlns:a16="http://schemas.microsoft.com/office/drawing/2014/main" id="{F28761EA-0287-41C6-B1CD-CA5D3E3C573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9" name="Title 15">
            <a:extLst>
              <a:ext uri="{FF2B5EF4-FFF2-40B4-BE49-F238E27FC236}">
                <a16:creationId xmlns:a16="http://schemas.microsoft.com/office/drawing/2014/main" id="{1C8A340B-2178-444E-81AA-DA1E9BE96F81}"/>
              </a:ext>
            </a:extLst>
          </p:cNvPr>
          <p:cNvSpPr txBox="1">
            <a:spLocks/>
          </p:cNvSpPr>
          <p:nvPr/>
        </p:nvSpPr>
        <p:spPr>
          <a:xfrm>
            <a:off x="640080" y="155836"/>
            <a:ext cx="10972800" cy="1371600"/>
          </a:xfrm>
          <a:prstGeom prst="rect">
            <a:avLst/>
          </a:prstGeom>
        </p:spPr>
        <p:txBody>
          <a:bodyPr vert="horz" lIns="91440" tIns="45720" rIns="91440" bIns="45720" rtlCol="0" anchor="ctr" anchorCtr="0">
            <a:normAutofit/>
          </a:bodyPr>
          <a:lstStyle>
            <a:lvl1pPr algn="l" defTabSz="914400" rtl="0" eaLnBrk="1" latinLnBrk="0" hangingPunct="1">
              <a:lnSpc>
                <a:spcPct val="90000"/>
              </a:lnSpc>
              <a:spcBef>
                <a:spcPct val="0"/>
              </a:spcBef>
              <a:buNone/>
              <a:defRPr sz="4000" b="1" kern="1200">
                <a:solidFill>
                  <a:schemeClr val="bg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1" i="0" u="none" strike="noStrike" kern="1200" cap="none" spc="0" normalizeH="0" baseline="0" noProof="0" dirty="0">
                <a:ln>
                  <a:noFill/>
                </a:ln>
                <a:solidFill>
                  <a:srgbClr val="002557"/>
                </a:solidFill>
                <a:effectLst/>
                <a:uLnTx/>
                <a:uFillTx/>
                <a:latin typeface="Arial" panose="020B0604020202020204" pitchFamily="34" charset="0"/>
                <a:ea typeface="+mj-ea"/>
                <a:cs typeface="Arial" panose="020B0604020202020204" pitchFamily="34" charset="0"/>
              </a:rPr>
              <a:t>Progression-free survival</a:t>
            </a: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GB" sz="3600" b="1" i="0" u="none" strike="noStrike" kern="1200" cap="none" spc="0" normalizeH="0" baseline="0" noProof="0" dirty="0">
              <a:ln>
                <a:noFill/>
              </a:ln>
              <a:solidFill>
                <a:srgbClr val="002557"/>
              </a:solidFill>
              <a:effectLst/>
              <a:uLnTx/>
              <a:uFillTx/>
              <a:latin typeface="Arial" panose="020B0604020202020204" pitchFamily="34" charset="0"/>
              <a:ea typeface="+mj-ea"/>
              <a:cs typeface="Arial" panose="020B0604020202020204" pitchFamily="34" charset="0"/>
            </a:endParaRPr>
          </a:p>
        </p:txBody>
      </p:sp>
      <p:sp>
        <p:nvSpPr>
          <p:cNvPr id="20" name="Text Placeholder 17">
            <a:extLst>
              <a:ext uri="{FF2B5EF4-FFF2-40B4-BE49-F238E27FC236}">
                <a16:creationId xmlns:a16="http://schemas.microsoft.com/office/drawing/2014/main" id="{E0D3059E-E6F7-4437-ADCB-713058C83BAB}"/>
              </a:ext>
            </a:extLst>
          </p:cNvPr>
          <p:cNvSpPr>
            <a:spLocks noGrp="1"/>
          </p:cNvSpPr>
          <p:nvPr>
            <p:ph type="body" sz="quarter" idx="15"/>
          </p:nvPr>
        </p:nvSpPr>
        <p:spPr>
          <a:xfrm>
            <a:off x="3959671" y="6271847"/>
            <a:ext cx="5852160" cy="281354"/>
          </a:xfrm>
        </p:spPr>
        <p:txBody>
          <a:bodyPr/>
          <a:lstStyle/>
          <a:p>
            <a:r>
              <a:rPr lang="en-US" dirty="0"/>
              <a:t>Ghassan K Abou-Alfa, MD, MBA      NEJM Evidence 2022   </a:t>
            </a:r>
          </a:p>
        </p:txBody>
      </p:sp>
      <p:sp>
        <p:nvSpPr>
          <p:cNvPr id="22" name="TextBox 21">
            <a:extLst>
              <a:ext uri="{FF2B5EF4-FFF2-40B4-BE49-F238E27FC236}">
                <a16:creationId xmlns:a16="http://schemas.microsoft.com/office/drawing/2014/main" id="{3DA32126-DB27-4B66-9C26-F2DEF6D6FDEE}"/>
              </a:ext>
            </a:extLst>
          </p:cNvPr>
          <p:cNvSpPr txBox="1"/>
          <p:nvPr/>
        </p:nvSpPr>
        <p:spPr>
          <a:xfrm>
            <a:off x="238124" y="5687499"/>
            <a:ext cx="11719925" cy="407804"/>
          </a:xfrm>
          <a:prstGeom prst="rect">
            <a:avLst/>
          </a:prstGeom>
          <a:noFill/>
        </p:spPr>
        <p:txBody>
          <a:bodyPr wrap="square" rtlCol="0" anchor="b" anchorCtr="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900" b="0" i="0" u="none" strike="noStrike" kern="1200" cap="none" spc="0" normalizeH="0" baseline="0" noProof="0" dirty="0">
                <a:ln>
                  <a:noFill/>
                </a:ln>
                <a:solidFill>
                  <a:srgbClr val="002557"/>
                </a:solidFill>
                <a:effectLst/>
                <a:uLnTx/>
                <a:uFillTx/>
                <a:latin typeface="Arial" panose="020B0604020202020204"/>
                <a:ea typeface="+mn-ea"/>
                <a:cs typeface="+mn-cs"/>
              </a:rPr>
              <a:t>*Versus sorafenib. </a:t>
            </a:r>
            <a:r>
              <a:rPr kumimoji="0" lang="en-US" sz="900" b="0" i="0" u="none" strike="noStrike" kern="1200" cap="none" spc="0" normalizeH="0" baseline="30000" noProof="0" dirty="0">
                <a:ln>
                  <a:noFill/>
                </a:ln>
                <a:solidFill>
                  <a:srgbClr val="002557"/>
                </a:solidFill>
                <a:effectLst/>
                <a:uLnTx/>
                <a:uFillTx/>
                <a:latin typeface="Arial" panose="020B0604020202020204"/>
                <a:ea typeface="+mn-ea"/>
                <a:cs typeface="+mn-cs"/>
              </a:rPr>
              <a:t>†</a:t>
            </a:r>
            <a:r>
              <a:rPr kumimoji="0" lang="en-US" sz="900" b="0" i="0" u="none" strike="noStrike" kern="1200" cap="none" spc="0" normalizeH="0" baseline="0" noProof="0" dirty="0">
                <a:ln>
                  <a:noFill/>
                </a:ln>
                <a:solidFill>
                  <a:srgbClr val="002557"/>
                </a:solidFill>
                <a:effectLst/>
                <a:uLnTx/>
                <a:uFillTx/>
                <a:latin typeface="Arial" panose="020B0604020202020204"/>
                <a:ea typeface="+mn-ea"/>
                <a:cs typeface="+mn-cs"/>
              </a:rPr>
              <a:t>Percent calculated from total patients in the safety analysis set: T300+D, N=388; durvalumab, N=388, sorafenib, n=374.</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900" b="0" i="0" u="none" strike="noStrike" kern="1200" cap="none" spc="0" normalizeH="0" baseline="0" noProof="0" dirty="0">
                <a:ln>
                  <a:noFill/>
                </a:ln>
                <a:solidFill>
                  <a:srgbClr val="002557"/>
                </a:solidFill>
                <a:effectLst/>
                <a:uLnTx/>
                <a:uFillTx/>
                <a:latin typeface="Arial" panose="020B0604020202020204"/>
                <a:ea typeface="+mn-ea"/>
                <a:cs typeface="+mn-cs"/>
              </a:rPr>
              <a:t>CI, confidence interval; DCO, data cutoff; HR, hazard ratio; PFS, progression-free survival; </a:t>
            </a:r>
            <a:r>
              <a:rPr kumimoji="0" lang="it-IT" sz="900" b="0" i="0" u="none" strike="noStrike" kern="1200" cap="none" spc="0" normalizeH="0" baseline="0" noProof="0" dirty="0">
                <a:ln>
                  <a:noFill/>
                </a:ln>
                <a:solidFill>
                  <a:srgbClr val="002557"/>
                </a:solidFill>
                <a:effectLst/>
                <a:uLnTx/>
                <a:uFillTx/>
                <a:latin typeface="Arial" panose="020B0604020202020204"/>
                <a:ea typeface="+mn-ea"/>
                <a:cs typeface="+mn-cs"/>
              </a:rPr>
              <a:t>T300+D, t</a:t>
            </a:r>
            <a:r>
              <a:rPr kumimoji="0" lang="en-US" sz="900" b="0" i="0" u="none" strike="noStrike" kern="1200" cap="none" spc="0" normalizeH="0" baseline="0" noProof="0" dirty="0" err="1">
                <a:ln>
                  <a:noFill/>
                </a:ln>
                <a:solidFill>
                  <a:srgbClr val="002557"/>
                </a:solidFill>
                <a:effectLst/>
                <a:uLnTx/>
                <a:uFillTx/>
                <a:latin typeface="Arial" panose="020B0604020202020204"/>
                <a:ea typeface="+mn-ea"/>
                <a:cs typeface="+mn-cs"/>
              </a:rPr>
              <a:t>remelimumab</a:t>
            </a:r>
            <a:r>
              <a:rPr kumimoji="0" lang="en-US" sz="900" b="0" i="0" u="none" strike="noStrike" kern="1200" cap="none" spc="0" normalizeH="0" baseline="0" noProof="0" dirty="0">
                <a:ln>
                  <a:noFill/>
                </a:ln>
                <a:solidFill>
                  <a:srgbClr val="002557"/>
                </a:solidFill>
                <a:effectLst/>
                <a:uLnTx/>
                <a:uFillTx/>
                <a:latin typeface="Arial" panose="020B0604020202020204"/>
                <a:ea typeface="+mn-ea"/>
                <a:cs typeface="+mn-cs"/>
              </a:rPr>
              <a:t> 300 mg × 1 dose + durvalumab 1500 mg Q4W; TTP, time to progression.</a:t>
            </a:r>
          </a:p>
        </p:txBody>
      </p:sp>
      <p:graphicFrame>
        <p:nvGraphicFramePr>
          <p:cNvPr id="23" name="Table 22">
            <a:extLst>
              <a:ext uri="{FF2B5EF4-FFF2-40B4-BE49-F238E27FC236}">
                <a16:creationId xmlns:a16="http://schemas.microsoft.com/office/drawing/2014/main" id="{93BD2A6F-C7B0-4611-832D-3F8DC11BDB54}"/>
              </a:ext>
            </a:extLst>
          </p:cNvPr>
          <p:cNvGraphicFramePr>
            <a:graphicFrameLocks noGrp="1"/>
          </p:cNvGraphicFramePr>
          <p:nvPr/>
        </p:nvGraphicFramePr>
        <p:xfrm>
          <a:off x="7511058" y="1554294"/>
          <a:ext cx="4395477" cy="3278410"/>
        </p:xfrm>
        <a:graphic>
          <a:graphicData uri="http://schemas.openxmlformats.org/drawingml/2006/table">
            <a:tbl>
              <a:tblPr firstRow="1" bandRow="1">
                <a:tableStyleId>{0505E3EF-67EA-436B-97B2-0124C06EBD24}</a:tableStyleId>
              </a:tblPr>
              <a:tblGrid>
                <a:gridCol w="1423677">
                  <a:extLst>
                    <a:ext uri="{9D8B030D-6E8A-4147-A177-3AD203B41FA5}">
                      <a16:colId xmlns:a16="http://schemas.microsoft.com/office/drawing/2014/main" val="683402423"/>
                    </a:ext>
                  </a:extLst>
                </a:gridCol>
                <a:gridCol w="947057">
                  <a:extLst>
                    <a:ext uri="{9D8B030D-6E8A-4147-A177-3AD203B41FA5}">
                      <a16:colId xmlns:a16="http://schemas.microsoft.com/office/drawing/2014/main" val="1461441399"/>
                    </a:ext>
                  </a:extLst>
                </a:gridCol>
                <a:gridCol w="1023257">
                  <a:extLst>
                    <a:ext uri="{9D8B030D-6E8A-4147-A177-3AD203B41FA5}">
                      <a16:colId xmlns:a16="http://schemas.microsoft.com/office/drawing/2014/main" val="1157028237"/>
                    </a:ext>
                  </a:extLst>
                </a:gridCol>
                <a:gridCol w="1001486">
                  <a:extLst>
                    <a:ext uri="{9D8B030D-6E8A-4147-A177-3AD203B41FA5}">
                      <a16:colId xmlns:a16="http://schemas.microsoft.com/office/drawing/2014/main" val="1740841347"/>
                    </a:ext>
                  </a:extLst>
                </a:gridCol>
              </a:tblGrid>
              <a:tr h="4205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dirty="0">
                        <a:solidFill>
                          <a:schemeClr val="tx1"/>
                        </a:solidFill>
                      </a:endParaRPr>
                    </a:p>
                  </a:txBody>
                  <a:tcPr anchor="ctr"/>
                </a:tc>
                <a:tc>
                  <a:txBody>
                    <a:bodyPr/>
                    <a:lstStyle/>
                    <a:p>
                      <a:pPr algn="ctr"/>
                      <a:r>
                        <a:rPr lang="en-US" sz="1100" dirty="0">
                          <a:solidFill>
                            <a:schemeClr val="bg1"/>
                          </a:solidFill>
                        </a:rPr>
                        <a:t>T300+D (n=393)</a:t>
                      </a:r>
                    </a:p>
                  </a:txBody>
                  <a:tcPr anchor="ctr">
                    <a:solidFill>
                      <a:srgbClr val="4472C4"/>
                    </a:solidFill>
                  </a:tcPr>
                </a:tc>
                <a:tc>
                  <a:txBody>
                    <a:bodyPr/>
                    <a:lstStyle/>
                    <a:p>
                      <a:pPr algn="ctr"/>
                      <a:r>
                        <a:rPr lang="en-US" sz="1100" dirty="0">
                          <a:solidFill>
                            <a:schemeClr val="bg1"/>
                          </a:solidFill>
                        </a:rPr>
                        <a:t>Durvalumab (n=389)</a:t>
                      </a:r>
                    </a:p>
                  </a:txBody>
                  <a:tcPr anchor="ctr">
                    <a:solidFill>
                      <a:srgbClr val="008764"/>
                    </a:solidFill>
                  </a:tcPr>
                </a:tc>
                <a:tc>
                  <a:txBody>
                    <a:bodyPr/>
                    <a:lstStyle/>
                    <a:p>
                      <a:pPr algn="ctr"/>
                      <a:r>
                        <a:rPr lang="en-US" sz="1100" dirty="0">
                          <a:solidFill>
                            <a:schemeClr val="bg1"/>
                          </a:solidFill>
                        </a:rPr>
                        <a:t>Sorafenib (n=389)</a:t>
                      </a:r>
                    </a:p>
                  </a:txBody>
                  <a:tcPr anchor="ctr">
                    <a:solidFill>
                      <a:srgbClr val="830051"/>
                    </a:solidFill>
                  </a:tcPr>
                </a:tc>
                <a:extLst>
                  <a:ext uri="{0D108BD9-81ED-4DB2-BD59-A6C34878D82A}">
                    <a16:rowId xmlns:a16="http://schemas.microsoft.com/office/drawing/2014/main" val="3856136383"/>
                  </a:ext>
                </a:extLst>
              </a:tr>
              <a:tr h="309320">
                <a:tc>
                  <a:txBody>
                    <a:bodyPr/>
                    <a:lstStyle/>
                    <a:p>
                      <a:r>
                        <a:rPr lang="en-US" sz="1100" b="0">
                          <a:solidFill>
                            <a:srgbClr val="002557"/>
                          </a:solidFill>
                        </a:rPr>
                        <a:t>PFS events, n (%)</a:t>
                      </a:r>
                      <a:endParaRPr lang="en-US" sz="1100" b="0" dirty="0">
                        <a:solidFill>
                          <a:srgbClr val="002557"/>
                        </a:solidFill>
                      </a:endParaRPr>
                    </a:p>
                  </a:txBody>
                  <a:tcPr anchor="ctr"/>
                </a:tc>
                <a:tc>
                  <a:txBody>
                    <a:bodyPr/>
                    <a:lstStyle/>
                    <a:p>
                      <a:pPr algn="ctr"/>
                      <a:r>
                        <a:rPr lang="en-US" sz="1100" dirty="0">
                          <a:solidFill>
                            <a:srgbClr val="002557"/>
                          </a:solidFill>
                        </a:rPr>
                        <a:t>335 (85.2)</a:t>
                      </a:r>
                    </a:p>
                  </a:txBody>
                  <a:tcPr anchor="ctr"/>
                </a:tc>
                <a:tc>
                  <a:txBody>
                    <a:bodyPr/>
                    <a:lstStyle/>
                    <a:p>
                      <a:pPr algn="ctr"/>
                      <a:r>
                        <a:rPr lang="en-US" sz="1100" dirty="0">
                          <a:solidFill>
                            <a:srgbClr val="002557"/>
                          </a:solidFill>
                        </a:rPr>
                        <a:t>345 (88.7)</a:t>
                      </a:r>
                    </a:p>
                  </a:txBody>
                  <a:tcPr anchor="ctr"/>
                </a:tc>
                <a:tc>
                  <a:txBody>
                    <a:bodyPr/>
                    <a:lstStyle/>
                    <a:p>
                      <a:pPr algn="ctr"/>
                      <a:r>
                        <a:rPr lang="en-US" sz="1100" dirty="0">
                          <a:solidFill>
                            <a:srgbClr val="002557"/>
                          </a:solidFill>
                        </a:rPr>
                        <a:t>327 (84.1)</a:t>
                      </a:r>
                    </a:p>
                  </a:txBody>
                  <a:tcPr anchor="ctr"/>
                </a:tc>
                <a:extLst>
                  <a:ext uri="{0D108BD9-81ED-4DB2-BD59-A6C34878D82A}">
                    <a16:rowId xmlns:a16="http://schemas.microsoft.com/office/drawing/2014/main" val="1005232493"/>
                  </a:ext>
                </a:extLst>
              </a:tr>
              <a:tr h="585716">
                <a:tc>
                  <a:txBody>
                    <a:bodyPr/>
                    <a:lstStyle/>
                    <a:p>
                      <a:r>
                        <a:rPr lang="en-US" sz="1100" b="0" dirty="0">
                          <a:solidFill>
                            <a:srgbClr val="002557"/>
                          </a:solidFill>
                        </a:rPr>
                        <a:t>Median PFS </a:t>
                      </a:r>
                      <a:br>
                        <a:rPr lang="en-US" sz="1100" b="0" dirty="0">
                          <a:solidFill>
                            <a:srgbClr val="002557"/>
                          </a:solidFill>
                        </a:rPr>
                      </a:br>
                      <a:r>
                        <a:rPr lang="en-US" sz="1100" b="0" dirty="0">
                          <a:solidFill>
                            <a:srgbClr val="002557"/>
                          </a:solidFill>
                        </a:rPr>
                        <a:t>(95% CI), months</a:t>
                      </a:r>
                    </a:p>
                  </a:txBody>
                  <a:tcPr anchor="ctr"/>
                </a:tc>
                <a:tc>
                  <a:txBody>
                    <a:bodyPr/>
                    <a:lstStyle/>
                    <a:p>
                      <a:pPr algn="ctr"/>
                      <a:r>
                        <a:rPr lang="en-US" sz="1100" dirty="0">
                          <a:solidFill>
                            <a:srgbClr val="002557"/>
                          </a:solidFill>
                        </a:rPr>
                        <a:t>3.78 </a:t>
                      </a:r>
                    </a:p>
                    <a:p>
                      <a:pPr algn="ctr"/>
                      <a:r>
                        <a:rPr lang="en-US" sz="1100" dirty="0">
                          <a:solidFill>
                            <a:srgbClr val="002557"/>
                          </a:solidFill>
                        </a:rPr>
                        <a:t>(3.68–5.32)</a:t>
                      </a:r>
                    </a:p>
                  </a:txBody>
                  <a:tcPr anchor="ctr"/>
                </a:tc>
                <a:tc>
                  <a:txBody>
                    <a:bodyPr/>
                    <a:lstStyle/>
                    <a:p>
                      <a:pPr algn="ctr"/>
                      <a:r>
                        <a:rPr lang="en-US" sz="1100" dirty="0">
                          <a:solidFill>
                            <a:srgbClr val="002557"/>
                          </a:solidFill>
                        </a:rPr>
                        <a:t>3.65 </a:t>
                      </a:r>
                    </a:p>
                    <a:p>
                      <a:pPr algn="ctr"/>
                      <a:r>
                        <a:rPr lang="en-US" sz="1100" dirty="0">
                          <a:solidFill>
                            <a:srgbClr val="002557"/>
                          </a:solidFill>
                        </a:rPr>
                        <a:t>(3.19–3.75)</a:t>
                      </a:r>
                    </a:p>
                  </a:txBody>
                  <a:tcPr anchor="ctr"/>
                </a:tc>
                <a:tc>
                  <a:txBody>
                    <a:bodyPr/>
                    <a:lstStyle/>
                    <a:p>
                      <a:pPr algn="ctr"/>
                      <a:r>
                        <a:rPr lang="en-US" sz="1100" dirty="0">
                          <a:solidFill>
                            <a:srgbClr val="002557"/>
                          </a:solidFill>
                        </a:rPr>
                        <a:t>4.07 </a:t>
                      </a:r>
                    </a:p>
                    <a:p>
                      <a:pPr algn="ctr"/>
                      <a:r>
                        <a:rPr lang="en-US" sz="1100" dirty="0">
                          <a:solidFill>
                            <a:srgbClr val="002557"/>
                          </a:solidFill>
                        </a:rPr>
                        <a:t>(3.75–5.49)</a:t>
                      </a:r>
                    </a:p>
                  </a:txBody>
                  <a:tcPr anchor="ctr"/>
                </a:tc>
                <a:extLst>
                  <a:ext uri="{0D108BD9-81ED-4DB2-BD59-A6C34878D82A}">
                    <a16:rowId xmlns:a16="http://schemas.microsoft.com/office/drawing/2014/main" val="4144509572"/>
                  </a:ext>
                </a:extLst>
              </a:tr>
              <a:tr h="420514">
                <a:tc>
                  <a:txBody>
                    <a:bodyPr/>
                    <a:lstStyle/>
                    <a:p>
                      <a:r>
                        <a:rPr lang="en-US" sz="1100" b="0" dirty="0">
                          <a:solidFill>
                            <a:srgbClr val="002557"/>
                          </a:solidFill>
                        </a:rPr>
                        <a:t>PFS HR</a:t>
                      </a:r>
                      <a:r>
                        <a:rPr lang="en-US" sz="1100" b="0" baseline="0" dirty="0">
                          <a:solidFill>
                            <a:srgbClr val="002557"/>
                          </a:solidFill>
                        </a:rPr>
                        <a:t>*</a:t>
                      </a:r>
                      <a:r>
                        <a:rPr lang="en-US" sz="1100" b="0" dirty="0">
                          <a:solidFill>
                            <a:srgbClr val="002557"/>
                          </a:solidFill>
                        </a:rPr>
                        <a:t> </a:t>
                      </a:r>
                    </a:p>
                    <a:p>
                      <a:r>
                        <a:rPr lang="en-US" sz="1100" b="0" dirty="0">
                          <a:solidFill>
                            <a:srgbClr val="002557"/>
                          </a:solidFill>
                        </a:rPr>
                        <a:t>(95% CI)</a:t>
                      </a:r>
                    </a:p>
                  </a:txBody>
                  <a:tcPr anchor="ctr"/>
                </a:tc>
                <a:tc>
                  <a:txBody>
                    <a:bodyPr/>
                    <a:lstStyle/>
                    <a:p>
                      <a:pPr algn="ctr"/>
                      <a:r>
                        <a:rPr lang="en-US" sz="1100" dirty="0">
                          <a:solidFill>
                            <a:srgbClr val="002557"/>
                          </a:solidFill>
                        </a:rPr>
                        <a:t>0.90 </a:t>
                      </a:r>
                    </a:p>
                    <a:p>
                      <a:pPr algn="ctr"/>
                      <a:r>
                        <a:rPr lang="en-US" sz="1100" dirty="0">
                          <a:solidFill>
                            <a:srgbClr val="002557"/>
                          </a:solidFill>
                        </a:rPr>
                        <a:t>(0.77–1.05)</a:t>
                      </a:r>
                    </a:p>
                  </a:txBody>
                  <a:tcPr anchor="ctr"/>
                </a:tc>
                <a:tc>
                  <a:txBody>
                    <a:bodyPr/>
                    <a:lstStyle/>
                    <a:p>
                      <a:pPr algn="ctr"/>
                      <a:r>
                        <a:rPr lang="en-US" sz="1100" dirty="0">
                          <a:solidFill>
                            <a:srgbClr val="002557"/>
                          </a:solidFill>
                        </a:rPr>
                        <a:t>1.02 </a:t>
                      </a:r>
                    </a:p>
                    <a:p>
                      <a:pPr algn="ctr"/>
                      <a:r>
                        <a:rPr lang="en-US" sz="1100" dirty="0">
                          <a:solidFill>
                            <a:srgbClr val="002557"/>
                          </a:solidFill>
                        </a:rPr>
                        <a:t>(0.88–1.19)</a:t>
                      </a:r>
                    </a:p>
                  </a:txBody>
                  <a:tcPr anchor="ctr"/>
                </a:tc>
                <a:tc>
                  <a:txBody>
                    <a:bodyPr/>
                    <a:lstStyle/>
                    <a:p>
                      <a:pPr algn="ctr"/>
                      <a:r>
                        <a:rPr lang="en-US" sz="1100" dirty="0">
                          <a:solidFill>
                            <a:srgbClr val="002557"/>
                          </a:solidFill>
                        </a:rPr>
                        <a:t>–</a:t>
                      </a:r>
                    </a:p>
                  </a:txBody>
                  <a:tcPr anchor="ctr"/>
                </a:tc>
                <a:extLst>
                  <a:ext uri="{0D108BD9-81ED-4DB2-BD59-A6C34878D82A}">
                    <a16:rowId xmlns:a16="http://schemas.microsoft.com/office/drawing/2014/main" val="831104867"/>
                  </a:ext>
                </a:extLst>
              </a:tr>
              <a:tr h="420514">
                <a:tc>
                  <a:txBody>
                    <a:bodyPr/>
                    <a:lstStyle/>
                    <a:p>
                      <a:r>
                        <a:rPr lang="en-US" sz="1100" b="0" dirty="0">
                          <a:solidFill>
                            <a:srgbClr val="002557"/>
                          </a:solidFill>
                        </a:rPr>
                        <a:t>Progression-free at DCO, n (%)</a:t>
                      </a:r>
                    </a:p>
                  </a:txBody>
                  <a:tcPr anchor="ctr"/>
                </a:tc>
                <a:tc>
                  <a:txBody>
                    <a:bodyPr/>
                    <a:lstStyle/>
                    <a:p>
                      <a:pPr algn="ctr"/>
                      <a:r>
                        <a:rPr lang="en-US" sz="1100" dirty="0">
                          <a:solidFill>
                            <a:srgbClr val="002557"/>
                          </a:solidFill>
                        </a:rPr>
                        <a:t>49 (12.5)</a:t>
                      </a:r>
                    </a:p>
                  </a:txBody>
                  <a:tcPr anchor="ctr"/>
                </a:tc>
                <a:tc>
                  <a:txBody>
                    <a:bodyPr/>
                    <a:lstStyle/>
                    <a:p>
                      <a:pPr algn="ctr"/>
                      <a:r>
                        <a:rPr lang="en-US" sz="1100" dirty="0">
                          <a:solidFill>
                            <a:srgbClr val="002557"/>
                          </a:solidFill>
                        </a:rPr>
                        <a:t>32 (8.2)</a:t>
                      </a:r>
                    </a:p>
                  </a:txBody>
                  <a:tcPr anchor="ctr"/>
                </a:tc>
                <a:tc>
                  <a:txBody>
                    <a:bodyPr/>
                    <a:lstStyle/>
                    <a:p>
                      <a:pPr algn="ctr"/>
                      <a:r>
                        <a:rPr lang="en-US" sz="1100" dirty="0">
                          <a:solidFill>
                            <a:srgbClr val="002557"/>
                          </a:solidFill>
                        </a:rPr>
                        <a:t>19 (4.9)</a:t>
                      </a:r>
                    </a:p>
                  </a:txBody>
                  <a:tcPr anchor="ctr"/>
                </a:tc>
                <a:extLst>
                  <a:ext uri="{0D108BD9-81ED-4DB2-BD59-A6C34878D82A}">
                    <a16:rowId xmlns:a16="http://schemas.microsoft.com/office/drawing/2014/main" val="1049867352"/>
                  </a:ext>
                </a:extLst>
              </a:tr>
              <a:tr h="508854">
                <a:tc>
                  <a:txBody>
                    <a:bodyPr/>
                    <a:lstStyle/>
                    <a:p>
                      <a:r>
                        <a:rPr lang="en-US" sz="1100" b="0" dirty="0">
                          <a:solidFill>
                            <a:srgbClr val="002557"/>
                          </a:solidFill>
                        </a:rPr>
                        <a:t>Median TTP </a:t>
                      </a:r>
                      <a:br>
                        <a:rPr lang="en-US" sz="1100" b="0" dirty="0">
                          <a:solidFill>
                            <a:srgbClr val="002557"/>
                          </a:solidFill>
                        </a:rPr>
                      </a:br>
                      <a:r>
                        <a:rPr lang="en-US" sz="1100" b="0" dirty="0">
                          <a:solidFill>
                            <a:srgbClr val="002557"/>
                          </a:solidFill>
                        </a:rPr>
                        <a:t>(95% CI), months</a:t>
                      </a:r>
                    </a:p>
                  </a:txBody>
                  <a:tcPr anchor="ctr"/>
                </a:tc>
                <a:tc>
                  <a:txBody>
                    <a:bodyPr/>
                    <a:lstStyle/>
                    <a:p>
                      <a:pPr algn="ctr"/>
                      <a:r>
                        <a:rPr lang="en-US" sz="1100" dirty="0">
                          <a:solidFill>
                            <a:srgbClr val="002557"/>
                          </a:solidFill>
                        </a:rPr>
                        <a:t>5.42</a:t>
                      </a:r>
                    </a:p>
                    <a:p>
                      <a:pPr algn="ctr"/>
                      <a:r>
                        <a:rPr lang="en-US" sz="1100" dirty="0">
                          <a:solidFill>
                            <a:srgbClr val="002557"/>
                          </a:solidFill>
                        </a:rPr>
                        <a:t>(3.81–5.62)</a:t>
                      </a:r>
                    </a:p>
                  </a:txBody>
                  <a:tcPr anchor="ctr"/>
                </a:tc>
                <a:tc>
                  <a:txBody>
                    <a:bodyPr/>
                    <a:lstStyle/>
                    <a:p>
                      <a:pPr algn="ctr"/>
                      <a:r>
                        <a:rPr lang="en-US" sz="1100" dirty="0">
                          <a:solidFill>
                            <a:srgbClr val="002557"/>
                          </a:solidFill>
                        </a:rPr>
                        <a:t>3.75</a:t>
                      </a:r>
                    </a:p>
                    <a:p>
                      <a:pPr algn="ctr"/>
                      <a:r>
                        <a:rPr lang="en-US" sz="1100" dirty="0">
                          <a:solidFill>
                            <a:srgbClr val="002557"/>
                          </a:solidFill>
                        </a:rPr>
                        <a:t>(3.68–5.42)</a:t>
                      </a:r>
                    </a:p>
                  </a:txBody>
                  <a:tcPr anchor="ctr"/>
                </a:tc>
                <a:tc>
                  <a:txBody>
                    <a:bodyPr/>
                    <a:lstStyle/>
                    <a:p>
                      <a:pPr algn="ctr"/>
                      <a:r>
                        <a:rPr lang="en-US" sz="1100" dirty="0">
                          <a:solidFill>
                            <a:srgbClr val="002557"/>
                          </a:solidFill>
                        </a:rPr>
                        <a:t>5.55</a:t>
                      </a:r>
                    </a:p>
                    <a:p>
                      <a:pPr algn="ctr"/>
                      <a:r>
                        <a:rPr lang="en-US" sz="1100" dirty="0">
                          <a:solidFill>
                            <a:srgbClr val="002557"/>
                          </a:solidFill>
                        </a:rPr>
                        <a:t>(5.13–5.75)</a:t>
                      </a:r>
                    </a:p>
                  </a:txBody>
                  <a:tcPr anchor="ctr"/>
                </a:tc>
                <a:extLst>
                  <a:ext uri="{0D108BD9-81ED-4DB2-BD59-A6C34878D82A}">
                    <a16:rowId xmlns:a16="http://schemas.microsoft.com/office/drawing/2014/main" val="453301217"/>
                  </a:ext>
                </a:extLst>
              </a:tr>
              <a:tr h="420514">
                <a:tc>
                  <a:txBody>
                    <a:bodyPr/>
                    <a:lstStyle/>
                    <a:p>
                      <a:pPr marL="0" marR="0">
                        <a:spcBef>
                          <a:spcPts val="0"/>
                        </a:spcBef>
                        <a:spcAft>
                          <a:spcPts val="0"/>
                        </a:spcAft>
                      </a:pPr>
                      <a:r>
                        <a:rPr lang="en-US" sz="1100" dirty="0">
                          <a:solidFill>
                            <a:srgbClr val="002557"/>
                          </a:solidFill>
                          <a:effectLst/>
                          <a:latin typeface="+mj-lt"/>
                          <a:ea typeface="Calibri" panose="020F0502020204030204" pitchFamily="34" charset="0"/>
                        </a:rPr>
                        <a:t>Treated ≥1 cycle beyond progression, n (%)</a:t>
                      </a:r>
                      <a:r>
                        <a:rPr lang="en-US" sz="1100" baseline="30000" dirty="0">
                          <a:solidFill>
                            <a:srgbClr val="002557"/>
                          </a:solidFill>
                          <a:effectLst/>
                          <a:latin typeface="+mj-lt"/>
                          <a:ea typeface="Calibri" panose="020F0502020204030204" pitchFamily="34" charset="0"/>
                        </a:rPr>
                        <a:t>†</a:t>
                      </a:r>
                      <a:endParaRPr lang="en-US" sz="1100" dirty="0">
                        <a:solidFill>
                          <a:srgbClr val="002557"/>
                        </a:solidFill>
                        <a:effectLst/>
                        <a:latin typeface="+mj-lt"/>
                        <a:ea typeface="Calibri" panose="020F0502020204030204" pitchFamily="34" charset="0"/>
                      </a:endParaRPr>
                    </a:p>
                  </a:txBody>
                  <a:tcPr anchor="ctr"/>
                </a:tc>
                <a:tc>
                  <a:txBody>
                    <a:bodyPr/>
                    <a:lstStyle/>
                    <a:p>
                      <a:pPr marL="0" marR="0" algn="ctr">
                        <a:spcBef>
                          <a:spcPts val="0"/>
                        </a:spcBef>
                        <a:spcAft>
                          <a:spcPts val="0"/>
                        </a:spcAft>
                      </a:pPr>
                      <a:r>
                        <a:rPr lang="en-US" sz="1100" dirty="0">
                          <a:solidFill>
                            <a:srgbClr val="002557"/>
                          </a:solidFill>
                          <a:effectLst/>
                          <a:latin typeface="+mj-lt"/>
                          <a:ea typeface="Calibri" panose="020F0502020204030204" pitchFamily="34" charset="0"/>
                        </a:rPr>
                        <a:t>182 (46.9)</a:t>
                      </a:r>
                    </a:p>
                  </a:txBody>
                  <a:tcPr anchor="ctr"/>
                </a:tc>
                <a:tc>
                  <a:txBody>
                    <a:bodyPr/>
                    <a:lstStyle/>
                    <a:p>
                      <a:pPr marL="0" marR="0" algn="ctr">
                        <a:spcBef>
                          <a:spcPts val="0"/>
                        </a:spcBef>
                        <a:spcAft>
                          <a:spcPts val="0"/>
                        </a:spcAft>
                      </a:pPr>
                      <a:r>
                        <a:rPr lang="en-US" sz="1100">
                          <a:solidFill>
                            <a:srgbClr val="002557"/>
                          </a:solidFill>
                          <a:effectLst/>
                          <a:latin typeface="+mj-lt"/>
                          <a:ea typeface="Calibri" panose="020F0502020204030204" pitchFamily="34" charset="0"/>
                        </a:rPr>
                        <a:t>188 (48.5)</a:t>
                      </a:r>
                    </a:p>
                  </a:txBody>
                  <a:tcPr anchor="ctr"/>
                </a:tc>
                <a:tc>
                  <a:txBody>
                    <a:bodyPr/>
                    <a:lstStyle/>
                    <a:p>
                      <a:pPr marL="0" marR="0" algn="ctr">
                        <a:spcBef>
                          <a:spcPts val="0"/>
                        </a:spcBef>
                        <a:spcAft>
                          <a:spcPts val="0"/>
                        </a:spcAft>
                      </a:pPr>
                      <a:r>
                        <a:rPr lang="en-US" sz="1100" dirty="0">
                          <a:solidFill>
                            <a:srgbClr val="002557"/>
                          </a:solidFill>
                          <a:effectLst/>
                          <a:latin typeface="+mj-lt"/>
                          <a:ea typeface="Calibri" panose="020F0502020204030204" pitchFamily="34" charset="0"/>
                        </a:rPr>
                        <a:t>134 (34.4)</a:t>
                      </a:r>
                    </a:p>
                  </a:txBody>
                  <a:tcPr anchor="ctr"/>
                </a:tc>
                <a:extLst>
                  <a:ext uri="{0D108BD9-81ED-4DB2-BD59-A6C34878D82A}">
                    <a16:rowId xmlns:a16="http://schemas.microsoft.com/office/drawing/2014/main" val="970421552"/>
                  </a:ext>
                </a:extLst>
              </a:tr>
            </a:tbl>
          </a:graphicData>
        </a:graphic>
      </p:graphicFrame>
      <p:grpSp>
        <p:nvGrpSpPr>
          <p:cNvPr id="2" name="Group 1">
            <a:extLst>
              <a:ext uri="{FF2B5EF4-FFF2-40B4-BE49-F238E27FC236}">
                <a16:creationId xmlns:a16="http://schemas.microsoft.com/office/drawing/2014/main" id="{EAAA60C1-F0D0-4C96-81D2-B8383072AD76}"/>
              </a:ext>
            </a:extLst>
          </p:cNvPr>
          <p:cNvGrpSpPr/>
          <p:nvPr/>
        </p:nvGrpSpPr>
        <p:grpSpPr>
          <a:xfrm>
            <a:off x="213630" y="1371600"/>
            <a:ext cx="7208707" cy="4164164"/>
            <a:chOff x="4722384" y="1494395"/>
            <a:chExt cx="7208707" cy="4164164"/>
          </a:xfrm>
        </p:grpSpPr>
        <p:sp>
          <p:nvSpPr>
            <p:cNvPr id="25" name="TextBox 2">
              <a:extLst>
                <a:ext uri="{FF2B5EF4-FFF2-40B4-BE49-F238E27FC236}">
                  <a16:creationId xmlns:a16="http://schemas.microsoft.com/office/drawing/2014/main" id="{F2132790-E222-41B6-97E4-5305DFC3AC5C}"/>
                </a:ext>
              </a:extLst>
            </p:cNvPr>
            <p:cNvSpPr txBox="1"/>
            <p:nvPr/>
          </p:nvSpPr>
          <p:spPr>
            <a:xfrm>
              <a:off x="5707463" y="1494395"/>
              <a:ext cx="6069205" cy="3693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800" b="1" i="0" u="none" strike="noStrike" kern="1200" cap="none" spc="0" normalizeH="0" baseline="0" noProof="0" dirty="0">
                  <a:ln>
                    <a:noFill/>
                  </a:ln>
                  <a:solidFill>
                    <a:srgbClr val="002557"/>
                  </a:solidFill>
                  <a:effectLst/>
                  <a:uLnTx/>
                  <a:uFillTx/>
                  <a:latin typeface="Arial" panose="020B0604020202020204"/>
                  <a:ea typeface="+mn-ea"/>
                  <a:cs typeface="+mn-cs"/>
                </a:rPr>
                <a:t>PFS for T300+D vs sorafenib</a:t>
              </a:r>
            </a:p>
          </p:txBody>
        </p:sp>
        <p:sp>
          <p:nvSpPr>
            <p:cNvPr id="26" name="TextBox 25">
              <a:extLst>
                <a:ext uri="{FF2B5EF4-FFF2-40B4-BE49-F238E27FC236}">
                  <a16:creationId xmlns:a16="http://schemas.microsoft.com/office/drawing/2014/main" id="{1F1298FD-06D0-4ADE-A1CA-9436291DE73D}"/>
                </a:ext>
              </a:extLst>
            </p:cNvPr>
            <p:cNvSpPr txBox="1"/>
            <p:nvPr/>
          </p:nvSpPr>
          <p:spPr>
            <a:xfrm rot="16200000">
              <a:off x="3630580" y="3138338"/>
              <a:ext cx="295204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27" normalizeH="0" baseline="0" noProof="0" dirty="0">
                  <a:ln>
                    <a:noFill/>
                  </a:ln>
                  <a:solidFill>
                    <a:srgbClr val="002557"/>
                  </a:solidFill>
                  <a:effectLst/>
                  <a:uLnTx/>
                  <a:uFillTx/>
                  <a:latin typeface="Arial" panose="020B0604020202020204"/>
                  <a:ea typeface="+mn-ea"/>
                  <a:cs typeface="+mn-cs"/>
                  <a:sym typeface="HelveticaNeueCE-Roman"/>
                  <a:rtl val="0"/>
                </a:rPr>
                <a:t>Probability of progression-free survival</a:t>
              </a:r>
            </a:p>
          </p:txBody>
        </p:sp>
        <p:sp>
          <p:nvSpPr>
            <p:cNvPr id="27" name="TextBox 26">
              <a:extLst>
                <a:ext uri="{FF2B5EF4-FFF2-40B4-BE49-F238E27FC236}">
                  <a16:creationId xmlns:a16="http://schemas.microsoft.com/office/drawing/2014/main" id="{BCABB638-5320-49E1-B8C1-3D7C37F26DB8}"/>
                </a:ext>
              </a:extLst>
            </p:cNvPr>
            <p:cNvSpPr txBox="1"/>
            <p:nvPr/>
          </p:nvSpPr>
          <p:spPr>
            <a:xfrm>
              <a:off x="5276830" y="1770162"/>
              <a:ext cx="397866" cy="27699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2557"/>
                  </a:solidFill>
                  <a:effectLst/>
                  <a:uLnTx/>
                  <a:uFillTx/>
                  <a:latin typeface="Arial" panose="020B0604020202020204"/>
                  <a:ea typeface="+mn-ea"/>
                  <a:cs typeface="+mn-cs"/>
                  <a:sym typeface="HelveticaNeueCE-Roman"/>
                  <a:rtl val="0"/>
                </a:rPr>
                <a:t>1.0</a:t>
              </a:r>
            </a:p>
          </p:txBody>
        </p:sp>
        <p:sp>
          <p:nvSpPr>
            <p:cNvPr id="28" name="Freeform: Shape 27">
              <a:extLst>
                <a:ext uri="{FF2B5EF4-FFF2-40B4-BE49-F238E27FC236}">
                  <a16:creationId xmlns:a16="http://schemas.microsoft.com/office/drawing/2014/main" id="{4855E2EA-CF7D-4EF3-B482-F84CBA9CF258}"/>
                </a:ext>
              </a:extLst>
            </p:cNvPr>
            <p:cNvSpPr/>
            <p:nvPr/>
          </p:nvSpPr>
          <p:spPr>
            <a:xfrm>
              <a:off x="5707464" y="1899138"/>
              <a:ext cx="6059156" cy="2853732"/>
            </a:xfrm>
            <a:custGeom>
              <a:avLst/>
              <a:gdLst>
                <a:gd name="connsiteX0" fmla="*/ 0 w 6059156"/>
                <a:gd name="connsiteY0" fmla="*/ 0 h 2853732"/>
                <a:gd name="connsiteX1" fmla="*/ 0 w 6059156"/>
                <a:gd name="connsiteY1" fmla="*/ 2853732 h 2853732"/>
                <a:gd name="connsiteX2" fmla="*/ 6059156 w 6059156"/>
                <a:gd name="connsiteY2" fmla="*/ 2853732 h 2853732"/>
              </a:gdLst>
              <a:ahLst/>
              <a:cxnLst>
                <a:cxn ang="0">
                  <a:pos x="connsiteX0" y="connsiteY0"/>
                </a:cxn>
                <a:cxn ang="0">
                  <a:pos x="connsiteX1" y="connsiteY1"/>
                </a:cxn>
                <a:cxn ang="0">
                  <a:pos x="connsiteX2" y="connsiteY2"/>
                </a:cxn>
              </a:cxnLst>
              <a:rect l="l" t="t" r="r" b="b"/>
              <a:pathLst>
                <a:path w="6059156" h="2853732">
                  <a:moveTo>
                    <a:pt x="0" y="0"/>
                  </a:moveTo>
                  <a:lnTo>
                    <a:pt x="0" y="2853732"/>
                  </a:lnTo>
                  <a:lnTo>
                    <a:pt x="6059156" y="2853732"/>
                  </a:lnTo>
                </a:path>
              </a:pathLst>
            </a:custGeom>
            <a:ln w="19050" cap="flat">
              <a:solidFill>
                <a:srgbClr val="002557"/>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29" name="TextBox 28">
              <a:extLst>
                <a:ext uri="{FF2B5EF4-FFF2-40B4-BE49-F238E27FC236}">
                  <a16:creationId xmlns:a16="http://schemas.microsoft.com/office/drawing/2014/main" id="{8F271D90-6C4F-47C4-B4FC-E87BB289FF39}"/>
                </a:ext>
              </a:extLst>
            </p:cNvPr>
            <p:cNvSpPr txBox="1"/>
            <p:nvPr/>
          </p:nvSpPr>
          <p:spPr>
            <a:xfrm>
              <a:off x="4722384" y="5058395"/>
              <a:ext cx="864339" cy="600164"/>
            </a:xfrm>
            <a:prstGeom prst="rect">
              <a:avLst/>
            </a:prstGeom>
            <a:noFill/>
          </p:spPr>
          <p:txBody>
            <a:bodyPr rot="0" spcFirstLastPara="0" vertOverflow="overflow" horzOverflow="overflow" vert="horz" wrap="none" lIns="91440" tIns="45720" rIns="91440" bIns="45720" numCol="1" spcCol="0" rtlCol="0" fromWordArt="0" anchor="t" anchorCtr="0" forceAA="0" compatLnSpc="1">
              <a:prstTxWarp prst="textNoShape">
                <a:avLst/>
              </a:prstTxWarp>
              <a:spAutoFit/>
            </a:bodyPr>
            <a:lstStyle>
              <a:defPPr>
                <a:defRPr lang="en-US"/>
              </a:defPPr>
              <a:lvl1pPr>
                <a:defRPr sz="1200" b="1" spc="0" baseline="0">
                  <a:solidFill>
                    <a:schemeClr val="bg1"/>
                  </a:solidFill>
                  <a:latin typeface="+mj-lt"/>
                  <a:rtl val="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002557"/>
                  </a:solidFill>
                  <a:effectLst/>
                  <a:uLnTx/>
                  <a:uFillTx/>
                  <a:latin typeface="Arial" panose="020B0604020202020204"/>
                  <a:ea typeface="+mn-ea"/>
                  <a:cs typeface="+mn-cs"/>
                  <a:sym typeface="HelveticaNeue-Bold"/>
                  <a:rtl val="0"/>
                </a:rPr>
                <a:t>No. at risk</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002557"/>
                  </a:solidFill>
                  <a:effectLst/>
                  <a:uLnTx/>
                  <a:uFillTx/>
                  <a:latin typeface="Arial" panose="020B0604020202020204"/>
                  <a:ea typeface="+mn-ea"/>
                  <a:cs typeface="+mn-cs"/>
                  <a:sym typeface="HelveticaNeue-Bold"/>
                  <a:rtl val="0"/>
                </a:rPr>
                <a:t>T300+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002557"/>
                  </a:solidFill>
                  <a:effectLst/>
                  <a:uLnTx/>
                  <a:uFillTx/>
                  <a:latin typeface="Arial" panose="020B0604020202020204"/>
                  <a:ea typeface="+mn-ea"/>
                  <a:cs typeface="+mn-cs"/>
                  <a:sym typeface="HelveticaNeue-Bold"/>
                  <a:rtl val="0"/>
                </a:rPr>
                <a:t>Sorafenib</a:t>
              </a:r>
            </a:p>
          </p:txBody>
        </p:sp>
        <p:sp>
          <p:nvSpPr>
            <p:cNvPr id="31" name="TextBox 30">
              <a:extLst>
                <a:ext uri="{FF2B5EF4-FFF2-40B4-BE49-F238E27FC236}">
                  <a16:creationId xmlns:a16="http://schemas.microsoft.com/office/drawing/2014/main" id="{D3C8FA2A-8EF1-4D06-9828-55C2E7A51722}"/>
                </a:ext>
              </a:extLst>
            </p:cNvPr>
            <p:cNvSpPr txBox="1"/>
            <p:nvPr/>
          </p:nvSpPr>
          <p:spPr>
            <a:xfrm>
              <a:off x="5669118" y="4794285"/>
              <a:ext cx="263213" cy="261610"/>
            </a:xfrm>
            <a:prstGeom prst="rect">
              <a:avLst/>
            </a:prstGeom>
            <a:noFill/>
          </p:spPr>
          <p:txBody>
            <a:bodyPr rot="0" spcFirstLastPara="0" vertOverflow="overflow" horzOverflow="overflow" vert="horz" wrap="none" lIns="91440" tIns="45720" rIns="91440" bIns="45720" numCol="1" spcCol="0" rtlCol="0" fromWordArt="0" anchor="t" anchorCtr="0" forceAA="0" compatLnSpc="1">
              <a:prstTxWarp prst="textNoShape">
                <a:avLst/>
              </a:prstTxWarp>
              <a:spAutoFit/>
            </a:bodyPr>
            <a:lstStyle>
              <a:defPPr>
                <a:defRPr lang="en-US"/>
              </a:defPPr>
              <a:lvl1pPr>
                <a:defRPr sz="1200" b="1" spc="0" baseline="0">
                  <a:solidFill>
                    <a:schemeClr val="bg1"/>
                  </a:solidFill>
                  <a:latin typeface="+mj-lt"/>
                  <a:rtl val="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2557"/>
                  </a:solidFill>
                  <a:effectLst/>
                  <a:uLnTx/>
                  <a:uFillTx/>
                  <a:latin typeface="Arial" panose="020B0604020202020204"/>
                  <a:ea typeface="+mn-ea"/>
                  <a:cs typeface="+mn-cs"/>
                  <a:sym typeface="HelveticaNeue-Bold"/>
                  <a:rtl val="0"/>
                </a:rPr>
                <a:t>0</a:t>
              </a:r>
            </a:p>
          </p:txBody>
        </p:sp>
        <p:cxnSp>
          <p:nvCxnSpPr>
            <p:cNvPr id="32" name="Straight Connector 31">
              <a:extLst>
                <a:ext uri="{FF2B5EF4-FFF2-40B4-BE49-F238E27FC236}">
                  <a16:creationId xmlns:a16="http://schemas.microsoft.com/office/drawing/2014/main" id="{2181B8FC-CBE1-437E-B907-8F30BA6FA2F4}"/>
                </a:ext>
              </a:extLst>
            </p:cNvPr>
            <p:cNvCxnSpPr>
              <a:cxnSpLocks/>
            </p:cNvCxnSpPr>
            <p:nvPr/>
          </p:nvCxnSpPr>
          <p:spPr>
            <a:xfrm>
              <a:off x="5800725" y="4757739"/>
              <a:ext cx="0" cy="72000"/>
            </a:xfrm>
            <a:prstGeom prst="line">
              <a:avLst/>
            </a:prstGeom>
            <a:ln w="19050" cap="flat">
              <a:solidFill>
                <a:srgbClr val="002557"/>
              </a:solidFill>
              <a:prstDash val="solid"/>
              <a:miter/>
            </a:ln>
          </p:spPr>
        </p:cxnSp>
        <p:sp>
          <p:nvSpPr>
            <p:cNvPr id="39" name="TextBox 38">
              <a:extLst>
                <a:ext uri="{FF2B5EF4-FFF2-40B4-BE49-F238E27FC236}">
                  <a16:creationId xmlns:a16="http://schemas.microsoft.com/office/drawing/2014/main" id="{D6CD6BE1-7A3D-4E7A-9F5C-F6DB7D903F54}"/>
                </a:ext>
              </a:extLst>
            </p:cNvPr>
            <p:cNvSpPr txBox="1"/>
            <p:nvPr/>
          </p:nvSpPr>
          <p:spPr>
            <a:xfrm>
              <a:off x="5590571" y="5227672"/>
              <a:ext cx="420307" cy="430887"/>
            </a:xfrm>
            <a:prstGeom prst="rect">
              <a:avLst/>
            </a:prstGeom>
            <a:noFill/>
          </p:spPr>
          <p:txBody>
            <a:bodyPr rot="0" spcFirstLastPara="0" vertOverflow="overflow" horzOverflow="overflow" vert="horz" wrap="none" lIns="91440" tIns="45720" rIns="91440" bIns="45720" numCol="1" spcCol="0" rtlCol="0" fromWordArt="0" anchor="t" anchorCtr="0" forceAA="0" compatLnSpc="1">
              <a:prstTxWarp prst="textNoShape">
                <a:avLst/>
              </a:prstTxWarp>
              <a:spAutoFit/>
            </a:bodyPr>
            <a:lstStyle>
              <a:defPPr>
                <a:defRPr lang="en-US"/>
              </a:defPPr>
              <a:lvl1pPr>
                <a:defRPr sz="1200" b="1" spc="0" baseline="0">
                  <a:solidFill>
                    <a:schemeClr val="bg1"/>
                  </a:solidFill>
                  <a:latin typeface="+mj-lt"/>
                  <a:rtl val="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2557"/>
                  </a:solidFill>
                  <a:effectLst/>
                  <a:uLnTx/>
                  <a:uFillTx/>
                  <a:latin typeface="Arial" panose="020B0604020202020204"/>
                  <a:ea typeface="+mn-ea"/>
                  <a:cs typeface="+mn-cs"/>
                  <a:sym typeface="HelveticaNeue-Bold"/>
                  <a:rtl val="0"/>
                </a:rPr>
                <a:t>39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2557"/>
                  </a:solidFill>
                  <a:effectLst/>
                  <a:uLnTx/>
                  <a:uFillTx/>
                  <a:latin typeface="Arial" panose="020B0604020202020204"/>
                  <a:ea typeface="+mn-ea"/>
                  <a:cs typeface="+mn-cs"/>
                  <a:sym typeface="HelveticaNeue-Bold"/>
                  <a:rtl val="0"/>
                </a:rPr>
                <a:t>389</a:t>
              </a:r>
            </a:p>
          </p:txBody>
        </p:sp>
        <p:sp>
          <p:nvSpPr>
            <p:cNvPr id="40" name="TextBox 39">
              <a:extLst>
                <a:ext uri="{FF2B5EF4-FFF2-40B4-BE49-F238E27FC236}">
                  <a16:creationId xmlns:a16="http://schemas.microsoft.com/office/drawing/2014/main" id="{A5D2443A-E966-4ECB-93BC-09D1EC5AB7F5}"/>
                </a:ext>
              </a:extLst>
            </p:cNvPr>
            <p:cNvSpPr txBox="1"/>
            <p:nvPr/>
          </p:nvSpPr>
          <p:spPr>
            <a:xfrm>
              <a:off x="6414054" y="4794285"/>
              <a:ext cx="263213" cy="261610"/>
            </a:xfrm>
            <a:prstGeom prst="rect">
              <a:avLst/>
            </a:prstGeom>
            <a:noFill/>
          </p:spPr>
          <p:txBody>
            <a:bodyPr rot="0" spcFirstLastPara="0" vertOverflow="overflow" horzOverflow="overflow" vert="horz" wrap="none" lIns="91440" tIns="45720" rIns="91440" bIns="45720" numCol="1" spcCol="0" rtlCol="0" fromWordArt="0" anchor="t" anchorCtr="0" forceAA="0" compatLnSpc="1">
              <a:prstTxWarp prst="textNoShape">
                <a:avLst/>
              </a:prstTxWarp>
              <a:spAutoFit/>
            </a:bodyPr>
            <a:lstStyle>
              <a:defPPr>
                <a:defRPr lang="en-US"/>
              </a:defPPr>
              <a:lvl1pPr>
                <a:defRPr sz="1200" b="1" spc="0" baseline="0">
                  <a:solidFill>
                    <a:schemeClr val="bg1"/>
                  </a:solidFill>
                  <a:latin typeface="+mj-lt"/>
                  <a:rtl val="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2557"/>
                  </a:solidFill>
                  <a:effectLst/>
                  <a:uLnTx/>
                  <a:uFillTx/>
                  <a:latin typeface="Arial" panose="020B0604020202020204"/>
                  <a:ea typeface="+mn-ea"/>
                  <a:cs typeface="+mn-cs"/>
                  <a:sym typeface="HelveticaNeue-Bold"/>
                  <a:rtl val="0"/>
                </a:rPr>
                <a:t>6</a:t>
              </a:r>
            </a:p>
          </p:txBody>
        </p:sp>
        <p:cxnSp>
          <p:nvCxnSpPr>
            <p:cNvPr id="41" name="Straight Connector 40">
              <a:extLst>
                <a:ext uri="{FF2B5EF4-FFF2-40B4-BE49-F238E27FC236}">
                  <a16:creationId xmlns:a16="http://schemas.microsoft.com/office/drawing/2014/main" id="{CFF3F998-3EF3-46B0-BA51-FA2F2BE75D53}"/>
                </a:ext>
              </a:extLst>
            </p:cNvPr>
            <p:cNvCxnSpPr>
              <a:cxnSpLocks/>
            </p:cNvCxnSpPr>
            <p:nvPr/>
          </p:nvCxnSpPr>
          <p:spPr>
            <a:xfrm>
              <a:off x="6545661" y="4757739"/>
              <a:ext cx="0" cy="72000"/>
            </a:xfrm>
            <a:prstGeom prst="line">
              <a:avLst/>
            </a:prstGeom>
            <a:ln w="19050" cap="flat">
              <a:solidFill>
                <a:srgbClr val="002557"/>
              </a:solidFill>
              <a:prstDash val="solid"/>
              <a:miter/>
            </a:ln>
          </p:spPr>
        </p:cxnSp>
        <p:sp>
          <p:nvSpPr>
            <p:cNvPr id="48" name="TextBox 47">
              <a:extLst>
                <a:ext uri="{FF2B5EF4-FFF2-40B4-BE49-F238E27FC236}">
                  <a16:creationId xmlns:a16="http://schemas.microsoft.com/office/drawing/2014/main" id="{09F85F66-085F-4C69-9C5A-9611AE7BA2E1}"/>
                </a:ext>
              </a:extLst>
            </p:cNvPr>
            <p:cNvSpPr txBox="1"/>
            <p:nvPr/>
          </p:nvSpPr>
          <p:spPr>
            <a:xfrm>
              <a:off x="6335507" y="5227672"/>
              <a:ext cx="420307" cy="430887"/>
            </a:xfrm>
            <a:prstGeom prst="rect">
              <a:avLst/>
            </a:prstGeom>
            <a:noFill/>
          </p:spPr>
          <p:txBody>
            <a:bodyPr rot="0" spcFirstLastPara="0" vertOverflow="overflow" horzOverflow="overflow" vert="horz" wrap="none" lIns="91440" tIns="45720" rIns="91440" bIns="45720" numCol="1" spcCol="0" rtlCol="0" fromWordArt="0" anchor="t" anchorCtr="0" forceAA="0" compatLnSpc="1">
              <a:prstTxWarp prst="textNoShape">
                <a:avLst/>
              </a:prstTxWarp>
              <a:spAutoFit/>
            </a:bodyPr>
            <a:lstStyle>
              <a:defPPr>
                <a:defRPr lang="en-US"/>
              </a:defPPr>
              <a:lvl1pPr>
                <a:defRPr sz="1200" b="1" spc="0" baseline="0">
                  <a:solidFill>
                    <a:schemeClr val="bg1"/>
                  </a:solidFill>
                  <a:latin typeface="+mj-lt"/>
                  <a:rtl val="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2557"/>
                  </a:solidFill>
                  <a:effectLst/>
                  <a:uLnTx/>
                  <a:uFillTx/>
                  <a:latin typeface="Arial" panose="020B0604020202020204"/>
                  <a:ea typeface="+mn-ea"/>
                  <a:cs typeface="+mn-cs"/>
                  <a:sym typeface="HelveticaNeue-Bold"/>
                  <a:rtl val="0"/>
                </a:rPr>
                <a:t>13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2557"/>
                  </a:solidFill>
                  <a:effectLst/>
                  <a:uLnTx/>
                  <a:uFillTx/>
                  <a:latin typeface="Arial" panose="020B0604020202020204"/>
                  <a:ea typeface="+mn-ea"/>
                  <a:cs typeface="+mn-cs"/>
                  <a:sym typeface="HelveticaNeue-Bold"/>
                  <a:rtl val="0"/>
                </a:rPr>
                <a:t>118</a:t>
              </a:r>
            </a:p>
          </p:txBody>
        </p:sp>
        <p:sp>
          <p:nvSpPr>
            <p:cNvPr id="49" name="TextBox 48">
              <a:extLst>
                <a:ext uri="{FF2B5EF4-FFF2-40B4-BE49-F238E27FC236}">
                  <a16:creationId xmlns:a16="http://schemas.microsoft.com/office/drawing/2014/main" id="{9654C04E-FDA0-4563-94A4-95B264CC1B4A}"/>
                </a:ext>
              </a:extLst>
            </p:cNvPr>
            <p:cNvSpPr txBox="1"/>
            <p:nvPr/>
          </p:nvSpPr>
          <p:spPr>
            <a:xfrm>
              <a:off x="7119717" y="4794285"/>
              <a:ext cx="341760" cy="261610"/>
            </a:xfrm>
            <a:prstGeom prst="rect">
              <a:avLst/>
            </a:prstGeom>
            <a:noFill/>
          </p:spPr>
          <p:txBody>
            <a:bodyPr rot="0" spcFirstLastPara="0" vertOverflow="overflow" horzOverflow="overflow" vert="horz" wrap="none" lIns="91440" tIns="45720" rIns="91440" bIns="45720" numCol="1" spcCol="0" rtlCol="0" fromWordArt="0" anchor="t" anchorCtr="0" forceAA="0" compatLnSpc="1">
              <a:prstTxWarp prst="textNoShape">
                <a:avLst/>
              </a:prstTxWarp>
              <a:spAutoFit/>
            </a:bodyPr>
            <a:lstStyle>
              <a:defPPr>
                <a:defRPr lang="en-US"/>
              </a:defPPr>
              <a:lvl1pPr>
                <a:defRPr sz="1200" b="1" spc="0" baseline="0">
                  <a:solidFill>
                    <a:schemeClr val="bg1"/>
                  </a:solidFill>
                  <a:latin typeface="+mj-lt"/>
                  <a:rtl val="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2557"/>
                  </a:solidFill>
                  <a:effectLst/>
                  <a:uLnTx/>
                  <a:uFillTx/>
                  <a:latin typeface="Arial" panose="020B0604020202020204"/>
                  <a:ea typeface="+mn-ea"/>
                  <a:cs typeface="+mn-cs"/>
                  <a:sym typeface="HelveticaNeue-Bold"/>
                  <a:rtl val="0"/>
                </a:rPr>
                <a:t>12</a:t>
              </a:r>
            </a:p>
          </p:txBody>
        </p:sp>
        <p:cxnSp>
          <p:nvCxnSpPr>
            <p:cNvPr id="50" name="Straight Connector 49">
              <a:extLst>
                <a:ext uri="{FF2B5EF4-FFF2-40B4-BE49-F238E27FC236}">
                  <a16:creationId xmlns:a16="http://schemas.microsoft.com/office/drawing/2014/main" id="{2DDE1ADE-2B2B-44D8-A1C8-AFB620EC1EDC}"/>
                </a:ext>
              </a:extLst>
            </p:cNvPr>
            <p:cNvCxnSpPr>
              <a:cxnSpLocks/>
            </p:cNvCxnSpPr>
            <p:nvPr/>
          </p:nvCxnSpPr>
          <p:spPr>
            <a:xfrm>
              <a:off x="7290597" y="4757739"/>
              <a:ext cx="0" cy="72000"/>
            </a:xfrm>
            <a:prstGeom prst="line">
              <a:avLst/>
            </a:prstGeom>
            <a:ln w="19050" cap="flat">
              <a:solidFill>
                <a:srgbClr val="002557"/>
              </a:solidFill>
              <a:prstDash val="solid"/>
              <a:miter/>
            </a:ln>
          </p:spPr>
        </p:cxnSp>
        <p:sp>
          <p:nvSpPr>
            <p:cNvPr id="57" name="TextBox 56">
              <a:extLst>
                <a:ext uri="{FF2B5EF4-FFF2-40B4-BE49-F238E27FC236}">
                  <a16:creationId xmlns:a16="http://schemas.microsoft.com/office/drawing/2014/main" id="{3761D5E6-5E15-4FA9-B635-05B77E878434}"/>
                </a:ext>
              </a:extLst>
            </p:cNvPr>
            <p:cNvSpPr txBox="1"/>
            <p:nvPr/>
          </p:nvSpPr>
          <p:spPr>
            <a:xfrm>
              <a:off x="7119717" y="5227672"/>
              <a:ext cx="341760" cy="430887"/>
            </a:xfrm>
            <a:prstGeom prst="rect">
              <a:avLst/>
            </a:prstGeom>
            <a:noFill/>
          </p:spPr>
          <p:txBody>
            <a:bodyPr rot="0" spcFirstLastPara="0" vertOverflow="overflow" horzOverflow="overflow" vert="horz" wrap="none" lIns="91440" tIns="45720" rIns="91440" bIns="45720" numCol="1" spcCol="0" rtlCol="0" fromWordArt="0" anchor="t" anchorCtr="0" forceAA="0" compatLnSpc="1">
              <a:prstTxWarp prst="textNoShape">
                <a:avLst/>
              </a:prstTxWarp>
              <a:spAutoFit/>
            </a:bodyPr>
            <a:lstStyle>
              <a:defPPr>
                <a:defRPr lang="en-US"/>
              </a:defPPr>
              <a:lvl1pPr>
                <a:defRPr sz="1200" b="1" spc="0" baseline="0">
                  <a:solidFill>
                    <a:schemeClr val="bg1"/>
                  </a:solidFill>
                  <a:latin typeface="+mj-lt"/>
                  <a:rtl val="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2557"/>
                  </a:solidFill>
                  <a:effectLst/>
                  <a:uLnTx/>
                  <a:uFillTx/>
                  <a:latin typeface="Arial" panose="020B0604020202020204"/>
                  <a:ea typeface="+mn-ea"/>
                  <a:cs typeface="+mn-cs"/>
                  <a:sym typeface="HelveticaNeue-Bold"/>
                  <a:rtl val="0"/>
                </a:rPr>
                <a:t>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2557"/>
                  </a:solidFill>
                  <a:effectLst/>
                  <a:uLnTx/>
                  <a:uFillTx/>
                  <a:latin typeface="Arial" panose="020B0604020202020204"/>
                  <a:ea typeface="+mn-ea"/>
                  <a:cs typeface="+mn-cs"/>
                  <a:sym typeface="HelveticaNeue-Bold"/>
                  <a:rtl val="0"/>
                </a:rPr>
                <a:t>53</a:t>
              </a:r>
            </a:p>
          </p:txBody>
        </p:sp>
        <p:sp>
          <p:nvSpPr>
            <p:cNvPr id="58" name="TextBox 57">
              <a:extLst>
                <a:ext uri="{FF2B5EF4-FFF2-40B4-BE49-F238E27FC236}">
                  <a16:creationId xmlns:a16="http://schemas.microsoft.com/office/drawing/2014/main" id="{D2741FF9-B28A-4EE2-A073-AC4B8775B37B}"/>
                </a:ext>
              </a:extLst>
            </p:cNvPr>
            <p:cNvSpPr txBox="1"/>
            <p:nvPr/>
          </p:nvSpPr>
          <p:spPr>
            <a:xfrm>
              <a:off x="7864653" y="4794285"/>
              <a:ext cx="341760" cy="261610"/>
            </a:xfrm>
            <a:prstGeom prst="rect">
              <a:avLst/>
            </a:prstGeom>
            <a:noFill/>
          </p:spPr>
          <p:txBody>
            <a:bodyPr rot="0" spcFirstLastPara="0" vertOverflow="overflow" horzOverflow="overflow" vert="horz" wrap="none" lIns="91440" tIns="45720" rIns="91440" bIns="45720" numCol="1" spcCol="0" rtlCol="0" fromWordArt="0" anchor="t" anchorCtr="0" forceAA="0" compatLnSpc="1">
              <a:prstTxWarp prst="textNoShape">
                <a:avLst/>
              </a:prstTxWarp>
              <a:spAutoFit/>
            </a:bodyPr>
            <a:lstStyle>
              <a:defPPr>
                <a:defRPr lang="en-US"/>
              </a:defPPr>
              <a:lvl1pPr>
                <a:defRPr sz="1200" b="1" spc="0" baseline="0">
                  <a:solidFill>
                    <a:schemeClr val="bg1"/>
                  </a:solidFill>
                  <a:latin typeface="+mj-lt"/>
                  <a:rtl val="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2557"/>
                  </a:solidFill>
                  <a:effectLst/>
                  <a:uLnTx/>
                  <a:uFillTx/>
                  <a:latin typeface="Arial" panose="020B0604020202020204"/>
                  <a:ea typeface="+mn-ea"/>
                  <a:cs typeface="+mn-cs"/>
                  <a:sym typeface="HelveticaNeue-Bold"/>
                  <a:rtl val="0"/>
                </a:rPr>
                <a:t>18</a:t>
              </a:r>
            </a:p>
          </p:txBody>
        </p:sp>
        <p:cxnSp>
          <p:nvCxnSpPr>
            <p:cNvPr id="59" name="Straight Connector 58">
              <a:extLst>
                <a:ext uri="{FF2B5EF4-FFF2-40B4-BE49-F238E27FC236}">
                  <a16:creationId xmlns:a16="http://schemas.microsoft.com/office/drawing/2014/main" id="{43793B3C-046B-4B78-B2EE-0E0353FF9E18}"/>
                </a:ext>
              </a:extLst>
            </p:cNvPr>
            <p:cNvCxnSpPr>
              <a:cxnSpLocks/>
            </p:cNvCxnSpPr>
            <p:nvPr/>
          </p:nvCxnSpPr>
          <p:spPr>
            <a:xfrm>
              <a:off x="8035533" y="4757739"/>
              <a:ext cx="0" cy="72000"/>
            </a:xfrm>
            <a:prstGeom prst="line">
              <a:avLst/>
            </a:prstGeom>
            <a:ln w="19050" cap="flat">
              <a:solidFill>
                <a:srgbClr val="002557"/>
              </a:solidFill>
              <a:prstDash val="solid"/>
              <a:miter/>
            </a:ln>
          </p:spPr>
        </p:cxnSp>
        <p:sp>
          <p:nvSpPr>
            <p:cNvPr id="66" name="TextBox 65">
              <a:extLst>
                <a:ext uri="{FF2B5EF4-FFF2-40B4-BE49-F238E27FC236}">
                  <a16:creationId xmlns:a16="http://schemas.microsoft.com/office/drawing/2014/main" id="{4204055E-92A3-4D78-944A-4EFCD4722070}"/>
                </a:ext>
              </a:extLst>
            </p:cNvPr>
            <p:cNvSpPr txBox="1"/>
            <p:nvPr/>
          </p:nvSpPr>
          <p:spPr>
            <a:xfrm>
              <a:off x="7864653" y="5227672"/>
              <a:ext cx="341760" cy="430887"/>
            </a:xfrm>
            <a:prstGeom prst="rect">
              <a:avLst/>
            </a:prstGeom>
            <a:noFill/>
          </p:spPr>
          <p:txBody>
            <a:bodyPr rot="0" spcFirstLastPara="0" vertOverflow="overflow" horzOverflow="overflow" vert="horz" wrap="none" lIns="91440" tIns="45720" rIns="91440" bIns="45720" numCol="1" spcCol="0" rtlCol="0" fromWordArt="0" anchor="t" anchorCtr="0" forceAA="0" compatLnSpc="1">
              <a:prstTxWarp prst="textNoShape">
                <a:avLst/>
              </a:prstTxWarp>
              <a:spAutoFit/>
            </a:bodyPr>
            <a:lstStyle>
              <a:defPPr>
                <a:defRPr lang="en-US"/>
              </a:defPPr>
              <a:lvl1pPr>
                <a:defRPr sz="1200" b="1" spc="0" baseline="0">
                  <a:solidFill>
                    <a:schemeClr val="bg1"/>
                  </a:solidFill>
                  <a:latin typeface="+mj-lt"/>
                  <a:rtl val="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2557"/>
                  </a:solidFill>
                  <a:effectLst/>
                  <a:uLnTx/>
                  <a:uFillTx/>
                  <a:latin typeface="Arial" panose="020B0604020202020204"/>
                  <a:ea typeface="+mn-ea"/>
                  <a:cs typeface="+mn-cs"/>
                  <a:sym typeface="HelveticaNeue-Bold"/>
                  <a:rtl val="0"/>
                </a:rPr>
                <a:t>5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2557"/>
                  </a:solidFill>
                  <a:effectLst/>
                  <a:uLnTx/>
                  <a:uFillTx/>
                  <a:latin typeface="Arial" panose="020B0604020202020204"/>
                  <a:ea typeface="+mn-ea"/>
                  <a:cs typeface="+mn-cs"/>
                  <a:sym typeface="HelveticaNeue-Bold"/>
                  <a:rtl val="0"/>
                </a:rPr>
                <a:t>31</a:t>
              </a:r>
            </a:p>
          </p:txBody>
        </p:sp>
        <p:sp>
          <p:nvSpPr>
            <p:cNvPr id="67" name="TextBox 66">
              <a:extLst>
                <a:ext uri="{FF2B5EF4-FFF2-40B4-BE49-F238E27FC236}">
                  <a16:creationId xmlns:a16="http://schemas.microsoft.com/office/drawing/2014/main" id="{F4718583-1B5B-4B12-B150-522E0F8CA65E}"/>
                </a:ext>
              </a:extLst>
            </p:cNvPr>
            <p:cNvSpPr txBox="1"/>
            <p:nvPr/>
          </p:nvSpPr>
          <p:spPr>
            <a:xfrm>
              <a:off x="8609588" y="4794285"/>
              <a:ext cx="341760" cy="261610"/>
            </a:xfrm>
            <a:prstGeom prst="rect">
              <a:avLst/>
            </a:prstGeom>
            <a:noFill/>
          </p:spPr>
          <p:txBody>
            <a:bodyPr rot="0" spcFirstLastPara="0" vertOverflow="overflow" horzOverflow="overflow" vert="horz" wrap="none" lIns="91440" tIns="45720" rIns="91440" bIns="45720" numCol="1" spcCol="0" rtlCol="0" fromWordArt="0" anchor="t" anchorCtr="0" forceAA="0" compatLnSpc="1">
              <a:prstTxWarp prst="textNoShape">
                <a:avLst/>
              </a:prstTxWarp>
              <a:spAutoFit/>
            </a:bodyPr>
            <a:lstStyle>
              <a:defPPr>
                <a:defRPr lang="en-US"/>
              </a:defPPr>
              <a:lvl1pPr>
                <a:defRPr sz="1200" b="1" spc="0" baseline="0">
                  <a:solidFill>
                    <a:schemeClr val="bg1"/>
                  </a:solidFill>
                  <a:latin typeface="+mj-lt"/>
                  <a:rtl val="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2557"/>
                  </a:solidFill>
                  <a:effectLst/>
                  <a:uLnTx/>
                  <a:uFillTx/>
                  <a:latin typeface="Arial" panose="020B0604020202020204"/>
                  <a:ea typeface="+mn-ea"/>
                  <a:cs typeface="+mn-cs"/>
                  <a:sym typeface="HelveticaNeue-Bold"/>
                  <a:rtl val="0"/>
                </a:rPr>
                <a:t>24</a:t>
              </a:r>
            </a:p>
          </p:txBody>
        </p:sp>
        <p:cxnSp>
          <p:nvCxnSpPr>
            <p:cNvPr id="68" name="Straight Connector 67">
              <a:extLst>
                <a:ext uri="{FF2B5EF4-FFF2-40B4-BE49-F238E27FC236}">
                  <a16:creationId xmlns:a16="http://schemas.microsoft.com/office/drawing/2014/main" id="{323E06DA-0EF6-4440-9A17-968AA13A7D0A}"/>
                </a:ext>
              </a:extLst>
            </p:cNvPr>
            <p:cNvCxnSpPr>
              <a:cxnSpLocks/>
            </p:cNvCxnSpPr>
            <p:nvPr/>
          </p:nvCxnSpPr>
          <p:spPr>
            <a:xfrm>
              <a:off x="8780469" y="4757739"/>
              <a:ext cx="0" cy="72000"/>
            </a:xfrm>
            <a:prstGeom prst="line">
              <a:avLst/>
            </a:prstGeom>
            <a:ln w="19050" cap="flat">
              <a:solidFill>
                <a:srgbClr val="002557"/>
              </a:solidFill>
              <a:prstDash val="solid"/>
              <a:miter/>
            </a:ln>
          </p:spPr>
        </p:cxnSp>
        <p:sp>
          <p:nvSpPr>
            <p:cNvPr id="75" name="TextBox 74">
              <a:extLst>
                <a:ext uri="{FF2B5EF4-FFF2-40B4-BE49-F238E27FC236}">
                  <a16:creationId xmlns:a16="http://schemas.microsoft.com/office/drawing/2014/main" id="{5AAD0999-6A22-419B-BE22-6CF41C03770F}"/>
                </a:ext>
              </a:extLst>
            </p:cNvPr>
            <p:cNvSpPr txBox="1"/>
            <p:nvPr/>
          </p:nvSpPr>
          <p:spPr>
            <a:xfrm>
              <a:off x="8609588" y="5227672"/>
              <a:ext cx="341760" cy="430887"/>
            </a:xfrm>
            <a:prstGeom prst="rect">
              <a:avLst/>
            </a:prstGeom>
            <a:noFill/>
          </p:spPr>
          <p:txBody>
            <a:bodyPr rot="0" spcFirstLastPara="0" vertOverflow="overflow" horzOverflow="overflow" vert="horz" wrap="none" lIns="91440" tIns="45720" rIns="91440" bIns="45720" numCol="1" spcCol="0" rtlCol="0" fromWordArt="0" anchor="t" anchorCtr="0" forceAA="0" compatLnSpc="1">
              <a:prstTxWarp prst="textNoShape">
                <a:avLst/>
              </a:prstTxWarp>
              <a:spAutoFit/>
            </a:bodyPr>
            <a:lstStyle>
              <a:defPPr>
                <a:defRPr lang="en-US"/>
              </a:defPPr>
              <a:lvl1pPr>
                <a:defRPr sz="1200" b="1" spc="0" baseline="0">
                  <a:solidFill>
                    <a:schemeClr val="bg1"/>
                  </a:solidFill>
                  <a:latin typeface="+mj-lt"/>
                  <a:rtl val="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2557"/>
                  </a:solidFill>
                  <a:effectLst/>
                  <a:uLnTx/>
                  <a:uFillTx/>
                  <a:latin typeface="Arial" panose="020B0604020202020204"/>
                  <a:ea typeface="+mn-ea"/>
                  <a:cs typeface="+mn-cs"/>
                  <a:sym typeface="HelveticaNeue-Bold"/>
                  <a:rtl val="0"/>
                </a:rPr>
                <a:t>4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2557"/>
                  </a:solidFill>
                  <a:effectLst/>
                  <a:uLnTx/>
                  <a:uFillTx/>
                  <a:latin typeface="Arial" panose="020B0604020202020204"/>
                  <a:ea typeface="+mn-ea"/>
                  <a:cs typeface="+mn-cs"/>
                  <a:sym typeface="HelveticaNeue-Bold"/>
                  <a:rtl val="0"/>
                </a:rPr>
                <a:t>18</a:t>
              </a:r>
            </a:p>
          </p:txBody>
        </p:sp>
        <p:sp>
          <p:nvSpPr>
            <p:cNvPr id="76" name="TextBox 75">
              <a:extLst>
                <a:ext uri="{FF2B5EF4-FFF2-40B4-BE49-F238E27FC236}">
                  <a16:creationId xmlns:a16="http://schemas.microsoft.com/office/drawing/2014/main" id="{671CAA7A-CEEF-4F3B-BF61-14849B6816D2}"/>
                </a:ext>
              </a:extLst>
            </p:cNvPr>
            <p:cNvSpPr txBox="1"/>
            <p:nvPr/>
          </p:nvSpPr>
          <p:spPr>
            <a:xfrm>
              <a:off x="9354524" y="4794285"/>
              <a:ext cx="341760" cy="261610"/>
            </a:xfrm>
            <a:prstGeom prst="rect">
              <a:avLst/>
            </a:prstGeom>
            <a:noFill/>
          </p:spPr>
          <p:txBody>
            <a:bodyPr rot="0" spcFirstLastPara="0" vertOverflow="overflow" horzOverflow="overflow" vert="horz" wrap="none" lIns="91440" tIns="45720" rIns="91440" bIns="45720" numCol="1" spcCol="0" rtlCol="0" fromWordArt="0" anchor="t" anchorCtr="0" forceAA="0" compatLnSpc="1">
              <a:prstTxWarp prst="textNoShape">
                <a:avLst/>
              </a:prstTxWarp>
              <a:spAutoFit/>
            </a:bodyPr>
            <a:lstStyle>
              <a:defPPr>
                <a:defRPr lang="en-US"/>
              </a:defPPr>
              <a:lvl1pPr>
                <a:defRPr sz="1200" b="1" spc="0" baseline="0">
                  <a:solidFill>
                    <a:schemeClr val="bg1"/>
                  </a:solidFill>
                  <a:latin typeface="+mj-lt"/>
                  <a:rtl val="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2557"/>
                  </a:solidFill>
                  <a:effectLst/>
                  <a:uLnTx/>
                  <a:uFillTx/>
                  <a:latin typeface="Arial" panose="020B0604020202020204"/>
                  <a:ea typeface="+mn-ea"/>
                  <a:cs typeface="+mn-cs"/>
                  <a:sym typeface="HelveticaNeue-Bold"/>
                  <a:rtl val="0"/>
                </a:rPr>
                <a:t>30</a:t>
              </a:r>
            </a:p>
          </p:txBody>
        </p:sp>
        <p:cxnSp>
          <p:nvCxnSpPr>
            <p:cNvPr id="77" name="Straight Connector 76">
              <a:extLst>
                <a:ext uri="{FF2B5EF4-FFF2-40B4-BE49-F238E27FC236}">
                  <a16:creationId xmlns:a16="http://schemas.microsoft.com/office/drawing/2014/main" id="{2AF8C823-AC8F-4E26-88DE-FF7522D5D1F6}"/>
                </a:ext>
              </a:extLst>
            </p:cNvPr>
            <p:cNvCxnSpPr>
              <a:cxnSpLocks/>
            </p:cNvCxnSpPr>
            <p:nvPr/>
          </p:nvCxnSpPr>
          <p:spPr>
            <a:xfrm>
              <a:off x="9525405" y="4757739"/>
              <a:ext cx="0" cy="72000"/>
            </a:xfrm>
            <a:prstGeom prst="line">
              <a:avLst/>
            </a:prstGeom>
            <a:ln w="19050" cap="flat">
              <a:solidFill>
                <a:srgbClr val="002557"/>
              </a:solidFill>
              <a:prstDash val="solid"/>
              <a:miter/>
            </a:ln>
          </p:spPr>
        </p:cxnSp>
        <p:sp>
          <p:nvSpPr>
            <p:cNvPr id="84" name="TextBox 83">
              <a:extLst>
                <a:ext uri="{FF2B5EF4-FFF2-40B4-BE49-F238E27FC236}">
                  <a16:creationId xmlns:a16="http://schemas.microsoft.com/office/drawing/2014/main" id="{BA8DDFE8-5114-42F1-A9EE-504C2C52BDAA}"/>
                </a:ext>
              </a:extLst>
            </p:cNvPr>
            <p:cNvSpPr txBox="1"/>
            <p:nvPr/>
          </p:nvSpPr>
          <p:spPr>
            <a:xfrm>
              <a:off x="10138735" y="5227672"/>
              <a:ext cx="263214" cy="430887"/>
            </a:xfrm>
            <a:prstGeom prst="rect">
              <a:avLst/>
            </a:prstGeom>
            <a:noFill/>
          </p:spPr>
          <p:txBody>
            <a:bodyPr rot="0" spcFirstLastPara="0" vertOverflow="overflow" horzOverflow="overflow" vert="horz" wrap="none" lIns="91440" tIns="45720" rIns="91440" bIns="45720" numCol="1" spcCol="0" rtlCol="0" fromWordArt="0" anchor="t" anchorCtr="0" forceAA="0" compatLnSpc="1">
              <a:prstTxWarp prst="textNoShape">
                <a:avLst/>
              </a:prstTxWarp>
              <a:spAutoFit/>
            </a:bodyPr>
            <a:lstStyle>
              <a:defPPr>
                <a:defRPr lang="en-US"/>
              </a:defPPr>
              <a:lvl1pPr>
                <a:defRPr sz="1200" b="1" spc="0" baseline="0">
                  <a:solidFill>
                    <a:schemeClr val="bg1"/>
                  </a:solidFill>
                  <a:latin typeface="+mj-lt"/>
                  <a:rtl val="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2557"/>
                  </a:solidFill>
                  <a:effectLst/>
                  <a:uLnTx/>
                  <a:uFillTx/>
                  <a:latin typeface="Arial" panose="020B0604020202020204"/>
                  <a:ea typeface="+mn-ea"/>
                  <a:cs typeface="+mn-cs"/>
                  <a:sym typeface="HelveticaNeue-Bold"/>
                  <a:rtl val="0"/>
                </a:rPr>
                <a:t>7</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2557"/>
                  </a:solidFill>
                  <a:effectLst/>
                  <a:uLnTx/>
                  <a:uFillTx/>
                  <a:latin typeface="Arial" panose="020B0604020202020204"/>
                  <a:ea typeface="+mn-ea"/>
                  <a:cs typeface="+mn-cs"/>
                  <a:sym typeface="HelveticaNeue-Bold"/>
                  <a:rtl val="0"/>
                </a:rPr>
                <a:t>0</a:t>
              </a:r>
            </a:p>
          </p:txBody>
        </p:sp>
        <p:sp>
          <p:nvSpPr>
            <p:cNvPr id="85" name="TextBox 84">
              <a:extLst>
                <a:ext uri="{FF2B5EF4-FFF2-40B4-BE49-F238E27FC236}">
                  <a16:creationId xmlns:a16="http://schemas.microsoft.com/office/drawing/2014/main" id="{806A33EC-CA62-4F57-9C00-F30B11676AF1}"/>
                </a:ext>
              </a:extLst>
            </p:cNvPr>
            <p:cNvSpPr txBox="1"/>
            <p:nvPr/>
          </p:nvSpPr>
          <p:spPr>
            <a:xfrm>
              <a:off x="10099461" y="4794285"/>
              <a:ext cx="341760" cy="261610"/>
            </a:xfrm>
            <a:prstGeom prst="rect">
              <a:avLst/>
            </a:prstGeom>
            <a:noFill/>
          </p:spPr>
          <p:txBody>
            <a:bodyPr rot="0" spcFirstLastPara="0" vertOverflow="overflow" horzOverflow="overflow" vert="horz" wrap="none" lIns="91440" tIns="45720" rIns="91440" bIns="45720" numCol="1" spcCol="0" rtlCol="0" fromWordArt="0" anchor="t" anchorCtr="0" forceAA="0" compatLnSpc="1">
              <a:prstTxWarp prst="textNoShape">
                <a:avLst/>
              </a:prstTxWarp>
              <a:spAutoFit/>
            </a:bodyPr>
            <a:lstStyle>
              <a:defPPr>
                <a:defRPr lang="en-US"/>
              </a:defPPr>
              <a:lvl1pPr>
                <a:defRPr sz="1200" b="1" spc="0" baseline="0">
                  <a:solidFill>
                    <a:schemeClr val="bg1"/>
                  </a:solidFill>
                  <a:latin typeface="+mj-lt"/>
                  <a:rtl val="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2557"/>
                  </a:solidFill>
                  <a:effectLst/>
                  <a:uLnTx/>
                  <a:uFillTx/>
                  <a:latin typeface="Arial" panose="020B0604020202020204"/>
                  <a:ea typeface="+mn-ea"/>
                  <a:cs typeface="+mn-cs"/>
                  <a:sym typeface="HelveticaNeue-Bold"/>
                  <a:rtl val="0"/>
                </a:rPr>
                <a:t>36</a:t>
              </a:r>
            </a:p>
          </p:txBody>
        </p:sp>
        <p:cxnSp>
          <p:nvCxnSpPr>
            <p:cNvPr id="86" name="Straight Connector 85">
              <a:extLst>
                <a:ext uri="{FF2B5EF4-FFF2-40B4-BE49-F238E27FC236}">
                  <a16:creationId xmlns:a16="http://schemas.microsoft.com/office/drawing/2014/main" id="{B50EEA72-C5F7-4385-A048-FEB16C825FAD}"/>
                </a:ext>
              </a:extLst>
            </p:cNvPr>
            <p:cNvCxnSpPr>
              <a:cxnSpLocks/>
            </p:cNvCxnSpPr>
            <p:nvPr/>
          </p:nvCxnSpPr>
          <p:spPr>
            <a:xfrm>
              <a:off x="10270341" y="4757739"/>
              <a:ext cx="0" cy="72000"/>
            </a:xfrm>
            <a:prstGeom prst="line">
              <a:avLst/>
            </a:prstGeom>
            <a:ln w="19050" cap="flat">
              <a:solidFill>
                <a:srgbClr val="002557"/>
              </a:solidFill>
              <a:prstDash val="solid"/>
              <a:miter/>
            </a:ln>
          </p:spPr>
        </p:cxnSp>
        <p:sp>
          <p:nvSpPr>
            <p:cNvPr id="93" name="TextBox 92">
              <a:extLst>
                <a:ext uri="{FF2B5EF4-FFF2-40B4-BE49-F238E27FC236}">
                  <a16:creationId xmlns:a16="http://schemas.microsoft.com/office/drawing/2014/main" id="{9CD45492-2D03-4633-8BF9-31FCBBC8CA4B}"/>
                </a:ext>
              </a:extLst>
            </p:cNvPr>
            <p:cNvSpPr txBox="1"/>
            <p:nvPr/>
          </p:nvSpPr>
          <p:spPr>
            <a:xfrm>
              <a:off x="10883671" y="5227672"/>
              <a:ext cx="263214" cy="430887"/>
            </a:xfrm>
            <a:prstGeom prst="rect">
              <a:avLst/>
            </a:prstGeom>
            <a:noFill/>
          </p:spPr>
          <p:txBody>
            <a:bodyPr rot="0" spcFirstLastPara="0" vertOverflow="overflow" horzOverflow="overflow" vert="horz" wrap="none" lIns="91440" tIns="45720" rIns="91440" bIns="45720" numCol="1" spcCol="0" rtlCol="0" fromWordArt="0" anchor="t" anchorCtr="0" forceAA="0" compatLnSpc="1">
              <a:prstTxWarp prst="textNoShape">
                <a:avLst/>
              </a:prstTxWarp>
              <a:spAutoFit/>
            </a:bodyPr>
            <a:lstStyle>
              <a:defPPr>
                <a:defRPr lang="en-US"/>
              </a:defPPr>
              <a:lvl1pPr>
                <a:defRPr sz="1200" b="1" spc="0" baseline="0">
                  <a:solidFill>
                    <a:schemeClr val="bg1"/>
                  </a:solidFill>
                  <a:latin typeface="+mj-lt"/>
                  <a:rtl val="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2557"/>
                  </a:solidFill>
                  <a:effectLst/>
                  <a:uLnTx/>
                  <a:uFillTx/>
                  <a:latin typeface="Arial" panose="020B0604020202020204"/>
                  <a:ea typeface="+mn-ea"/>
                  <a:cs typeface="+mn-cs"/>
                  <a:sym typeface="HelveticaNeue-Bold"/>
                  <a:rtl val="0"/>
                </a:rPr>
                <a:t>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2557"/>
                  </a:solidFill>
                  <a:effectLst/>
                  <a:uLnTx/>
                  <a:uFillTx/>
                  <a:latin typeface="Arial" panose="020B0604020202020204"/>
                  <a:ea typeface="+mn-ea"/>
                  <a:cs typeface="+mn-cs"/>
                  <a:sym typeface="HelveticaNeue-Bold"/>
                  <a:rtl val="0"/>
                </a:rPr>
                <a:t>0</a:t>
              </a:r>
            </a:p>
          </p:txBody>
        </p:sp>
        <p:sp>
          <p:nvSpPr>
            <p:cNvPr id="94" name="TextBox 93">
              <a:extLst>
                <a:ext uri="{FF2B5EF4-FFF2-40B4-BE49-F238E27FC236}">
                  <a16:creationId xmlns:a16="http://schemas.microsoft.com/office/drawing/2014/main" id="{4140F4EC-D9B4-4BF9-A1E9-4D123B1E7B91}"/>
                </a:ext>
              </a:extLst>
            </p:cNvPr>
            <p:cNvSpPr txBox="1"/>
            <p:nvPr/>
          </p:nvSpPr>
          <p:spPr>
            <a:xfrm>
              <a:off x="10844397" y="4794285"/>
              <a:ext cx="341760" cy="261610"/>
            </a:xfrm>
            <a:prstGeom prst="rect">
              <a:avLst/>
            </a:prstGeom>
            <a:noFill/>
          </p:spPr>
          <p:txBody>
            <a:bodyPr rot="0" spcFirstLastPara="0" vertOverflow="overflow" horzOverflow="overflow" vert="horz" wrap="none" lIns="91440" tIns="45720" rIns="91440" bIns="45720" numCol="1" spcCol="0" rtlCol="0" fromWordArt="0" anchor="t" anchorCtr="0" forceAA="0" compatLnSpc="1">
              <a:prstTxWarp prst="textNoShape">
                <a:avLst/>
              </a:prstTxWarp>
              <a:spAutoFit/>
            </a:bodyPr>
            <a:lstStyle>
              <a:defPPr>
                <a:defRPr lang="en-US"/>
              </a:defPPr>
              <a:lvl1pPr>
                <a:defRPr sz="1200" b="1" spc="0" baseline="0">
                  <a:solidFill>
                    <a:schemeClr val="bg1"/>
                  </a:solidFill>
                  <a:latin typeface="+mj-lt"/>
                  <a:rtl val="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2557"/>
                  </a:solidFill>
                  <a:effectLst/>
                  <a:uLnTx/>
                  <a:uFillTx/>
                  <a:latin typeface="Arial" panose="020B0604020202020204"/>
                  <a:ea typeface="+mn-ea"/>
                  <a:cs typeface="+mn-cs"/>
                  <a:sym typeface="HelveticaNeue-Bold"/>
                  <a:rtl val="0"/>
                </a:rPr>
                <a:t>42</a:t>
              </a:r>
            </a:p>
          </p:txBody>
        </p:sp>
        <p:cxnSp>
          <p:nvCxnSpPr>
            <p:cNvPr id="95" name="Straight Connector 94">
              <a:extLst>
                <a:ext uri="{FF2B5EF4-FFF2-40B4-BE49-F238E27FC236}">
                  <a16:creationId xmlns:a16="http://schemas.microsoft.com/office/drawing/2014/main" id="{DBAB66E9-983E-4BA2-8A72-0761A5D8A83D}"/>
                </a:ext>
              </a:extLst>
            </p:cNvPr>
            <p:cNvCxnSpPr>
              <a:cxnSpLocks/>
            </p:cNvCxnSpPr>
            <p:nvPr/>
          </p:nvCxnSpPr>
          <p:spPr>
            <a:xfrm>
              <a:off x="11015277" y="4757739"/>
              <a:ext cx="0" cy="72000"/>
            </a:xfrm>
            <a:prstGeom prst="line">
              <a:avLst/>
            </a:prstGeom>
            <a:ln w="19050" cap="flat">
              <a:solidFill>
                <a:srgbClr val="002557"/>
              </a:solidFill>
              <a:prstDash val="solid"/>
              <a:miter/>
            </a:ln>
          </p:spPr>
        </p:cxnSp>
        <p:sp>
          <p:nvSpPr>
            <p:cNvPr id="96" name="TextBox 95">
              <a:extLst>
                <a:ext uri="{FF2B5EF4-FFF2-40B4-BE49-F238E27FC236}">
                  <a16:creationId xmlns:a16="http://schemas.microsoft.com/office/drawing/2014/main" id="{1175394B-AA60-4F74-8DF7-E4D96621DBFF}"/>
                </a:ext>
              </a:extLst>
            </p:cNvPr>
            <p:cNvSpPr txBox="1"/>
            <p:nvPr/>
          </p:nvSpPr>
          <p:spPr>
            <a:xfrm>
              <a:off x="11628604" y="5227672"/>
              <a:ext cx="263214" cy="430887"/>
            </a:xfrm>
            <a:prstGeom prst="rect">
              <a:avLst/>
            </a:prstGeom>
            <a:noFill/>
          </p:spPr>
          <p:txBody>
            <a:bodyPr rot="0" spcFirstLastPara="0" vertOverflow="overflow" horzOverflow="overflow" vert="horz" wrap="none" lIns="91440" tIns="45720" rIns="91440" bIns="45720" numCol="1" spcCol="0" rtlCol="0" fromWordArt="0" anchor="t" anchorCtr="0" forceAA="0" compatLnSpc="1">
              <a:prstTxWarp prst="textNoShape">
                <a:avLst/>
              </a:prstTxWarp>
              <a:spAutoFit/>
            </a:bodyPr>
            <a:lstStyle>
              <a:defPPr>
                <a:defRPr lang="en-US"/>
              </a:defPPr>
              <a:lvl1pPr>
                <a:defRPr sz="1200" b="1" spc="0" baseline="0">
                  <a:solidFill>
                    <a:schemeClr val="bg1"/>
                  </a:solidFill>
                  <a:latin typeface="+mj-lt"/>
                  <a:rtl val="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2557"/>
                  </a:solidFill>
                  <a:effectLst/>
                  <a:uLnTx/>
                  <a:uFillTx/>
                  <a:latin typeface="Arial" panose="020B0604020202020204"/>
                  <a:ea typeface="+mn-ea"/>
                  <a:cs typeface="+mn-cs"/>
                  <a:sym typeface="HelveticaNeue-Bold"/>
                  <a:rtl val="0"/>
                </a:rPr>
                <a:t>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2557"/>
                  </a:solidFill>
                  <a:effectLst/>
                  <a:uLnTx/>
                  <a:uFillTx/>
                  <a:latin typeface="Arial" panose="020B0604020202020204"/>
                  <a:ea typeface="+mn-ea"/>
                  <a:cs typeface="+mn-cs"/>
                  <a:sym typeface="HelveticaNeue-Bold"/>
                  <a:rtl val="0"/>
                </a:rPr>
                <a:t>0</a:t>
              </a:r>
            </a:p>
          </p:txBody>
        </p:sp>
        <p:sp>
          <p:nvSpPr>
            <p:cNvPr id="97" name="TextBox 96">
              <a:extLst>
                <a:ext uri="{FF2B5EF4-FFF2-40B4-BE49-F238E27FC236}">
                  <a16:creationId xmlns:a16="http://schemas.microsoft.com/office/drawing/2014/main" id="{31F1FC2F-4B6E-4F92-97E4-C8EC27D56589}"/>
                </a:ext>
              </a:extLst>
            </p:cNvPr>
            <p:cNvSpPr txBox="1"/>
            <p:nvPr/>
          </p:nvSpPr>
          <p:spPr>
            <a:xfrm>
              <a:off x="11589331" y="4794285"/>
              <a:ext cx="341760" cy="261610"/>
            </a:xfrm>
            <a:prstGeom prst="rect">
              <a:avLst/>
            </a:prstGeom>
            <a:noFill/>
          </p:spPr>
          <p:txBody>
            <a:bodyPr rot="0" spcFirstLastPara="0" vertOverflow="overflow" horzOverflow="overflow" vert="horz" wrap="none" lIns="91440" tIns="45720" rIns="91440" bIns="45720" numCol="1" spcCol="0" rtlCol="0" fromWordArt="0" anchor="t" anchorCtr="0" forceAA="0" compatLnSpc="1">
              <a:prstTxWarp prst="textNoShape">
                <a:avLst/>
              </a:prstTxWarp>
              <a:spAutoFit/>
            </a:bodyPr>
            <a:lstStyle>
              <a:defPPr>
                <a:defRPr lang="en-US"/>
              </a:defPPr>
              <a:lvl1pPr>
                <a:defRPr sz="1200" b="1" spc="0" baseline="0">
                  <a:solidFill>
                    <a:schemeClr val="bg1"/>
                  </a:solidFill>
                  <a:latin typeface="+mj-lt"/>
                  <a:rtl val="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2557"/>
                  </a:solidFill>
                  <a:effectLst/>
                  <a:uLnTx/>
                  <a:uFillTx/>
                  <a:latin typeface="Arial" panose="020B0604020202020204"/>
                  <a:ea typeface="+mn-ea"/>
                  <a:cs typeface="+mn-cs"/>
                  <a:sym typeface="HelveticaNeue-Bold"/>
                  <a:rtl val="0"/>
                </a:rPr>
                <a:t>48</a:t>
              </a:r>
            </a:p>
          </p:txBody>
        </p:sp>
        <p:cxnSp>
          <p:nvCxnSpPr>
            <p:cNvPr id="98" name="Straight Connector 97">
              <a:extLst>
                <a:ext uri="{FF2B5EF4-FFF2-40B4-BE49-F238E27FC236}">
                  <a16:creationId xmlns:a16="http://schemas.microsoft.com/office/drawing/2014/main" id="{639FA5B5-F6E5-4AE5-8C6B-74E55887FB79}"/>
                </a:ext>
              </a:extLst>
            </p:cNvPr>
            <p:cNvCxnSpPr>
              <a:cxnSpLocks/>
            </p:cNvCxnSpPr>
            <p:nvPr/>
          </p:nvCxnSpPr>
          <p:spPr>
            <a:xfrm>
              <a:off x="11760211" y="4757739"/>
              <a:ext cx="0" cy="72000"/>
            </a:xfrm>
            <a:prstGeom prst="line">
              <a:avLst/>
            </a:prstGeom>
            <a:ln w="19050" cap="flat">
              <a:solidFill>
                <a:srgbClr val="002557"/>
              </a:solidFill>
              <a:prstDash val="solid"/>
              <a:miter/>
            </a:ln>
          </p:spPr>
        </p:cxnSp>
        <p:sp>
          <p:nvSpPr>
            <p:cNvPr id="99" name="TextBox 98">
              <a:extLst>
                <a:ext uri="{FF2B5EF4-FFF2-40B4-BE49-F238E27FC236}">
                  <a16:creationId xmlns:a16="http://schemas.microsoft.com/office/drawing/2014/main" id="{E8B5D3CD-2E5D-4AD4-9FD0-D4911C387FA7}"/>
                </a:ext>
              </a:extLst>
            </p:cNvPr>
            <p:cNvSpPr txBox="1"/>
            <p:nvPr/>
          </p:nvSpPr>
          <p:spPr>
            <a:xfrm>
              <a:off x="5816600" y="4991135"/>
              <a:ext cx="5943600" cy="2616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defPPr>
                <a:defRPr lang="en-US"/>
              </a:defPPr>
              <a:lvl1pPr>
                <a:defRPr sz="1200" b="1" spc="0" baseline="0">
                  <a:solidFill>
                    <a:schemeClr val="bg1"/>
                  </a:solidFill>
                  <a:latin typeface="+mj-lt"/>
                  <a:rtl val="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002557"/>
                  </a:solidFill>
                  <a:effectLst/>
                  <a:uLnTx/>
                  <a:uFillTx/>
                  <a:latin typeface="Arial" panose="020B0604020202020204"/>
                  <a:ea typeface="+mn-ea"/>
                  <a:cs typeface="+mn-cs"/>
                  <a:sym typeface="HelveticaNeue-Bold"/>
                  <a:rtl val="0"/>
                </a:rPr>
                <a:t>Time from randomization (months)</a:t>
              </a:r>
            </a:p>
          </p:txBody>
        </p:sp>
        <p:cxnSp>
          <p:nvCxnSpPr>
            <p:cNvPr id="100" name="Straight Connector 99">
              <a:extLst>
                <a:ext uri="{FF2B5EF4-FFF2-40B4-BE49-F238E27FC236}">
                  <a16:creationId xmlns:a16="http://schemas.microsoft.com/office/drawing/2014/main" id="{B407E266-AD1B-4502-B764-E6755B5F4B24}"/>
                </a:ext>
              </a:extLst>
            </p:cNvPr>
            <p:cNvCxnSpPr>
              <a:cxnSpLocks/>
            </p:cNvCxnSpPr>
            <p:nvPr/>
          </p:nvCxnSpPr>
          <p:spPr>
            <a:xfrm>
              <a:off x="5634037" y="1908662"/>
              <a:ext cx="72000" cy="0"/>
            </a:xfrm>
            <a:prstGeom prst="line">
              <a:avLst/>
            </a:prstGeom>
            <a:ln w="19050" cap="flat">
              <a:solidFill>
                <a:srgbClr val="002557"/>
              </a:solidFill>
              <a:prstDash val="solid"/>
              <a:miter/>
            </a:ln>
          </p:spPr>
        </p:cxnSp>
        <p:sp>
          <p:nvSpPr>
            <p:cNvPr id="101" name="TextBox 100">
              <a:extLst>
                <a:ext uri="{FF2B5EF4-FFF2-40B4-BE49-F238E27FC236}">
                  <a16:creationId xmlns:a16="http://schemas.microsoft.com/office/drawing/2014/main" id="{37B09EA0-8C8C-4E91-B449-BE5ED8B1C0B5}"/>
                </a:ext>
              </a:extLst>
            </p:cNvPr>
            <p:cNvSpPr txBox="1"/>
            <p:nvPr/>
          </p:nvSpPr>
          <p:spPr>
            <a:xfrm>
              <a:off x="5276830" y="2318802"/>
              <a:ext cx="397866" cy="27699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2557"/>
                  </a:solidFill>
                  <a:effectLst/>
                  <a:uLnTx/>
                  <a:uFillTx/>
                  <a:latin typeface="Arial" panose="020B0604020202020204"/>
                  <a:ea typeface="+mn-ea"/>
                  <a:cs typeface="+mn-cs"/>
                  <a:sym typeface="HelveticaNeueCE-Roman"/>
                  <a:rtl val="0"/>
                </a:rPr>
                <a:t>0.8</a:t>
              </a:r>
            </a:p>
          </p:txBody>
        </p:sp>
        <p:cxnSp>
          <p:nvCxnSpPr>
            <p:cNvPr id="102" name="Straight Connector 101">
              <a:extLst>
                <a:ext uri="{FF2B5EF4-FFF2-40B4-BE49-F238E27FC236}">
                  <a16:creationId xmlns:a16="http://schemas.microsoft.com/office/drawing/2014/main" id="{9C72E508-C344-419B-AD54-E815A29C8F7A}"/>
                </a:ext>
              </a:extLst>
            </p:cNvPr>
            <p:cNvCxnSpPr>
              <a:cxnSpLocks/>
            </p:cNvCxnSpPr>
            <p:nvPr/>
          </p:nvCxnSpPr>
          <p:spPr>
            <a:xfrm>
              <a:off x="5634037" y="2457302"/>
              <a:ext cx="72000" cy="0"/>
            </a:xfrm>
            <a:prstGeom prst="line">
              <a:avLst/>
            </a:prstGeom>
            <a:ln w="19050" cap="flat">
              <a:solidFill>
                <a:srgbClr val="002557"/>
              </a:solidFill>
              <a:prstDash val="solid"/>
              <a:miter/>
            </a:ln>
          </p:spPr>
        </p:cxnSp>
        <p:sp>
          <p:nvSpPr>
            <p:cNvPr id="103" name="TextBox 102">
              <a:extLst>
                <a:ext uri="{FF2B5EF4-FFF2-40B4-BE49-F238E27FC236}">
                  <a16:creationId xmlns:a16="http://schemas.microsoft.com/office/drawing/2014/main" id="{B6A3CBED-A41E-4FEA-B940-3ADE2F1BC6D1}"/>
                </a:ext>
              </a:extLst>
            </p:cNvPr>
            <p:cNvSpPr txBox="1"/>
            <p:nvPr/>
          </p:nvSpPr>
          <p:spPr>
            <a:xfrm>
              <a:off x="5276830" y="2867442"/>
              <a:ext cx="397866" cy="27699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2557"/>
                  </a:solidFill>
                  <a:effectLst/>
                  <a:uLnTx/>
                  <a:uFillTx/>
                  <a:latin typeface="Arial" panose="020B0604020202020204"/>
                  <a:ea typeface="+mn-ea"/>
                  <a:cs typeface="+mn-cs"/>
                  <a:sym typeface="HelveticaNeueCE-Roman"/>
                  <a:rtl val="0"/>
                </a:rPr>
                <a:t>0.6</a:t>
              </a:r>
            </a:p>
          </p:txBody>
        </p:sp>
        <p:cxnSp>
          <p:nvCxnSpPr>
            <p:cNvPr id="104" name="Straight Connector 103">
              <a:extLst>
                <a:ext uri="{FF2B5EF4-FFF2-40B4-BE49-F238E27FC236}">
                  <a16:creationId xmlns:a16="http://schemas.microsoft.com/office/drawing/2014/main" id="{9280896B-29EC-43F0-9AA2-6ABBF005A59D}"/>
                </a:ext>
              </a:extLst>
            </p:cNvPr>
            <p:cNvCxnSpPr>
              <a:cxnSpLocks/>
            </p:cNvCxnSpPr>
            <p:nvPr/>
          </p:nvCxnSpPr>
          <p:spPr>
            <a:xfrm>
              <a:off x="5634037" y="3005942"/>
              <a:ext cx="72000" cy="0"/>
            </a:xfrm>
            <a:prstGeom prst="line">
              <a:avLst/>
            </a:prstGeom>
            <a:ln w="19050" cap="flat">
              <a:solidFill>
                <a:srgbClr val="002557"/>
              </a:solidFill>
              <a:prstDash val="solid"/>
              <a:miter/>
            </a:ln>
          </p:spPr>
        </p:cxnSp>
        <p:sp>
          <p:nvSpPr>
            <p:cNvPr id="105" name="TextBox 104">
              <a:extLst>
                <a:ext uri="{FF2B5EF4-FFF2-40B4-BE49-F238E27FC236}">
                  <a16:creationId xmlns:a16="http://schemas.microsoft.com/office/drawing/2014/main" id="{79D28262-F83D-4B19-B048-65B0C6251AFF}"/>
                </a:ext>
              </a:extLst>
            </p:cNvPr>
            <p:cNvSpPr txBox="1"/>
            <p:nvPr/>
          </p:nvSpPr>
          <p:spPr>
            <a:xfrm>
              <a:off x="5276830" y="3416082"/>
              <a:ext cx="397866" cy="27699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2557"/>
                  </a:solidFill>
                  <a:effectLst/>
                  <a:uLnTx/>
                  <a:uFillTx/>
                  <a:latin typeface="Arial" panose="020B0604020202020204"/>
                  <a:ea typeface="+mn-ea"/>
                  <a:cs typeface="+mn-cs"/>
                  <a:sym typeface="HelveticaNeueCE-Roman"/>
                  <a:rtl val="0"/>
                </a:rPr>
                <a:t>0.4</a:t>
              </a:r>
            </a:p>
          </p:txBody>
        </p:sp>
        <p:cxnSp>
          <p:nvCxnSpPr>
            <p:cNvPr id="106" name="Straight Connector 105">
              <a:extLst>
                <a:ext uri="{FF2B5EF4-FFF2-40B4-BE49-F238E27FC236}">
                  <a16:creationId xmlns:a16="http://schemas.microsoft.com/office/drawing/2014/main" id="{48AD2A8C-9B2B-4698-BAC7-68BDCE19B5CA}"/>
                </a:ext>
              </a:extLst>
            </p:cNvPr>
            <p:cNvCxnSpPr>
              <a:cxnSpLocks/>
            </p:cNvCxnSpPr>
            <p:nvPr/>
          </p:nvCxnSpPr>
          <p:spPr>
            <a:xfrm>
              <a:off x="5634037" y="3554582"/>
              <a:ext cx="72000" cy="0"/>
            </a:xfrm>
            <a:prstGeom prst="line">
              <a:avLst/>
            </a:prstGeom>
            <a:ln w="19050" cap="flat">
              <a:solidFill>
                <a:srgbClr val="002557"/>
              </a:solidFill>
              <a:prstDash val="solid"/>
              <a:miter/>
            </a:ln>
          </p:spPr>
        </p:cxnSp>
        <p:sp>
          <p:nvSpPr>
            <p:cNvPr id="107" name="TextBox 106">
              <a:extLst>
                <a:ext uri="{FF2B5EF4-FFF2-40B4-BE49-F238E27FC236}">
                  <a16:creationId xmlns:a16="http://schemas.microsoft.com/office/drawing/2014/main" id="{25E3D170-D681-4E7C-8FF8-8E39C885AF42}"/>
                </a:ext>
              </a:extLst>
            </p:cNvPr>
            <p:cNvSpPr txBox="1"/>
            <p:nvPr/>
          </p:nvSpPr>
          <p:spPr>
            <a:xfrm>
              <a:off x="5276830" y="3964722"/>
              <a:ext cx="397866" cy="27699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2557"/>
                  </a:solidFill>
                  <a:effectLst/>
                  <a:uLnTx/>
                  <a:uFillTx/>
                  <a:latin typeface="Arial" panose="020B0604020202020204"/>
                  <a:ea typeface="+mn-ea"/>
                  <a:cs typeface="+mn-cs"/>
                  <a:sym typeface="HelveticaNeueCE-Roman"/>
                  <a:rtl val="0"/>
                </a:rPr>
                <a:t>0.2</a:t>
              </a:r>
            </a:p>
          </p:txBody>
        </p:sp>
        <p:cxnSp>
          <p:nvCxnSpPr>
            <p:cNvPr id="108" name="Straight Connector 107">
              <a:extLst>
                <a:ext uri="{FF2B5EF4-FFF2-40B4-BE49-F238E27FC236}">
                  <a16:creationId xmlns:a16="http://schemas.microsoft.com/office/drawing/2014/main" id="{335E1235-C9A4-48F0-9F88-2501177A213B}"/>
                </a:ext>
              </a:extLst>
            </p:cNvPr>
            <p:cNvCxnSpPr>
              <a:cxnSpLocks/>
            </p:cNvCxnSpPr>
            <p:nvPr/>
          </p:nvCxnSpPr>
          <p:spPr>
            <a:xfrm>
              <a:off x="5634037" y="4103222"/>
              <a:ext cx="72000" cy="0"/>
            </a:xfrm>
            <a:prstGeom prst="line">
              <a:avLst/>
            </a:prstGeom>
            <a:ln w="19050" cap="flat">
              <a:solidFill>
                <a:srgbClr val="002557"/>
              </a:solidFill>
              <a:prstDash val="solid"/>
              <a:miter/>
            </a:ln>
          </p:spPr>
        </p:cxnSp>
        <p:sp>
          <p:nvSpPr>
            <p:cNvPr id="109" name="TextBox 108">
              <a:extLst>
                <a:ext uri="{FF2B5EF4-FFF2-40B4-BE49-F238E27FC236}">
                  <a16:creationId xmlns:a16="http://schemas.microsoft.com/office/drawing/2014/main" id="{08FAA65F-1786-4FAD-91CE-71CC370664B3}"/>
                </a:ext>
              </a:extLst>
            </p:cNvPr>
            <p:cNvSpPr txBox="1"/>
            <p:nvPr/>
          </p:nvSpPr>
          <p:spPr>
            <a:xfrm>
              <a:off x="5276831" y="4513362"/>
              <a:ext cx="397865" cy="276999"/>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2557"/>
                  </a:solidFill>
                  <a:effectLst/>
                  <a:uLnTx/>
                  <a:uFillTx/>
                  <a:latin typeface="Arial" panose="020B0604020202020204"/>
                  <a:ea typeface="+mn-ea"/>
                  <a:cs typeface="+mn-cs"/>
                  <a:sym typeface="HelveticaNeueCE-Roman"/>
                  <a:rtl val="0"/>
                </a:rPr>
                <a:t>0.0</a:t>
              </a:r>
            </a:p>
          </p:txBody>
        </p:sp>
        <p:cxnSp>
          <p:nvCxnSpPr>
            <p:cNvPr id="110" name="Straight Connector 109">
              <a:extLst>
                <a:ext uri="{FF2B5EF4-FFF2-40B4-BE49-F238E27FC236}">
                  <a16:creationId xmlns:a16="http://schemas.microsoft.com/office/drawing/2014/main" id="{CF0A0B1F-A840-45EB-8DBC-46D98DD20BF0}"/>
                </a:ext>
              </a:extLst>
            </p:cNvPr>
            <p:cNvCxnSpPr>
              <a:cxnSpLocks/>
            </p:cNvCxnSpPr>
            <p:nvPr/>
          </p:nvCxnSpPr>
          <p:spPr>
            <a:xfrm>
              <a:off x="5634037" y="4651862"/>
              <a:ext cx="72000" cy="0"/>
            </a:xfrm>
            <a:prstGeom prst="line">
              <a:avLst/>
            </a:prstGeom>
            <a:ln w="19050" cap="flat">
              <a:solidFill>
                <a:srgbClr val="002557"/>
              </a:solidFill>
              <a:prstDash val="solid"/>
              <a:miter/>
            </a:ln>
          </p:spPr>
        </p:cxnSp>
        <p:sp>
          <p:nvSpPr>
            <p:cNvPr id="180" name="TextBox 179">
              <a:extLst>
                <a:ext uri="{FF2B5EF4-FFF2-40B4-BE49-F238E27FC236}">
                  <a16:creationId xmlns:a16="http://schemas.microsoft.com/office/drawing/2014/main" id="{ED7948BD-084A-4042-8477-58FC213C7547}"/>
                </a:ext>
              </a:extLst>
            </p:cNvPr>
            <p:cNvSpPr txBox="1"/>
            <p:nvPr/>
          </p:nvSpPr>
          <p:spPr>
            <a:xfrm>
              <a:off x="9354525" y="5227672"/>
              <a:ext cx="341760" cy="430887"/>
            </a:xfrm>
            <a:prstGeom prst="rect">
              <a:avLst/>
            </a:prstGeom>
            <a:noFill/>
          </p:spPr>
          <p:txBody>
            <a:bodyPr rot="0" spcFirstLastPara="0" vertOverflow="overflow" horzOverflow="overflow" vert="horz" wrap="none" lIns="91440" tIns="45720" rIns="91440" bIns="45720" numCol="1" spcCol="0" rtlCol="0" fromWordArt="0" anchor="t" anchorCtr="0" forceAA="0" compatLnSpc="1">
              <a:prstTxWarp prst="textNoShape">
                <a:avLst/>
              </a:prstTxWarp>
              <a:spAutoFit/>
            </a:bodyPr>
            <a:lstStyle>
              <a:defPPr>
                <a:defRPr lang="en-US"/>
              </a:defPPr>
              <a:lvl1pPr>
                <a:defRPr sz="1200" b="1" spc="0" baseline="0">
                  <a:solidFill>
                    <a:schemeClr val="bg1"/>
                  </a:solidFill>
                  <a:latin typeface="+mj-lt"/>
                  <a:rtl val="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2557"/>
                  </a:solidFill>
                  <a:effectLst/>
                  <a:uLnTx/>
                  <a:uFillTx/>
                  <a:latin typeface="Arial" panose="020B0604020202020204"/>
                  <a:ea typeface="+mn-ea"/>
                  <a:cs typeface="+mn-cs"/>
                  <a:sym typeface="HelveticaNeue-Bold"/>
                  <a:rtl val="0"/>
                </a:rPr>
                <a:t>2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2557"/>
                  </a:solidFill>
                  <a:effectLst/>
                  <a:uLnTx/>
                  <a:uFillTx/>
                  <a:latin typeface="Arial" panose="020B0604020202020204"/>
                  <a:ea typeface="+mn-ea"/>
                  <a:cs typeface="+mn-cs"/>
                  <a:sym typeface="HelveticaNeue-Bold"/>
                  <a:rtl val="0"/>
                </a:rPr>
                <a:t>6</a:t>
              </a:r>
            </a:p>
          </p:txBody>
        </p:sp>
        <p:sp>
          <p:nvSpPr>
            <p:cNvPr id="181" name="TextBox 180">
              <a:extLst>
                <a:ext uri="{FF2B5EF4-FFF2-40B4-BE49-F238E27FC236}">
                  <a16:creationId xmlns:a16="http://schemas.microsoft.com/office/drawing/2014/main" id="{04A7CA22-831E-4A25-9FF5-34E188C23572}"/>
                </a:ext>
              </a:extLst>
            </p:cNvPr>
            <p:cNvSpPr txBox="1"/>
            <p:nvPr/>
          </p:nvSpPr>
          <p:spPr>
            <a:xfrm>
              <a:off x="6168398" y="4237656"/>
              <a:ext cx="1477109" cy="43088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defPPr>
                <a:defRPr lang="en-US"/>
              </a:defPPr>
              <a:lvl1pPr>
                <a:defRPr sz="1200" b="1" spc="0" baseline="0">
                  <a:solidFill>
                    <a:schemeClr val="bg1"/>
                  </a:solidFill>
                  <a:latin typeface="+mj-lt"/>
                  <a:rtl val="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002557"/>
                  </a:solidFill>
                  <a:effectLst/>
                  <a:uLnTx/>
                  <a:uFillTx/>
                  <a:latin typeface="Arial" panose="020B0604020202020204"/>
                  <a:ea typeface="+mn-ea"/>
                  <a:cs typeface="+mn-cs"/>
                  <a:sym typeface="HelveticaNeue-Bold"/>
                  <a:rtl val="0"/>
                </a:rPr>
                <a:t>T300+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002557"/>
                  </a:solidFill>
                  <a:effectLst/>
                  <a:uLnTx/>
                  <a:uFillTx/>
                  <a:latin typeface="Arial" panose="020B0604020202020204"/>
                  <a:ea typeface="+mn-ea"/>
                  <a:cs typeface="+mn-cs"/>
                  <a:sym typeface="HelveticaNeue-Bold"/>
                  <a:rtl val="0"/>
                </a:rPr>
                <a:t>Sorafenib</a:t>
              </a:r>
            </a:p>
          </p:txBody>
        </p:sp>
        <p:cxnSp>
          <p:nvCxnSpPr>
            <p:cNvPr id="182" name="Straight Connector 181">
              <a:extLst>
                <a:ext uri="{FF2B5EF4-FFF2-40B4-BE49-F238E27FC236}">
                  <a16:creationId xmlns:a16="http://schemas.microsoft.com/office/drawing/2014/main" id="{D46ACC50-7E2C-43B9-8679-25753FD69F18}"/>
                </a:ext>
              </a:extLst>
            </p:cNvPr>
            <p:cNvCxnSpPr/>
            <p:nvPr/>
          </p:nvCxnSpPr>
          <p:spPr>
            <a:xfrm flipH="1">
              <a:off x="5870612" y="4364962"/>
              <a:ext cx="335756" cy="0"/>
            </a:xfrm>
            <a:prstGeom prst="line">
              <a:avLst/>
            </a:prstGeom>
            <a:noFill/>
            <a:ln w="28575" cap="flat">
              <a:solidFill>
                <a:srgbClr val="4472C4"/>
              </a:solidFill>
              <a:prstDash val="solid"/>
              <a:miter/>
            </a:ln>
          </p:spPr>
        </p:cxnSp>
        <p:cxnSp>
          <p:nvCxnSpPr>
            <p:cNvPr id="184" name="Straight Connector 183">
              <a:extLst>
                <a:ext uri="{FF2B5EF4-FFF2-40B4-BE49-F238E27FC236}">
                  <a16:creationId xmlns:a16="http://schemas.microsoft.com/office/drawing/2014/main" id="{DE1CD4A3-427B-4D4F-8F94-CF89612FB99A}"/>
                </a:ext>
              </a:extLst>
            </p:cNvPr>
            <p:cNvCxnSpPr>
              <a:cxnSpLocks/>
            </p:cNvCxnSpPr>
            <p:nvPr/>
          </p:nvCxnSpPr>
          <p:spPr>
            <a:xfrm flipH="1">
              <a:off x="5870612" y="4532840"/>
              <a:ext cx="335756" cy="0"/>
            </a:xfrm>
            <a:prstGeom prst="line">
              <a:avLst/>
            </a:prstGeom>
            <a:ln w="28575" cap="flat">
              <a:solidFill>
                <a:srgbClr val="830051"/>
              </a:solidFill>
              <a:prstDash val="solid"/>
              <a:miter/>
            </a:ln>
          </p:spPr>
        </p:cxnSp>
        <p:sp>
          <p:nvSpPr>
            <p:cNvPr id="203" name="Freeform: Shape 202">
              <a:extLst>
                <a:ext uri="{FF2B5EF4-FFF2-40B4-BE49-F238E27FC236}">
                  <a16:creationId xmlns:a16="http://schemas.microsoft.com/office/drawing/2014/main" id="{EFF8BBC9-D462-45DA-A797-131EF55025B8}"/>
                </a:ext>
              </a:extLst>
            </p:cNvPr>
            <p:cNvSpPr/>
            <p:nvPr/>
          </p:nvSpPr>
          <p:spPr>
            <a:xfrm>
              <a:off x="6130930" y="2808719"/>
              <a:ext cx="22746" cy="92236"/>
            </a:xfrm>
            <a:custGeom>
              <a:avLst/>
              <a:gdLst>
                <a:gd name="connsiteX0" fmla="*/ 0 w 22746"/>
                <a:gd name="connsiteY0" fmla="*/ 0 h 92236"/>
                <a:gd name="connsiteX1" fmla="*/ 0 w 22746"/>
                <a:gd name="connsiteY1" fmla="*/ 92237 h 92236"/>
              </a:gdLst>
              <a:ahLst/>
              <a:cxnLst>
                <a:cxn ang="0">
                  <a:pos x="connsiteX0" y="connsiteY0"/>
                </a:cxn>
                <a:cxn ang="0">
                  <a:pos x="connsiteX1" y="connsiteY1"/>
                </a:cxn>
              </a:cxnLst>
              <a:rect l="l" t="t" r="r" b="b"/>
              <a:pathLst>
                <a:path w="22746" h="92236">
                  <a:moveTo>
                    <a:pt x="0" y="0"/>
                  </a:moveTo>
                  <a:lnTo>
                    <a:pt x="0" y="92237"/>
                  </a:lnTo>
                </a:path>
              </a:pathLst>
            </a:custGeom>
            <a:ln w="28575"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204" name="Freeform: Shape 203">
              <a:extLst>
                <a:ext uri="{FF2B5EF4-FFF2-40B4-BE49-F238E27FC236}">
                  <a16:creationId xmlns:a16="http://schemas.microsoft.com/office/drawing/2014/main" id="{25ABA540-E6D6-4497-90C4-D78C48DB75D1}"/>
                </a:ext>
              </a:extLst>
            </p:cNvPr>
            <p:cNvSpPr/>
            <p:nvPr/>
          </p:nvSpPr>
          <p:spPr>
            <a:xfrm>
              <a:off x="6749856" y="3899264"/>
              <a:ext cx="22746" cy="92236"/>
            </a:xfrm>
            <a:custGeom>
              <a:avLst/>
              <a:gdLst>
                <a:gd name="connsiteX0" fmla="*/ 0 w 22746"/>
                <a:gd name="connsiteY0" fmla="*/ 0 h 92236"/>
                <a:gd name="connsiteX1" fmla="*/ 0 w 22746"/>
                <a:gd name="connsiteY1" fmla="*/ 92237 h 92236"/>
              </a:gdLst>
              <a:ahLst/>
              <a:cxnLst>
                <a:cxn ang="0">
                  <a:pos x="connsiteX0" y="connsiteY0"/>
                </a:cxn>
                <a:cxn ang="0">
                  <a:pos x="connsiteX1" y="connsiteY1"/>
                </a:cxn>
              </a:cxnLst>
              <a:rect l="l" t="t" r="r" b="b"/>
              <a:pathLst>
                <a:path w="22746" h="92236">
                  <a:moveTo>
                    <a:pt x="0" y="0"/>
                  </a:moveTo>
                  <a:lnTo>
                    <a:pt x="0" y="92237"/>
                  </a:lnTo>
                </a:path>
              </a:pathLst>
            </a:custGeom>
            <a:ln w="28575"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205" name="Freeform: Shape 204">
              <a:extLst>
                <a:ext uri="{FF2B5EF4-FFF2-40B4-BE49-F238E27FC236}">
                  <a16:creationId xmlns:a16="http://schemas.microsoft.com/office/drawing/2014/main" id="{592FAA36-6082-4494-8AAB-61EB7FCAA85F}"/>
                </a:ext>
              </a:extLst>
            </p:cNvPr>
            <p:cNvSpPr/>
            <p:nvPr/>
          </p:nvSpPr>
          <p:spPr>
            <a:xfrm>
              <a:off x="6951388" y="4029188"/>
              <a:ext cx="22746" cy="92236"/>
            </a:xfrm>
            <a:custGeom>
              <a:avLst/>
              <a:gdLst>
                <a:gd name="connsiteX0" fmla="*/ 0 w 22746"/>
                <a:gd name="connsiteY0" fmla="*/ 0 h 92236"/>
                <a:gd name="connsiteX1" fmla="*/ 0 w 22746"/>
                <a:gd name="connsiteY1" fmla="*/ 92237 h 92236"/>
              </a:gdLst>
              <a:ahLst/>
              <a:cxnLst>
                <a:cxn ang="0">
                  <a:pos x="connsiteX0" y="connsiteY0"/>
                </a:cxn>
                <a:cxn ang="0">
                  <a:pos x="connsiteX1" y="connsiteY1"/>
                </a:cxn>
              </a:cxnLst>
              <a:rect l="l" t="t" r="r" b="b"/>
              <a:pathLst>
                <a:path w="22746" h="92236">
                  <a:moveTo>
                    <a:pt x="0" y="0"/>
                  </a:moveTo>
                  <a:lnTo>
                    <a:pt x="0" y="92237"/>
                  </a:lnTo>
                </a:path>
              </a:pathLst>
            </a:custGeom>
            <a:ln w="28575"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206" name="Freeform: Shape 205">
              <a:extLst>
                <a:ext uri="{FF2B5EF4-FFF2-40B4-BE49-F238E27FC236}">
                  <a16:creationId xmlns:a16="http://schemas.microsoft.com/office/drawing/2014/main" id="{75BF0F92-5BEC-4418-8853-6EC918C91D06}"/>
                </a:ext>
              </a:extLst>
            </p:cNvPr>
            <p:cNvSpPr/>
            <p:nvPr/>
          </p:nvSpPr>
          <p:spPr>
            <a:xfrm>
              <a:off x="7511173" y="4211111"/>
              <a:ext cx="22746" cy="92236"/>
            </a:xfrm>
            <a:custGeom>
              <a:avLst/>
              <a:gdLst>
                <a:gd name="connsiteX0" fmla="*/ 0 w 22746"/>
                <a:gd name="connsiteY0" fmla="*/ 0 h 92236"/>
                <a:gd name="connsiteX1" fmla="*/ 0 w 22746"/>
                <a:gd name="connsiteY1" fmla="*/ 92237 h 92236"/>
              </a:gdLst>
              <a:ahLst/>
              <a:cxnLst>
                <a:cxn ang="0">
                  <a:pos x="connsiteX0" y="connsiteY0"/>
                </a:cxn>
                <a:cxn ang="0">
                  <a:pos x="connsiteX1" y="connsiteY1"/>
                </a:cxn>
              </a:cxnLst>
              <a:rect l="l" t="t" r="r" b="b"/>
              <a:pathLst>
                <a:path w="22746" h="92236">
                  <a:moveTo>
                    <a:pt x="0" y="0"/>
                  </a:moveTo>
                  <a:lnTo>
                    <a:pt x="0" y="92237"/>
                  </a:lnTo>
                </a:path>
              </a:pathLst>
            </a:custGeom>
            <a:ln w="28575"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207" name="Freeform: Shape 206">
              <a:extLst>
                <a:ext uri="{FF2B5EF4-FFF2-40B4-BE49-F238E27FC236}">
                  <a16:creationId xmlns:a16="http://schemas.microsoft.com/office/drawing/2014/main" id="{D22976B3-10B7-421C-9873-1FE25CB9DDBF}"/>
                </a:ext>
              </a:extLst>
            </p:cNvPr>
            <p:cNvSpPr/>
            <p:nvPr/>
          </p:nvSpPr>
          <p:spPr>
            <a:xfrm>
              <a:off x="7852140" y="4266368"/>
              <a:ext cx="22746" cy="92236"/>
            </a:xfrm>
            <a:custGeom>
              <a:avLst/>
              <a:gdLst>
                <a:gd name="connsiteX0" fmla="*/ 0 w 22746"/>
                <a:gd name="connsiteY0" fmla="*/ 0 h 92236"/>
                <a:gd name="connsiteX1" fmla="*/ 0 w 22746"/>
                <a:gd name="connsiteY1" fmla="*/ 92236 h 92236"/>
              </a:gdLst>
              <a:ahLst/>
              <a:cxnLst>
                <a:cxn ang="0">
                  <a:pos x="connsiteX0" y="connsiteY0"/>
                </a:cxn>
                <a:cxn ang="0">
                  <a:pos x="connsiteX1" y="connsiteY1"/>
                </a:cxn>
              </a:cxnLst>
              <a:rect l="l" t="t" r="r" b="b"/>
              <a:pathLst>
                <a:path w="22746" h="92236">
                  <a:moveTo>
                    <a:pt x="0" y="0"/>
                  </a:moveTo>
                  <a:lnTo>
                    <a:pt x="0" y="92236"/>
                  </a:lnTo>
                </a:path>
              </a:pathLst>
            </a:custGeom>
            <a:ln w="28575"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208" name="Freeform: Shape 207">
              <a:extLst>
                <a:ext uri="{FF2B5EF4-FFF2-40B4-BE49-F238E27FC236}">
                  <a16:creationId xmlns:a16="http://schemas.microsoft.com/office/drawing/2014/main" id="{A1B15AC4-FC40-424B-AFE5-14744DF600AB}"/>
                </a:ext>
              </a:extLst>
            </p:cNvPr>
            <p:cNvSpPr/>
            <p:nvPr/>
          </p:nvSpPr>
          <p:spPr>
            <a:xfrm>
              <a:off x="8587527" y="4431997"/>
              <a:ext cx="22746" cy="92236"/>
            </a:xfrm>
            <a:custGeom>
              <a:avLst/>
              <a:gdLst>
                <a:gd name="connsiteX0" fmla="*/ 0 w 22746"/>
                <a:gd name="connsiteY0" fmla="*/ 0 h 92236"/>
                <a:gd name="connsiteX1" fmla="*/ 0 w 22746"/>
                <a:gd name="connsiteY1" fmla="*/ 92237 h 92236"/>
              </a:gdLst>
              <a:ahLst/>
              <a:cxnLst>
                <a:cxn ang="0">
                  <a:pos x="connsiteX0" y="connsiteY0"/>
                </a:cxn>
                <a:cxn ang="0">
                  <a:pos x="connsiteX1" y="connsiteY1"/>
                </a:cxn>
              </a:cxnLst>
              <a:rect l="l" t="t" r="r" b="b"/>
              <a:pathLst>
                <a:path w="22746" h="92236">
                  <a:moveTo>
                    <a:pt x="0" y="0"/>
                  </a:moveTo>
                  <a:lnTo>
                    <a:pt x="0" y="92237"/>
                  </a:lnTo>
                </a:path>
              </a:pathLst>
            </a:custGeom>
            <a:ln w="28575"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209" name="Freeform: Shape 208">
              <a:extLst>
                <a:ext uri="{FF2B5EF4-FFF2-40B4-BE49-F238E27FC236}">
                  <a16:creationId xmlns:a16="http://schemas.microsoft.com/office/drawing/2014/main" id="{6C74C702-3884-43C9-8BBC-65125C325060}"/>
                </a:ext>
              </a:extLst>
            </p:cNvPr>
            <p:cNvSpPr/>
            <p:nvPr/>
          </p:nvSpPr>
          <p:spPr>
            <a:xfrm>
              <a:off x="8872538" y="4431997"/>
              <a:ext cx="22746" cy="92236"/>
            </a:xfrm>
            <a:custGeom>
              <a:avLst/>
              <a:gdLst>
                <a:gd name="connsiteX0" fmla="*/ 0 w 22746"/>
                <a:gd name="connsiteY0" fmla="*/ 0 h 92236"/>
                <a:gd name="connsiteX1" fmla="*/ 0 w 22746"/>
                <a:gd name="connsiteY1" fmla="*/ 92237 h 92236"/>
              </a:gdLst>
              <a:ahLst/>
              <a:cxnLst>
                <a:cxn ang="0">
                  <a:pos x="connsiteX0" y="connsiteY0"/>
                </a:cxn>
                <a:cxn ang="0">
                  <a:pos x="connsiteX1" y="connsiteY1"/>
                </a:cxn>
              </a:cxnLst>
              <a:rect l="l" t="t" r="r" b="b"/>
              <a:pathLst>
                <a:path w="22746" h="92236">
                  <a:moveTo>
                    <a:pt x="0" y="0"/>
                  </a:moveTo>
                  <a:lnTo>
                    <a:pt x="0" y="92237"/>
                  </a:lnTo>
                </a:path>
              </a:pathLst>
            </a:custGeom>
            <a:ln w="28575"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210" name="Freeform: Shape 209">
              <a:extLst>
                <a:ext uri="{FF2B5EF4-FFF2-40B4-BE49-F238E27FC236}">
                  <a16:creationId xmlns:a16="http://schemas.microsoft.com/office/drawing/2014/main" id="{AFF176F3-2C91-4706-8032-D8B2B63A1D57}"/>
                </a:ext>
              </a:extLst>
            </p:cNvPr>
            <p:cNvSpPr/>
            <p:nvPr/>
          </p:nvSpPr>
          <p:spPr>
            <a:xfrm>
              <a:off x="9227152" y="4473227"/>
              <a:ext cx="22746" cy="92236"/>
            </a:xfrm>
            <a:custGeom>
              <a:avLst/>
              <a:gdLst>
                <a:gd name="connsiteX0" fmla="*/ 0 w 22746"/>
                <a:gd name="connsiteY0" fmla="*/ 0 h 92236"/>
                <a:gd name="connsiteX1" fmla="*/ 0 w 22746"/>
                <a:gd name="connsiteY1" fmla="*/ 92237 h 92236"/>
              </a:gdLst>
              <a:ahLst/>
              <a:cxnLst>
                <a:cxn ang="0">
                  <a:pos x="connsiteX0" y="connsiteY0"/>
                </a:cxn>
                <a:cxn ang="0">
                  <a:pos x="connsiteX1" y="connsiteY1"/>
                </a:cxn>
              </a:cxnLst>
              <a:rect l="l" t="t" r="r" b="b"/>
              <a:pathLst>
                <a:path w="22746" h="92236">
                  <a:moveTo>
                    <a:pt x="0" y="0"/>
                  </a:moveTo>
                  <a:lnTo>
                    <a:pt x="0" y="92237"/>
                  </a:lnTo>
                </a:path>
              </a:pathLst>
            </a:custGeom>
            <a:ln w="28575"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211" name="Freeform: Shape 210">
              <a:extLst>
                <a:ext uri="{FF2B5EF4-FFF2-40B4-BE49-F238E27FC236}">
                  <a16:creationId xmlns:a16="http://schemas.microsoft.com/office/drawing/2014/main" id="{3956FE3C-1248-4040-BAE1-423302B70B8A}"/>
                </a:ext>
              </a:extLst>
            </p:cNvPr>
            <p:cNvSpPr/>
            <p:nvPr/>
          </p:nvSpPr>
          <p:spPr>
            <a:xfrm>
              <a:off x="9592457" y="4513324"/>
              <a:ext cx="22746" cy="92094"/>
            </a:xfrm>
            <a:custGeom>
              <a:avLst/>
              <a:gdLst>
                <a:gd name="connsiteX0" fmla="*/ 0 w 22746"/>
                <a:gd name="connsiteY0" fmla="*/ 0 h 92094"/>
                <a:gd name="connsiteX1" fmla="*/ 0 w 22746"/>
                <a:gd name="connsiteY1" fmla="*/ 92095 h 92094"/>
              </a:gdLst>
              <a:ahLst/>
              <a:cxnLst>
                <a:cxn ang="0">
                  <a:pos x="connsiteX0" y="connsiteY0"/>
                </a:cxn>
                <a:cxn ang="0">
                  <a:pos x="connsiteX1" y="connsiteY1"/>
                </a:cxn>
              </a:cxnLst>
              <a:rect l="l" t="t" r="r" b="b"/>
              <a:pathLst>
                <a:path w="22746" h="92094">
                  <a:moveTo>
                    <a:pt x="0" y="0"/>
                  </a:moveTo>
                  <a:lnTo>
                    <a:pt x="0" y="92095"/>
                  </a:lnTo>
                </a:path>
              </a:pathLst>
            </a:custGeom>
            <a:ln w="28575"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212" name="Freeform: Shape 211">
              <a:extLst>
                <a:ext uri="{FF2B5EF4-FFF2-40B4-BE49-F238E27FC236}">
                  <a16:creationId xmlns:a16="http://schemas.microsoft.com/office/drawing/2014/main" id="{2E38DEFE-7C95-4B0F-8984-7652A97C082E}"/>
                </a:ext>
              </a:extLst>
            </p:cNvPr>
            <p:cNvSpPr/>
            <p:nvPr/>
          </p:nvSpPr>
          <p:spPr>
            <a:xfrm>
              <a:off x="9908858" y="4513324"/>
              <a:ext cx="22746" cy="92094"/>
            </a:xfrm>
            <a:custGeom>
              <a:avLst/>
              <a:gdLst>
                <a:gd name="connsiteX0" fmla="*/ 0 w 22746"/>
                <a:gd name="connsiteY0" fmla="*/ 0 h 92094"/>
                <a:gd name="connsiteX1" fmla="*/ 0 w 22746"/>
                <a:gd name="connsiteY1" fmla="*/ 92095 h 92094"/>
              </a:gdLst>
              <a:ahLst/>
              <a:cxnLst>
                <a:cxn ang="0">
                  <a:pos x="connsiteX0" y="connsiteY0"/>
                </a:cxn>
                <a:cxn ang="0">
                  <a:pos x="connsiteX1" y="connsiteY1"/>
                </a:cxn>
              </a:cxnLst>
              <a:rect l="l" t="t" r="r" b="b"/>
              <a:pathLst>
                <a:path w="22746" h="92094">
                  <a:moveTo>
                    <a:pt x="0" y="0"/>
                  </a:moveTo>
                  <a:lnTo>
                    <a:pt x="0" y="92095"/>
                  </a:lnTo>
                </a:path>
              </a:pathLst>
            </a:custGeom>
            <a:ln w="28575"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213" name="Freeform: Shape 212">
              <a:extLst>
                <a:ext uri="{FF2B5EF4-FFF2-40B4-BE49-F238E27FC236}">
                  <a16:creationId xmlns:a16="http://schemas.microsoft.com/office/drawing/2014/main" id="{28167E27-0C7B-4224-BC66-C4D95248365E}"/>
                </a:ext>
              </a:extLst>
            </p:cNvPr>
            <p:cNvSpPr/>
            <p:nvPr/>
          </p:nvSpPr>
          <p:spPr>
            <a:xfrm>
              <a:off x="9253310" y="4499155"/>
              <a:ext cx="22746" cy="92236"/>
            </a:xfrm>
            <a:custGeom>
              <a:avLst/>
              <a:gdLst>
                <a:gd name="connsiteX0" fmla="*/ 0 w 22746"/>
                <a:gd name="connsiteY0" fmla="*/ 0 h 92236"/>
                <a:gd name="connsiteX1" fmla="*/ 0 w 22746"/>
                <a:gd name="connsiteY1" fmla="*/ 92237 h 92236"/>
              </a:gdLst>
              <a:ahLst/>
              <a:cxnLst>
                <a:cxn ang="0">
                  <a:pos x="connsiteX0" y="connsiteY0"/>
                </a:cxn>
                <a:cxn ang="0">
                  <a:pos x="connsiteX1" y="connsiteY1"/>
                </a:cxn>
              </a:cxnLst>
              <a:rect l="l" t="t" r="r" b="b"/>
              <a:pathLst>
                <a:path w="22746" h="92236">
                  <a:moveTo>
                    <a:pt x="0" y="0"/>
                  </a:moveTo>
                  <a:lnTo>
                    <a:pt x="0" y="92237"/>
                  </a:lnTo>
                </a:path>
              </a:pathLst>
            </a:custGeom>
            <a:ln w="28575"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214" name="Freeform: Shape 213">
              <a:extLst>
                <a:ext uri="{FF2B5EF4-FFF2-40B4-BE49-F238E27FC236}">
                  <a16:creationId xmlns:a16="http://schemas.microsoft.com/office/drawing/2014/main" id="{C160AA3D-AADF-4646-B566-9F54D1F53591}"/>
                </a:ext>
              </a:extLst>
            </p:cNvPr>
            <p:cNvSpPr/>
            <p:nvPr/>
          </p:nvSpPr>
          <p:spPr>
            <a:xfrm>
              <a:off x="5804976" y="1910865"/>
              <a:ext cx="4140503" cy="2745843"/>
            </a:xfrm>
            <a:custGeom>
              <a:avLst/>
              <a:gdLst>
                <a:gd name="connsiteX0" fmla="*/ 0 w 4140503"/>
                <a:gd name="connsiteY0" fmla="*/ 0 h 2745843"/>
                <a:gd name="connsiteX1" fmla="*/ 8871 w 4140503"/>
                <a:gd name="connsiteY1" fmla="*/ 0 h 2745843"/>
                <a:gd name="connsiteX2" fmla="*/ 8871 w 4140503"/>
                <a:gd name="connsiteY2" fmla="*/ 15160 h 2745843"/>
                <a:gd name="connsiteX3" fmla="*/ 27978 w 4140503"/>
                <a:gd name="connsiteY3" fmla="*/ 15160 h 2745843"/>
                <a:gd name="connsiteX4" fmla="*/ 27978 w 4140503"/>
                <a:gd name="connsiteY4" fmla="*/ 31454 h 2745843"/>
                <a:gd name="connsiteX5" fmla="*/ 42763 w 4140503"/>
                <a:gd name="connsiteY5" fmla="*/ 31454 h 2745843"/>
                <a:gd name="connsiteX6" fmla="*/ 42763 w 4140503"/>
                <a:gd name="connsiteY6" fmla="*/ 43355 h 2745843"/>
                <a:gd name="connsiteX7" fmla="*/ 67784 w 4140503"/>
                <a:gd name="connsiteY7" fmla="*/ 43355 h 2745843"/>
                <a:gd name="connsiteX8" fmla="*/ 67784 w 4140503"/>
                <a:gd name="connsiteY8" fmla="*/ 80618 h 2745843"/>
                <a:gd name="connsiteX9" fmla="*/ 89620 w 4140503"/>
                <a:gd name="connsiteY9" fmla="*/ 80618 h 2745843"/>
                <a:gd name="connsiteX10" fmla="*/ 89620 w 4140503"/>
                <a:gd name="connsiteY10" fmla="*/ 92662 h 2745843"/>
                <a:gd name="connsiteX11" fmla="*/ 108727 w 4140503"/>
                <a:gd name="connsiteY11" fmla="*/ 92662 h 2745843"/>
                <a:gd name="connsiteX12" fmla="*/ 108727 w 4140503"/>
                <a:gd name="connsiteY12" fmla="*/ 133750 h 2745843"/>
                <a:gd name="connsiteX13" fmla="*/ 125332 w 4140503"/>
                <a:gd name="connsiteY13" fmla="*/ 133750 h 2745843"/>
                <a:gd name="connsiteX14" fmla="*/ 125332 w 4140503"/>
                <a:gd name="connsiteY14" fmla="*/ 168321 h 2745843"/>
                <a:gd name="connsiteX15" fmla="*/ 141027 w 4140503"/>
                <a:gd name="connsiteY15" fmla="*/ 168321 h 2745843"/>
                <a:gd name="connsiteX16" fmla="*/ 141027 w 4140503"/>
                <a:gd name="connsiteY16" fmla="*/ 212810 h 2745843"/>
                <a:gd name="connsiteX17" fmla="*/ 160816 w 4140503"/>
                <a:gd name="connsiteY17" fmla="*/ 212810 h 2745843"/>
                <a:gd name="connsiteX18" fmla="*/ 160816 w 4140503"/>
                <a:gd name="connsiteY18" fmla="*/ 225278 h 2745843"/>
                <a:gd name="connsiteX19" fmla="*/ 178331 w 4140503"/>
                <a:gd name="connsiteY19" fmla="*/ 225278 h 2745843"/>
                <a:gd name="connsiteX20" fmla="*/ 178331 w 4140503"/>
                <a:gd name="connsiteY20" fmla="*/ 275576 h 2745843"/>
                <a:gd name="connsiteX21" fmla="*/ 191296 w 4140503"/>
                <a:gd name="connsiteY21" fmla="*/ 275576 h 2745843"/>
                <a:gd name="connsiteX22" fmla="*/ 191296 w 4140503"/>
                <a:gd name="connsiteY22" fmla="*/ 378014 h 2745843"/>
                <a:gd name="connsiteX23" fmla="*/ 208811 w 4140503"/>
                <a:gd name="connsiteY23" fmla="*/ 378014 h 2745843"/>
                <a:gd name="connsiteX24" fmla="*/ 208811 w 4140503"/>
                <a:gd name="connsiteY24" fmla="*/ 636305 h 2745843"/>
                <a:gd name="connsiteX25" fmla="*/ 225188 w 4140503"/>
                <a:gd name="connsiteY25" fmla="*/ 636305 h 2745843"/>
                <a:gd name="connsiteX26" fmla="*/ 225188 w 4140503"/>
                <a:gd name="connsiteY26" fmla="*/ 806751 h 2745843"/>
                <a:gd name="connsiteX27" fmla="*/ 240883 w 4140503"/>
                <a:gd name="connsiteY27" fmla="*/ 806751 h 2745843"/>
                <a:gd name="connsiteX28" fmla="*/ 240883 w 4140503"/>
                <a:gd name="connsiteY28" fmla="*/ 861441 h 2745843"/>
                <a:gd name="connsiteX29" fmla="*/ 262719 w 4140503"/>
                <a:gd name="connsiteY29" fmla="*/ 861441 h 2745843"/>
                <a:gd name="connsiteX30" fmla="*/ 262719 w 4140503"/>
                <a:gd name="connsiteY30" fmla="*/ 884819 h 2745843"/>
                <a:gd name="connsiteX31" fmla="*/ 275685 w 4140503"/>
                <a:gd name="connsiteY31" fmla="*/ 884819 h 2745843"/>
                <a:gd name="connsiteX32" fmla="*/ 275685 w 4140503"/>
                <a:gd name="connsiteY32" fmla="*/ 900971 h 2745843"/>
                <a:gd name="connsiteX33" fmla="*/ 298204 w 4140503"/>
                <a:gd name="connsiteY33" fmla="*/ 900971 h 2745843"/>
                <a:gd name="connsiteX34" fmla="*/ 298204 w 4140503"/>
                <a:gd name="connsiteY34" fmla="*/ 916131 h 2745843"/>
                <a:gd name="connsiteX35" fmla="*/ 312989 w 4140503"/>
                <a:gd name="connsiteY35" fmla="*/ 916131 h 2745843"/>
                <a:gd name="connsiteX36" fmla="*/ 312989 w 4140503"/>
                <a:gd name="connsiteY36" fmla="*/ 931858 h 2745843"/>
                <a:gd name="connsiteX37" fmla="*/ 327774 w 4140503"/>
                <a:gd name="connsiteY37" fmla="*/ 931858 h 2745843"/>
                <a:gd name="connsiteX38" fmla="*/ 327774 w 4140503"/>
                <a:gd name="connsiteY38" fmla="*/ 952403 h 2745843"/>
                <a:gd name="connsiteX39" fmla="*/ 359846 w 4140503"/>
                <a:gd name="connsiteY39" fmla="*/ 952403 h 2745843"/>
                <a:gd name="connsiteX40" fmla="*/ 359846 w 4140503"/>
                <a:gd name="connsiteY40" fmla="*/ 966571 h 2745843"/>
                <a:gd name="connsiteX41" fmla="*/ 382592 w 4140503"/>
                <a:gd name="connsiteY41" fmla="*/ 966571 h 2745843"/>
                <a:gd name="connsiteX42" fmla="*/ 382592 w 4140503"/>
                <a:gd name="connsiteY42" fmla="*/ 977906 h 2745843"/>
                <a:gd name="connsiteX43" fmla="*/ 412162 w 4140503"/>
                <a:gd name="connsiteY43" fmla="*/ 977906 h 2745843"/>
                <a:gd name="connsiteX44" fmla="*/ 412162 w 4140503"/>
                <a:gd name="connsiteY44" fmla="*/ 992499 h 2745843"/>
                <a:gd name="connsiteX45" fmla="*/ 431269 w 4140503"/>
                <a:gd name="connsiteY45" fmla="*/ 992499 h 2745843"/>
                <a:gd name="connsiteX46" fmla="*/ 431269 w 4140503"/>
                <a:gd name="connsiteY46" fmla="*/ 1158695 h 2745843"/>
                <a:gd name="connsiteX47" fmla="*/ 450376 w 4140503"/>
                <a:gd name="connsiteY47" fmla="*/ 1158695 h 2745843"/>
                <a:gd name="connsiteX48" fmla="*/ 450376 w 4140503"/>
                <a:gd name="connsiteY48" fmla="*/ 1282669 h 2745843"/>
                <a:gd name="connsiteX49" fmla="*/ 464251 w 4140503"/>
                <a:gd name="connsiteY49" fmla="*/ 1282669 h 2745843"/>
                <a:gd name="connsiteX50" fmla="*/ 464251 w 4140503"/>
                <a:gd name="connsiteY50" fmla="*/ 1356912 h 2745843"/>
                <a:gd name="connsiteX51" fmla="*/ 496324 w 4140503"/>
                <a:gd name="connsiteY51" fmla="*/ 1356912 h 2745843"/>
                <a:gd name="connsiteX52" fmla="*/ 496324 w 4140503"/>
                <a:gd name="connsiteY52" fmla="*/ 1374197 h 2745843"/>
                <a:gd name="connsiteX53" fmla="*/ 514748 w 4140503"/>
                <a:gd name="connsiteY53" fmla="*/ 1374197 h 2745843"/>
                <a:gd name="connsiteX54" fmla="*/ 514748 w 4140503"/>
                <a:gd name="connsiteY54" fmla="*/ 1382415 h 2745843"/>
                <a:gd name="connsiteX55" fmla="*/ 532945 w 4140503"/>
                <a:gd name="connsiteY55" fmla="*/ 1382415 h 2745843"/>
                <a:gd name="connsiteX56" fmla="*/ 532945 w 4140503"/>
                <a:gd name="connsiteY56" fmla="*/ 1402959 h 2745843"/>
                <a:gd name="connsiteX57" fmla="*/ 555464 w 4140503"/>
                <a:gd name="connsiteY57" fmla="*/ 1402959 h 2745843"/>
                <a:gd name="connsiteX58" fmla="*/ 555464 w 4140503"/>
                <a:gd name="connsiteY58" fmla="*/ 1415427 h 2745843"/>
                <a:gd name="connsiteX59" fmla="*/ 570249 w 4140503"/>
                <a:gd name="connsiteY59" fmla="*/ 1415427 h 2745843"/>
                <a:gd name="connsiteX60" fmla="*/ 570249 w 4140503"/>
                <a:gd name="connsiteY60" fmla="*/ 1424637 h 2745843"/>
                <a:gd name="connsiteX61" fmla="*/ 581622 w 4140503"/>
                <a:gd name="connsiteY61" fmla="*/ 1424637 h 2745843"/>
                <a:gd name="connsiteX62" fmla="*/ 581622 w 4140503"/>
                <a:gd name="connsiteY62" fmla="*/ 1440789 h 2745843"/>
                <a:gd name="connsiteX63" fmla="*/ 600729 w 4140503"/>
                <a:gd name="connsiteY63" fmla="*/ 1440789 h 2745843"/>
                <a:gd name="connsiteX64" fmla="*/ 600729 w 4140503"/>
                <a:gd name="connsiteY64" fmla="*/ 1450565 h 2745843"/>
                <a:gd name="connsiteX65" fmla="*/ 616424 w 4140503"/>
                <a:gd name="connsiteY65" fmla="*/ 1450565 h 2745843"/>
                <a:gd name="connsiteX66" fmla="*/ 616424 w 4140503"/>
                <a:gd name="connsiteY66" fmla="*/ 1459208 h 2745843"/>
                <a:gd name="connsiteX67" fmla="*/ 640762 w 4140503"/>
                <a:gd name="connsiteY67" fmla="*/ 1459208 h 2745843"/>
                <a:gd name="connsiteX68" fmla="*/ 640762 w 4140503"/>
                <a:gd name="connsiteY68" fmla="*/ 1486411 h 2745843"/>
                <a:gd name="connsiteX69" fmla="*/ 656457 w 4140503"/>
                <a:gd name="connsiteY69" fmla="*/ 1486411 h 2745843"/>
                <a:gd name="connsiteX70" fmla="*/ 656457 w 4140503"/>
                <a:gd name="connsiteY70" fmla="*/ 1511206 h 2745843"/>
                <a:gd name="connsiteX71" fmla="*/ 671925 w 4140503"/>
                <a:gd name="connsiteY71" fmla="*/ 1511206 h 2745843"/>
                <a:gd name="connsiteX72" fmla="*/ 671925 w 4140503"/>
                <a:gd name="connsiteY72" fmla="*/ 1644956 h 2745843"/>
                <a:gd name="connsiteX73" fmla="*/ 688530 w 4140503"/>
                <a:gd name="connsiteY73" fmla="*/ 1644956 h 2745843"/>
                <a:gd name="connsiteX74" fmla="*/ 688530 w 4140503"/>
                <a:gd name="connsiteY74" fmla="*/ 1728408 h 2745843"/>
                <a:gd name="connsiteX75" fmla="*/ 699903 w 4140503"/>
                <a:gd name="connsiteY75" fmla="*/ 1728408 h 2745843"/>
                <a:gd name="connsiteX76" fmla="*/ 699903 w 4140503"/>
                <a:gd name="connsiteY76" fmla="*/ 1763546 h 2745843"/>
                <a:gd name="connsiteX77" fmla="*/ 721512 w 4140503"/>
                <a:gd name="connsiteY77" fmla="*/ 1763546 h 2745843"/>
                <a:gd name="connsiteX78" fmla="*/ 721512 w 4140503"/>
                <a:gd name="connsiteY78" fmla="*/ 1772755 h 2745843"/>
                <a:gd name="connsiteX79" fmla="*/ 738116 w 4140503"/>
                <a:gd name="connsiteY79" fmla="*/ 1772755 h 2745843"/>
                <a:gd name="connsiteX80" fmla="*/ 738116 w 4140503"/>
                <a:gd name="connsiteY80" fmla="*/ 1787349 h 2745843"/>
                <a:gd name="connsiteX81" fmla="*/ 776330 w 4140503"/>
                <a:gd name="connsiteY81" fmla="*/ 1787349 h 2745843"/>
                <a:gd name="connsiteX82" fmla="*/ 776330 w 4140503"/>
                <a:gd name="connsiteY82" fmla="*/ 1798683 h 2745843"/>
                <a:gd name="connsiteX83" fmla="*/ 809312 w 4140503"/>
                <a:gd name="connsiteY83" fmla="*/ 1798683 h 2745843"/>
                <a:gd name="connsiteX84" fmla="*/ 809312 w 4140503"/>
                <a:gd name="connsiteY84" fmla="*/ 1813419 h 2745843"/>
                <a:gd name="connsiteX85" fmla="*/ 860719 w 4140503"/>
                <a:gd name="connsiteY85" fmla="*/ 1813419 h 2745843"/>
                <a:gd name="connsiteX86" fmla="*/ 860719 w 4140503"/>
                <a:gd name="connsiteY86" fmla="*/ 1826879 h 2745843"/>
                <a:gd name="connsiteX87" fmla="*/ 886877 w 4140503"/>
                <a:gd name="connsiteY87" fmla="*/ 1826879 h 2745843"/>
                <a:gd name="connsiteX88" fmla="*/ 886877 w 4140503"/>
                <a:gd name="connsiteY88" fmla="*/ 1894604 h 2745843"/>
                <a:gd name="connsiteX89" fmla="*/ 905756 w 4140503"/>
                <a:gd name="connsiteY89" fmla="*/ 1894604 h 2745843"/>
                <a:gd name="connsiteX90" fmla="*/ 905756 w 4140503"/>
                <a:gd name="connsiteY90" fmla="*/ 1995341 h 2745843"/>
                <a:gd name="connsiteX91" fmla="*/ 931915 w 4140503"/>
                <a:gd name="connsiteY91" fmla="*/ 1995341 h 2745843"/>
                <a:gd name="connsiteX92" fmla="*/ 931915 w 4140503"/>
                <a:gd name="connsiteY92" fmla="*/ 2032746 h 2745843"/>
                <a:gd name="connsiteX93" fmla="*/ 988553 w 4140503"/>
                <a:gd name="connsiteY93" fmla="*/ 2032746 h 2745843"/>
                <a:gd name="connsiteX94" fmla="*/ 988553 w 4140503"/>
                <a:gd name="connsiteY94" fmla="*/ 2050032 h 2745843"/>
                <a:gd name="connsiteX95" fmla="*/ 1044054 w 4140503"/>
                <a:gd name="connsiteY95" fmla="*/ 2050032 h 2745843"/>
                <a:gd name="connsiteX96" fmla="*/ 1044054 w 4140503"/>
                <a:gd name="connsiteY96" fmla="*/ 2059241 h 2745843"/>
                <a:gd name="connsiteX97" fmla="*/ 1113657 w 4140503"/>
                <a:gd name="connsiteY97" fmla="*/ 2059241 h 2745843"/>
                <a:gd name="connsiteX98" fmla="*/ 1113657 w 4140503"/>
                <a:gd name="connsiteY98" fmla="*/ 2101463 h 2745843"/>
                <a:gd name="connsiteX99" fmla="*/ 1129352 w 4140503"/>
                <a:gd name="connsiteY99" fmla="*/ 2101463 h 2745843"/>
                <a:gd name="connsiteX100" fmla="*/ 1129352 w 4140503"/>
                <a:gd name="connsiteY100" fmla="*/ 2124699 h 2745843"/>
                <a:gd name="connsiteX101" fmla="*/ 1145730 w 4140503"/>
                <a:gd name="connsiteY101" fmla="*/ 2124699 h 2745843"/>
                <a:gd name="connsiteX102" fmla="*/ 1145730 w 4140503"/>
                <a:gd name="connsiteY102" fmla="*/ 2163663 h 2745843"/>
                <a:gd name="connsiteX103" fmla="*/ 1304953 w 4140503"/>
                <a:gd name="connsiteY103" fmla="*/ 2163663 h 2745843"/>
                <a:gd name="connsiteX104" fmla="*/ 1304953 w 4140503"/>
                <a:gd name="connsiteY104" fmla="*/ 2177264 h 2745843"/>
                <a:gd name="connsiteX105" fmla="*/ 1347489 w 4140503"/>
                <a:gd name="connsiteY105" fmla="*/ 2177264 h 2745843"/>
                <a:gd name="connsiteX106" fmla="*/ 1347489 w 4140503"/>
                <a:gd name="connsiteY106" fmla="*/ 2189166 h 2745843"/>
                <a:gd name="connsiteX107" fmla="*/ 1364094 w 4140503"/>
                <a:gd name="connsiteY107" fmla="*/ 2189166 h 2745843"/>
                <a:gd name="connsiteX108" fmla="*/ 1364094 w 4140503"/>
                <a:gd name="connsiteY108" fmla="*/ 2253066 h 2745843"/>
                <a:gd name="connsiteX109" fmla="*/ 1390934 w 4140503"/>
                <a:gd name="connsiteY109" fmla="*/ 2253066 h 2745843"/>
                <a:gd name="connsiteX110" fmla="*/ 1390934 w 4140503"/>
                <a:gd name="connsiteY110" fmla="*/ 2267659 h 2745843"/>
                <a:gd name="connsiteX111" fmla="*/ 1432788 w 4140503"/>
                <a:gd name="connsiteY111" fmla="*/ 2267659 h 2745843"/>
                <a:gd name="connsiteX112" fmla="*/ 1432788 w 4140503"/>
                <a:gd name="connsiteY112" fmla="*/ 2280127 h 2745843"/>
                <a:gd name="connsiteX113" fmla="*/ 1573587 w 4140503"/>
                <a:gd name="connsiteY113" fmla="*/ 2280127 h 2745843"/>
                <a:gd name="connsiteX114" fmla="*/ 1573587 w 4140503"/>
                <a:gd name="connsiteY114" fmla="*/ 2294154 h 2745843"/>
                <a:gd name="connsiteX115" fmla="*/ 1607479 w 4140503"/>
                <a:gd name="connsiteY115" fmla="*/ 2294154 h 2745843"/>
                <a:gd name="connsiteX116" fmla="*/ 1607479 w 4140503"/>
                <a:gd name="connsiteY116" fmla="*/ 2307189 h 2745843"/>
                <a:gd name="connsiteX117" fmla="*/ 1708245 w 4140503"/>
                <a:gd name="connsiteY117" fmla="*/ 2307189 h 2745843"/>
                <a:gd name="connsiteX118" fmla="*/ 1708245 w 4140503"/>
                <a:gd name="connsiteY118" fmla="*/ 2348844 h 2745843"/>
                <a:gd name="connsiteX119" fmla="*/ 1708245 w 4140503"/>
                <a:gd name="connsiteY119" fmla="*/ 2361312 h 2745843"/>
                <a:gd name="connsiteX120" fmla="*/ 1793543 w 4140503"/>
                <a:gd name="connsiteY120" fmla="*/ 2361312 h 2745843"/>
                <a:gd name="connsiteX121" fmla="*/ 1793543 w 4140503"/>
                <a:gd name="connsiteY121" fmla="*/ 2373214 h 2745843"/>
                <a:gd name="connsiteX122" fmla="*/ 1822886 w 4140503"/>
                <a:gd name="connsiteY122" fmla="*/ 2373214 h 2745843"/>
                <a:gd name="connsiteX123" fmla="*/ 1822886 w 4140503"/>
                <a:gd name="connsiteY123" fmla="*/ 2382990 h 2745843"/>
                <a:gd name="connsiteX124" fmla="*/ 2016002 w 4140503"/>
                <a:gd name="connsiteY124" fmla="*/ 2382990 h 2745843"/>
                <a:gd name="connsiteX125" fmla="*/ 2016002 w 4140503"/>
                <a:gd name="connsiteY125" fmla="*/ 2398717 h 2745843"/>
                <a:gd name="connsiteX126" fmla="*/ 2045572 w 4140503"/>
                <a:gd name="connsiteY126" fmla="*/ 2398717 h 2745843"/>
                <a:gd name="connsiteX127" fmla="*/ 2045572 w 4140503"/>
                <a:gd name="connsiteY127" fmla="*/ 2440372 h 2745843"/>
                <a:gd name="connsiteX128" fmla="*/ 2071503 w 4140503"/>
                <a:gd name="connsiteY128" fmla="*/ 2440372 h 2745843"/>
                <a:gd name="connsiteX129" fmla="*/ 2071503 w 4140503"/>
                <a:gd name="connsiteY129" fmla="*/ 2449582 h 2745843"/>
                <a:gd name="connsiteX130" fmla="*/ 2267121 w 4140503"/>
                <a:gd name="connsiteY130" fmla="*/ 2449582 h 2745843"/>
                <a:gd name="connsiteX131" fmla="*/ 2267121 w 4140503"/>
                <a:gd name="connsiteY131" fmla="*/ 2467009 h 2745843"/>
                <a:gd name="connsiteX132" fmla="*/ 2374028 w 4140503"/>
                <a:gd name="connsiteY132" fmla="*/ 2467009 h 2745843"/>
                <a:gd name="connsiteX133" fmla="*/ 2374028 w 4140503"/>
                <a:gd name="connsiteY133" fmla="*/ 2474518 h 2745843"/>
                <a:gd name="connsiteX134" fmla="*/ 2383582 w 4140503"/>
                <a:gd name="connsiteY134" fmla="*/ 2474518 h 2745843"/>
                <a:gd name="connsiteX135" fmla="*/ 2383582 w 4140503"/>
                <a:gd name="connsiteY135" fmla="*/ 2505405 h 2745843"/>
                <a:gd name="connsiteX136" fmla="*/ 2508914 w 4140503"/>
                <a:gd name="connsiteY136" fmla="*/ 2505405 h 2745843"/>
                <a:gd name="connsiteX137" fmla="*/ 2508914 w 4140503"/>
                <a:gd name="connsiteY137" fmla="*/ 2520566 h 2745843"/>
                <a:gd name="connsiteX138" fmla="*/ 2587843 w 4140503"/>
                <a:gd name="connsiteY138" fmla="*/ 2520566 h 2745843"/>
                <a:gd name="connsiteX139" fmla="*/ 2587843 w 4140503"/>
                <a:gd name="connsiteY139" fmla="*/ 2527650 h 2745843"/>
                <a:gd name="connsiteX140" fmla="*/ 2733192 w 4140503"/>
                <a:gd name="connsiteY140" fmla="*/ 2527650 h 2745843"/>
                <a:gd name="connsiteX141" fmla="*/ 2733192 w 4140503"/>
                <a:gd name="connsiteY141" fmla="*/ 2553011 h 2745843"/>
                <a:gd name="connsiteX142" fmla="*/ 2777547 w 4140503"/>
                <a:gd name="connsiteY142" fmla="*/ 2553011 h 2745843"/>
                <a:gd name="connsiteX143" fmla="*/ 2777547 w 4140503"/>
                <a:gd name="connsiteY143" fmla="*/ 2569305 h 2745843"/>
                <a:gd name="connsiteX144" fmla="*/ 3077343 w 4140503"/>
                <a:gd name="connsiteY144" fmla="*/ 2569305 h 2745843"/>
                <a:gd name="connsiteX145" fmla="*/ 3077343 w 4140503"/>
                <a:gd name="connsiteY145" fmla="*/ 2579506 h 2745843"/>
                <a:gd name="connsiteX146" fmla="*/ 3123518 w 4140503"/>
                <a:gd name="connsiteY146" fmla="*/ 2579506 h 2745843"/>
                <a:gd name="connsiteX147" fmla="*/ 3123518 w 4140503"/>
                <a:gd name="connsiteY147" fmla="*/ 2592541 h 2745843"/>
                <a:gd name="connsiteX148" fmla="*/ 3323457 w 4140503"/>
                <a:gd name="connsiteY148" fmla="*/ 2592541 h 2745843"/>
                <a:gd name="connsiteX149" fmla="*/ 3323457 w 4140503"/>
                <a:gd name="connsiteY149" fmla="*/ 2607135 h 2745843"/>
                <a:gd name="connsiteX150" fmla="*/ 3438099 w 4140503"/>
                <a:gd name="connsiteY150" fmla="*/ 2607135 h 2745843"/>
                <a:gd name="connsiteX151" fmla="*/ 3438099 w 4140503"/>
                <a:gd name="connsiteY151" fmla="*/ 2635897 h 2745843"/>
                <a:gd name="connsiteX152" fmla="*/ 3782250 w 4140503"/>
                <a:gd name="connsiteY152" fmla="*/ 2635897 h 2745843"/>
                <a:gd name="connsiteX153" fmla="*/ 3782250 w 4140503"/>
                <a:gd name="connsiteY153" fmla="*/ 2647231 h 2745843"/>
                <a:gd name="connsiteX154" fmla="*/ 4140503 w 4140503"/>
                <a:gd name="connsiteY154" fmla="*/ 2647231 h 2745843"/>
                <a:gd name="connsiteX155" fmla="*/ 4140503 w 4140503"/>
                <a:gd name="connsiteY155" fmla="*/ 2659700 h 2745843"/>
                <a:gd name="connsiteX156" fmla="*/ 4140503 w 4140503"/>
                <a:gd name="connsiteY156" fmla="*/ 2745844 h 2745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Lst>
              <a:rect l="l" t="t" r="r" b="b"/>
              <a:pathLst>
                <a:path w="4140503" h="2745843">
                  <a:moveTo>
                    <a:pt x="0" y="0"/>
                  </a:moveTo>
                  <a:lnTo>
                    <a:pt x="8871" y="0"/>
                  </a:lnTo>
                  <a:lnTo>
                    <a:pt x="8871" y="15160"/>
                  </a:lnTo>
                  <a:lnTo>
                    <a:pt x="27978" y="15160"/>
                  </a:lnTo>
                  <a:lnTo>
                    <a:pt x="27978" y="31454"/>
                  </a:lnTo>
                  <a:lnTo>
                    <a:pt x="42763" y="31454"/>
                  </a:lnTo>
                  <a:lnTo>
                    <a:pt x="42763" y="43355"/>
                  </a:lnTo>
                  <a:lnTo>
                    <a:pt x="67784" y="43355"/>
                  </a:lnTo>
                  <a:lnTo>
                    <a:pt x="67784" y="80618"/>
                  </a:lnTo>
                  <a:lnTo>
                    <a:pt x="89620" y="80618"/>
                  </a:lnTo>
                  <a:lnTo>
                    <a:pt x="89620" y="92662"/>
                  </a:lnTo>
                  <a:lnTo>
                    <a:pt x="108727" y="92662"/>
                  </a:lnTo>
                  <a:lnTo>
                    <a:pt x="108727" y="133750"/>
                  </a:lnTo>
                  <a:lnTo>
                    <a:pt x="125332" y="133750"/>
                  </a:lnTo>
                  <a:lnTo>
                    <a:pt x="125332" y="168321"/>
                  </a:lnTo>
                  <a:lnTo>
                    <a:pt x="141027" y="168321"/>
                  </a:lnTo>
                  <a:lnTo>
                    <a:pt x="141027" y="212810"/>
                  </a:lnTo>
                  <a:lnTo>
                    <a:pt x="160816" y="212810"/>
                  </a:lnTo>
                  <a:lnTo>
                    <a:pt x="160816" y="225278"/>
                  </a:lnTo>
                  <a:lnTo>
                    <a:pt x="178331" y="225278"/>
                  </a:lnTo>
                  <a:lnTo>
                    <a:pt x="178331" y="275576"/>
                  </a:lnTo>
                  <a:lnTo>
                    <a:pt x="191296" y="275576"/>
                  </a:lnTo>
                  <a:lnTo>
                    <a:pt x="191296" y="378014"/>
                  </a:lnTo>
                  <a:lnTo>
                    <a:pt x="208811" y="378014"/>
                  </a:lnTo>
                  <a:lnTo>
                    <a:pt x="208811" y="636305"/>
                  </a:lnTo>
                  <a:lnTo>
                    <a:pt x="225188" y="636305"/>
                  </a:lnTo>
                  <a:lnTo>
                    <a:pt x="225188" y="806751"/>
                  </a:lnTo>
                  <a:lnTo>
                    <a:pt x="240883" y="806751"/>
                  </a:lnTo>
                  <a:lnTo>
                    <a:pt x="240883" y="861441"/>
                  </a:lnTo>
                  <a:lnTo>
                    <a:pt x="262719" y="861441"/>
                  </a:lnTo>
                  <a:lnTo>
                    <a:pt x="262719" y="884819"/>
                  </a:lnTo>
                  <a:lnTo>
                    <a:pt x="275685" y="884819"/>
                  </a:lnTo>
                  <a:lnTo>
                    <a:pt x="275685" y="900971"/>
                  </a:lnTo>
                  <a:lnTo>
                    <a:pt x="298204" y="900971"/>
                  </a:lnTo>
                  <a:lnTo>
                    <a:pt x="298204" y="916131"/>
                  </a:lnTo>
                  <a:lnTo>
                    <a:pt x="312989" y="916131"/>
                  </a:lnTo>
                  <a:lnTo>
                    <a:pt x="312989" y="931858"/>
                  </a:lnTo>
                  <a:lnTo>
                    <a:pt x="327774" y="931858"/>
                  </a:lnTo>
                  <a:lnTo>
                    <a:pt x="327774" y="952403"/>
                  </a:lnTo>
                  <a:lnTo>
                    <a:pt x="359846" y="952403"/>
                  </a:lnTo>
                  <a:lnTo>
                    <a:pt x="359846" y="966571"/>
                  </a:lnTo>
                  <a:lnTo>
                    <a:pt x="382592" y="966571"/>
                  </a:lnTo>
                  <a:lnTo>
                    <a:pt x="382592" y="977906"/>
                  </a:lnTo>
                  <a:lnTo>
                    <a:pt x="412162" y="977906"/>
                  </a:lnTo>
                  <a:lnTo>
                    <a:pt x="412162" y="992499"/>
                  </a:lnTo>
                  <a:lnTo>
                    <a:pt x="431269" y="992499"/>
                  </a:lnTo>
                  <a:lnTo>
                    <a:pt x="431269" y="1158695"/>
                  </a:lnTo>
                  <a:lnTo>
                    <a:pt x="450376" y="1158695"/>
                  </a:lnTo>
                  <a:lnTo>
                    <a:pt x="450376" y="1282669"/>
                  </a:lnTo>
                  <a:lnTo>
                    <a:pt x="464251" y="1282669"/>
                  </a:lnTo>
                  <a:lnTo>
                    <a:pt x="464251" y="1356912"/>
                  </a:lnTo>
                  <a:lnTo>
                    <a:pt x="496324" y="1356912"/>
                  </a:lnTo>
                  <a:lnTo>
                    <a:pt x="496324" y="1374197"/>
                  </a:lnTo>
                  <a:lnTo>
                    <a:pt x="514748" y="1374197"/>
                  </a:lnTo>
                  <a:lnTo>
                    <a:pt x="514748" y="1382415"/>
                  </a:lnTo>
                  <a:lnTo>
                    <a:pt x="532945" y="1382415"/>
                  </a:lnTo>
                  <a:lnTo>
                    <a:pt x="532945" y="1402959"/>
                  </a:lnTo>
                  <a:lnTo>
                    <a:pt x="555464" y="1402959"/>
                  </a:lnTo>
                  <a:lnTo>
                    <a:pt x="555464" y="1415427"/>
                  </a:lnTo>
                  <a:lnTo>
                    <a:pt x="570249" y="1415427"/>
                  </a:lnTo>
                  <a:lnTo>
                    <a:pt x="570249" y="1424637"/>
                  </a:lnTo>
                  <a:lnTo>
                    <a:pt x="581622" y="1424637"/>
                  </a:lnTo>
                  <a:lnTo>
                    <a:pt x="581622" y="1440789"/>
                  </a:lnTo>
                  <a:lnTo>
                    <a:pt x="600729" y="1440789"/>
                  </a:lnTo>
                  <a:lnTo>
                    <a:pt x="600729" y="1450565"/>
                  </a:lnTo>
                  <a:lnTo>
                    <a:pt x="616424" y="1450565"/>
                  </a:lnTo>
                  <a:lnTo>
                    <a:pt x="616424" y="1459208"/>
                  </a:lnTo>
                  <a:lnTo>
                    <a:pt x="640762" y="1459208"/>
                  </a:lnTo>
                  <a:lnTo>
                    <a:pt x="640762" y="1486411"/>
                  </a:lnTo>
                  <a:lnTo>
                    <a:pt x="656457" y="1486411"/>
                  </a:lnTo>
                  <a:lnTo>
                    <a:pt x="656457" y="1511206"/>
                  </a:lnTo>
                  <a:lnTo>
                    <a:pt x="671925" y="1511206"/>
                  </a:lnTo>
                  <a:lnTo>
                    <a:pt x="671925" y="1644956"/>
                  </a:lnTo>
                  <a:lnTo>
                    <a:pt x="688530" y="1644956"/>
                  </a:lnTo>
                  <a:lnTo>
                    <a:pt x="688530" y="1728408"/>
                  </a:lnTo>
                  <a:lnTo>
                    <a:pt x="699903" y="1728408"/>
                  </a:lnTo>
                  <a:lnTo>
                    <a:pt x="699903" y="1763546"/>
                  </a:lnTo>
                  <a:lnTo>
                    <a:pt x="721512" y="1763546"/>
                  </a:lnTo>
                  <a:lnTo>
                    <a:pt x="721512" y="1772755"/>
                  </a:lnTo>
                  <a:lnTo>
                    <a:pt x="738116" y="1772755"/>
                  </a:lnTo>
                  <a:lnTo>
                    <a:pt x="738116" y="1787349"/>
                  </a:lnTo>
                  <a:lnTo>
                    <a:pt x="776330" y="1787349"/>
                  </a:lnTo>
                  <a:lnTo>
                    <a:pt x="776330" y="1798683"/>
                  </a:lnTo>
                  <a:lnTo>
                    <a:pt x="809312" y="1798683"/>
                  </a:lnTo>
                  <a:lnTo>
                    <a:pt x="809312" y="1813419"/>
                  </a:lnTo>
                  <a:lnTo>
                    <a:pt x="860719" y="1813419"/>
                  </a:lnTo>
                  <a:lnTo>
                    <a:pt x="860719" y="1826879"/>
                  </a:lnTo>
                  <a:lnTo>
                    <a:pt x="886877" y="1826879"/>
                  </a:lnTo>
                  <a:lnTo>
                    <a:pt x="886877" y="1894604"/>
                  </a:lnTo>
                  <a:lnTo>
                    <a:pt x="905756" y="1894604"/>
                  </a:lnTo>
                  <a:lnTo>
                    <a:pt x="905756" y="1995341"/>
                  </a:lnTo>
                  <a:lnTo>
                    <a:pt x="931915" y="1995341"/>
                  </a:lnTo>
                  <a:lnTo>
                    <a:pt x="931915" y="2032746"/>
                  </a:lnTo>
                  <a:lnTo>
                    <a:pt x="988553" y="2032746"/>
                  </a:lnTo>
                  <a:lnTo>
                    <a:pt x="988553" y="2050032"/>
                  </a:lnTo>
                  <a:lnTo>
                    <a:pt x="1044054" y="2050032"/>
                  </a:lnTo>
                  <a:lnTo>
                    <a:pt x="1044054" y="2059241"/>
                  </a:lnTo>
                  <a:lnTo>
                    <a:pt x="1113657" y="2059241"/>
                  </a:lnTo>
                  <a:lnTo>
                    <a:pt x="1113657" y="2101463"/>
                  </a:lnTo>
                  <a:lnTo>
                    <a:pt x="1129352" y="2101463"/>
                  </a:lnTo>
                  <a:lnTo>
                    <a:pt x="1129352" y="2124699"/>
                  </a:lnTo>
                  <a:lnTo>
                    <a:pt x="1145730" y="2124699"/>
                  </a:lnTo>
                  <a:lnTo>
                    <a:pt x="1145730" y="2163663"/>
                  </a:lnTo>
                  <a:lnTo>
                    <a:pt x="1304953" y="2163663"/>
                  </a:lnTo>
                  <a:lnTo>
                    <a:pt x="1304953" y="2177264"/>
                  </a:lnTo>
                  <a:lnTo>
                    <a:pt x="1347489" y="2177264"/>
                  </a:lnTo>
                  <a:lnTo>
                    <a:pt x="1347489" y="2189166"/>
                  </a:lnTo>
                  <a:lnTo>
                    <a:pt x="1364094" y="2189166"/>
                  </a:lnTo>
                  <a:lnTo>
                    <a:pt x="1364094" y="2253066"/>
                  </a:lnTo>
                  <a:lnTo>
                    <a:pt x="1390934" y="2253066"/>
                  </a:lnTo>
                  <a:lnTo>
                    <a:pt x="1390934" y="2267659"/>
                  </a:lnTo>
                  <a:lnTo>
                    <a:pt x="1432788" y="2267659"/>
                  </a:lnTo>
                  <a:lnTo>
                    <a:pt x="1432788" y="2280127"/>
                  </a:lnTo>
                  <a:lnTo>
                    <a:pt x="1573587" y="2280127"/>
                  </a:lnTo>
                  <a:lnTo>
                    <a:pt x="1573587" y="2294154"/>
                  </a:lnTo>
                  <a:lnTo>
                    <a:pt x="1607479" y="2294154"/>
                  </a:lnTo>
                  <a:lnTo>
                    <a:pt x="1607479" y="2307189"/>
                  </a:lnTo>
                  <a:lnTo>
                    <a:pt x="1708245" y="2307189"/>
                  </a:lnTo>
                  <a:lnTo>
                    <a:pt x="1708245" y="2348844"/>
                  </a:lnTo>
                  <a:lnTo>
                    <a:pt x="1708245" y="2361312"/>
                  </a:lnTo>
                  <a:lnTo>
                    <a:pt x="1793543" y="2361312"/>
                  </a:lnTo>
                  <a:lnTo>
                    <a:pt x="1793543" y="2373214"/>
                  </a:lnTo>
                  <a:lnTo>
                    <a:pt x="1822886" y="2373214"/>
                  </a:lnTo>
                  <a:lnTo>
                    <a:pt x="1822886" y="2382990"/>
                  </a:lnTo>
                  <a:lnTo>
                    <a:pt x="2016002" y="2382990"/>
                  </a:lnTo>
                  <a:lnTo>
                    <a:pt x="2016002" y="2398717"/>
                  </a:lnTo>
                  <a:lnTo>
                    <a:pt x="2045572" y="2398717"/>
                  </a:lnTo>
                  <a:lnTo>
                    <a:pt x="2045572" y="2440372"/>
                  </a:lnTo>
                  <a:lnTo>
                    <a:pt x="2071503" y="2440372"/>
                  </a:lnTo>
                  <a:lnTo>
                    <a:pt x="2071503" y="2449582"/>
                  </a:lnTo>
                  <a:lnTo>
                    <a:pt x="2267121" y="2449582"/>
                  </a:lnTo>
                  <a:lnTo>
                    <a:pt x="2267121" y="2467009"/>
                  </a:lnTo>
                  <a:lnTo>
                    <a:pt x="2374028" y="2467009"/>
                  </a:lnTo>
                  <a:lnTo>
                    <a:pt x="2374028" y="2474518"/>
                  </a:lnTo>
                  <a:lnTo>
                    <a:pt x="2383582" y="2474518"/>
                  </a:lnTo>
                  <a:lnTo>
                    <a:pt x="2383582" y="2505405"/>
                  </a:lnTo>
                  <a:lnTo>
                    <a:pt x="2508914" y="2505405"/>
                  </a:lnTo>
                  <a:lnTo>
                    <a:pt x="2508914" y="2520566"/>
                  </a:lnTo>
                  <a:lnTo>
                    <a:pt x="2587843" y="2520566"/>
                  </a:lnTo>
                  <a:lnTo>
                    <a:pt x="2587843" y="2527650"/>
                  </a:lnTo>
                  <a:lnTo>
                    <a:pt x="2733192" y="2527650"/>
                  </a:lnTo>
                  <a:lnTo>
                    <a:pt x="2733192" y="2553011"/>
                  </a:lnTo>
                  <a:lnTo>
                    <a:pt x="2777547" y="2553011"/>
                  </a:lnTo>
                  <a:lnTo>
                    <a:pt x="2777547" y="2569305"/>
                  </a:lnTo>
                  <a:lnTo>
                    <a:pt x="3077343" y="2569305"/>
                  </a:lnTo>
                  <a:lnTo>
                    <a:pt x="3077343" y="2579506"/>
                  </a:lnTo>
                  <a:lnTo>
                    <a:pt x="3123518" y="2579506"/>
                  </a:lnTo>
                  <a:lnTo>
                    <a:pt x="3123518" y="2592541"/>
                  </a:lnTo>
                  <a:lnTo>
                    <a:pt x="3323457" y="2592541"/>
                  </a:lnTo>
                  <a:lnTo>
                    <a:pt x="3323457" y="2607135"/>
                  </a:lnTo>
                  <a:lnTo>
                    <a:pt x="3438099" y="2607135"/>
                  </a:lnTo>
                  <a:lnTo>
                    <a:pt x="3438099" y="2635897"/>
                  </a:lnTo>
                  <a:lnTo>
                    <a:pt x="3782250" y="2635897"/>
                  </a:lnTo>
                  <a:lnTo>
                    <a:pt x="3782250" y="2647231"/>
                  </a:lnTo>
                  <a:lnTo>
                    <a:pt x="4140503" y="2647231"/>
                  </a:lnTo>
                  <a:lnTo>
                    <a:pt x="4140503" y="2659700"/>
                  </a:lnTo>
                  <a:lnTo>
                    <a:pt x="4140503" y="2745844"/>
                  </a:lnTo>
                </a:path>
              </a:pathLst>
            </a:custGeom>
            <a:ln w="28575" cap="flat">
              <a:solidFill>
                <a:srgbClr val="83005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215" name="Freeform: Shape 214">
              <a:extLst>
                <a:ext uri="{FF2B5EF4-FFF2-40B4-BE49-F238E27FC236}">
                  <a16:creationId xmlns:a16="http://schemas.microsoft.com/office/drawing/2014/main" id="{A2D92A1A-3551-4231-88AF-D8F50C4E1ADB}"/>
                </a:ext>
              </a:extLst>
            </p:cNvPr>
            <p:cNvSpPr/>
            <p:nvPr/>
          </p:nvSpPr>
          <p:spPr>
            <a:xfrm>
              <a:off x="6169598" y="2909598"/>
              <a:ext cx="22746" cy="92236"/>
            </a:xfrm>
            <a:custGeom>
              <a:avLst/>
              <a:gdLst>
                <a:gd name="connsiteX0" fmla="*/ 0 w 22746"/>
                <a:gd name="connsiteY0" fmla="*/ 0 h 92236"/>
                <a:gd name="connsiteX1" fmla="*/ 0 w 22746"/>
                <a:gd name="connsiteY1" fmla="*/ 92237 h 92236"/>
              </a:gdLst>
              <a:ahLst/>
              <a:cxnLst>
                <a:cxn ang="0">
                  <a:pos x="connsiteX0" y="connsiteY0"/>
                </a:cxn>
                <a:cxn ang="0">
                  <a:pos x="connsiteX1" y="connsiteY1"/>
                </a:cxn>
              </a:cxnLst>
              <a:rect l="l" t="t" r="r" b="b"/>
              <a:pathLst>
                <a:path w="22746" h="92236">
                  <a:moveTo>
                    <a:pt x="0" y="0"/>
                  </a:moveTo>
                  <a:lnTo>
                    <a:pt x="0" y="92237"/>
                  </a:lnTo>
                </a:path>
              </a:pathLst>
            </a:custGeom>
            <a:ln w="28575"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216" name="Freeform: Shape 215">
              <a:extLst>
                <a:ext uri="{FF2B5EF4-FFF2-40B4-BE49-F238E27FC236}">
                  <a16:creationId xmlns:a16="http://schemas.microsoft.com/office/drawing/2014/main" id="{4513919B-EF13-4FEE-BF04-D8831BE0C337}"/>
                </a:ext>
              </a:extLst>
            </p:cNvPr>
            <p:cNvSpPr/>
            <p:nvPr/>
          </p:nvSpPr>
          <p:spPr>
            <a:xfrm>
              <a:off x="6285604" y="3296255"/>
              <a:ext cx="22746" cy="92094"/>
            </a:xfrm>
            <a:custGeom>
              <a:avLst/>
              <a:gdLst>
                <a:gd name="connsiteX0" fmla="*/ 0 w 22746"/>
                <a:gd name="connsiteY0" fmla="*/ 0 h 92094"/>
                <a:gd name="connsiteX1" fmla="*/ 0 w 22746"/>
                <a:gd name="connsiteY1" fmla="*/ 92095 h 92094"/>
              </a:gdLst>
              <a:ahLst/>
              <a:cxnLst>
                <a:cxn ang="0">
                  <a:pos x="connsiteX0" y="connsiteY0"/>
                </a:cxn>
                <a:cxn ang="0">
                  <a:pos x="connsiteX1" y="connsiteY1"/>
                </a:cxn>
              </a:cxnLst>
              <a:rect l="l" t="t" r="r" b="b"/>
              <a:pathLst>
                <a:path w="22746" h="92094">
                  <a:moveTo>
                    <a:pt x="0" y="0"/>
                  </a:moveTo>
                  <a:lnTo>
                    <a:pt x="0" y="92095"/>
                  </a:lnTo>
                </a:path>
              </a:pathLst>
            </a:custGeom>
            <a:ln w="28575"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217" name="Freeform: Shape 216">
              <a:extLst>
                <a:ext uri="{FF2B5EF4-FFF2-40B4-BE49-F238E27FC236}">
                  <a16:creationId xmlns:a16="http://schemas.microsoft.com/office/drawing/2014/main" id="{D2A0B3AF-4972-48B7-AF60-B0E0C993887B}"/>
                </a:ext>
              </a:extLst>
            </p:cNvPr>
            <p:cNvSpPr/>
            <p:nvPr/>
          </p:nvSpPr>
          <p:spPr>
            <a:xfrm>
              <a:off x="6740757" y="3838764"/>
              <a:ext cx="22746" cy="92094"/>
            </a:xfrm>
            <a:custGeom>
              <a:avLst/>
              <a:gdLst>
                <a:gd name="connsiteX0" fmla="*/ 0 w 22746"/>
                <a:gd name="connsiteY0" fmla="*/ 0 h 92094"/>
                <a:gd name="connsiteX1" fmla="*/ 0 w 22746"/>
                <a:gd name="connsiteY1" fmla="*/ 92095 h 92094"/>
              </a:gdLst>
              <a:ahLst/>
              <a:cxnLst>
                <a:cxn ang="0">
                  <a:pos x="connsiteX0" y="connsiteY0"/>
                </a:cxn>
                <a:cxn ang="0">
                  <a:pos x="connsiteX1" y="connsiteY1"/>
                </a:cxn>
              </a:cxnLst>
              <a:rect l="l" t="t" r="r" b="b"/>
              <a:pathLst>
                <a:path w="22746" h="92094">
                  <a:moveTo>
                    <a:pt x="0" y="0"/>
                  </a:moveTo>
                  <a:lnTo>
                    <a:pt x="0" y="92095"/>
                  </a:lnTo>
                </a:path>
              </a:pathLst>
            </a:custGeom>
            <a:ln w="28575"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218" name="Freeform: Shape 217">
              <a:extLst>
                <a:ext uri="{FF2B5EF4-FFF2-40B4-BE49-F238E27FC236}">
                  <a16:creationId xmlns:a16="http://schemas.microsoft.com/office/drawing/2014/main" id="{5ED944DD-2C85-45D7-8706-AEA3C6B0E1C4}"/>
                </a:ext>
              </a:extLst>
            </p:cNvPr>
            <p:cNvSpPr/>
            <p:nvPr/>
          </p:nvSpPr>
          <p:spPr>
            <a:xfrm>
              <a:off x="7819158" y="4136018"/>
              <a:ext cx="22746" cy="92236"/>
            </a:xfrm>
            <a:custGeom>
              <a:avLst/>
              <a:gdLst>
                <a:gd name="connsiteX0" fmla="*/ 0 w 22746"/>
                <a:gd name="connsiteY0" fmla="*/ 0 h 92236"/>
                <a:gd name="connsiteX1" fmla="*/ 0 w 22746"/>
                <a:gd name="connsiteY1" fmla="*/ 92237 h 92236"/>
              </a:gdLst>
              <a:ahLst/>
              <a:cxnLst>
                <a:cxn ang="0">
                  <a:pos x="connsiteX0" y="connsiteY0"/>
                </a:cxn>
                <a:cxn ang="0">
                  <a:pos x="connsiteX1" y="connsiteY1"/>
                </a:cxn>
              </a:cxnLst>
              <a:rect l="l" t="t" r="r" b="b"/>
              <a:pathLst>
                <a:path w="22746" h="92236">
                  <a:moveTo>
                    <a:pt x="0" y="0"/>
                  </a:moveTo>
                  <a:lnTo>
                    <a:pt x="0" y="92237"/>
                  </a:lnTo>
                </a:path>
              </a:pathLst>
            </a:custGeom>
            <a:ln w="28575"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219" name="Freeform: Shape 218">
              <a:extLst>
                <a:ext uri="{FF2B5EF4-FFF2-40B4-BE49-F238E27FC236}">
                  <a16:creationId xmlns:a16="http://schemas.microsoft.com/office/drawing/2014/main" id="{AA6D6270-55B1-4668-A63A-B0028412BA2E}"/>
                </a:ext>
              </a:extLst>
            </p:cNvPr>
            <p:cNvSpPr/>
            <p:nvPr/>
          </p:nvSpPr>
          <p:spPr>
            <a:xfrm>
              <a:off x="8191969" y="4214795"/>
              <a:ext cx="22746" cy="92236"/>
            </a:xfrm>
            <a:custGeom>
              <a:avLst/>
              <a:gdLst>
                <a:gd name="connsiteX0" fmla="*/ 0 w 22746"/>
                <a:gd name="connsiteY0" fmla="*/ 0 h 92236"/>
                <a:gd name="connsiteX1" fmla="*/ 0 w 22746"/>
                <a:gd name="connsiteY1" fmla="*/ 92236 h 92236"/>
              </a:gdLst>
              <a:ahLst/>
              <a:cxnLst>
                <a:cxn ang="0">
                  <a:pos x="connsiteX0" y="connsiteY0"/>
                </a:cxn>
                <a:cxn ang="0">
                  <a:pos x="connsiteX1" y="connsiteY1"/>
                </a:cxn>
              </a:cxnLst>
              <a:rect l="l" t="t" r="r" b="b"/>
              <a:pathLst>
                <a:path w="22746" h="92236">
                  <a:moveTo>
                    <a:pt x="0" y="0"/>
                  </a:moveTo>
                  <a:lnTo>
                    <a:pt x="0" y="92236"/>
                  </a:lnTo>
                </a:path>
              </a:pathLst>
            </a:custGeom>
            <a:ln w="28575"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220" name="Freeform: Shape 219">
              <a:extLst>
                <a:ext uri="{FF2B5EF4-FFF2-40B4-BE49-F238E27FC236}">
                  <a16:creationId xmlns:a16="http://schemas.microsoft.com/office/drawing/2014/main" id="{D10CA35B-14FB-4900-B535-FB8E2557E43B}"/>
                </a:ext>
              </a:extLst>
            </p:cNvPr>
            <p:cNvSpPr/>
            <p:nvPr/>
          </p:nvSpPr>
          <p:spPr>
            <a:xfrm>
              <a:off x="8533618" y="4241573"/>
              <a:ext cx="22746" cy="92236"/>
            </a:xfrm>
            <a:custGeom>
              <a:avLst/>
              <a:gdLst>
                <a:gd name="connsiteX0" fmla="*/ 0 w 22746"/>
                <a:gd name="connsiteY0" fmla="*/ 0 h 92236"/>
                <a:gd name="connsiteX1" fmla="*/ 0 w 22746"/>
                <a:gd name="connsiteY1" fmla="*/ 92236 h 92236"/>
              </a:gdLst>
              <a:ahLst/>
              <a:cxnLst>
                <a:cxn ang="0">
                  <a:pos x="connsiteX0" y="connsiteY0"/>
                </a:cxn>
                <a:cxn ang="0">
                  <a:pos x="connsiteX1" y="connsiteY1"/>
                </a:cxn>
              </a:cxnLst>
              <a:rect l="l" t="t" r="r" b="b"/>
              <a:pathLst>
                <a:path w="22746" h="92236">
                  <a:moveTo>
                    <a:pt x="0" y="0"/>
                  </a:moveTo>
                  <a:lnTo>
                    <a:pt x="0" y="92236"/>
                  </a:lnTo>
                </a:path>
              </a:pathLst>
            </a:custGeom>
            <a:ln w="28575"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221" name="Freeform: Shape 220">
              <a:extLst>
                <a:ext uri="{FF2B5EF4-FFF2-40B4-BE49-F238E27FC236}">
                  <a16:creationId xmlns:a16="http://schemas.microsoft.com/office/drawing/2014/main" id="{80F6536E-D1D3-47E4-9114-89CC41990F3D}"/>
                </a:ext>
              </a:extLst>
            </p:cNvPr>
            <p:cNvSpPr/>
            <p:nvPr/>
          </p:nvSpPr>
          <p:spPr>
            <a:xfrm>
              <a:off x="8855705" y="4264384"/>
              <a:ext cx="22746" cy="92094"/>
            </a:xfrm>
            <a:custGeom>
              <a:avLst/>
              <a:gdLst>
                <a:gd name="connsiteX0" fmla="*/ 0 w 22746"/>
                <a:gd name="connsiteY0" fmla="*/ 0 h 92094"/>
                <a:gd name="connsiteX1" fmla="*/ 0 w 22746"/>
                <a:gd name="connsiteY1" fmla="*/ 92095 h 92094"/>
              </a:gdLst>
              <a:ahLst/>
              <a:cxnLst>
                <a:cxn ang="0">
                  <a:pos x="connsiteX0" y="connsiteY0"/>
                </a:cxn>
                <a:cxn ang="0">
                  <a:pos x="connsiteX1" y="connsiteY1"/>
                </a:cxn>
              </a:cxnLst>
              <a:rect l="l" t="t" r="r" b="b"/>
              <a:pathLst>
                <a:path w="22746" h="92094">
                  <a:moveTo>
                    <a:pt x="0" y="0"/>
                  </a:moveTo>
                  <a:lnTo>
                    <a:pt x="0" y="92095"/>
                  </a:lnTo>
                </a:path>
              </a:pathLst>
            </a:custGeom>
            <a:ln w="28575"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222" name="Freeform: Shape 221">
              <a:extLst>
                <a:ext uri="{FF2B5EF4-FFF2-40B4-BE49-F238E27FC236}">
                  <a16:creationId xmlns:a16="http://schemas.microsoft.com/office/drawing/2014/main" id="{54DC409D-E272-4B12-B330-9C967A31F85F}"/>
                </a:ext>
              </a:extLst>
            </p:cNvPr>
            <p:cNvSpPr/>
            <p:nvPr/>
          </p:nvSpPr>
          <p:spPr>
            <a:xfrm>
              <a:off x="8870035" y="4264384"/>
              <a:ext cx="22746" cy="92094"/>
            </a:xfrm>
            <a:custGeom>
              <a:avLst/>
              <a:gdLst>
                <a:gd name="connsiteX0" fmla="*/ 0 w 22746"/>
                <a:gd name="connsiteY0" fmla="*/ 0 h 92094"/>
                <a:gd name="connsiteX1" fmla="*/ 0 w 22746"/>
                <a:gd name="connsiteY1" fmla="*/ 92095 h 92094"/>
              </a:gdLst>
              <a:ahLst/>
              <a:cxnLst>
                <a:cxn ang="0">
                  <a:pos x="connsiteX0" y="connsiteY0"/>
                </a:cxn>
                <a:cxn ang="0">
                  <a:pos x="connsiteX1" y="connsiteY1"/>
                </a:cxn>
              </a:cxnLst>
              <a:rect l="l" t="t" r="r" b="b"/>
              <a:pathLst>
                <a:path w="22746" h="92094">
                  <a:moveTo>
                    <a:pt x="0" y="0"/>
                  </a:moveTo>
                  <a:lnTo>
                    <a:pt x="0" y="92095"/>
                  </a:lnTo>
                </a:path>
              </a:pathLst>
            </a:custGeom>
            <a:ln w="28575"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223" name="Freeform: Shape 222">
              <a:extLst>
                <a:ext uri="{FF2B5EF4-FFF2-40B4-BE49-F238E27FC236}">
                  <a16:creationId xmlns:a16="http://schemas.microsoft.com/office/drawing/2014/main" id="{E47E5626-EA4C-41CB-9F6F-E39341AE4C24}"/>
                </a:ext>
              </a:extLst>
            </p:cNvPr>
            <p:cNvSpPr/>
            <p:nvPr/>
          </p:nvSpPr>
          <p:spPr>
            <a:xfrm>
              <a:off x="8885730" y="4287054"/>
              <a:ext cx="22746" cy="92236"/>
            </a:xfrm>
            <a:custGeom>
              <a:avLst/>
              <a:gdLst>
                <a:gd name="connsiteX0" fmla="*/ 0 w 22746"/>
                <a:gd name="connsiteY0" fmla="*/ 0 h 92236"/>
                <a:gd name="connsiteX1" fmla="*/ 0 w 22746"/>
                <a:gd name="connsiteY1" fmla="*/ 92237 h 92236"/>
              </a:gdLst>
              <a:ahLst/>
              <a:cxnLst>
                <a:cxn ang="0">
                  <a:pos x="connsiteX0" y="connsiteY0"/>
                </a:cxn>
                <a:cxn ang="0">
                  <a:pos x="connsiteX1" y="connsiteY1"/>
                </a:cxn>
              </a:cxnLst>
              <a:rect l="l" t="t" r="r" b="b"/>
              <a:pathLst>
                <a:path w="22746" h="92236">
                  <a:moveTo>
                    <a:pt x="0" y="0"/>
                  </a:moveTo>
                  <a:lnTo>
                    <a:pt x="0" y="92237"/>
                  </a:lnTo>
                </a:path>
              </a:pathLst>
            </a:custGeom>
            <a:ln w="28575"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224" name="Freeform: Shape 223">
              <a:extLst>
                <a:ext uri="{FF2B5EF4-FFF2-40B4-BE49-F238E27FC236}">
                  <a16:creationId xmlns:a16="http://schemas.microsoft.com/office/drawing/2014/main" id="{E726B7FF-20F2-4930-9941-81956F52D37E}"/>
                </a:ext>
              </a:extLst>
            </p:cNvPr>
            <p:cNvSpPr/>
            <p:nvPr/>
          </p:nvSpPr>
          <p:spPr>
            <a:xfrm>
              <a:off x="8907794" y="4287054"/>
              <a:ext cx="22746" cy="92236"/>
            </a:xfrm>
            <a:custGeom>
              <a:avLst/>
              <a:gdLst>
                <a:gd name="connsiteX0" fmla="*/ 0 w 22746"/>
                <a:gd name="connsiteY0" fmla="*/ 0 h 92236"/>
                <a:gd name="connsiteX1" fmla="*/ 0 w 22746"/>
                <a:gd name="connsiteY1" fmla="*/ 92237 h 92236"/>
              </a:gdLst>
              <a:ahLst/>
              <a:cxnLst>
                <a:cxn ang="0">
                  <a:pos x="connsiteX0" y="connsiteY0"/>
                </a:cxn>
                <a:cxn ang="0">
                  <a:pos x="connsiteX1" y="connsiteY1"/>
                </a:cxn>
              </a:cxnLst>
              <a:rect l="l" t="t" r="r" b="b"/>
              <a:pathLst>
                <a:path w="22746" h="92236">
                  <a:moveTo>
                    <a:pt x="0" y="0"/>
                  </a:moveTo>
                  <a:lnTo>
                    <a:pt x="0" y="92237"/>
                  </a:lnTo>
                </a:path>
              </a:pathLst>
            </a:custGeom>
            <a:ln w="28575"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225" name="Freeform: Shape 224">
              <a:extLst>
                <a:ext uri="{FF2B5EF4-FFF2-40B4-BE49-F238E27FC236}">
                  <a16:creationId xmlns:a16="http://schemas.microsoft.com/office/drawing/2014/main" id="{D5691A4A-9EB8-46CC-AAC5-9CB360827F25}"/>
                </a:ext>
              </a:extLst>
            </p:cNvPr>
            <p:cNvSpPr/>
            <p:nvPr/>
          </p:nvSpPr>
          <p:spPr>
            <a:xfrm>
              <a:off x="8941686" y="4287054"/>
              <a:ext cx="22746" cy="92236"/>
            </a:xfrm>
            <a:custGeom>
              <a:avLst/>
              <a:gdLst>
                <a:gd name="connsiteX0" fmla="*/ 0 w 22746"/>
                <a:gd name="connsiteY0" fmla="*/ 0 h 92236"/>
                <a:gd name="connsiteX1" fmla="*/ 0 w 22746"/>
                <a:gd name="connsiteY1" fmla="*/ 92237 h 92236"/>
              </a:gdLst>
              <a:ahLst/>
              <a:cxnLst>
                <a:cxn ang="0">
                  <a:pos x="connsiteX0" y="connsiteY0"/>
                </a:cxn>
                <a:cxn ang="0">
                  <a:pos x="connsiteX1" y="connsiteY1"/>
                </a:cxn>
              </a:cxnLst>
              <a:rect l="l" t="t" r="r" b="b"/>
              <a:pathLst>
                <a:path w="22746" h="92236">
                  <a:moveTo>
                    <a:pt x="0" y="0"/>
                  </a:moveTo>
                  <a:lnTo>
                    <a:pt x="0" y="92237"/>
                  </a:lnTo>
                </a:path>
              </a:pathLst>
            </a:custGeom>
            <a:ln w="28575"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226" name="Freeform: Shape 225">
              <a:extLst>
                <a:ext uri="{FF2B5EF4-FFF2-40B4-BE49-F238E27FC236}">
                  <a16:creationId xmlns:a16="http://schemas.microsoft.com/office/drawing/2014/main" id="{65F15A73-D481-47D9-B026-3283DF4BB6A5}"/>
                </a:ext>
              </a:extLst>
            </p:cNvPr>
            <p:cNvSpPr/>
            <p:nvPr/>
          </p:nvSpPr>
          <p:spPr>
            <a:xfrm>
              <a:off x="9210320" y="4287054"/>
              <a:ext cx="22746" cy="92236"/>
            </a:xfrm>
            <a:custGeom>
              <a:avLst/>
              <a:gdLst>
                <a:gd name="connsiteX0" fmla="*/ 0 w 22746"/>
                <a:gd name="connsiteY0" fmla="*/ 0 h 92236"/>
                <a:gd name="connsiteX1" fmla="*/ 0 w 22746"/>
                <a:gd name="connsiteY1" fmla="*/ 92237 h 92236"/>
              </a:gdLst>
              <a:ahLst/>
              <a:cxnLst>
                <a:cxn ang="0">
                  <a:pos x="connsiteX0" y="connsiteY0"/>
                </a:cxn>
                <a:cxn ang="0">
                  <a:pos x="connsiteX1" y="connsiteY1"/>
                </a:cxn>
              </a:cxnLst>
              <a:rect l="l" t="t" r="r" b="b"/>
              <a:pathLst>
                <a:path w="22746" h="92236">
                  <a:moveTo>
                    <a:pt x="0" y="0"/>
                  </a:moveTo>
                  <a:lnTo>
                    <a:pt x="0" y="92237"/>
                  </a:lnTo>
                </a:path>
              </a:pathLst>
            </a:custGeom>
            <a:ln w="28575"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227" name="Freeform: Shape 226">
              <a:extLst>
                <a:ext uri="{FF2B5EF4-FFF2-40B4-BE49-F238E27FC236}">
                  <a16:creationId xmlns:a16="http://schemas.microsoft.com/office/drawing/2014/main" id="{3EAB955A-A6DE-43FE-987A-F38D4AA3C74E}"/>
                </a:ext>
              </a:extLst>
            </p:cNvPr>
            <p:cNvSpPr/>
            <p:nvPr/>
          </p:nvSpPr>
          <p:spPr>
            <a:xfrm>
              <a:off x="9246941" y="4315532"/>
              <a:ext cx="22746" cy="92094"/>
            </a:xfrm>
            <a:custGeom>
              <a:avLst/>
              <a:gdLst>
                <a:gd name="connsiteX0" fmla="*/ 0 w 22746"/>
                <a:gd name="connsiteY0" fmla="*/ 0 h 92094"/>
                <a:gd name="connsiteX1" fmla="*/ 0 w 22746"/>
                <a:gd name="connsiteY1" fmla="*/ 92095 h 92094"/>
              </a:gdLst>
              <a:ahLst/>
              <a:cxnLst>
                <a:cxn ang="0">
                  <a:pos x="connsiteX0" y="connsiteY0"/>
                </a:cxn>
                <a:cxn ang="0">
                  <a:pos x="connsiteX1" y="connsiteY1"/>
                </a:cxn>
              </a:cxnLst>
              <a:rect l="l" t="t" r="r" b="b"/>
              <a:pathLst>
                <a:path w="22746" h="92094">
                  <a:moveTo>
                    <a:pt x="0" y="0"/>
                  </a:moveTo>
                  <a:lnTo>
                    <a:pt x="0" y="92095"/>
                  </a:lnTo>
                </a:path>
              </a:pathLst>
            </a:custGeom>
            <a:ln w="28575"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228" name="Freeform: Shape 227">
              <a:extLst>
                <a:ext uri="{FF2B5EF4-FFF2-40B4-BE49-F238E27FC236}">
                  <a16:creationId xmlns:a16="http://schemas.microsoft.com/office/drawing/2014/main" id="{DE9899B5-03B0-4413-BBDD-2EF2C7AFEA34}"/>
                </a:ext>
              </a:extLst>
            </p:cNvPr>
            <p:cNvSpPr/>
            <p:nvPr/>
          </p:nvSpPr>
          <p:spPr>
            <a:xfrm>
              <a:off x="9354986" y="4315532"/>
              <a:ext cx="22746" cy="92094"/>
            </a:xfrm>
            <a:custGeom>
              <a:avLst/>
              <a:gdLst>
                <a:gd name="connsiteX0" fmla="*/ 0 w 22746"/>
                <a:gd name="connsiteY0" fmla="*/ 0 h 92094"/>
                <a:gd name="connsiteX1" fmla="*/ 0 w 22746"/>
                <a:gd name="connsiteY1" fmla="*/ 92095 h 92094"/>
              </a:gdLst>
              <a:ahLst/>
              <a:cxnLst>
                <a:cxn ang="0">
                  <a:pos x="connsiteX0" y="connsiteY0"/>
                </a:cxn>
                <a:cxn ang="0">
                  <a:pos x="connsiteX1" y="connsiteY1"/>
                </a:cxn>
              </a:cxnLst>
              <a:rect l="l" t="t" r="r" b="b"/>
              <a:pathLst>
                <a:path w="22746" h="92094">
                  <a:moveTo>
                    <a:pt x="0" y="0"/>
                  </a:moveTo>
                  <a:lnTo>
                    <a:pt x="0" y="92095"/>
                  </a:lnTo>
                </a:path>
              </a:pathLst>
            </a:custGeom>
            <a:ln w="28575"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229" name="Freeform: Shape 228">
              <a:extLst>
                <a:ext uri="{FF2B5EF4-FFF2-40B4-BE49-F238E27FC236}">
                  <a16:creationId xmlns:a16="http://schemas.microsoft.com/office/drawing/2014/main" id="{F17F7825-B779-4428-998D-11789171BE62}"/>
                </a:ext>
              </a:extLst>
            </p:cNvPr>
            <p:cNvSpPr/>
            <p:nvPr/>
          </p:nvSpPr>
          <p:spPr>
            <a:xfrm>
              <a:off x="9464623" y="4315532"/>
              <a:ext cx="22746" cy="92094"/>
            </a:xfrm>
            <a:custGeom>
              <a:avLst/>
              <a:gdLst>
                <a:gd name="connsiteX0" fmla="*/ 0 w 22746"/>
                <a:gd name="connsiteY0" fmla="*/ 0 h 92094"/>
                <a:gd name="connsiteX1" fmla="*/ 0 w 22746"/>
                <a:gd name="connsiteY1" fmla="*/ 92095 h 92094"/>
              </a:gdLst>
              <a:ahLst/>
              <a:cxnLst>
                <a:cxn ang="0">
                  <a:pos x="connsiteX0" y="connsiteY0"/>
                </a:cxn>
                <a:cxn ang="0">
                  <a:pos x="connsiteX1" y="connsiteY1"/>
                </a:cxn>
              </a:cxnLst>
              <a:rect l="l" t="t" r="r" b="b"/>
              <a:pathLst>
                <a:path w="22746" h="92094">
                  <a:moveTo>
                    <a:pt x="0" y="0"/>
                  </a:moveTo>
                  <a:lnTo>
                    <a:pt x="0" y="92095"/>
                  </a:lnTo>
                </a:path>
              </a:pathLst>
            </a:custGeom>
            <a:ln w="28575"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230" name="Freeform: Shape 229">
              <a:extLst>
                <a:ext uri="{FF2B5EF4-FFF2-40B4-BE49-F238E27FC236}">
                  <a16:creationId xmlns:a16="http://schemas.microsoft.com/office/drawing/2014/main" id="{EA4D780E-6A08-49F7-A99A-EF77F610CF4D}"/>
                </a:ext>
              </a:extLst>
            </p:cNvPr>
            <p:cNvSpPr/>
            <p:nvPr/>
          </p:nvSpPr>
          <p:spPr>
            <a:xfrm>
              <a:off x="9553333" y="4315532"/>
              <a:ext cx="22746" cy="92094"/>
            </a:xfrm>
            <a:custGeom>
              <a:avLst/>
              <a:gdLst>
                <a:gd name="connsiteX0" fmla="*/ 0 w 22746"/>
                <a:gd name="connsiteY0" fmla="*/ 0 h 92094"/>
                <a:gd name="connsiteX1" fmla="*/ 0 w 22746"/>
                <a:gd name="connsiteY1" fmla="*/ 92095 h 92094"/>
              </a:gdLst>
              <a:ahLst/>
              <a:cxnLst>
                <a:cxn ang="0">
                  <a:pos x="connsiteX0" y="connsiteY0"/>
                </a:cxn>
                <a:cxn ang="0">
                  <a:pos x="connsiteX1" y="connsiteY1"/>
                </a:cxn>
              </a:cxnLst>
              <a:rect l="l" t="t" r="r" b="b"/>
              <a:pathLst>
                <a:path w="22746" h="92094">
                  <a:moveTo>
                    <a:pt x="0" y="0"/>
                  </a:moveTo>
                  <a:lnTo>
                    <a:pt x="0" y="92095"/>
                  </a:lnTo>
                </a:path>
              </a:pathLst>
            </a:custGeom>
            <a:ln w="28575"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231" name="Freeform: Shape 230">
              <a:extLst>
                <a:ext uri="{FF2B5EF4-FFF2-40B4-BE49-F238E27FC236}">
                  <a16:creationId xmlns:a16="http://schemas.microsoft.com/office/drawing/2014/main" id="{526F36D3-C74A-4B7F-ADAF-FD8EF98F79BF}"/>
                </a:ext>
              </a:extLst>
            </p:cNvPr>
            <p:cNvSpPr/>
            <p:nvPr/>
          </p:nvSpPr>
          <p:spPr>
            <a:xfrm>
              <a:off x="9583358" y="4327717"/>
              <a:ext cx="22746" cy="92094"/>
            </a:xfrm>
            <a:custGeom>
              <a:avLst/>
              <a:gdLst>
                <a:gd name="connsiteX0" fmla="*/ 0 w 22746"/>
                <a:gd name="connsiteY0" fmla="*/ 0 h 92094"/>
                <a:gd name="connsiteX1" fmla="*/ 0 w 22746"/>
                <a:gd name="connsiteY1" fmla="*/ 92095 h 92094"/>
              </a:gdLst>
              <a:ahLst/>
              <a:cxnLst>
                <a:cxn ang="0">
                  <a:pos x="connsiteX0" y="connsiteY0"/>
                </a:cxn>
                <a:cxn ang="0">
                  <a:pos x="connsiteX1" y="connsiteY1"/>
                </a:cxn>
              </a:cxnLst>
              <a:rect l="l" t="t" r="r" b="b"/>
              <a:pathLst>
                <a:path w="22746" h="92094">
                  <a:moveTo>
                    <a:pt x="0" y="0"/>
                  </a:moveTo>
                  <a:lnTo>
                    <a:pt x="0" y="92095"/>
                  </a:lnTo>
                </a:path>
              </a:pathLst>
            </a:custGeom>
            <a:ln w="28575"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232" name="Freeform: Shape 231">
              <a:extLst>
                <a:ext uri="{FF2B5EF4-FFF2-40B4-BE49-F238E27FC236}">
                  <a16:creationId xmlns:a16="http://schemas.microsoft.com/office/drawing/2014/main" id="{06B71EBB-5AE1-4ACA-8BA3-74A097F9A41F}"/>
                </a:ext>
              </a:extLst>
            </p:cNvPr>
            <p:cNvSpPr/>
            <p:nvPr/>
          </p:nvSpPr>
          <p:spPr>
            <a:xfrm>
              <a:off x="9772380" y="4327717"/>
              <a:ext cx="22746" cy="92094"/>
            </a:xfrm>
            <a:custGeom>
              <a:avLst/>
              <a:gdLst>
                <a:gd name="connsiteX0" fmla="*/ 0 w 22746"/>
                <a:gd name="connsiteY0" fmla="*/ 0 h 92094"/>
                <a:gd name="connsiteX1" fmla="*/ 0 w 22746"/>
                <a:gd name="connsiteY1" fmla="*/ 92095 h 92094"/>
              </a:gdLst>
              <a:ahLst/>
              <a:cxnLst>
                <a:cxn ang="0">
                  <a:pos x="connsiteX0" y="connsiteY0"/>
                </a:cxn>
                <a:cxn ang="0">
                  <a:pos x="connsiteX1" y="connsiteY1"/>
                </a:cxn>
              </a:cxnLst>
              <a:rect l="l" t="t" r="r" b="b"/>
              <a:pathLst>
                <a:path w="22746" h="92094">
                  <a:moveTo>
                    <a:pt x="0" y="0"/>
                  </a:moveTo>
                  <a:lnTo>
                    <a:pt x="0" y="92095"/>
                  </a:lnTo>
                </a:path>
              </a:pathLst>
            </a:custGeom>
            <a:ln w="28575"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233" name="Freeform: Shape 232">
              <a:extLst>
                <a:ext uri="{FF2B5EF4-FFF2-40B4-BE49-F238E27FC236}">
                  <a16:creationId xmlns:a16="http://schemas.microsoft.com/office/drawing/2014/main" id="{DC904C4C-CBCA-44F2-B78B-7C13BCE28AFE}"/>
                </a:ext>
              </a:extLst>
            </p:cNvPr>
            <p:cNvSpPr/>
            <p:nvPr/>
          </p:nvSpPr>
          <p:spPr>
            <a:xfrm>
              <a:off x="9803542" y="4327717"/>
              <a:ext cx="22746" cy="92094"/>
            </a:xfrm>
            <a:custGeom>
              <a:avLst/>
              <a:gdLst>
                <a:gd name="connsiteX0" fmla="*/ 0 w 22746"/>
                <a:gd name="connsiteY0" fmla="*/ 0 h 92094"/>
                <a:gd name="connsiteX1" fmla="*/ 0 w 22746"/>
                <a:gd name="connsiteY1" fmla="*/ 92095 h 92094"/>
              </a:gdLst>
              <a:ahLst/>
              <a:cxnLst>
                <a:cxn ang="0">
                  <a:pos x="connsiteX0" y="connsiteY0"/>
                </a:cxn>
                <a:cxn ang="0">
                  <a:pos x="connsiteX1" y="connsiteY1"/>
                </a:cxn>
              </a:cxnLst>
              <a:rect l="l" t="t" r="r" b="b"/>
              <a:pathLst>
                <a:path w="22746" h="92094">
                  <a:moveTo>
                    <a:pt x="0" y="0"/>
                  </a:moveTo>
                  <a:lnTo>
                    <a:pt x="0" y="92095"/>
                  </a:lnTo>
                </a:path>
              </a:pathLst>
            </a:custGeom>
            <a:ln w="28575"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234" name="Freeform: Shape 233">
              <a:extLst>
                <a:ext uri="{FF2B5EF4-FFF2-40B4-BE49-F238E27FC236}">
                  <a16:creationId xmlns:a16="http://schemas.microsoft.com/office/drawing/2014/main" id="{01364DFE-16A9-4CDC-89FB-93324D43D435}"/>
                </a:ext>
              </a:extLst>
            </p:cNvPr>
            <p:cNvSpPr/>
            <p:nvPr/>
          </p:nvSpPr>
          <p:spPr>
            <a:xfrm>
              <a:off x="9893618" y="4327717"/>
              <a:ext cx="22746" cy="92094"/>
            </a:xfrm>
            <a:custGeom>
              <a:avLst/>
              <a:gdLst>
                <a:gd name="connsiteX0" fmla="*/ 0 w 22746"/>
                <a:gd name="connsiteY0" fmla="*/ 0 h 92094"/>
                <a:gd name="connsiteX1" fmla="*/ 0 w 22746"/>
                <a:gd name="connsiteY1" fmla="*/ 92095 h 92094"/>
              </a:gdLst>
              <a:ahLst/>
              <a:cxnLst>
                <a:cxn ang="0">
                  <a:pos x="connsiteX0" y="connsiteY0"/>
                </a:cxn>
                <a:cxn ang="0">
                  <a:pos x="connsiteX1" y="connsiteY1"/>
                </a:cxn>
              </a:cxnLst>
              <a:rect l="l" t="t" r="r" b="b"/>
              <a:pathLst>
                <a:path w="22746" h="92094">
                  <a:moveTo>
                    <a:pt x="0" y="0"/>
                  </a:moveTo>
                  <a:lnTo>
                    <a:pt x="0" y="92095"/>
                  </a:lnTo>
                </a:path>
              </a:pathLst>
            </a:custGeom>
            <a:ln w="28575"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235" name="Freeform: Shape 234">
              <a:extLst>
                <a:ext uri="{FF2B5EF4-FFF2-40B4-BE49-F238E27FC236}">
                  <a16:creationId xmlns:a16="http://schemas.microsoft.com/office/drawing/2014/main" id="{957E795A-22C2-41F8-9F0E-8D24904FDB51}"/>
                </a:ext>
              </a:extLst>
            </p:cNvPr>
            <p:cNvSpPr/>
            <p:nvPr/>
          </p:nvSpPr>
          <p:spPr>
            <a:xfrm>
              <a:off x="9914544" y="4327717"/>
              <a:ext cx="22746" cy="92094"/>
            </a:xfrm>
            <a:custGeom>
              <a:avLst/>
              <a:gdLst>
                <a:gd name="connsiteX0" fmla="*/ 0 w 22746"/>
                <a:gd name="connsiteY0" fmla="*/ 0 h 92094"/>
                <a:gd name="connsiteX1" fmla="*/ 0 w 22746"/>
                <a:gd name="connsiteY1" fmla="*/ 92095 h 92094"/>
              </a:gdLst>
              <a:ahLst/>
              <a:cxnLst>
                <a:cxn ang="0">
                  <a:pos x="connsiteX0" y="connsiteY0"/>
                </a:cxn>
                <a:cxn ang="0">
                  <a:pos x="connsiteX1" y="connsiteY1"/>
                </a:cxn>
              </a:cxnLst>
              <a:rect l="l" t="t" r="r" b="b"/>
              <a:pathLst>
                <a:path w="22746" h="92094">
                  <a:moveTo>
                    <a:pt x="0" y="0"/>
                  </a:moveTo>
                  <a:lnTo>
                    <a:pt x="0" y="92095"/>
                  </a:lnTo>
                </a:path>
              </a:pathLst>
            </a:custGeom>
            <a:ln w="28575"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236" name="Freeform: Shape 235">
              <a:extLst>
                <a:ext uri="{FF2B5EF4-FFF2-40B4-BE49-F238E27FC236}">
                  <a16:creationId xmlns:a16="http://schemas.microsoft.com/office/drawing/2014/main" id="{758C9527-DCD6-488F-9219-FBBEF7D3BDF2}"/>
                </a:ext>
              </a:extLst>
            </p:cNvPr>
            <p:cNvSpPr/>
            <p:nvPr/>
          </p:nvSpPr>
          <p:spPr>
            <a:xfrm>
              <a:off x="10027820" y="4327717"/>
              <a:ext cx="22746" cy="92094"/>
            </a:xfrm>
            <a:custGeom>
              <a:avLst/>
              <a:gdLst>
                <a:gd name="connsiteX0" fmla="*/ 0 w 22746"/>
                <a:gd name="connsiteY0" fmla="*/ 0 h 92094"/>
                <a:gd name="connsiteX1" fmla="*/ 0 w 22746"/>
                <a:gd name="connsiteY1" fmla="*/ 92095 h 92094"/>
              </a:gdLst>
              <a:ahLst/>
              <a:cxnLst>
                <a:cxn ang="0">
                  <a:pos x="connsiteX0" y="connsiteY0"/>
                </a:cxn>
                <a:cxn ang="0">
                  <a:pos x="connsiteX1" y="connsiteY1"/>
                </a:cxn>
              </a:cxnLst>
              <a:rect l="l" t="t" r="r" b="b"/>
              <a:pathLst>
                <a:path w="22746" h="92094">
                  <a:moveTo>
                    <a:pt x="0" y="0"/>
                  </a:moveTo>
                  <a:lnTo>
                    <a:pt x="0" y="92095"/>
                  </a:lnTo>
                </a:path>
              </a:pathLst>
            </a:custGeom>
            <a:ln w="28575"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237" name="Freeform: Shape 236">
              <a:extLst>
                <a:ext uri="{FF2B5EF4-FFF2-40B4-BE49-F238E27FC236}">
                  <a16:creationId xmlns:a16="http://schemas.microsoft.com/office/drawing/2014/main" id="{52B6D161-E2E3-4783-8D8E-42CD5B02ECBA}"/>
                </a:ext>
              </a:extLst>
            </p:cNvPr>
            <p:cNvSpPr/>
            <p:nvPr/>
          </p:nvSpPr>
          <p:spPr>
            <a:xfrm>
              <a:off x="10267794" y="4355346"/>
              <a:ext cx="22746" cy="92094"/>
            </a:xfrm>
            <a:custGeom>
              <a:avLst/>
              <a:gdLst>
                <a:gd name="connsiteX0" fmla="*/ 0 w 22746"/>
                <a:gd name="connsiteY0" fmla="*/ 0 h 92094"/>
                <a:gd name="connsiteX1" fmla="*/ 0 w 22746"/>
                <a:gd name="connsiteY1" fmla="*/ 92095 h 92094"/>
              </a:gdLst>
              <a:ahLst/>
              <a:cxnLst>
                <a:cxn ang="0">
                  <a:pos x="connsiteX0" y="connsiteY0"/>
                </a:cxn>
                <a:cxn ang="0">
                  <a:pos x="connsiteX1" y="connsiteY1"/>
                </a:cxn>
              </a:cxnLst>
              <a:rect l="l" t="t" r="r" b="b"/>
              <a:pathLst>
                <a:path w="22746" h="92094">
                  <a:moveTo>
                    <a:pt x="0" y="0"/>
                  </a:moveTo>
                  <a:lnTo>
                    <a:pt x="0" y="92095"/>
                  </a:lnTo>
                </a:path>
              </a:pathLst>
            </a:custGeom>
            <a:ln w="28575"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238" name="Freeform: Shape 237">
              <a:extLst>
                <a:ext uri="{FF2B5EF4-FFF2-40B4-BE49-F238E27FC236}">
                  <a16:creationId xmlns:a16="http://schemas.microsoft.com/office/drawing/2014/main" id="{B0B93C8F-8EE2-4E02-A49D-1A376980E65E}"/>
                </a:ext>
              </a:extLst>
            </p:cNvPr>
            <p:cNvSpPr/>
            <p:nvPr/>
          </p:nvSpPr>
          <p:spPr>
            <a:xfrm>
              <a:off x="10602846" y="4355346"/>
              <a:ext cx="22746" cy="92094"/>
            </a:xfrm>
            <a:custGeom>
              <a:avLst/>
              <a:gdLst>
                <a:gd name="connsiteX0" fmla="*/ 0 w 22746"/>
                <a:gd name="connsiteY0" fmla="*/ 0 h 92094"/>
                <a:gd name="connsiteX1" fmla="*/ 0 w 22746"/>
                <a:gd name="connsiteY1" fmla="*/ 92095 h 92094"/>
              </a:gdLst>
              <a:ahLst/>
              <a:cxnLst>
                <a:cxn ang="0">
                  <a:pos x="connsiteX0" y="connsiteY0"/>
                </a:cxn>
                <a:cxn ang="0">
                  <a:pos x="connsiteX1" y="connsiteY1"/>
                </a:cxn>
              </a:cxnLst>
              <a:rect l="l" t="t" r="r" b="b"/>
              <a:pathLst>
                <a:path w="22746" h="92094">
                  <a:moveTo>
                    <a:pt x="0" y="0"/>
                  </a:moveTo>
                  <a:lnTo>
                    <a:pt x="0" y="92095"/>
                  </a:lnTo>
                </a:path>
              </a:pathLst>
            </a:custGeom>
            <a:ln w="28575"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239" name="Freeform: Shape 238">
              <a:extLst>
                <a:ext uri="{FF2B5EF4-FFF2-40B4-BE49-F238E27FC236}">
                  <a16:creationId xmlns:a16="http://schemas.microsoft.com/office/drawing/2014/main" id="{38057F0D-B17F-45E6-A9FB-B9ADF34956F9}"/>
                </a:ext>
              </a:extLst>
            </p:cNvPr>
            <p:cNvSpPr/>
            <p:nvPr/>
          </p:nvSpPr>
          <p:spPr>
            <a:xfrm>
              <a:off x="10622408" y="4355346"/>
              <a:ext cx="22746" cy="92094"/>
            </a:xfrm>
            <a:custGeom>
              <a:avLst/>
              <a:gdLst>
                <a:gd name="connsiteX0" fmla="*/ 0 w 22746"/>
                <a:gd name="connsiteY0" fmla="*/ 0 h 92094"/>
                <a:gd name="connsiteX1" fmla="*/ 0 w 22746"/>
                <a:gd name="connsiteY1" fmla="*/ 92095 h 92094"/>
              </a:gdLst>
              <a:ahLst/>
              <a:cxnLst>
                <a:cxn ang="0">
                  <a:pos x="connsiteX0" y="connsiteY0"/>
                </a:cxn>
                <a:cxn ang="0">
                  <a:pos x="connsiteX1" y="connsiteY1"/>
                </a:cxn>
              </a:cxnLst>
              <a:rect l="l" t="t" r="r" b="b"/>
              <a:pathLst>
                <a:path w="22746" h="92094">
                  <a:moveTo>
                    <a:pt x="0" y="0"/>
                  </a:moveTo>
                  <a:lnTo>
                    <a:pt x="0" y="92095"/>
                  </a:lnTo>
                </a:path>
              </a:pathLst>
            </a:custGeom>
            <a:ln w="28575"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240" name="Freeform: Shape 239">
              <a:extLst>
                <a:ext uri="{FF2B5EF4-FFF2-40B4-BE49-F238E27FC236}">
                  <a16:creationId xmlns:a16="http://schemas.microsoft.com/office/drawing/2014/main" id="{B1EF924F-B166-4838-BB41-03E46B497C62}"/>
                </a:ext>
              </a:extLst>
            </p:cNvPr>
            <p:cNvSpPr/>
            <p:nvPr/>
          </p:nvSpPr>
          <p:spPr>
            <a:xfrm>
              <a:off x="10692921" y="4355346"/>
              <a:ext cx="22746" cy="92094"/>
            </a:xfrm>
            <a:custGeom>
              <a:avLst/>
              <a:gdLst>
                <a:gd name="connsiteX0" fmla="*/ 0 w 22746"/>
                <a:gd name="connsiteY0" fmla="*/ 0 h 92094"/>
                <a:gd name="connsiteX1" fmla="*/ 0 w 22746"/>
                <a:gd name="connsiteY1" fmla="*/ 92095 h 92094"/>
              </a:gdLst>
              <a:ahLst/>
              <a:cxnLst>
                <a:cxn ang="0">
                  <a:pos x="connsiteX0" y="connsiteY0"/>
                </a:cxn>
                <a:cxn ang="0">
                  <a:pos x="connsiteX1" y="connsiteY1"/>
                </a:cxn>
              </a:cxnLst>
              <a:rect l="l" t="t" r="r" b="b"/>
              <a:pathLst>
                <a:path w="22746" h="92094">
                  <a:moveTo>
                    <a:pt x="0" y="0"/>
                  </a:moveTo>
                  <a:lnTo>
                    <a:pt x="0" y="92095"/>
                  </a:lnTo>
                </a:path>
              </a:pathLst>
            </a:custGeom>
            <a:ln w="28575"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241" name="Freeform: Shape 240">
              <a:extLst>
                <a:ext uri="{FF2B5EF4-FFF2-40B4-BE49-F238E27FC236}">
                  <a16:creationId xmlns:a16="http://schemas.microsoft.com/office/drawing/2014/main" id="{E08A2666-50E9-4FC9-9021-A3B6C131E7EE}"/>
                </a:ext>
              </a:extLst>
            </p:cNvPr>
            <p:cNvSpPr/>
            <p:nvPr/>
          </p:nvSpPr>
          <p:spPr>
            <a:xfrm>
              <a:off x="10945860" y="4355346"/>
              <a:ext cx="22746" cy="92094"/>
            </a:xfrm>
            <a:custGeom>
              <a:avLst/>
              <a:gdLst>
                <a:gd name="connsiteX0" fmla="*/ 0 w 22746"/>
                <a:gd name="connsiteY0" fmla="*/ 0 h 92094"/>
                <a:gd name="connsiteX1" fmla="*/ 0 w 22746"/>
                <a:gd name="connsiteY1" fmla="*/ 92095 h 92094"/>
              </a:gdLst>
              <a:ahLst/>
              <a:cxnLst>
                <a:cxn ang="0">
                  <a:pos x="connsiteX0" y="connsiteY0"/>
                </a:cxn>
                <a:cxn ang="0">
                  <a:pos x="connsiteX1" y="connsiteY1"/>
                </a:cxn>
              </a:cxnLst>
              <a:rect l="l" t="t" r="r" b="b"/>
              <a:pathLst>
                <a:path w="22746" h="92094">
                  <a:moveTo>
                    <a:pt x="0" y="0"/>
                  </a:moveTo>
                  <a:lnTo>
                    <a:pt x="0" y="92095"/>
                  </a:lnTo>
                </a:path>
              </a:pathLst>
            </a:custGeom>
            <a:ln w="28575"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sp>
          <p:nvSpPr>
            <p:cNvPr id="242" name="Freeform: Shape 241">
              <a:extLst>
                <a:ext uri="{FF2B5EF4-FFF2-40B4-BE49-F238E27FC236}">
                  <a16:creationId xmlns:a16="http://schemas.microsoft.com/office/drawing/2014/main" id="{F99E17E5-6307-40C0-B39D-AAF8A5E535EA}"/>
                </a:ext>
              </a:extLst>
            </p:cNvPr>
            <p:cNvSpPr/>
            <p:nvPr/>
          </p:nvSpPr>
          <p:spPr>
            <a:xfrm>
              <a:off x="5802019" y="1912140"/>
              <a:ext cx="5154532" cy="2489536"/>
            </a:xfrm>
            <a:custGeom>
              <a:avLst/>
              <a:gdLst>
                <a:gd name="connsiteX0" fmla="*/ 0 w 5154532"/>
                <a:gd name="connsiteY0" fmla="*/ 0 h 2489536"/>
                <a:gd name="connsiteX1" fmla="*/ 38669 w 5154532"/>
                <a:gd name="connsiteY1" fmla="*/ 0 h 2489536"/>
                <a:gd name="connsiteX2" fmla="*/ 38669 w 5154532"/>
                <a:gd name="connsiteY2" fmla="*/ 15585 h 2489536"/>
                <a:gd name="connsiteX3" fmla="*/ 58230 w 5154532"/>
                <a:gd name="connsiteY3" fmla="*/ 15585 h 2489536"/>
                <a:gd name="connsiteX4" fmla="*/ 58230 w 5154532"/>
                <a:gd name="connsiteY4" fmla="*/ 29754 h 2489536"/>
                <a:gd name="connsiteX5" fmla="*/ 72561 w 5154532"/>
                <a:gd name="connsiteY5" fmla="*/ 29754 h 2489536"/>
                <a:gd name="connsiteX6" fmla="*/ 72561 w 5154532"/>
                <a:gd name="connsiteY6" fmla="*/ 52140 h 2489536"/>
                <a:gd name="connsiteX7" fmla="*/ 127152 w 5154532"/>
                <a:gd name="connsiteY7" fmla="*/ 52140 h 2489536"/>
                <a:gd name="connsiteX8" fmla="*/ 127152 w 5154532"/>
                <a:gd name="connsiteY8" fmla="*/ 67300 h 2489536"/>
                <a:gd name="connsiteX9" fmla="*/ 144211 w 5154532"/>
                <a:gd name="connsiteY9" fmla="*/ 67300 h 2489536"/>
                <a:gd name="connsiteX10" fmla="*/ 144211 w 5154532"/>
                <a:gd name="connsiteY10" fmla="*/ 93795 h 2489536"/>
                <a:gd name="connsiteX11" fmla="*/ 158996 w 5154532"/>
                <a:gd name="connsiteY11" fmla="*/ 93795 h 2489536"/>
                <a:gd name="connsiteX12" fmla="*/ 158996 w 5154532"/>
                <a:gd name="connsiteY12" fmla="*/ 134033 h 2489536"/>
                <a:gd name="connsiteX13" fmla="*/ 181288 w 5154532"/>
                <a:gd name="connsiteY13" fmla="*/ 134033 h 2489536"/>
                <a:gd name="connsiteX14" fmla="*/ 181288 w 5154532"/>
                <a:gd name="connsiteY14" fmla="*/ 210968 h 2489536"/>
                <a:gd name="connsiteX15" fmla="*/ 198120 w 5154532"/>
                <a:gd name="connsiteY15" fmla="*/ 210968 h 2489536"/>
                <a:gd name="connsiteX16" fmla="*/ 198120 w 5154532"/>
                <a:gd name="connsiteY16" fmla="*/ 339618 h 2489536"/>
                <a:gd name="connsiteX17" fmla="*/ 211995 w 5154532"/>
                <a:gd name="connsiteY17" fmla="*/ 339618 h 2489536"/>
                <a:gd name="connsiteX18" fmla="*/ 211995 w 5154532"/>
                <a:gd name="connsiteY18" fmla="*/ 681644 h 2489536"/>
                <a:gd name="connsiteX19" fmla="*/ 232694 w 5154532"/>
                <a:gd name="connsiteY19" fmla="*/ 681644 h 2489536"/>
                <a:gd name="connsiteX20" fmla="*/ 232694 w 5154532"/>
                <a:gd name="connsiteY20" fmla="*/ 872068 h 2489536"/>
                <a:gd name="connsiteX21" fmla="*/ 245432 w 5154532"/>
                <a:gd name="connsiteY21" fmla="*/ 872068 h 2489536"/>
                <a:gd name="connsiteX22" fmla="*/ 245432 w 5154532"/>
                <a:gd name="connsiteY22" fmla="*/ 936392 h 2489536"/>
                <a:gd name="connsiteX23" fmla="*/ 261810 w 5154532"/>
                <a:gd name="connsiteY23" fmla="*/ 936392 h 2489536"/>
                <a:gd name="connsiteX24" fmla="*/ 261810 w 5154532"/>
                <a:gd name="connsiteY24" fmla="*/ 989949 h 2489536"/>
                <a:gd name="connsiteX25" fmla="*/ 281826 w 5154532"/>
                <a:gd name="connsiteY25" fmla="*/ 989949 h 2489536"/>
                <a:gd name="connsiteX26" fmla="*/ 281826 w 5154532"/>
                <a:gd name="connsiteY26" fmla="*/ 1006101 h 2489536"/>
                <a:gd name="connsiteX27" fmla="*/ 295701 w 5154532"/>
                <a:gd name="connsiteY27" fmla="*/ 1006101 h 2489536"/>
                <a:gd name="connsiteX28" fmla="*/ 295701 w 5154532"/>
                <a:gd name="connsiteY28" fmla="*/ 1018286 h 2489536"/>
                <a:gd name="connsiteX29" fmla="*/ 319585 w 5154532"/>
                <a:gd name="connsiteY29" fmla="*/ 1018286 h 2489536"/>
                <a:gd name="connsiteX30" fmla="*/ 319585 w 5154532"/>
                <a:gd name="connsiteY30" fmla="*/ 1026929 h 2489536"/>
                <a:gd name="connsiteX31" fmla="*/ 345061 w 5154532"/>
                <a:gd name="connsiteY31" fmla="*/ 1026929 h 2489536"/>
                <a:gd name="connsiteX32" fmla="*/ 345061 w 5154532"/>
                <a:gd name="connsiteY32" fmla="*/ 1041805 h 2489536"/>
                <a:gd name="connsiteX33" fmla="*/ 385322 w 5154532"/>
                <a:gd name="connsiteY33" fmla="*/ 1041805 h 2489536"/>
                <a:gd name="connsiteX34" fmla="*/ 385322 w 5154532"/>
                <a:gd name="connsiteY34" fmla="*/ 1059941 h 2489536"/>
                <a:gd name="connsiteX35" fmla="*/ 420124 w 5154532"/>
                <a:gd name="connsiteY35" fmla="*/ 1059941 h 2489536"/>
                <a:gd name="connsiteX36" fmla="*/ 420124 w 5154532"/>
                <a:gd name="connsiteY36" fmla="*/ 1124266 h 2489536"/>
                <a:gd name="connsiteX37" fmla="*/ 435136 w 5154532"/>
                <a:gd name="connsiteY37" fmla="*/ 1124266 h 2489536"/>
                <a:gd name="connsiteX38" fmla="*/ 435136 w 5154532"/>
                <a:gd name="connsiteY38" fmla="*/ 1201200 h 2489536"/>
                <a:gd name="connsiteX39" fmla="*/ 450376 w 5154532"/>
                <a:gd name="connsiteY39" fmla="*/ 1201200 h 2489536"/>
                <a:gd name="connsiteX40" fmla="*/ 450376 w 5154532"/>
                <a:gd name="connsiteY40" fmla="*/ 1368530 h 2489536"/>
                <a:gd name="connsiteX41" fmla="*/ 466753 w 5154532"/>
                <a:gd name="connsiteY41" fmla="*/ 1368530 h 2489536"/>
                <a:gd name="connsiteX42" fmla="*/ 466753 w 5154532"/>
                <a:gd name="connsiteY42" fmla="*/ 1419961 h 2489536"/>
                <a:gd name="connsiteX43" fmla="*/ 486543 w 5154532"/>
                <a:gd name="connsiteY43" fmla="*/ 1419961 h 2489536"/>
                <a:gd name="connsiteX44" fmla="*/ 486543 w 5154532"/>
                <a:gd name="connsiteY44" fmla="*/ 1449715 h 2489536"/>
                <a:gd name="connsiteX45" fmla="*/ 520435 w 5154532"/>
                <a:gd name="connsiteY45" fmla="*/ 1449715 h 2489536"/>
                <a:gd name="connsiteX46" fmla="*/ 520435 w 5154532"/>
                <a:gd name="connsiteY46" fmla="*/ 1458641 h 2489536"/>
                <a:gd name="connsiteX47" fmla="*/ 554327 w 5154532"/>
                <a:gd name="connsiteY47" fmla="*/ 1458641 h 2489536"/>
                <a:gd name="connsiteX48" fmla="*/ 554327 w 5154532"/>
                <a:gd name="connsiteY48" fmla="*/ 1471534 h 2489536"/>
                <a:gd name="connsiteX49" fmla="*/ 586626 w 5154532"/>
                <a:gd name="connsiteY49" fmla="*/ 1471534 h 2489536"/>
                <a:gd name="connsiteX50" fmla="*/ 586626 w 5154532"/>
                <a:gd name="connsiteY50" fmla="*/ 1484428 h 2489536"/>
                <a:gd name="connsiteX51" fmla="*/ 626432 w 5154532"/>
                <a:gd name="connsiteY51" fmla="*/ 1484428 h 2489536"/>
                <a:gd name="connsiteX52" fmla="*/ 626432 w 5154532"/>
                <a:gd name="connsiteY52" fmla="*/ 1496329 h 2489536"/>
                <a:gd name="connsiteX53" fmla="*/ 656685 w 5154532"/>
                <a:gd name="connsiteY53" fmla="*/ 1496329 h 2489536"/>
                <a:gd name="connsiteX54" fmla="*/ 656685 w 5154532"/>
                <a:gd name="connsiteY54" fmla="*/ 1576806 h 2489536"/>
                <a:gd name="connsiteX55" fmla="*/ 670333 w 5154532"/>
                <a:gd name="connsiteY55" fmla="*/ 1576806 h 2489536"/>
                <a:gd name="connsiteX56" fmla="*/ 670333 w 5154532"/>
                <a:gd name="connsiteY56" fmla="*/ 1645523 h 2489536"/>
                <a:gd name="connsiteX57" fmla="*/ 692169 w 5154532"/>
                <a:gd name="connsiteY57" fmla="*/ 1645523 h 2489536"/>
                <a:gd name="connsiteX58" fmla="*/ 692169 w 5154532"/>
                <a:gd name="connsiteY58" fmla="*/ 1711123 h 2489536"/>
                <a:gd name="connsiteX59" fmla="*/ 704907 w 5154532"/>
                <a:gd name="connsiteY59" fmla="*/ 1711123 h 2489536"/>
                <a:gd name="connsiteX60" fmla="*/ 704907 w 5154532"/>
                <a:gd name="connsiteY60" fmla="*/ 1732234 h 2489536"/>
                <a:gd name="connsiteX61" fmla="*/ 741301 w 5154532"/>
                <a:gd name="connsiteY61" fmla="*/ 1732234 h 2489536"/>
                <a:gd name="connsiteX62" fmla="*/ 741301 w 5154532"/>
                <a:gd name="connsiteY62" fmla="*/ 1748102 h 2489536"/>
                <a:gd name="connsiteX63" fmla="*/ 810222 w 5154532"/>
                <a:gd name="connsiteY63" fmla="*/ 1748102 h 2489536"/>
                <a:gd name="connsiteX64" fmla="*/ 810222 w 5154532"/>
                <a:gd name="connsiteY64" fmla="*/ 1758304 h 2489536"/>
                <a:gd name="connsiteX65" fmla="*/ 878688 w 5154532"/>
                <a:gd name="connsiteY65" fmla="*/ 1758304 h 2489536"/>
                <a:gd name="connsiteX66" fmla="*/ 878688 w 5154532"/>
                <a:gd name="connsiteY66" fmla="*/ 1771905 h 2489536"/>
                <a:gd name="connsiteX67" fmla="*/ 895066 w 5154532"/>
                <a:gd name="connsiteY67" fmla="*/ 1771905 h 2489536"/>
                <a:gd name="connsiteX68" fmla="*/ 895066 w 5154532"/>
                <a:gd name="connsiteY68" fmla="*/ 1851390 h 2489536"/>
                <a:gd name="connsiteX69" fmla="*/ 907804 w 5154532"/>
                <a:gd name="connsiteY69" fmla="*/ 1851390 h 2489536"/>
                <a:gd name="connsiteX70" fmla="*/ 907804 w 5154532"/>
                <a:gd name="connsiteY70" fmla="*/ 1917415 h 2489536"/>
                <a:gd name="connsiteX71" fmla="*/ 925318 w 5154532"/>
                <a:gd name="connsiteY71" fmla="*/ 1917415 h 2489536"/>
                <a:gd name="connsiteX72" fmla="*/ 925318 w 5154532"/>
                <a:gd name="connsiteY72" fmla="*/ 1968988 h 2489536"/>
                <a:gd name="connsiteX73" fmla="*/ 963987 w 5154532"/>
                <a:gd name="connsiteY73" fmla="*/ 1968988 h 2489536"/>
                <a:gd name="connsiteX74" fmla="*/ 963987 w 5154532"/>
                <a:gd name="connsiteY74" fmla="*/ 1980890 h 2489536"/>
                <a:gd name="connsiteX75" fmla="*/ 979909 w 5154532"/>
                <a:gd name="connsiteY75" fmla="*/ 1980890 h 2489536"/>
                <a:gd name="connsiteX76" fmla="*/ 979909 w 5154532"/>
                <a:gd name="connsiteY76" fmla="*/ 1990383 h 2489536"/>
                <a:gd name="connsiteX77" fmla="*/ 1115022 w 5154532"/>
                <a:gd name="connsiteY77" fmla="*/ 1990383 h 2489536"/>
                <a:gd name="connsiteX78" fmla="*/ 1115022 w 5154532"/>
                <a:gd name="connsiteY78" fmla="*/ 2007526 h 2489536"/>
                <a:gd name="connsiteX79" fmla="*/ 1130945 w 5154532"/>
                <a:gd name="connsiteY79" fmla="*/ 2007526 h 2489536"/>
                <a:gd name="connsiteX80" fmla="*/ 1130945 w 5154532"/>
                <a:gd name="connsiteY80" fmla="*/ 2048190 h 2489536"/>
                <a:gd name="connsiteX81" fmla="*/ 1162562 w 5154532"/>
                <a:gd name="connsiteY81" fmla="*/ 2048190 h 2489536"/>
                <a:gd name="connsiteX82" fmla="*/ 1162562 w 5154532"/>
                <a:gd name="connsiteY82" fmla="*/ 2070009 h 2489536"/>
                <a:gd name="connsiteX83" fmla="*/ 1351811 w 5154532"/>
                <a:gd name="connsiteY83" fmla="*/ 2070009 h 2489536"/>
                <a:gd name="connsiteX84" fmla="*/ 1351811 w 5154532"/>
                <a:gd name="connsiteY84" fmla="*/ 2084886 h 2489536"/>
                <a:gd name="connsiteX85" fmla="*/ 1372055 w 5154532"/>
                <a:gd name="connsiteY85" fmla="*/ 2084886 h 2489536"/>
                <a:gd name="connsiteX86" fmla="*/ 1372055 w 5154532"/>
                <a:gd name="connsiteY86" fmla="*/ 2096646 h 2489536"/>
                <a:gd name="connsiteX87" fmla="*/ 1390025 w 5154532"/>
                <a:gd name="connsiteY87" fmla="*/ 2096646 h 2489536"/>
                <a:gd name="connsiteX88" fmla="*/ 1390025 w 5154532"/>
                <a:gd name="connsiteY88" fmla="*/ 2108972 h 2489536"/>
                <a:gd name="connsiteX89" fmla="*/ 1403217 w 5154532"/>
                <a:gd name="connsiteY89" fmla="*/ 2108972 h 2489536"/>
                <a:gd name="connsiteX90" fmla="*/ 1403217 w 5154532"/>
                <a:gd name="connsiteY90" fmla="*/ 2125408 h 2489536"/>
                <a:gd name="connsiteX91" fmla="*/ 1425509 w 5154532"/>
                <a:gd name="connsiteY91" fmla="*/ 2125408 h 2489536"/>
                <a:gd name="connsiteX92" fmla="*/ 1425509 w 5154532"/>
                <a:gd name="connsiteY92" fmla="*/ 2135042 h 2489536"/>
                <a:gd name="connsiteX93" fmla="*/ 1556300 w 5154532"/>
                <a:gd name="connsiteY93" fmla="*/ 2135042 h 2489536"/>
                <a:gd name="connsiteX94" fmla="*/ 1556300 w 5154532"/>
                <a:gd name="connsiteY94" fmla="*/ 2145952 h 2489536"/>
                <a:gd name="connsiteX95" fmla="*/ 1578591 w 5154532"/>
                <a:gd name="connsiteY95" fmla="*/ 2145952 h 2489536"/>
                <a:gd name="connsiteX96" fmla="*/ 1578591 w 5154532"/>
                <a:gd name="connsiteY96" fmla="*/ 2158704 h 2489536"/>
                <a:gd name="connsiteX97" fmla="*/ 1592466 w 5154532"/>
                <a:gd name="connsiteY97" fmla="*/ 2158704 h 2489536"/>
                <a:gd name="connsiteX98" fmla="*/ 1592466 w 5154532"/>
                <a:gd name="connsiteY98" fmla="*/ 2175989 h 2489536"/>
                <a:gd name="connsiteX99" fmla="*/ 1697782 w 5154532"/>
                <a:gd name="connsiteY99" fmla="*/ 2175989 h 2489536"/>
                <a:gd name="connsiteX100" fmla="*/ 1697782 w 5154532"/>
                <a:gd name="connsiteY100" fmla="*/ 2187182 h 2489536"/>
                <a:gd name="connsiteX101" fmla="*/ 1712794 w 5154532"/>
                <a:gd name="connsiteY101" fmla="*/ 2187182 h 2489536"/>
                <a:gd name="connsiteX102" fmla="*/ 1712794 w 5154532"/>
                <a:gd name="connsiteY102" fmla="*/ 2201067 h 2489536"/>
                <a:gd name="connsiteX103" fmla="*/ 1742364 w 5154532"/>
                <a:gd name="connsiteY103" fmla="*/ 2201067 h 2489536"/>
                <a:gd name="connsiteX104" fmla="*/ 1742364 w 5154532"/>
                <a:gd name="connsiteY104" fmla="*/ 2215519 h 2489536"/>
                <a:gd name="connsiteX105" fmla="*/ 1771479 w 5154532"/>
                <a:gd name="connsiteY105" fmla="*/ 2215519 h 2489536"/>
                <a:gd name="connsiteX106" fmla="*/ 1771479 w 5154532"/>
                <a:gd name="connsiteY106" fmla="*/ 2226146 h 2489536"/>
                <a:gd name="connsiteX107" fmla="*/ 1859963 w 5154532"/>
                <a:gd name="connsiteY107" fmla="*/ 2226146 h 2489536"/>
                <a:gd name="connsiteX108" fmla="*/ 1859963 w 5154532"/>
                <a:gd name="connsiteY108" fmla="*/ 2239605 h 2489536"/>
                <a:gd name="connsiteX109" fmla="*/ 1902953 w 5154532"/>
                <a:gd name="connsiteY109" fmla="*/ 2239605 h 2489536"/>
                <a:gd name="connsiteX110" fmla="*/ 1902953 w 5154532"/>
                <a:gd name="connsiteY110" fmla="*/ 2251223 h 2489536"/>
                <a:gd name="connsiteX111" fmla="*/ 1925244 w 5154532"/>
                <a:gd name="connsiteY111" fmla="*/ 2251223 h 2489536"/>
                <a:gd name="connsiteX112" fmla="*/ 1925244 w 5154532"/>
                <a:gd name="connsiteY112" fmla="*/ 2263692 h 2489536"/>
                <a:gd name="connsiteX113" fmla="*/ 2017367 w 5154532"/>
                <a:gd name="connsiteY113" fmla="*/ 2263692 h 2489536"/>
                <a:gd name="connsiteX114" fmla="*/ 2017367 w 5154532"/>
                <a:gd name="connsiteY114" fmla="*/ 2283244 h 2489536"/>
                <a:gd name="connsiteX115" fmla="*/ 2034881 w 5154532"/>
                <a:gd name="connsiteY115" fmla="*/ 2283244 h 2489536"/>
                <a:gd name="connsiteX116" fmla="*/ 2034881 w 5154532"/>
                <a:gd name="connsiteY116" fmla="*/ 2305347 h 2489536"/>
                <a:gd name="connsiteX117" fmla="*/ 2060812 w 5154532"/>
                <a:gd name="connsiteY117" fmla="*/ 2305347 h 2489536"/>
                <a:gd name="connsiteX118" fmla="*/ 2060812 w 5154532"/>
                <a:gd name="connsiteY118" fmla="*/ 2319232 h 2489536"/>
                <a:gd name="connsiteX119" fmla="*/ 2306699 w 5154532"/>
                <a:gd name="connsiteY119" fmla="*/ 2319232 h 2489536"/>
                <a:gd name="connsiteX120" fmla="*/ 2306699 w 5154532"/>
                <a:gd name="connsiteY120" fmla="*/ 2332125 h 2489536"/>
                <a:gd name="connsiteX121" fmla="*/ 2388813 w 5154532"/>
                <a:gd name="connsiteY121" fmla="*/ 2332125 h 2489536"/>
                <a:gd name="connsiteX122" fmla="*/ 2388813 w 5154532"/>
                <a:gd name="connsiteY122" fmla="*/ 2360462 h 2489536"/>
                <a:gd name="connsiteX123" fmla="*/ 2550084 w 5154532"/>
                <a:gd name="connsiteY123" fmla="*/ 2360462 h 2489536"/>
                <a:gd name="connsiteX124" fmla="*/ 2550084 w 5154532"/>
                <a:gd name="connsiteY124" fmla="*/ 2370380 h 2489536"/>
                <a:gd name="connsiteX125" fmla="*/ 2731827 w 5154532"/>
                <a:gd name="connsiteY125" fmla="*/ 2370380 h 2489536"/>
                <a:gd name="connsiteX126" fmla="*/ 2731827 w 5154532"/>
                <a:gd name="connsiteY126" fmla="*/ 2388516 h 2489536"/>
                <a:gd name="connsiteX127" fmla="*/ 2747067 w 5154532"/>
                <a:gd name="connsiteY127" fmla="*/ 2388516 h 2489536"/>
                <a:gd name="connsiteX128" fmla="*/ 2747067 w 5154532"/>
                <a:gd name="connsiteY128" fmla="*/ 2397442 h 2489536"/>
                <a:gd name="connsiteX129" fmla="*/ 3057554 w 5154532"/>
                <a:gd name="connsiteY129" fmla="*/ 2397442 h 2489536"/>
                <a:gd name="connsiteX130" fmla="*/ 3057554 w 5154532"/>
                <a:gd name="connsiteY130" fmla="*/ 2411327 h 2489536"/>
                <a:gd name="connsiteX131" fmla="*/ 3071884 w 5154532"/>
                <a:gd name="connsiteY131" fmla="*/ 2411327 h 2489536"/>
                <a:gd name="connsiteX132" fmla="*/ 3071884 w 5154532"/>
                <a:gd name="connsiteY132" fmla="*/ 2418270 h 2489536"/>
                <a:gd name="connsiteX133" fmla="*/ 3414897 w 5154532"/>
                <a:gd name="connsiteY133" fmla="*/ 2418270 h 2489536"/>
                <a:gd name="connsiteX134" fmla="*/ 3444468 w 5154532"/>
                <a:gd name="connsiteY134" fmla="*/ 2418270 h 2489536"/>
                <a:gd name="connsiteX135" fmla="*/ 3444468 w 5154532"/>
                <a:gd name="connsiteY135" fmla="*/ 2449298 h 2489536"/>
                <a:gd name="connsiteX136" fmla="*/ 3770422 w 5154532"/>
                <a:gd name="connsiteY136" fmla="*/ 2449298 h 2489536"/>
                <a:gd name="connsiteX137" fmla="*/ 3770422 w 5154532"/>
                <a:gd name="connsiteY137" fmla="*/ 2462758 h 2489536"/>
                <a:gd name="connsiteX138" fmla="*/ 4334302 w 5154532"/>
                <a:gd name="connsiteY138" fmla="*/ 2462758 h 2489536"/>
                <a:gd name="connsiteX139" fmla="*/ 4466685 w 5154532"/>
                <a:gd name="connsiteY139" fmla="*/ 2462758 h 2489536"/>
                <a:gd name="connsiteX140" fmla="*/ 4466685 w 5154532"/>
                <a:gd name="connsiteY140" fmla="*/ 2489537 h 2489536"/>
                <a:gd name="connsiteX141" fmla="*/ 4788317 w 5154532"/>
                <a:gd name="connsiteY141" fmla="*/ 2489537 h 2489536"/>
                <a:gd name="connsiteX142" fmla="*/ 5154532 w 5154532"/>
                <a:gd name="connsiteY142" fmla="*/ 2489537 h 2489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5154532" h="2489536">
                  <a:moveTo>
                    <a:pt x="0" y="0"/>
                  </a:moveTo>
                  <a:lnTo>
                    <a:pt x="38669" y="0"/>
                  </a:lnTo>
                  <a:lnTo>
                    <a:pt x="38669" y="15585"/>
                  </a:lnTo>
                  <a:lnTo>
                    <a:pt x="58230" y="15585"/>
                  </a:lnTo>
                  <a:lnTo>
                    <a:pt x="58230" y="29754"/>
                  </a:lnTo>
                  <a:lnTo>
                    <a:pt x="72561" y="29754"/>
                  </a:lnTo>
                  <a:lnTo>
                    <a:pt x="72561" y="52140"/>
                  </a:lnTo>
                  <a:lnTo>
                    <a:pt x="127152" y="52140"/>
                  </a:lnTo>
                  <a:lnTo>
                    <a:pt x="127152" y="67300"/>
                  </a:lnTo>
                  <a:lnTo>
                    <a:pt x="144211" y="67300"/>
                  </a:lnTo>
                  <a:lnTo>
                    <a:pt x="144211" y="93795"/>
                  </a:lnTo>
                  <a:lnTo>
                    <a:pt x="158996" y="93795"/>
                  </a:lnTo>
                  <a:lnTo>
                    <a:pt x="158996" y="134033"/>
                  </a:lnTo>
                  <a:lnTo>
                    <a:pt x="181288" y="134033"/>
                  </a:lnTo>
                  <a:lnTo>
                    <a:pt x="181288" y="210968"/>
                  </a:lnTo>
                  <a:lnTo>
                    <a:pt x="198120" y="210968"/>
                  </a:lnTo>
                  <a:lnTo>
                    <a:pt x="198120" y="339618"/>
                  </a:lnTo>
                  <a:lnTo>
                    <a:pt x="211995" y="339618"/>
                  </a:lnTo>
                  <a:lnTo>
                    <a:pt x="211995" y="681644"/>
                  </a:lnTo>
                  <a:lnTo>
                    <a:pt x="232694" y="681644"/>
                  </a:lnTo>
                  <a:lnTo>
                    <a:pt x="232694" y="872068"/>
                  </a:lnTo>
                  <a:lnTo>
                    <a:pt x="245432" y="872068"/>
                  </a:lnTo>
                  <a:lnTo>
                    <a:pt x="245432" y="936392"/>
                  </a:lnTo>
                  <a:lnTo>
                    <a:pt x="261810" y="936392"/>
                  </a:lnTo>
                  <a:lnTo>
                    <a:pt x="261810" y="989949"/>
                  </a:lnTo>
                  <a:lnTo>
                    <a:pt x="281826" y="989949"/>
                  </a:lnTo>
                  <a:lnTo>
                    <a:pt x="281826" y="1006101"/>
                  </a:lnTo>
                  <a:lnTo>
                    <a:pt x="295701" y="1006101"/>
                  </a:lnTo>
                  <a:lnTo>
                    <a:pt x="295701" y="1018286"/>
                  </a:lnTo>
                  <a:lnTo>
                    <a:pt x="319585" y="1018286"/>
                  </a:lnTo>
                  <a:lnTo>
                    <a:pt x="319585" y="1026929"/>
                  </a:lnTo>
                  <a:lnTo>
                    <a:pt x="345061" y="1026929"/>
                  </a:lnTo>
                  <a:lnTo>
                    <a:pt x="345061" y="1041805"/>
                  </a:lnTo>
                  <a:lnTo>
                    <a:pt x="385322" y="1041805"/>
                  </a:lnTo>
                  <a:lnTo>
                    <a:pt x="385322" y="1059941"/>
                  </a:lnTo>
                  <a:lnTo>
                    <a:pt x="420124" y="1059941"/>
                  </a:lnTo>
                  <a:lnTo>
                    <a:pt x="420124" y="1124266"/>
                  </a:lnTo>
                  <a:lnTo>
                    <a:pt x="435136" y="1124266"/>
                  </a:lnTo>
                  <a:lnTo>
                    <a:pt x="435136" y="1201200"/>
                  </a:lnTo>
                  <a:lnTo>
                    <a:pt x="450376" y="1201200"/>
                  </a:lnTo>
                  <a:lnTo>
                    <a:pt x="450376" y="1368530"/>
                  </a:lnTo>
                  <a:lnTo>
                    <a:pt x="466753" y="1368530"/>
                  </a:lnTo>
                  <a:lnTo>
                    <a:pt x="466753" y="1419961"/>
                  </a:lnTo>
                  <a:lnTo>
                    <a:pt x="486543" y="1419961"/>
                  </a:lnTo>
                  <a:lnTo>
                    <a:pt x="486543" y="1449715"/>
                  </a:lnTo>
                  <a:lnTo>
                    <a:pt x="520435" y="1449715"/>
                  </a:lnTo>
                  <a:lnTo>
                    <a:pt x="520435" y="1458641"/>
                  </a:lnTo>
                  <a:lnTo>
                    <a:pt x="554327" y="1458641"/>
                  </a:lnTo>
                  <a:lnTo>
                    <a:pt x="554327" y="1471534"/>
                  </a:lnTo>
                  <a:lnTo>
                    <a:pt x="586626" y="1471534"/>
                  </a:lnTo>
                  <a:lnTo>
                    <a:pt x="586626" y="1484428"/>
                  </a:lnTo>
                  <a:lnTo>
                    <a:pt x="626432" y="1484428"/>
                  </a:lnTo>
                  <a:lnTo>
                    <a:pt x="626432" y="1496329"/>
                  </a:lnTo>
                  <a:lnTo>
                    <a:pt x="656685" y="1496329"/>
                  </a:lnTo>
                  <a:lnTo>
                    <a:pt x="656685" y="1576806"/>
                  </a:lnTo>
                  <a:lnTo>
                    <a:pt x="670333" y="1576806"/>
                  </a:lnTo>
                  <a:lnTo>
                    <a:pt x="670333" y="1645523"/>
                  </a:lnTo>
                  <a:lnTo>
                    <a:pt x="692169" y="1645523"/>
                  </a:lnTo>
                  <a:lnTo>
                    <a:pt x="692169" y="1711123"/>
                  </a:lnTo>
                  <a:lnTo>
                    <a:pt x="704907" y="1711123"/>
                  </a:lnTo>
                  <a:lnTo>
                    <a:pt x="704907" y="1732234"/>
                  </a:lnTo>
                  <a:lnTo>
                    <a:pt x="741301" y="1732234"/>
                  </a:lnTo>
                  <a:lnTo>
                    <a:pt x="741301" y="1748102"/>
                  </a:lnTo>
                  <a:lnTo>
                    <a:pt x="810222" y="1748102"/>
                  </a:lnTo>
                  <a:lnTo>
                    <a:pt x="810222" y="1758304"/>
                  </a:lnTo>
                  <a:lnTo>
                    <a:pt x="878688" y="1758304"/>
                  </a:lnTo>
                  <a:lnTo>
                    <a:pt x="878688" y="1771905"/>
                  </a:lnTo>
                  <a:lnTo>
                    <a:pt x="895066" y="1771905"/>
                  </a:lnTo>
                  <a:lnTo>
                    <a:pt x="895066" y="1851390"/>
                  </a:lnTo>
                  <a:lnTo>
                    <a:pt x="907804" y="1851390"/>
                  </a:lnTo>
                  <a:lnTo>
                    <a:pt x="907804" y="1917415"/>
                  </a:lnTo>
                  <a:lnTo>
                    <a:pt x="925318" y="1917415"/>
                  </a:lnTo>
                  <a:lnTo>
                    <a:pt x="925318" y="1968988"/>
                  </a:lnTo>
                  <a:lnTo>
                    <a:pt x="963987" y="1968988"/>
                  </a:lnTo>
                  <a:lnTo>
                    <a:pt x="963987" y="1980890"/>
                  </a:lnTo>
                  <a:lnTo>
                    <a:pt x="979909" y="1980890"/>
                  </a:lnTo>
                  <a:lnTo>
                    <a:pt x="979909" y="1990383"/>
                  </a:lnTo>
                  <a:lnTo>
                    <a:pt x="1115022" y="1990383"/>
                  </a:lnTo>
                  <a:lnTo>
                    <a:pt x="1115022" y="2007526"/>
                  </a:lnTo>
                  <a:lnTo>
                    <a:pt x="1130945" y="2007526"/>
                  </a:lnTo>
                  <a:lnTo>
                    <a:pt x="1130945" y="2048190"/>
                  </a:lnTo>
                  <a:lnTo>
                    <a:pt x="1162562" y="2048190"/>
                  </a:lnTo>
                  <a:lnTo>
                    <a:pt x="1162562" y="2070009"/>
                  </a:lnTo>
                  <a:lnTo>
                    <a:pt x="1351811" y="2070009"/>
                  </a:lnTo>
                  <a:lnTo>
                    <a:pt x="1351811" y="2084886"/>
                  </a:lnTo>
                  <a:lnTo>
                    <a:pt x="1372055" y="2084886"/>
                  </a:lnTo>
                  <a:lnTo>
                    <a:pt x="1372055" y="2096646"/>
                  </a:lnTo>
                  <a:lnTo>
                    <a:pt x="1390025" y="2096646"/>
                  </a:lnTo>
                  <a:lnTo>
                    <a:pt x="1390025" y="2108972"/>
                  </a:lnTo>
                  <a:lnTo>
                    <a:pt x="1403217" y="2108972"/>
                  </a:lnTo>
                  <a:lnTo>
                    <a:pt x="1403217" y="2125408"/>
                  </a:lnTo>
                  <a:lnTo>
                    <a:pt x="1425509" y="2125408"/>
                  </a:lnTo>
                  <a:lnTo>
                    <a:pt x="1425509" y="2135042"/>
                  </a:lnTo>
                  <a:lnTo>
                    <a:pt x="1556300" y="2135042"/>
                  </a:lnTo>
                  <a:lnTo>
                    <a:pt x="1556300" y="2145952"/>
                  </a:lnTo>
                  <a:lnTo>
                    <a:pt x="1578591" y="2145952"/>
                  </a:lnTo>
                  <a:lnTo>
                    <a:pt x="1578591" y="2158704"/>
                  </a:lnTo>
                  <a:lnTo>
                    <a:pt x="1592466" y="2158704"/>
                  </a:lnTo>
                  <a:lnTo>
                    <a:pt x="1592466" y="2175989"/>
                  </a:lnTo>
                  <a:lnTo>
                    <a:pt x="1697782" y="2175989"/>
                  </a:lnTo>
                  <a:lnTo>
                    <a:pt x="1697782" y="2187182"/>
                  </a:lnTo>
                  <a:lnTo>
                    <a:pt x="1712794" y="2187182"/>
                  </a:lnTo>
                  <a:lnTo>
                    <a:pt x="1712794" y="2201067"/>
                  </a:lnTo>
                  <a:lnTo>
                    <a:pt x="1742364" y="2201067"/>
                  </a:lnTo>
                  <a:lnTo>
                    <a:pt x="1742364" y="2215519"/>
                  </a:lnTo>
                  <a:lnTo>
                    <a:pt x="1771479" y="2215519"/>
                  </a:lnTo>
                  <a:lnTo>
                    <a:pt x="1771479" y="2226146"/>
                  </a:lnTo>
                  <a:lnTo>
                    <a:pt x="1859963" y="2226146"/>
                  </a:lnTo>
                  <a:lnTo>
                    <a:pt x="1859963" y="2239605"/>
                  </a:lnTo>
                  <a:lnTo>
                    <a:pt x="1902953" y="2239605"/>
                  </a:lnTo>
                  <a:lnTo>
                    <a:pt x="1902953" y="2251223"/>
                  </a:lnTo>
                  <a:lnTo>
                    <a:pt x="1925244" y="2251223"/>
                  </a:lnTo>
                  <a:lnTo>
                    <a:pt x="1925244" y="2263692"/>
                  </a:lnTo>
                  <a:lnTo>
                    <a:pt x="2017367" y="2263692"/>
                  </a:lnTo>
                  <a:lnTo>
                    <a:pt x="2017367" y="2283244"/>
                  </a:lnTo>
                  <a:lnTo>
                    <a:pt x="2034881" y="2283244"/>
                  </a:lnTo>
                  <a:lnTo>
                    <a:pt x="2034881" y="2305347"/>
                  </a:lnTo>
                  <a:lnTo>
                    <a:pt x="2060812" y="2305347"/>
                  </a:lnTo>
                  <a:lnTo>
                    <a:pt x="2060812" y="2319232"/>
                  </a:lnTo>
                  <a:lnTo>
                    <a:pt x="2306699" y="2319232"/>
                  </a:lnTo>
                  <a:lnTo>
                    <a:pt x="2306699" y="2332125"/>
                  </a:lnTo>
                  <a:lnTo>
                    <a:pt x="2388813" y="2332125"/>
                  </a:lnTo>
                  <a:lnTo>
                    <a:pt x="2388813" y="2360462"/>
                  </a:lnTo>
                  <a:lnTo>
                    <a:pt x="2550084" y="2360462"/>
                  </a:lnTo>
                  <a:lnTo>
                    <a:pt x="2550084" y="2370380"/>
                  </a:lnTo>
                  <a:lnTo>
                    <a:pt x="2731827" y="2370380"/>
                  </a:lnTo>
                  <a:lnTo>
                    <a:pt x="2731827" y="2388516"/>
                  </a:lnTo>
                  <a:lnTo>
                    <a:pt x="2747067" y="2388516"/>
                  </a:lnTo>
                  <a:lnTo>
                    <a:pt x="2747067" y="2397442"/>
                  </a:lnTo>
                  <a:lnTo>
                    <a:pt x="3057554" y="2397442"/>
                  </a:lnTo>
                  <a:lnTo>
                    <a:pt x="3057554" y="2411327"/>
                  </a:lnTo>
                  <a:lnTo>
                    <a:pt x="3071884" y="2411327"/>
                  </a:lnTo>
                  <a:lnTo>
                    <a:pt x="3071884" y="2418270"/>
                  </a:lnTo>
                  <a:lnTo>
                    <a:pt x="3414897" y="2418270"/>
                  </a:lnTo>
                  <a:lnTo>
                    <a:pt x="3444468" y="2418270"/>
                  </a:lnTo>
                  <a:lnTo>
                    <a:pt x="3444468" y="2449298"/>
                  </a:lnTo>
                  <a:lnTo>
                    <a:pt x="3770422" y="2449298"/>
                  </a:lnTo>
                  <a:lnTo>
                    <a:pt x="3770422" y="2462758"/>
                  </a:lnTo>
                  <a:lnTo>
                    <a:pt x="4334302" y="2462758"/>
                  </a:lnTo>
                  <a:lnTo>
                    <a:pt x="4466685" y="2462758"/>
                  </a:lnTo>
                  <a:lnTo>
                    <a:pt x="4466685" y="2489537"/>
                  </a:lnTo>
                  <a:lnTo>
                    <a:pt x="4788317" y="2489537"/>
                  </a:lnTo>
                  <a:lnTo>
                    <a:pt x="5154532" y="2489537"/>
                  </a:lnTo>
                </a:path>
              </a:pathLst>
            </a:custGeom>
            <a:noFill/>
            <a:ln w="28575" cap="flat">
              <a:solidFill>
                <a:srgbClr val="4472C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557"/>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212712065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9703A1B6-767B-4E26-BE4A-B777B99EB38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3" name="think-cell Slide" r:id="rId5" imgW="592" imgH="591" progId="TCLayout.ActiveDocument.1">
                  <p:embed/>
                </p:oleObj>
              </mc:Choice>
              <mc:Fallback>
                <p:oleObj name="think-cell Slide" r:id="rId5" imgW="592" imgH="591" progId="TCLayout.ActiveDocument.1">
                  <p:embed/>
                  <p:pic>
                    <p:nvPicPr>
                      <p:cNvPr id="15" name="Object 14" hidden="1">
                        <a:extLst>
                          <a:ext uri="{FF2B5EF4-FFF2-40B4-BE49-F238E27FC236}">
                            <a16:creationId xmlns:a16="http://schemas.microsoft.com/office/drawing/2014/main" id="{9703A1B6-767B-4E26-BE4A-B777B99EB38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Title 15">
            <a:extLst>
              <a:ext uri="{FF2B5EF4-FFF2-40B4-BE49-F238E27FC236}">
                <a16:creationId xmlns:a16="http://schemas.microsoft.com/office/drawing/2014/main" id="{0FA1109D-EF0C-400C-ACF6-D9CA4AFC3BC6}"/>
              </a:ext>
            </a:extLst>
          </p:cNvPr>
          <p:cNvSpPr>
            <a:spLocks noGrp="1"/>
          </p:cNvSpPr>
          <p:nvPr>
            <p:ph type="title"/>
          </p:nvPr>
        </p:nvSpPr>
        <p:spPr>
          <a:xfrm>
            <a:off x="640080" y="181849"/>
            <a:ext cx="10972800" cy="1371600"/>
          </a:xfrm>
        </p:spPr>
        <p:txBody>
          <a:bodyPr vert="horz"/>
          <a:lstStyle/>
          <a:p>
            <a:r>
              <a:rPr lang="en-US" sz="3200" dirty="0"/>
              <a:t>Tumor response</a:t>
            </a:r>
            <a:br>
              <a:rPr lang="en-US" sz="3200" dirty="0"/>
            </a:br>
            <a:endParaRPr lang="en-GB" sz="3200" dirty="0"/>
          </a:p>
        </p:txBody>
      </p:sp>
      <p:sp>
        <p:nvSpPr>
          <p:cNvPr id="18" name="Text Placeholder 17">
            <a:extLst>
              <a:ext uri="{FF2B5EF4-FFF2-40B4-BE49-F238E27FC236}">
                <a16:creationId xmlns:a16="http://schemas.microsoft.com/office/drawing/2014/main" id="{813E3C58-E416-4DBF-86EC-D29AAFCA31B5}"/>
              </a:ext>
            </a:extLst>
          </p:cNvPr>
          <p:cNvSpPr>
            <a:spLocks noGrp="1"/>
          </p:cNvSpPr>
          <p:nvPr>
            <p:ph type="body" sz="quarter" idx="15"/>
          </p:nvPr>
        </p:nvSpPr>
        <p:spPr>
          <a:xfrm>
            <a:off x="3959671" y="6248400"/>
            <a:ext cx="5852160" cy="281354"/>
          </a:xfrm>
        </p:spPr>
        <p:txBody>
          <a:bodyPr/>
          <a:lstStyle/>
          <a:p>
            <a:r>
              <a:rPr lang="en-US" dirty="0"/>
              <a:t>Ghassan K Abou-Alfa, MD, MBA     NEJM Evidence 2022</a:t>
            </a:r>
          </a:p>
        </p:txBody>
      </p:sp>
      <p:sp>
        <p:nvSpPr>
          <p:cNvPr id="124" name="TextBox 123">
            <a:extLst>
              <a:ext uri="{FF2B5EF4-FFF2-40B4-BE49-F238E27FC236}">
                <a16:creationId xmlns:a16="http://schemas.microsoft.com/office/drawing/2014/main" id="{A75FB40D-EEE2-4398-9FE0-DBA999C729F7}"/>
              </a:ext>
            </a:extLst>
          </p:cNvPr>
          <p:cNvSpPr txBox="1"/>
          <p:nvPr/>
        </p:nvSpPr>
        <p:spPr>
          <a:xfrm>
            <a:off x="238124" y="5368376"/>
            <a:ext cx="11719925" cy="684803"/>
          </a:xfrm>
          <a:prstGeom prst="rect">
            <a:avLst/>
          </a:prstGeom>
          <a:noFill/>
        </p:spPr>
        <p:txBody>
          <a:bodyPr wrap="square" rtlCol="0" anchor="b" anchorCtr="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900" b="0" i="0" u="none" strike="noStrike" kern="1200" cap="none" spc="0" normalizeH="0" baseline="0" noProof="0" dirty="0">
                <a:ln>
                  <a:noFill/>
                </a:ln>
                <a:solidFill>
                  <a:srgbClr val="002557"/>
                </a:solidFill>
                <a:effectLst/>
                <a:uLnTx/>
                <a:uFillTx/>
                <a:latin typeface="Arial" panose="020B0604020202020204"/>
                <a:ea typeface="+mn-ea"/>
                <a:cs typeface="+mn-cs"/>
              </a:rPr>
              <a:t>*By investigator assessment according to RECIST v1.1. Responses are confirmed. </a:t>
            </a:r>
            <a:r>
              <a:rPr kumimoji="0" lang="en-US" sz="900" b="0" i="0" u="none" strike="noStrike" kern="1200" cap="none" spc="0" normalizeH="0" baseline="30000" noProof="0" dirty="0">
                <a:ln>
                  <a:noFill/>
                </a:ln>
                <a:solidFill>
                  <a:srgbClr val="002557"/>
                </a:solidFill>
                <a:effectLst/>
                <a:uLnTx/>
                <a:uFillTx/>
                <a:latin typeface="Arial" panose="020B0604020202020204"/>
                <a:ea typeface="+mn-ea"/>
                <a:cs typeface="+mn-cs"/>
              </a:rPr>
              <a:t>†</a:t>
            </a:r>
            <a:r>
              <a:rPr kumimoji="0" lang="en-US" sz="900" b="0" i="0" u="none" strike="noStrike" kern="1200" cap="none" spc="0" normalizeH="0" baseline="0" noProof="0" dirty="0">
                <a:ln>
                  <a:noFill/>
                </a:ln>
                <a:solidFill>
                  <a:srgbClr val="002557"/>
                </a:solidFill>
                <a:effectLst/>
                <a:uLnTx/>
                <a:uFillTx/>
                <a:latin typeface="Arial" panose="020B0604020202020204"/>
                <a:ea typeface="+mn-ea"/>
                <a:cs typeface="+mn-cs"/>
              </a:rPr>
              <a:t>Defined as neither sufficient decrease in sum of diameters to qualify for PR nor sufficient increase to qualify for PD. </a:t>
            </a:r>
            <a:r>
              <a:rPr kumimoji="0" lang="en-US" sz="900" b="0" i="0" u="none" strike="noStrike" kern="1200" cap="none" spc="0" normalizeH="0" baseline="30000" noProof="0" dirty="0">
                <a:ln>
                  <a:noFill/>
                </a:ln>
                <a:solidFill>
                  <a:srgbClr val="002557"/>
                </a:solidFill>
                <a:effectLst/>
                <a:uLnTx/>
                <a:uFillTx/>
                <a:latin typeface="Arial" panose="020B0604020202020204"/>
                <a:ea typeface="+mn-ea"/>
                <a:cs typeface="+mn-cs"/>
              </a:rPr>
              <a:t>‡</a:t>
            </a:r>
            <a:r>
              <a:rPr kumimoji="0" lang="en-US" sz="900" b="0" i="0" u="none" strike="noStrike" kern="1200" cap="none" spc="0" normalizeH="0" baseline="0" noProof="0" dirty="0">
                <a:ln>
                  <a:noFill/>
                </a:ln>
                <a:solidFill>
                  <a:srgbClr val="002557"/>
                </a:solidFill>
                <a:effectLst/>
                <a:uLnTx/>
                <a:uFillTx/>
                <a:latin typeface="Arial" panose="020B0604020202020204"/>
                <a:ea typeface="+mn-ea"/>
                <a:cs typeface="+mn-cs"/>
              </a:rPr>
              <a:t>Calculated using      Kaplan-Meier technique.</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900" b="0" i="0" u="none" strike="noStrike" kern="1200" cap="none" spc="0" normalizeH="0" baseline="0" noProof="0" dirty="0">
                <a:ln>
                  <a:noFill/>
                </a:ln>
                <a:solidFill>
                  <a:srgbClr val="002557"/>
                </a:solidFill>
                <a:effectLst/>
                <a:uLnTx/>
                <a:uFillTx/>
                <a:latin typeface="Arial" panose="020B0604020202020204"/>
                <a:ea typeface="+mn-ea"/>
                <a:cs typeface="+mn-cs"/>
              </a:rPr>
              <a:t>CI, confidence interval; CR, complete response; DCR, disease control rate; </a:t>
            </a:r>
            <a:r>
              <a:rPr kumimoji="0" lang="en-US" sz="900" b="0" i="0" u="none" strike="noStrike" kern="1200" cap="none" spc="0" normalizeH="0" baseline="0" noProof="0" dirty="0" err="1">
                <a:ln>
                  <a:noFill/>
                </a:ln>
                <a:solidFill>
                  <a:srgbClr val="002557"/>
                </a:solidFill>
                <a:effectLst/>
                <a:uLnTx/>
                <a:uFillTx/>
                <a:latin typeface="Arial" panose="020B0604020202020204"/>
                <a:ea typeface="+mn-ea"/>
                <a:cs typeface="+mn-cs"/>
              </a:rPr>
              <a:t>DoR</a:t>
            </a:r>
            <a:r>
              <a:rPr kumimoji="0" lang="en-US" sz="900" b="0" i="0" u="none" strike="noStrike" kern="1200" cap="none" spc="0" normalizeH="0" baseline="0" noProof="0" dirty="0">
                <a:ln>
                  <a:noFill/>
                </a:ln>
                <a:solidFill>
                  <a:srgbClr val="002557"/>
                </a:solidFill>
                <a:effectLst/>
                <a:uLnTx/>
                <a:uFillTx/>
                <a:latin typeface="Arial" panose="020B0604020202020204"/>
                <a:ea typeface="+mn-ea"/>
                <a:cs typeface="+mn-cs"/>
              </a:rPr>
              <a:t>, duration of response; NR, not reached; ORR, objective response rate; PD, progressive disease; PR, partial response; RECIST v1.1, Response Evaluation Criteria in Solid Tumors version 1.1; SD, stable disease; </a:t>
            </a:r>
            <a:r>
              <a:rPr kumimoji="0" lang="it-IT" sz="900" b="0" i="0" u="none" strike="noStrike" kern="1200" cap="none" spc="0" normalizeH="0" baseline="0" noProof="0" dirty="0">
                <a:ln>
                  <a:noFill/>
                </a:ln>
                <a:solidFill>
                  <a:srgbClr val="002557"/>
                </a:solidFill>
                <a:effectLst/>
                <a:uLnTx/>
                <a:uFillTx/>
                <a:latin typeface="Arial" panose="020B0604020202020204"/>
                <a:ea typeface="+mn-ea"/>
                <a:cs typeface="+mn-cs"/>
              </a:rPr>
              <a:t>T300+D, t</a:t>
            </a:r>
            <a:r>
              <a:rPr kumimoji="0" lang="en-US" sz="900" b="0" i="0" u="none" strike="noStrike" kern="1200" cap="none" spc="0" normalizeH="0" baseline="0" noProof="0" dirty="0" err="1">
                <a:ln>
                  <a:noFill/>
                </a:ln>
                <a:solidFill>
                  <a:srgbClr val="002557"/>
                </a:solidFill>
                <a:effectLst/>
                <a:uLnTx/>
                <a:uFillTx/>
                <a:latin typeface="Arial" panose="020B0604020202020204"/>
                <a:ea typeface="+mn-ea"/>
                <a:cs typeface="+mn-cs"/>
              </a:rPr>
              <a:t>remelimumab</a:t>
            </a:r>
            <a:r>
              <a:rPr kumimoji="0" lang="en-US" sz="900" b="0" i="0" u="none" strike="noStrike" kern="1200" cap="none" spc="0" normalizeH="0" baseline="0" noProof="0" dirty="0">
                <a:ln>
                  <a:noFill/>
                </a:ln>
                <a:solidFill>
                  <a:srgbClr val="002557"/>
                </a:solidFill>
                <a:effectLst/>
                <a:uLnTx/>
                <a:uFillTx/>
                <a:latin typeface="Arial" panose="020B0604020202020204"/>
                <a:ea typeface="+mn-ea"/>
                <a:cs typeface="+mn-cs"/>
              </a:rPr>
              <a:t> 300 mg × 1 dose + durvalumab 1500 mg Q4W; TTR, time to response.</a:t>
            </a:r>
          </a:p>
        </p:txBody>
      </p:sp>
      <p:graphicFrame>
        <p:nvGraphicFramePr>
          <p:cNvPr id="167" name="Table 166">
            <a:extLst>
              <a:ext uri="{FF2B5EF4-FFF2-40B4-BE49-F238E27FC236}">
                <a16:creationId xmlns:a16="http://schemas.microsoft.com/office/drawing/2014/main" id="{5C732652-3BAC-492D-93BD-C601243DF92B}"/>
              </a:ext>
            </a:extLst>
          </p:cNvPr>
          <p:cNvGraphicFramePr>
            <a:graphicFrameLocks noGrp="1"/>
          </p:cNvGraphicFramePr>
          <p:nvPr/>
        </p:nvGraphicFramePr>
        <p:xfrm>
          <a:off x="727990" y="1092632"/>
          <a:ext cx="10723276" cy="4240346"/>
        </p:xfrm>
        <a:graphic>
          <a:graphicData uri="http://schemas.openxmlformats.org/drawingml/2006/table">
            <a:tbl>
              <a:tblPr firstRow="1" bandRow="1">
                <a:tableStyleId>{0505E3EF-67EA-436B-97B2-0124C06EBD24}</a:tableStyleId>
              </a:tblPr>
              <a:tblGrid>
                <a:gridCol w="2812663">
                  <a:extLst>
                    <a:ext uri="{9D8B030D-6E8A-4147-A177-3AD203B41FA5}">
                      <a16:colId xmlns:a16="http://schemas.microsoft.com/office/drawing/2014/main" val="683402423"/>
                    </a:ext>
                  </a:extLst>
                </a:gridCol>
                <a:gridCol w="2636871">
                  <a:extLst>
                    <a:ext uri="{9D8B030D-6E8A-4147-A177-3AD203B41FA5}">
                      <a16:colId xmlns:a16="http://schemas.microsoft.com/office/drawing/2014/main" val="1461441399"/>
                    </a:ext>
                  </a:extLst>
                </a:gridCol>
                <a:gridCol w="2636871">
                  <a:extLst>
                    <a:ext uri="{9D8B030D-6E8A-4147-A177-3AD203B41FA5}">
                      <a16:colId xmlns:a16="http://schemas.microsoft.com/office/drawing/2014/main" val="1157028237"/>
                    </a:ext>
                  </a:extLst>
                </a:gridCol>
                <a:gridCol w="2636871">
                  <a:extLst>
                    <a:ext uri="{9D8B030D-6E8A-4147-A177-3AD203B41FA5}">
                      <a16:colId xmlns:a16="http://schemas.microsoft.com/office/drawing/2014/main" val="1740841347"/>
                    </a:ext>
                  </a:extLst>
                </a:gridCol>
              </a:tblGrid>
              <a:tr h="33127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solidFill>
                          <a:schemeClr val="tx1"/>
                        </a:solidFill>
                      </a:endParaRPr>
                    </a:p>
                  </a:txBody>
                  <a:tcPr anchor="ctr"/>
                </a:tc>
                <a:tc>
                  <a:txBody>
                    <a:bodyPr/>
                    <a:lstStyle/>
                    <a:p>
                      <a:pPr algn="ctr"/>
                      <a:r>
                        <a:rPr lang="en-US" sz="1400" dirty="0">
                          <a:solidFill>
                            <a:schemeClr val="bg1"/>
                          </a:solidFill>
                        </a:rPr>
                        <a:t>T300+D (n=393)</a:t>
                      </a:r>
                    </a:p>
                  </a:txBody>
                  <a:tcPr anchor="ctr">
                    <a:solidFill>
                      <a:srgbClr val="4472C4"/>
                    </a:solidFill>
                  </a:tcPr>
                </a:tc>
                <a:tc>
                  <a:txBody>
                    <a:bodyPr/>
                    <a:lstStyle/>
                    <a:p>
                      <a:pPr algn="ctr"/>
                      <a:r>
                        <a:rPr lang="en-US" sz="1400" dirty="0">
                          <a:solidFill>
                            <a:schemeClr val="bg1"/>
                          </a:solidFill>
                        </a:rPr>
                        <a:t>Durvalumab (n=389)</a:t>
                      </a:r>
                    </a:p>
                  </a:txBody>
                  <a:tcPr anchor="ctr">
                    <a:solidFill>
                      <a:srgbClr val="008764"/>
                    </a:solidFill>
                  </a:tcPr>
                </a:tc>
                <a:tc>
                  <a:txBody>
                    <a:bodyPr/>
                    <a:lstStyle/>
                    <a:p>
                      <a:pPr algn="ctr"/>
                      <a:r>
                        <a:rPr lang="en-US" sz="1400" dirty="0">
                          <a:solidFill>
                            <a:schemeClr val="bg1"/>
                          </a:solidFill>
                        </a:rPr>
                        <a:t>Sorafenib (n=389)</a:t>
                      </a:r>
                    </a:p>
                  </a:txBody>
                  <a:tcPr anchor="ctr">
                    <a:solidFill>
                      <a:srgbClr val="830051"/>
                    </a:solidFill>
                  </a:tcPr>
                </a:tc>
                <a:extLst>
                  <a:ext uri="{0D108BD9-81ED-4DB2-BD59-A6C34878D82A}">
                    <a16:rowId xmlns:a16="http://schemas.microsoft.com/office/drawing/2014/main" val="3856136383"/>
                  </a:ext>
                </a:extLst>
              </a:tr>
              <a:tr h="331277">
                <a:tc>
                  <a:txBody>
                    <a:bodyPr/>
                    <a:lstStyle/>
                    <a:p>
                      <a:r>
                        <a:rPr lang="en-US" sz="1400" b="1" dirty="0">
                          <a:solidFill>
                            <a:srgbClr val="002557"/>
                          </a:solidFill>
                        </a:rPr>
                        <a:t>ORR,</a:t>
                      </a:r>
                      <a:r>
                        <a:rPr lang="en-US" sz="1400" b="1" baseline="0" dirty="0">
                          <a:solidFill>
                            <a:srgbClr val="002557"/>
                          </a:solidFill>
                        </a:rPr>
                        <a:t>*</a:t>
                      </a:r>
                      <a:r>
                        <a:rPr lang="en-US" sz="1400" b="1" dirty="0">
                          <a:solidFill>
                            <a:srgbClr val="002557"/>
                          </a:solidFill>
                        </a:rPr>
                        <a:t> n (%)</a:t>
                      </a:r>
                    </a:p>
                  </a:txBody>
                  <a:tcPr anchor="ctr"/>
                </a:tc>
                <a:tc>
                  <a:txBody>
                    <a:bodyPr/>
                    <a:lstStyle/>
                    <a:p>
                      <a:pPr algn="ctr"/>
                      <a:r>
                        <a:rPr lang="en-US" sz="1400" b="1" dirty="0">
                          <a:solidFill>
                            <a:srgbClr val="002557"/>
                          </a:solidFill>
                        </a:rPr>
                        <a:t>79 (20.1)</a:t>
                      </a:r>
                    </a:p>
                  </a:txBody>
                  <a:tcPr anchor="ctr"/>
                </a:tc>
                <a:tc>
                  <a:txBody>
                    <a:bodyPr/>
                    <a:lstStyle/>
                    <a:p>
                      <a:pPr algn="ctr"/>
                      <a:r>
                        <a:rPr lang="en-US" sz="1400" b="1" dirty="0">
                          <a:solidFill>
                            <a:srgbClr val="002557"/>
                          </a:solidFill>
                        </a:rPr>
                        <a:t>66 (17.0)</a:t>
                      </a:r>
                    </a:p>
                  </a:txBody>
                  <a:tcPr anchor="ctr"/>
                </a:tc>
                <a:tc>
                  <a:txBody>
                    <a:bodyPr/>
                    <a:lstStyle/>
                    <a:p>
                      <a:pPr algn="ctr"/>
                      <a:r>
                        <a:rPr lang="en-US" sz="1400" b="1" dirty="0">
                          <a:solidFill>
                            <a:srgbClr val="002557"/>
                          </a:solidFill>
                        </a:rPr>
                        <a:t>20 (5.1)</a:t>
                      </a:r>
                    </a:p>
                  </a:txBody>
                  <a:tcPr anchor="ctr"/>
                </a:tc>
                <a:extLst>
                  <a:ext uri="{0D108BD9-81ED-4DB2-BD59-A6C34878D82A}">
                    <a16:rowId xmlns:a16="http://schemas.microsoft.com/office/drawing/2014/main" val="4144509572"/>
                  </a:ext>
                </a:extLst>
              </a:tr>
              <a:tr h="331277">
                <a:tc>
                  <a:txBody>
                    <a:bodyPr/>
                    <a:lstStyle/>
                    <a:p>
                      <a:r>
                        <a:rPr lang="en-US" sz="1400" dirty="0">
                          <a:solidFill>
                            <a:srgbClr val="002557"/>
                          </a:solidFill>
                        </a:rPr>
                        <a:t>   CR, n (%)</a:t>
                      </a:r>
                    </a:p>
                  </a:txBody>
                  <a:tcPr anchor="ctr"/>
                </a:tc>
                <a:tc>
                  <a:txBody>
                    <a:bodyPr/>
                    <a:lstStyle/>
                    <a:p>
                      <a:pPr algn="ctr"/>
                      <a:r>
                        <a:rPr lang="en-US" sz="1400">
                          <a:solidFill>
                            <a:srgbClr val="002557"/>
                          </a:solidFill>
                        </a:rPr>
                        <a:t>12 (3.1)</a:t>
                      </a:r>
                      <a:endParaRPr lang="en-US" sz="1400" dirty="0">
                        <a:solidFill>
                          <a:srgbClr val="002557"/>
                        </a:solidFill>
                      </a:endParaRPr>
                    </a:p>
                  </a:txBody>
                  <a:tcPr anchor="ctr"/>
                </a:tc>
                <a:tc>
                  <a:txBody>
                    <a:bodyPr/>
                    <a:lstStyle/>
                    <a:p>
                      <a:pPr algn="ctr"/>
                      <a:r>
                        <a:rPr lang="en-US" sz="1400" dirty="0">
                          <a:solidFill>
                            <a:srgbClr val="002557"/>
                          </a:solidFill>
                        </a:rPr>
                        <a:t>6 (1.5)</a:t>
                      </a:r>
                    </a:p>
                  </a:txBody>
                  <a:tcPr anchor="ctr"/>
                </a:tc>
                <a:tc>
                  <a:txBody>
                    <a:bodyPr/>
                    <a:lstStyle/>
                    <a:p>
                      <a:pPr algn="ctr"/>
                      <a:r>
                        <a:rPr lang="en-US" sz="1400" dirty="0">
                          <a:solidFill>
                            <a:srgbClr val="002557"/>
                          </a:solidFill>
                        </a:rPr>
                        <a:t>0</a:t>
                      </a:r>
                    </a:p>
                  </a:txBody>
                  <a:tcPr anchor="ctr"/>
                </a:tc>
                <a:extLst>
                  <a:ext uri="{0D108BD9-81ED-4DB2-BD59-A6C34878D82A}">
                    <a16:rowId xmlns:a16="http://schemas.microsoft.com/office/drawing/2014/main" val="3988589845"/>
                  </a:ext>
                </a:extLst>
              </a:tr>
              <a:tr h="331277">
                <a:tc>
                  <a:txBody>
                    <a:bodyPr/>
                    <a:lstStyle/>
                    <a:p>
                      <a:r>
                        <a:rPr lang="en-US" sz="1400" dirty="0">
                          <a:solidFill>
                            <a:srgbClr val="002557"/>
                          </a:solidFill>
                        </a:rPr>
                        <a:t>   PR, n (%)</a:t>
                      </a:r>
                    </a:p>
                  </a:txBody>
                  <a:tcPr anchor="ctr"/>
                </a:tc>
                <a:tc>
                  <a:txBody>
                    <a:bodyPr/>
                    <a:lstStyle/>
                    <a:p>
                      <a:pPr algn="ctr"/>
                      <a:r>
                        <a:rPr lang="en-US" sz="1400" dirty="0">
                          <a:solidFill>
                            <a:srgbClr val="002557"/>
                          </a:solidFill>
                        </a:rPr>
                        <a:t>67 (17.0)</a:t>
                      </a:r>
                    </a:p>
                  </a:txBody>
                  <a:tcPr anchor="ctr"/>
                </a:tc>
                <a:tc>
                  <a:txBody>
                    <a:bodyPr/>
                    <a:lstStyle/>
                    <a:p>
                      <a:pPr algn="ctr"/>
                      <a:r>
                        <a:rPr lang="en-US" sz="1400" dirty="0">
                          <a:solidFill>
                            <a:srgbClr val="002557"/>
                          </a:solidFill>
                        </a:rPr>
                        <a:t>60 (15.4)</a:t>
                      </a:r>
                    </a:p>
                  </a:txBody>
                  <a:tcPr anchor="ctr"/>
                </a:tc>
                <a:tc>
                  <a:txBody>
                    <a:bodyPr/>
                    <a:lstStyle/>
                    <a:p>
                      <a:pPr algn="ctr"/>
                      <a:r>
                        <a:rPr lang="en-US" sz="1400" dirty="0">
                          <a:solidFill>
                            <a:srgbClr val="002557"/>
                          </a:solidFill>
                        </a:rPr>
                        <a:t>20 (5.1)</a:t>
                      </a:r>
                    </a:p>
                  </a:txBody>
                  <a:tcPr anchor="ctr"/>
                </a:tc>
                <a:extLst>
                  <a:ext uri="{0D108BD9-81ED-4DB2-BD59-A6C34878D82A}">
                    <a16:rowId xmlns:a16="http://schemas.microsoft.com/office/drawing/2014/main" val="1579458980"/>
                  </a:ext>
                </a:extLst>
              </a:tr>
              <a:tr h="331277">
                <a:tc>
                  <a:txBody>
                    <a:bodyPr/>
                    <a:lstStyle/>
                    <a:p>
                      <a:r>
                        <a:rPr lang="en-US" sz="1400" dirty="0">
                          <a:solidFill>
                            <a:srgbClr val="002557"/>
                          </a:solidFill>
                        </a:rPr>
                        <a:t>   SD,</a:t>
                      </a:r>
                      <a:r>
                        <a:rPr lang="en-US" sz="1400" baseline="30000" dirty="0">
                          <a:solidFill>
                            <a:srgbClr val="002557"/>
                          </a:solidFill>
                        </a:rPr>
                        <a:t>†</a:t>
                      </a:r>
                      <a:r>
                        <a:rPr lang="en-US" sz="1400" dirty="0">
                          <a:solidFill>
                            <a:srgbClr val="002557"/>
                          </a:solidFill>
                        </a:rPr>
                        <a:t> n (%)</a:t>
                      </a:r>
                    </a:p>
                  </a:txBody>
                  <a:tcPr anchor="ctr"/>
                </a:tc>
                <a:tc>
                  <a:txBody>
                    <a:bodyPr/>
                    <a:lstStyle/>
                    <a:p>
                      <a:pPr algn="ctr"/>
                      <a:r>
                        <a:rPr lang="en-US" sz="1400" dirty="0">
                          <a:solidFill>
                            <a:srgbClr val="002557"/>
                          </a:solidFill>
                        </a:rPr>
                        <a:t>157 (39.9)</a:t>
                      </a:r>
                    </a:p>
                  </a:txBody>
                  <a:tcPr anchor="ctr"/>
                </a:tc>
                <a:tc>
                  <a:txBody>
                    <a:bodyPr/>
                    <a:lstStyle/>
                    <a:p>
                      <a:pPr algn="ctr"/>
                      <a:r>
                        <a:rPr lang="en-US" sz="1400" dirty="0">
                          <a:solidFill>
                            <a:srgbClr val="002557"/>
                          </a:solidFill>
                        </a:rPr>
                        <a:t>147 (37.8)</a:t>
                      </a:r>
                    </a:p>
                  </a:txBody>
                  <a:tcPr anchor="ctr"/>
                </a:tc>
                <a:tc>
                  <a:txBody>
                    <a:bodyPr/>
                    <a:lstStyle/>
                    <a:p>
                      <a:pPr algn="ctr"/>
                      <a:r>
                        <a:rPr lang="en-US" sz="1400" dirty="0">
                          <a:solidFill>
                            <a:srgbClr val="002557"/>
                          </a:solidFill>
                        </a:rPr>
                        <a:t>216 (55.5)</a:t>
                      </a:r>
                    </a:p>
                  </a:txBody>
                  <a:tcPr anchor="ctr"/>
                </a:tc>
                <a:extLst>
                  <a:ext uri="{0D108BD9-81ED-4DB2-BD59-A6C34878D82A}">
                    <a16:rowId xmlns:a16="http://schemas.microsoft.com/office/drawing/2014/main" val="2726272669"/>
                  </a:ext>
                </a:extLst>
              </a:tr>
              <a:tr h="331277">
                <a:tc>
                  <a:txBody>
                    <a:bodyPr/>
                    <a:lstStyle/>
                    <a:p>
                      <a:r>
                        <a:rPr lang="en-US" sz="1400" dirty="0">
                          <a:solidFill>
                            <a:srgbClr val="002557"/>
                          </a:solidFill>
                        </a:rPr>
                        <a:t>   PD, n (%)</a:t>
                      </a:r>
                    </a:p>
                  </a:txBody>
                  <a:tcPr anchor="ctr"/>
                </a:tc>
                <a:tc>
                  <a:txBody>
                    <a:bodyPr/>
                    <a:lstStyle/>
                    <a:p>
                      <a:pPr algn="ctr"/>
                      <a:r>
                        <a:rPr lang="en-US" sz="1400" dirty="0">
                          <a:solidFill>
                            <a:srgbClr val="002557"/>
                          </a:solidFill>
                        </a:rPr>
                        <a:t>157 (39.9)</a:t>
                      </a:r>
                    </a:p>
                  </a:txBody>
                  <a:tcPr anchor="ctr"/>
                </a:tc>
                <a:tc>
                  <a:txBody>
                    <a:bodyPr/>
                    <a:lstStyle/>
                    <a:p>
                      <a:pPr algn="ctr"/>
                      <a:r>
                        <a:rPr lang="en-US" sz="1400" dirty="0">
                          <a:solidFill>
                            <a:srgbClr val="002557"/>
                          </a:solidFill>
                        </a:rPr>
                        <a:t>176 (45.2)</a:t>
                      </a:r>
                    </a:p>
                  </a:txBody>
                  <a:tcPr anchor="ctr"/>
                </a:tc>
                <a:tc>
                  <a:txBody>
                    <a:bodyPr/>
                    <a:lstStyle/>
                    <a:p>
                      <a:pPr algn="ctr"/>
                      <a:r>
                        <a:rPr lang="en-US" sz="1400" dirty="0">
                          <a:solidFill>
                            <a:srgbClr val="002557"/>
                          </a:solidFill>
                        </a:rPr>
                        <a:t>153 (39.3)</a:t>
                      </a:r>
                    </a:p>
                  </a:txBody>
                  <a:tcPr anchor="ctr"/>
                </a:tc>
                <a:extLst>
                  <a:ext uri="{0D108BD9-81ED-4DB2-BD59-A6C34878D82A}">
                    <a16:rowId xmlns:a16="http://schemas.microsoft.com/office/drawing/2014/main" val="1433195069"/>
                  </a:ext>
                </a:extLst>
              </a:tr>
              <a:tr h="331277">
                <a:tc>
                  <a:txBody>
                    <a:bodyPr/>
                    <a:lstStyle/>
                    <a:p>
                      <a:r>
                        <a:rPr lang="en-US" sz="1400" dirty="0">
                          <a:solidFill>
                            <a:srgbClr val="002557"/>
                          </a:solidFill>
                        </a:rPr>
                        <a:t>DCR, %</a:t>
                      </a:r>
                    </a:p>
                  </a:txBody>
                  <a:tcPr anchor="ctr"/>
                </a:tc>
                <a:tc>
                  <a:txBody>
                    <a:bodyPr/>
                    <a:lstStyle/>
                    <a:p>
                      <a:pPr algn="ctr"/>
                      <a:r>
                        <a:rPr lang="en-US" sz="1400" dirty="0">
                          <a:solidFill>
                            <a:srgbClr val="002557"/>
                          </a:solidFill>
                        </a:rPr>
                        <a:t>60.1</a:t>
                      </a:r>
                    </a:p>
                  </a:txBody>
                  <a:tcPr anchor="ctr"/>
                </a:tc>
                <a:tc>
                  <a:txBody>
                    <a:bodyPr/>
                    <a:lstStyle/>
                    <a:p>
                      <a:pPr algn="ctr"/>
                      <a:r>
                        <a:rPr lang="en-US" sz="1400" dirty="0">
                          <a:solidFill>
                            <a:srgbClr val="002557"/>
                          </a:solidFill>
                        </a:rPr>
                        <a:t>54.8</a:t>
                      </a:r>
                    </a:p>
                  </a:txBody>
                  <a:tcPr anchor="ctr"/>
                </a:tc>
                <a:tc>
                  <a:txBody>
                    <a:bodyPr/>
                    <a:lstStyle/>
                    <a:p>
                      <a:pPr algn="ctr"/>
                      <a:r>
                        <a:rPr lang="en-US" sz="1400">
                          <a:solidFill>
                            <a:srgbClr val="002557"/>
                          </a:solidFill>
                        </a:rPr>
                        <a:t>60.7</a:t>
                      </a:r>
                      <a:endParaRPr lang="en-US" sz="1400" dirty="0">
                        <a:solidFill>
                          <a:srgbClr val="002557"/>
                        </a:solidFill>
                      </a:endParaRPr>
                    </a:p>
                  </a:txBody>
                  <a:tcPr anchor="ctr"/>
                </a:tc>
                <a:extLst>
                  <a:ext uri="{0D108BD9-81ED-4DB2-BD59-A6C34878D82A}">
                    <a16:rowId xmlns:a16="http://schemas.microsoft.com/office/drawing/2014/main" val="3472952024"/>
                  </a:ext>
                </a:extLst>
              </a:tr>
              <a:tr h="79506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rgbClr val="002557"/>
                          </a:solidFill>
                        </a:rPr>
                        <a:t>Median </a:t>
                      </a:r>
                      <a:r>
                        <a:rPr lang="en-US" sz="1400" dirty="0" err="1">
                          <a:solidFill>
                            <a:srgbClr val="002557"/>
                          </a:solidFill>
                        </a:rPr>
                        <a:t>DoR</a:t>
                      </a:r>
                      <a:r>
                        <a:rPr lang="en-US" sz="1400" dirty="0">
                          <a:solidFill>
                            <a:srgbClr val="002557"/>
                          </a:solidFill>
                        </a:rPr>
                        <a:t>,</a:t>
                      </a:r>
                      <a:r>
                        <a:rPr lang="en-US" sz="1400" baseline="30000" dirty="0">
                          <a:solidFill>
                            <a:srgbClr val="002557"/>
                          </a:solidFill>
                        </a:rPr>
                        <a:t>‡</a:t>
                      </a:r>
                      <a:r>
                        <a:rPr lang="en-US" sz="1400" dirty="0">
                          <a:solidFill>
                            <a:srgbClr val="002557"/>
                          </a:solidFill>
                        </a:rPr>
                        <a:t> month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rgbClr val="002557"/>
                          </a:solidFill>
                        </a:rPr>
                        <a:t>   25</a:t>
                      </a:r>
                      <a:r>
                        <a:rPr lang="en-US" sz="1400" baseline="30000" dirty="0">
                          <a:solidFill>
                            <a:srgbClr val="002557"/>
                          </a:solidFill>
                        </a:rPr>
                        <a:t>th</a:t>
                      </a:r>
                      <a:r>
                        <a:rPr lang="en-US" sz="1400" dirty="0">
                          <a:solidFill>
                            <a:srgbClr val="002557"/>
                          </a:solidFill>
                        </a:rPr>
                        <a:t> percentil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rgbClr val="002557"/>
                          </a:solidFill>
                        </a:rPr>
                        <a:t>   75</a:t>
                      </a:r>
                      <a:r>
                        <a:rPr lang="en-US" sz="1400" baseline="30000" dirty="0">
                          <a:solidFill>
                            <a:srgbClr val="002557"/>
                          </a:solidFill>
                        </a:rPr>
                        <a:t>th</a:t>
                      </a:r>
                      <a:r>
                        <a:rPr lang="en-US" sz="1400" dirty="0">
                          <a:solidFill>
                            <a:srgbClr val="002557"/>
                          </a:solidFill>
                        </a:rPr>
                        <a:t> percentile</a:t>
                      </a:r>
                    </a:p>
                  </a:txBody>
                  <a:tcPr anchor="ctr"/>
                </a:tc>
                <a:tc>
                  <a:txBody>
                    <a:bodyPr/>
                    <a:lstStyle/>
                    <a:p>
                      <a:pPr algn="ctr"/>
                      <a:r>
                        <a:rPr lang="en-US" sz="1400" dirty="0">
                          <a:solidFill>
                            <a:srgbClr val="002557"/>
                          </a:solidFill>
                        </a:rPr>
                        <a:t>22.34</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solidFill>
                            <a:srgbClr val="002557"/>
                          </a:solidFill>
                        </a:rPr>
                        <a:t>8.54</a:t>
                      </a:r>
                    </a:p>
                    <a:p>
                      <a:pPr algn="ctr"/>
                      <a:r>
                        <a:rPr lang="en-US" sz="1400" dirty="0">
                          <a:solidFill>
                            <a:srgbClr val="002557"/>
                          </a:solidFill>
                        </a:rPr>
                        <a:t>NR</a:t>
                      </a:r>
                    </a:p>
                  </a:txBody>
                  <a:tcPr anchor="ctr"/>
                </a:tc>
                <a:tc>
                  <a:txBody>
                    <a:bodyPr/>
                    <a:lstStyle/>
                    <a:p>
                      <a:pPr algn="ctr"/>
                      <a:r>
                        <a:rPr lang="en-US" sz="1400" dirty="0">
                          <a:solidFill>
                            <a:srgbClr val="002557"/>
                          </a:solidFill>
                        </a:rPr>
                        <a:t>16.82</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solidFill>
                            <a:srgbClr val="002557"/>
                          </a:solidFill>
                        </a:rPr>
                        <a:t>7.43</a:t>
                      </a:r>
                    </a:p>
                    <a:p>
                      <a:pPr algn="ctr"/>
                      <a:r>
                        <a:rPr lang="en-US" sz="1400" dirty="0">
                          <a:solidFill>
                            <a:srgbClr val="002557"/>
                          </a:solidFill>
                        </a:rPr>
                        <a:t>NR</a:t>
                      </a:r>
                    </a:p>
                  </a:txBody>
                  <a:tcPr anchor="ctr"/>
                </a:tc>
                <a:tc>
                  <a:txBody>
                    <a:bodyPr/>
                    <a:lstStyle/>
                    <a:p>
                      <a:pPr algn="ctr"/>
                      <a:r>
                        <a:rPr lang="en-US" sz="1400" dirty="0">
                          <a:solidFill>
                            <a:srgbClr val="002557"/>
                          </a:solidFill>
                        </a:rPr>
                        <a:t>18.43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solidFill>
                            <a:srgbClr val="002557"/>
                          </a:solidFill>
                        </a:rPr>
                        <a:t>6.51</a:t>
                      </a:r>
                    </a:p>
                    <a:p>
                      <a:pPr algn="ctr"/>
                      <a:r>
                        <a:rPr lang="en-US" sz="1400" dirty="0">
                          <a:solidFill>
                            <a:srgbClr val="002557"/>
                          </a:solidFill>
                        </a:rPr>
                        <a:t>25.99</a:t>
                      </a:r>
                    </a:p>
                  </a:txBody>
                  <a:tcPr anchor="ctr"/>
                </a:tc>
                <a:extLst>
                  <a:ext uri="{0D108BD9-81ED-4DB2-BD59-A6C34878D82A}">
                    <a16:rowId xmlns:a16="http://schemas.microsoft.com/office/drawing/2014/main" val="2060301772"/>
                  </a:ext>
                </a:extLst>
              </a:tr>
              <a:tr h="33127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rgbClr val="002557"/>
                          </a:solidFill>
                        </a:rPr>
                        <a:t>Median TTR (95% CI), months</a:t>
                      </a:r>
                    </a:p>
                  </a:txBody>
                  <a:tcPr anchor="ctr"/>
                </a:tc>
                <a:tc>
                  <a:txBody>
                    <a:bodyPr/>
                    <a:lstStyle/>
                    <a:p>
                      <a:pPr algn="ctr"/>
                      <a:r>
                        <a:rPr lang="en-US" sz="1400" dirty="0">
                          <a:solidFill>
                            <a:srgbClr val="002557"/>
                          </a:solidFill>
                        </a:rPr>
                        <a:t>2.17 (1.84–3.98)</a:t>
                      </a:r>
                    </a:p>
                  </a:txBody>
                  <a:tcPr anchor="ctr"/>
                </a:tc>
                <a:tc>
                  <a:txBody>
                    <a:bodyPr/>
                    <a:lstStyle/>
                    <a:p>
                      <a:pPr algn="ctr"/>
                      <a:r>
                        <a:rPr lang="en-US" sz="1400" dirty="0">
                          <a:solidFill>
                            <a:srgbClr val="002557"/>
                          </a:solidFill>
                        </a:rPr>
                        <a:t>2.09 (1.87–3.98)</a:t>
                      </a:r>
                    </a:p>
                  </a:txBody>
                  <a:tcPr anchor="ctr"/>
                </a:tc>
                <a:tc>
                  <a:txBody>
                    <a:bodyPr/>
                    <a:lstStyle/>
                    <a:p>
                      <a:pPr algn="ctr"/>
                      <a:r>
                        <a:rPr lang="en-US" sz="1400" dirty="0">
                          <a:solidFill>
                            <a:srgbClr val="002557"/>
                          </a:solidFill>
                        </a:rPr>
                        <a:t>3.78 (1.89–8.44)</a:t>
                      </a:r>
                    </a:p>
                  </a:txBody>
                  <a:tcPr anchor="ctr"/>
                </a:tc>
                <a:extLst>
                  <a:ext uri="{0D108BD9-81ED-4DB2-BD59-A6C34878D82A}">
                    <a16:rowId xmlns:a16="http://schemas.microsoft.com/office/drawing/2014/main" val="1897772244"/>
                  </a:ext>
                </a:extLst>
              </a:tr>
              <a:tr h="79506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rgbClr val="002557"/>
                          </a:solidFill>
                        </a:rPr>
                        <a:t>Remaining in response,</a:t>
                      </a:r>
                      <a:r>
                        <a:rPr lang="en-US" sz="1400" baseline="30000" dirty="0">
                          <a:solidFill>
                            <a:srgbClr val="002557"/>
                          </a:solidFill>
                        </a:rPr>
                        <a:t>‡</a:t>
                      </a:r>
                      <a:r>
                        <a:rPr lang="en-US" sz="1400" dirty="0">
                          <a:solidFill>
                            <a:srgbClr val="002557"/>
                          </a:solidFill>
                        </a:rPr>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rgbClr val="002557"/>
                          </a:solidFill>
                        </a:rPr>
                        <a:t>   6 month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rgbClr val="002557"/>
                          </a:solidFill>
                        </a:rPr>
                        <a:t>   12 months</a:t>
                      </a:r>
                    </a:p>
                  </a:txBody>
                  <a:tcPr anchor="ctr"/>
                </a:tc>
                <a:tc>
                  <a:txBody>
                    <a:bodyPr/>
                    <a:lstStyle/>
                    <a:p>
                      <a:pPr algn="ctr"/>
                      <a:endParaRPr lang="en-US" sz="1400" dirty="0">
                        <a:solidFill>
                          <a:srgbClr val="002557"/>
                        </a:solidFill>
                      </a:endParaRPr>
                    </a:p>
                    <a:p>
                      <a:pPr algn="ctr"/>
                      <a:r>
                        <a:rPr lang="en-US" sz="1400" dirty="0">
                          <a:solidFill>
                            <a:srgbClr val="002557"/>
                          </a:solidFill>
                        </a:rPr>
                        <a:t>82.3</a:t>
                      </a:r>
                    </a:p>
                    <a:p>
                      <a:pPr algn="ctr"/>
                      <a:r>
                        <a:rPr lang="en-US" sz="1400" dirty="0">
                          <a:solidFill>
                            <a:srgbClr val="002557"/>
                          </a:solidFill>
                        </a:rPr>
                        <a:t>65.8</a:t>
                      </a:r>
                    </a:p>
                  </a:txBody>
                  <a:tcPr anchor="ctr"/>
                </a:tc>
                <a:tc>
                  <a:txBody>
                    <a:bodyPr/>
                    <a:lstStyle/>
                    <a:p>
                      <a:pPr algn="ctr"/>
                      <a:endParaRPr lang="en-US" sz="1400" dirty="0">
                        <a:solidFill>
                          <a:srgbClr val="002557"/>
                        </a:solidFill>
                      </a:endParaRPr>
                    </a:p>
                    <a:p>
                      <a:pPr algn="ctr"/>
                      <a:r>
                        <a:rPr lang="en-US" sz="1400" dirty="0">
                          <a:solidFill>
                            <a:srgbClr val="002557"/>
                          </a:solidFill>
                        </a:rPr>
                        <a:t>81.8</a:t>
                      </a:r>
                    </a:p>
                    <a:p>
                      <a:pPr algn="ctr"/>
                      <a:r>
                        <a:rPr lang="en-US" sz="1400" dirty="0">
                          <a:solidFill>
                            <a:srgbClr val="002557"/>
                          </a:solidFill>
                        </a:rPr>
                        <a:t>57.8</a:t>
                      </a:r>
                    </a:p>
                  </a:txBody>
                  <a:tcPr anchor="ctr"/>
                </a:tc>
                <a:tc>
                  <a:txBody>
                    <a:bodyPr/>
                    <a:lstStyle/>
                    <a:p>
                      <a:pPr algn="ctr"/>
                      <a:endParaRPr lang="en-US" sz="1400" dirty="0">
                        <a:solidFill>
                          <a:srgbClr val="002557"/>
                        </a:solidFill>
                      </a:endParaRPr>
                    </a:p>
                    <a:p>
                      <a:pPr algn="ctr"/>
                      <a:r>
                        <a:rPr lang="en-US" sz="1400" dirty="0">
                          <a:solidFill>
                            <a:srgbClr val="002557"/>
                          </a:solidFill>
                        </a:rPr>
                        <a:t>78.9</a:t>
                      </a:r>
                    </a:p>
                    <a:p>
                      <a:pPr algn="ctr"/>
                      <a:r>
                        <a:rPr lang="en-US" sz="1400" dirty="0">
                          <a:solidFill>
                            <a:srgbClr val="002557"/>
                          </a:solidFill>
                        </a:rPr>
                        <a:t>63.2</a:t>
                      </a:r>
                    </a:p>
                  </a:txBody>
                  <a:tcPr anchor="ctr"/>
                </a:tc>
                <a:extLst>
                  <a:ext uri="{0D108BD9-81ED-4DB2-BD59-A6C34878D82A}">
                    <a16:rowId xmlns:a16="http://schemas.microsoft.com/office/drawing/2014/main" val="1278558633"/>
                  </a:ext>
                </a:extLst>
              </a:tr>
            </a:tbl>
          </a:graphicData>
        </a:graphic>
      </p:graphicFrame>
    </p:spTree>
    <p:extLst>
      <p:ext uri="{BB962C8B-B14F-4D97-AF65-F5344CB8AC3E}">
        <p14:creationId xmlns:p14="http://schemas.microsoft.com/office/powerpoint/2010/main" val="414832768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31A6C8-C92E-A241-858C-742836094465}"/>
              </a:ext>
            </a:extLst>
          </p:cNvPr>
          <p:cNvSpPr>
            <a:spLocks noGrp="1"/>
          </p:cNvSpPr>
          <p:nvPr>
            <p:ph type="title"/>
          </p:nvPr>
        </p:nvSpPr>
        <p:spPr>
          <a:xfrm>
            <a:off x="912286" y="116632"/>
            <a:ext cx="10358967" cy="1143000"/>
          </a:xfrm>
        </p:spPr>
        <p:txBody>
          <a:bodyPr/>
          <a:lstStyle/>
          <a:p>
            <a:r>
              <a:rPr lang="en-US" dirty="0"/>
              <a:t>Commercial Support</a:t>
            </a:r>
          </a:p>
        </p:txBody>
      </p:sp>
      <p:sp>
        <p:nvSpPr>
          <p:cNvPr id="3" name="Content Placeholder 2">
            <a:extLst>
              <a:ext uri="{FF2B5EF4-FFF2-40B4-BE49-F238E27FC236}">
                <a16:creationId xmlns:a16="http://schemas.microsoft.com/office/drawing/2014/main" id="{5DF225B5-DDBB-F04C-87FC-4A699DA2706A}"/>
              </a:ext>
            </a:extLst>
          </p:cNvPr>
          <p:cNvSpPr>
            <a:spLocks noGrp="1"/>
          </p:cNvSpPr>
          <p:nvPr>
            <p:ph idx="1"/>
          </p:nvPr>
        </p:nvSpPr>
        <p:spPr>
          <a:xfrm>
            <a:off x="1051640" y="1259632"/>
            <a:ext cx="9364840" cy="1872208"/>
          </a:xfrm>
        </p:spPr>
        <p:txBody>
          <a:bodyPr/>
          <a:lstStyle/>
          <a:p>
            <a:pPr marL="98425" indent="0">
              <a:buNone/>
            </a:pPr>
            <a:r>
              <a:rPr lang="en-US" sz="2500" b="0" dirty="0"/>
              <a:t>This activity is supported by educational grants from AstraZeneca Pharmaceuticals LP, Bayer HealthCare Pharmaceuticals, Eisai Inc, </a:t>
            </a:r>
            <a:r>
              <a:rPr lang="en-US" sz="2500" b="0" dirty="0" err="1"/>
              <a:t>Exelixis</a:t>
            </a:r>
            <a:r>
              <a:rPr lang="en-US" sz="2500" b="0" dirty="0"/>
              <a:t> Inc, Genentech, a member of the Roche Group, Incyte Corporation, and Merck.</a:t>
            </a:r>
          </a:p>
        </p:txBody>
      </p:sp>
      <p:sp>
        <p:nvSpPr>
          <p:cNvPr id="4" name="Title 1">
            <a:extLst>
              <a:ext uri="{FF2B5EF4-FFF2-40B4-BE49-F238E27FC236}">
                <a16:creationId xmlns:a16="http://schemas.microsoft.com/office/drawing/2014/main" id="{44432B8F-6C08-404C-98D5-8916D535718F}"/>
              </a:ext>
            </a:extLst>
          </p:cNvPr>
          <p:cNvSpPr txBox="1">
            <a:spLocks/>
          </p:cNvSpPr>
          <p:nvPr/>
        </p:nvSpPr>
        <p:spPr bwMode="auto">
          <a:xfrm>
            <a:off x="912286" y="4005064"/>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3000" b="1" i="0" u="none" strike="noStrike" kern="0" cap="none" spc="0" normalizeH="0" baseline="0" noProof="0">
                <a:ln>
                  <a:noFill/>
                </a:ln>
                <a:solidFill>
                  <a:srgbClr val="3333FF"/>
                </a:solidFill>
                <a:effectLst/>
                <a:uLnTx/>
                <a:uFillTx/>
                <a:latin typeface="Calibri"/>
                <a:ea typeface="MS PGothic" pitchFamily="34" charset="-128"/>
                <a:cs typeface="Calibri"/>
              </a:rPr>
              <a:t>Research To Practice CME Planning Committee Members, </a:t>
            </a:r>
            <a:br>
              <a:rPr kumimoji="0" lang="en-US" sz="3000" b="1" i="0" u="none" strike="noStrike" kern="0" cap="none" spc="0" normalizeH="0" baseline="0" noProof="0">
                <a:ln>
                  <a:noFill/>
                </a:ln>
                <a:solidFill>
                  <a:srgbClr val="3333FF"/>
                </a:solidFill>
                <a:effectLst/>
                <a:uLnTx/>
                <a:uFillTx/>
                <a:latin typeface="Calibri"/>
                <a:ea typeface="MS PGothic" pitchFamily="34" charset="-128"/>
                <a:cs typeface="Calibri"/>
              </a:rPr>
            </a:br>
            <a:r>
              <a:rPr kumimoji="0" lang="en-US" sz="3000" b="1" i="0" u="none" strike="noStrike" kern="0" cap="none" spc="0" normalizeH="0" baseline="0" noProof="0">
                <a:ln>
                  <a:noFill/>
                </a:ln>
                <a:solidFill>
                  <a:srgbClr val="3333FF"/>
                </a:solidFill>
                <a:effectLst/>
                <a:uLnTx/>
                <a:uFillTx/>
                <a:latin typeface="Calibri"/>
                <a:ea typeface="MS PGothic" pitchFamily="34" charset="-128"/>
                <a:cs typeface="Calibri"/>
              </a:rPr>
              <a:t>Staff and Reviewers</a:t>
            </a:r>
            <a:endPar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endParaRPr>
          </a:p>
        </p:txBody>
      </p:sp>
      <p:sp>
        <p:nvSpPr>
          <p:cNvPr id="5" name="Content Placeholder 2">
            <a:extLst>
              <a:ext uri="{FF2B5EF4-FFF2-40B4-BE49-F238E27FC236}">
                <a16:creationId xmlns:a16="http://schemas.microsoft.com/office/drawing/2014/main" id="{F026D981-42D9-3542-B330-E6B7B171010F}"/>
              </a:ext>
            </a:extLst>
          </p:cNvPr>
          <p:cNvSpPr txBox="1">
            <a:spLocks/>
          </p:cNvSpPr>
          <p:nvPr/>
        </p:nvSpPr>
        <p:spPr bwMode="auto">
          <a:xfrm>
            <a:off x="912286" y="5364087"/>
            <a:ext cx="10512305" cy="103735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l"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kumimoji="0" lang="en-US" sz="2500" b="0" i="0" u="none" strike="noStrike" kern="0" cap="none" spc="0" normalizeH="0" baseline="0" noProof="0" dirty="0">
                <a:ln>
                  <a:noFill/>
                </a:ln>
                <a:solidFill>
                  <a:srgbClr val="000000"/>
                </a:solidFill>
                <a:effectLst/>
                <a:uLnTx/>
                <a:uFillTx/>
                <a:latin typeface="Calibri" charset="0"/>
                <a:ea typeface="MS PGothic" pitchFamily="34" charset="-128"/>
              </a:rPr>
              <a:t>Planners, scientific staff and independent reviewers for Research To Practice have no relevant conflicts of interest to disclose.</a:t>
            </a:r>
          </a:p>
        </p:txBody>
      </p:sp>
    </p:spTree>
    <p:extLst>
      <p:ext uri="{BB962C8B-B14F-4D97-AF65-F5344CB8AC3E}">
        <p14:creationId xmlns:p14="http://schemas.microsoft.com/office/powerpoint/2010/main" val="171323899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C0DC3D0B-BF3B-4720-A4AA-0EE7FC2EF65E}"/>
              </a:ext>
            </a:extLst>
          </p:cNvPr>
          <p:cNvSpPr>
            <a:spLocks noGrp="1"/>
          </p:cNvSpPr>
          <p:nvPr>
            <p:ph type="body" sz="quarter" idx="15"/>
          </p:nvPr>
        </p:nvSpPr>
        <p:spPr/>
        <p:txBody>
          <a:bodyPr/>
          <a:lstStyle/>
          <a:p>
            <a:r>
              <a:rPr lang="en-US" dirty="0"/>
              <a:t>Ghassan K Abou-Alfa, MD, MBA</a:t>
            </a:r>
          </a:p>
        </p:txBody>
      </p:sp>
      <p:sp>
        <p:nvSpPr>
          <p:cNvPr id="10" name="Title 1">
            <a:extLst>
              <a:ext uri="{FF2B5EF4-FFF2-40B4-BE49-F238E27FC236}">
                <a16:creationId xmlns:a16="http://schemas.microsoft.com/office/drawing/2014/main" id="{12AD2533-DB1D-4518-8E18-2DDF5E2C09F7}"/>
              </a:ext>
            </a:extLst>
          </p:cNvPr>
          <p:cNvSpPr txBox="1">
            <a:spLocks/>
          </p:cNvSpPr>
          <p:nvPr/>
        </p:nvSpPr>
        <p:spPr>
          <a:xfrm>
            <a:off x="640080" y="228600"/>
            <a:ext cx="10972800" cy="1371600"/>
          </a:xfrm>
          <a:prstGeom prst="rect">
            <a:avLst/>
          </a:prstGeom>
        </p:spPr>
        <p:txBody>
          <a:bodyPr vert="horz" lIns="91440" tIns="45720" rIns="91440" bIns="45720" rtlCol="0" anchor="ctr" anchorCtr="0">
            <a:normAutofit/>
          </a:bodyPr>
          <a:lstStyle>
            <a:defPPr>
              <a:defRPr lang="en-US"/>
            </a:defPPr>
            <a:lvl1pPr>
              <a:lnSpc>
                <a:spcPct val="90000"/>
              </a:lnSpc>
              <a:spcBef>
                <a:spcPct val="0"/>
              </a:spcBef>
              <a:buNone/>
              <a:defRPr sz="3600" b="1">
                <a:solidFill>
                  <a:schemeClr val="bg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1" i="0" u="none" strike="noStrike" kern="1200" cap="none" spc="0" normalizeH="0" baseline="0" noProof="0" dirty="0">
                <a:ln>
                  <a:noFill/>
                </a:ln>
                <a:solidFill>
                  <a:srgbClr val="002557"/>
                </a:solidFill>
                <a:effectLst/>
                <a:uLnTx/>
                <a:uFillTx/>
                <a:latin typeface="Arial" panose="020B0604020202020204" pitchFamily="34" charset="0"/>
                <a:ea typeface="+mj-ea"/>
                <a:cs typeface="Arial" panose="020B0604020202020204" pitchFamily="34" charset="0"/>
              </a:rPr>
              <a:t>Safety and tolerability</a:t>
            </a: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3200" b="1" i="0" u="none" strike="noStrike" kern="1200" cap="none" spc="0" normalizeH="0" baseline="0" noProof="0" dirty="0">
              <a:ln>
                <a:noFill/>
              </a:ln>
              <a:solidFill>
                <a:srgbClr val="002557"/>
              </a:solidFill>
              <a:effectLst/>
              <a:uLnTx/>
              <a:uFillTx/>
              <a:latin typeface="Arial" panose="020B0604020202020204" pitchFamily="34" charset="0"/>
              <a:ea typeface="+mj-ea"/>
              <a:cs typeface="Arial" panose="020B0604020202020204" pitchFamily="34" charset="0"/>
            </a:endParaRPr>
          </a:p>
        </p:txBody>
      </p:sp>
      <p:graphicFrame>
        <p:nvGraphicFramePr>
          <p:cNvPr id="14" name="Table 6">
            <a:extLst>
              <a:ext uri="{FF2B5EF4-FFF2-40B4-BE49-F238E27FC236}">
                <a16:creationId xmlns:a16="http://schemas.microsoft.com/office/drawing/2014/main" id="{3DF52A3C-EE3D-4757-B2AE-4CE79FECAD02}"/>
              </a:ext>
            </a:extLst>
          </p:cNvPr>
          <p:cNvGraphicFramePr>
            <a:graphicFrameLocks noGrp="1"/>
          </p:cNvGraphicFramePr>
          <p:nvPr/>
        </p:nvGraphicFramePr>
        <p:xfrm>
          <a:off x="640081" y="1139382"/>
          <a:ext cx="10911839" cy="4075744"/>
        </p:xfrm>
        <a:graphic>
          <a:graphicData uri="http://schemas.openxmlformats.org/drawingml/2006/table">
            <a:tbl>
              <a:tblPr firstRow="1" bandRow="1">
                <a:tableStyleId>{0505E3EF-67EA-436B-97B2-0124C06EBD24}</a:tableStyleId>
              </a:tblPr>
              <a:tblGrid>
                <a:gridCol w="5210927">
                  <a:extLst>
                    <a:ext uri="{9D8B030D-6E8A-4147-A177-3AD203B41FA5}">
                      <a16:colId xmlns:a16="http://schemas.microsoft.com/office/drawing/2014/main" val="683402423"/>
                    </a:ext>
                  </a:extLst>
                </a:gridCol>
                <a:gridCol w="1900304">
                  <a:extLst>
                    <a:ext uri="{9D8B030D-6E8A-4147-A177-3AD203B41FA5}">
                      <a16:colId xmlns:a16="http://schemas.microsoft.com/office/drawing/2014/main" val="1157028237"/>
                    </a:ext>
                  </a:extLst>
                </a:gridCol>
                <a:gridCol w="1900304">
                  <a:extLst>
                    <a:ext uri="{9D8B030D-6E8A-4147-A177-3AD203B41FA5}">
                      <a16:colId xmlns:a16="http://schemas.microsoft.com/office/drawing/2014/main" val="4024820161"/>
                    </a:ext>
                  </a:extLst>
                </a:gridCol>
                <a:gridCol w="1900304">
                  <a:extLst>
                    <a:ext uri="{9D8B030D-6E8A-4147-A177-3AD203B41FA5}">
                      <a16:colId xmlns:a16="http://schemas.microsoft.com/office/drawing/2014/main" val="621874721"/>
                    </a:ext>
                  </a:extLst>
                </a:gridCol>
              </a:tblGrid>
              <a:tr h="509468">
                <a:tc>
                  <a:txBody>
                    <a:bodyPr/>
                    <a:lstStyle/>
                    <a:p>
                      <a:r>
                        <a:rPr lang="en-US" sz="1400" dirty="0">
                          <a:solidFill>
                            <a:srgbClr val="002557"/>
                          </a:solidFill>
                        </a:rPr>
                        <a:t>Event, n (%)</a:t>
                      </a:r>
                    </a:p>
                  </a:txBody>
                  <a:tcPr anchor="ctr"/>
                </a:tc>
                <a:tc>
                  <a:txBody>
                    <a:bodyPr/>
                    <a:lstStyle/>
                    <a:p>
                      <a:pPr algn="ctr"/>
                      <a:r>
                        <a:rPr lang="en-US" sz="1400" dirty="0">
                          <a:solidFill>
                            <a:schemeClr val="bg1"/>
                          </a:solidFill>
                        </a:rPr>
                        <a:t>T300+D (n=388)</a:t>
                      </a:r>
                    </a:p>
                  </a:txBody>
                  <a:tcPr anchor="ctr">
                    <a:solidFill>
                      <a:srgbClr val="4472C4"/>
                    </a:solidFill>
                  </a:tcPr>
                </a:tc>
                <a:tc>
                  <a:txBody>
                    <a:bodyPr/>
                    <a:lstStyle/>
                    <a:p>
                      <a:pPr algn="ctr"/>
                      <a:r>
                        <a:rPr lang="en-US" sz="1400" dirty="0">
                          <a:solidFill>
                            <a:schemeClr val="bg1"/>
                          </a:solidFill>
                        </a:rPr>
                        <a:t>Durvalumab (n=388)</a:t>
                      </a:r>
                    </a:p>
                  </a:txBody>
                  <a:tcPr anchor="ctr">
                    <a:solidFill>
                      <a:srgbClr val="008764"/>
                    </a:solidFill>
                  </a:tcPr>
                </a:tc>
                <a:tc>
                  <a:txBody>
                    <a:bodyPr/>
                    <a:lstStyle/>
                    <a:p>
                      <a:pPr algn="ctr"/>
                      <a:r>
                        <a:rPr lang="en-US" sz="1400" dirty="0">
                          <a:solidFill>
                            <a:schemeClr val="bg1"/>
                          </a:solidFill>
                        </a:rPr>
                        <a:t>Sorafenib (n=374)</a:t>
                      </a:r>
                    </a:p>
                  </a:txBody>
                  <a:tcPr anchor="ctr">
                    <a:solidFill>
                      <a:srgbClr val="830051"/>
                    </a:solidFill>
                  </a:tcPr>
                </a:tc>
                <a:extLst>
                  <a:ext uri="{0D108BD9-81ED-4DB2-BD59-A6C34878D82A}">
                    <a16:rowId xmlns:a16="http://schemas.microsoft.com/office/drawing/2014/main" val="3856136383"/>
                  </a:ext>
                </a:extLst>
              </a:tr>
              <a:tr h="509468">
                <a:tc>
                  <a:txBody>
                    <a:bodyPr/>
                    <a:lstStyle/>
                    <a:p>
                      <a:r>
                        <a:rPr lang="en-US" sz="1400" dirty="0">
                          <a:solidFill>
                            <a:srgbClr val="002557"/>
                          </a:solidFill>
                        </a:rPr>
                        <a:t>Any AE</a:t>
                      </a:r>
                    </a:p>
                  </a:txBody>
                  <a:tcPr anchor="ctr"/>
                </a:tc>
                <a:tc>
                  <a:txBody>
                    <a:bodyPr/>
                    <a:lstStyle/>
                    <a:p>
                      <a:pPr algn="ctr"/>
                      <a:r>
                        <a:rPr lang="en-US" sz="1400" dirty="0">
                          <a:solidFill>
                            <a:srgbClr val="002557"/>
                          </a:solidFill>
                        </a:rPr>
                        <a:t>378 (97.4)</a:t>
                      </a:r>
                    </a:p>
                  </a:txBody>
                  <a:tcPr anchor="ctr"/>
                </a:tc>
                <a:tc>
                  <a:txBody>
                    <a:bodyPr/>
                    <a:lstStyle/>
                    <a:p>
                      <a:pPr algn="ctr"/>
                      <a:r>
                        <a:rPr lang="en-US" sz="1400" dirty="0">
                          <a:solidFill>
                            <a:srgbClr val="002557"/>
                          </a:solidFill>
                        </a:rPr>
                        <a:t>345 (88.9)</a:t>
                      </a:r>
                    </a:p>
                  </a:txBody>
                  <a:tcPr anchor="ctr"/>
                </a:tc>
                <a:tc>
                  <a:txBody>
                    <a:bodyPr/>
                    <a:lstStyle/>
                    <a:p>
                      <a:pPr algn="ctr"/>
                      <a:r>
                        <a:rPr lang="en-US" sz="1400" dirty="0">
                          <a:solidFill>
                            <a:srgbClr val="002557"/>
                          </a:solidFill>
                        </a:rPr>
                        <a:t>357 (95.5)</a:t>
                      </a:r>
                    </a:p>
                  </a:txBody>
                  <a:tcPr anchor="ctr"/>
                </a:tc>
                <a:extLst>
                  <a:ext uri="{0D108BD9-81ED-4DB2-BD59-A6C34878D82A}">
                    <a16:rowId xmlns:a16="http://schemas.microsoft.com/office/drawing/2014/main" val="2595467933"/>
                  </a:ext>
                </a:extLst>
              </a:tr>
              <a:tr h="509468">
                <a:tc>
                  <a:txBody>
                    <a:bodyPr/>
                    <a:lstStyle/>
                    <a:p>
                      <a:r>
                        <a:rPr lang="en-US" sz="1400" dirty="0">
                          <a:solidFill>
                            <a:srgbClr val="002557"/>
                          </a:solidFill>
                        </a:rPr>
                        <a:t>Any TRAE*</a:t>
                      </a:r>
                    </a:p>
                  </a:txBody>
                  <a:tcPr anchor="ctr"/>
                </a:tc>
                <a:tc>
                  <a:txBody>
                    <a:bodyPr/>
                    <a:lstStyle/>
                    <a:p>
                      <a:pPr algn="ctr"/>
                      <a:r>
                        <a:rPr lang="en-US" sz="1400" dirty="0">
                          <a:solidFill>
                            <a:srgbClr val="002557"/>
                          </a:solidFill>
                        </a:rPr>
                        <a:t>294 (75.8)</a:t>
                      </a:r>
                    </a:p>
                  </a:txBody>
                  <a:tcPr anchor="ctr"/>
                </a:tc>
                <a:tc>
                  <a:txBody>
                    <a:bodyPr/>
                    <a:lstStyle/>
                    <a:p>
                      <a:pPr algn="ctr"/>
                      <a:r>
                        <a:rPr lang="en-US" sz="1400" dirty="0">
                          <a:solidFill>
                            <a:srgbClr val="002557"/>
                          </a:solidFill>
                        </a:rPr>
                        <a:t>202 (52.1)</a:t>
                      </a:r>
                    </a:p>
                  </a:txBody>
                  <a:tcPr anchor="ctr"/>
                </a:tc>
                <a:tc>
                  <a:txBody>
                    <a:bodyPr/>
                    <a:lstStyle/>
                    <a:p>
                      <a:pPr algn="ctr"/>
                      <a:r>
                        <a:rPr lang="en-US" sz="1400" dirty="0">
                          <a:solidFill>
                            <a:srgbClr val="002557"/>
                          </a:solidFill>
                        </a:rPr>
                        <a:t>317 (84.8)</a:t>
                      </a:r>
                    </a:p>
                  </a:txBody>
                  <a:tcPr anchor="ctr"/>
                </a:tc>
                <a:extLst>
                  <a:ext uri="{0D108BD9-81ED-4DB2-BD59-A6C34878D82A}">
                    <a16:rowId xmlns:a16="http://schemas.microsoft.com/office/drawing/2014/main" val="3313247079"/>
                  </a:ext>
                </a:extLst>
              </a:tr>
              <a:tr h="509468">
                <a:tc>
                  <a:txBody>
                    <a:bodyPr/>
                    <a:lstStyle/>
                    <a:p>
                      <a:r>
                        <a:rPr lang="en-US" sz="1400" dirty="0">
                          <a:solidFill>
                            <a:srgbClr val="002557"/>
                          </a:solidFill>
                        </a:rPr>
                        <a:t>Any grade 3/4 AE</a:t>
                      </a:r>
                    </a:p>
                  </a:txBody>
                  <a:tcPr anchor="ctr"/>
                </a:tc>
                <a:tc>
                  <a:txBody>
                    <a:bodyPr/>
                    <a:lstStyle/>
                    <a:p>
                      <a:pPr algn="ctr"/>
                      <a:r>
                        <a:rPr lang="en-US" sz="1400" dirty="0">
                          <a:solidFill>
                            <a:srgbClr val="002557"/>
                          </a:solidFill>
                        </a:rPr>
                        <a:t>196 (50.5)</a:t>
                      </a:r>
                    </a:p>
                  </a:txBody>
                  <a:tcPr anchor="ctr"/>
                </a:tc>
                <a:tc>
                  <a:txBody>
                    <a:bodyPr/>
                    <a:lstStyle/>
                    <a:p>
                      <a:pPr algn="ctr"/>
                      <a:r>
                        <a:rPr lang="en-US" sz="1400" dirty="0">
                          <a:solidFill>
                            <a:srgbClr val="002557"/>
                          </a:solidFill>
                        </a:rPr>
                        <a:t>144 (37.1)</a:t>
                      </a:r>
                    </a:p>
                  </a:txBody>
                  <a:tcPr anchor="ctr"/>
                </a:tc>
                <a:tc>
                  <a:txBody>
                    <a:bodyPr/>
                    <a:lstStyle/>
                    <a:p>
                      <a:pPr algn="ctr"/>
                      <a:r>
                        <a:rPr lang="en-US" sz="1400" dirty="0">
                          <a:solidFill>
                            <a:srgbClr val="002557"/>
                          </a:solidFill>
                        </a:rPr>
                        <a:t>196 (52.4)</a:t>
                      </a:r>
                    </a:p>
                  </a:txBody>
                  <a:tcPr anchor="ctr"/>
                </a:tc>
                <a:extLst>
                  <a:ext uri="{0D108BD9-81ED-4DB2-BD59-A6C34878D82A}">
                    <a16:rowId xmlns:a16="http://schemas.microsoft.com/office/drawing/2014/main" val="471767791"/>
                  </a:ext>
                </a:extLst>
              </a:tr>
              <a:tr h="509468">
                <a:tc>
                  <a:txBody>
                    <a:bodyPr/>
                    <a:lstStyle/>
                    <a:p>
                      <a:r>
                        <a:rPr lang="en-US" sz="1400" dirty="0">
                          <a:solidFill>
                            <a:srgbClr val="002557"/>
                          </a:solidFill>
                        </a:rPr>
                        <a:t>Any grade 3/4 TRAE</a:t>
                      </a:r>
                    </a:p>
                  </a:txBody>
                  <a:tcPr anchor="ctr"/>
                </a:tc>
                <a:tc>
                  <a:txBody>
                    <a:bodyPr/>
                    <a:lstStyle/>
                    <a:p>
                      <a:pPr algn="ctr"/>
                      <a:r>
                        <a:rPr lang="en-US" sz="1400" dirty="0">
                          <a:solidFill>
                            <a:srgbClr val="002557"/>
                          </a:solidFill>
                        </a:rPr>
                        <a:t>100 (25.8)</a:t>
                      </a:r>
                    </a:p>
                  </a:txBody>
                  <a:tcPr anchor="ctr"/>
                </a:tc>
                <a:tc>
                  <a:txBody>
                    <a:bodyPr/>
                    <a:lstStyle/>
                    <a:p>
                      <a:pPr algn="ctr"/>
                      <a:r>
                        <a:rPr lang="en-US" sz="1400" dirty="0">
                          <a:solidFill>
                            <a:srgbClr val="002557"/>
                          </a:solidFill>
                        </a:rPr>
                        <a:t>50 (12.9)</a:t>
                      </a:r>
                    </a:p>
                  </a:txBody>
                  <a:tcPr anchor="ctr"/>
                </a:tc>
                <a:tc>
                  <a:txBody>
                    <a:bodyPr/>
                    <a:lstStyle/>
                    <a:p>
                      <a:pPr algn="ctr"/>
                      <a:r>
                        <a:rPr lang="en-US" sz="1400" dirty="0">
                          <a:solidFill>
                            <a:srgbClr val="002557"/>
                          </a:solidFill>
                        </a:rPr>
                        <a:t>138 (36.9)</a:t>
                      </a:r>
                    </a:p>
                  </a:txBody>
                  <a:tcPr anchor="ctr"/>
                </a:tc>
                <a:extLst>
                  <a:ext uri="{0D108BD9-81ED-4DB2-BD59-A6C34878D82A}">
                    <a16:rowId xmlns:a16="http://schemas.microsoft.com/office/drawing/2014/main" val="2867371785"/>
                  </a:ext>
                </a:extLst>
              </a:tr>
              <a:tr h="509468">
                <a:tc>
                  <a:txBody>
                    <a:bodyPr/>
                    <a:lstStyle/>
                    <a:p>
                      <a:r>
                        <a:rPr lang="en-US" sz="1400" dirty="0">
                          <a:solidFill>
                            <a:srgbClr val="002557"/>
                          </a:solidFill>
                        </a:rPr>
                        <a:t>Any serious TRAE</a:t>
                      </a:r>
                    </a:p>
                  </a:txBody>
                  <a:tcPr anchor="ctr"/>
                </a:tc>
                <a:tc>
                  <a:txBody>
                    <a:bodyPr/>
                    <a:lstStyle/>
                    <a:p>
                      <a:pPr algn="ctr"/>
                      <a:r>
                        <a:rPr lang="en-US" sz="1400" dirty="0">
                          <a:solidFill>
                            <a:srgbClr val="002557"/>
                          </a:solidFill>
                        </a:rPr>
                        <a:t>68 (17.5)</a:t>
                      </a:r>
                    </a:p>
                  </a:txBody>
                  <a:tcPr anchor="ctr"/>
                </a:tc>
                <a:tc>
                  <a:txBody>
                    <a:bodyPr/>
                    <a:lstStyle/>
                    <a:p>
                      <a:pPr algn="ctr"/>
                      <a:r>
                        <a:rPr lang="en-US" sz="1400" dirty="0">
                          <a:solidFill>
                            <a:srgbClr val="002557"/>
                          </a:solidFill>
                        </a:rPr>
                        <a:t>32 (8.2)</a:t>
                      </a:r>
                    </a:p>
                  </a:txBody>
                  <a:tcPr anchor="ctr"/>
                </a:tc>
                <a:tc>
                  <a:txBody>
                    <a:bodyPr/>
                    <a:lstStyle/>
                    <a:p>
                      <a:pPr algn="ctr"/>
                      <a:r>
                        <a:rPr lang="en-US" sz="1400" dirty="0">
                          <a:solidFill>
                            <a:srgbClr val="002557"/>
                          </a:solidFill>
                        </a:rPr>
                        <a:t>35 (9.4)</a:t>
                      </a:r>
                    </a:p>
                  </a:txBody>
                  <a:tcPr anchor="ctr"/>
                </a:tc>
                <a:extLst>
                  <a:ext uri="{0D108BD9-81ED-4DB2-BD59-A6C34878D82A}">
                    <a16:rowId xmlns:a16="http://schemas.microsoft.com/office/drawing/2014/main" val="1632507643"/>
                  </a:ext>
                </a:extLst>
              </a:tr>
              <a:tr h="509468">
                <a:tc>
                  <a:txBody>
                    <a:bodyPr/>
                    <a:lstStyle/>
                    <a:p>
                      <a:r>
                        <a:rPr lang="en-US" sz="1400" dirty="0">
                          <a:solidFill>
                            <a:srgbClr val="002557"/>
                          </a:solidFill>
                        </a:rPr>
                        <a:t>Any TRAE leading to death</a:t>
                      </a:r>
                      <a:endParaRPr lang="en-US" sz="1400" baseline="30000" dirty="0">
                        <a:solidFill>
                          <a:srgbClr val="002557"/>
                        </a:solidFill>
                      </a:endParaRPr>
                    </a:p>
                  </a:txBody>
                  <a:tcPr anchor="ctr"/>
                </a:tc>
                <a:tc>
                  <a:txBody>
                    <a:bodyPr/>
                    <a:lstStyle/>
                    <a:p>
                      <a:pPr algn="ctr"/>
                      <a:r>
                        <a:rPr lang="en-US" sz="1400" dirty="0">
                          <a:solidFill>
                            <a:srgbClr val="002557"/>
                          </a:solidFill>
                        </a:rPr>
                        <a:t>9 (2.3)</a:t>
                      </a:r>
                      <a:r>
                        <a:rPr kumimoji="0" lang="en-US" sz="1400" b="0" i="0" u="none" strike="noStrike" kern="1200" cap="none" spc="0" normalizeH="0" baseline="30000" noProof="0" dirty="0">
                          <a:ln>
                            <a:noFill/>
                          </a:ln>
                          <a:solidFill>
                            <a:srgbClr val="002557"/>
                          </a:solidFill>
                          <a:effectLst/>
                          <a:uLnTx/>
                          <a:uFillTx/>
                          <a:latin typeface="+mn-lt"/>
                          <a:ea typeface="+mn-ea"/>
                          <a:cs typeface="+mn-cs"/>
                        </a:rPr>
                        <a:t>†</a:t>
                      </a:r>
                      <a:endParaRPr lang="en-US" sz="1400" baseline="0" dirty="0">
                        <a:solidFill>
                          <a:srgbClr val="002557"/>
                        </a:solidFill>
                      </a:endParaRPr>
                    </a:p>
                  </a:txBody>
                  <a:tcPr anchor="ctr"/>
                </a:tc>
                <a:tc>
                  <a:txBody>
                    <a:bodyPr/>
                    <a:lstStyle/>
                    <a:p>
                      <a:pPr algn="ctr"/>
                      <a:r>
                        <a:rPr lang="en-US" sz="1400" dirty="0">
                          <a:solidFill>
                            <a:srgbClr val="002557"/>
                          </a:solidFill>
                        </a:rPr>
                        <a:t>0</a:t>
                      </a:r>
                    </a:p>
                  </a:txBody>
                  <a:tcPr anchor="ctr"/>
                </a:tc>
                <a:tc>
                  <a:txBody>
                    <a:bodyPr/>
                    <a:lstStyle/>
                    <a:p>
                      <a:pPr algn="ctr"/>
                      <a:r>
                        <a:rPr lang="en-US" sz="1400" dirty="0">
                          <a:solidFill>
                            <a:srgbClr val="002557"/>
                          </a:solidFill>
                        </a:rPr>
                        <a:t>3 (0.8)</a:t>
                      </a:r>
                      <a:r>
                        <a:rPr lang="en-US" sz="1400" baseline="30000" dirty="0">
                          <a:solidFill>
                            <a:srgbClr val="002557"/>
                          </a:solidFill>
                        </a:rPr>
                        <a:t>‡</a:t>
                      </a:r>
                    </a:p>
                  </a:txBody>
                  <a:tcPr anchor="ctr"/>
                </a:tc>
                <a:extLst>
                  <a:ext uri="{0D108BD9-81ED-4DB2-BD59-A6C34878D82A}">
                    <a16:rowId xmlns:a16="http://schemas.microsoft.com/office/drawing/2014/main" val="3619022367"/>
                  </a:ext>
                </a:extLst>
              </a:tr>
              <a:tr h="509468">
                <a:tc>
                  <a:txBody>
                    <a:bodyPr/>
                    <a:lstStyle/>
                    <a:p>
                      <a:r>
                        <a:rPr lang="en-US" sz="1400" dirty="0">
                          <a:solidFill>
                            <a:srgbClr val="002557"/>
                          </a:solidFill>
                        </a:rPr>
                        <a:t>Any TRAE leading to discontinuation</a:t>
                      </a:r>
                    </a:p>
                  </a:txBody>
                  <a:tcPr anchor="ctr"/>
                </a:tc>
                <a:tc>
                  <a:txBody>
                    <a:bodyPr/>
                    <a:lstStyle/>
                    <a:p>
                      <a:pPr algn="ctr"/>
                      <a:r>
                        <a:rPr lang="en-US" sz="1400" dirty="0">
                          <a:solidFill>
                            <a:srgbClr val="002557"/>
                          </a:solidFill>
                        </a:rPr>
                        <a:t>32 (8.2)</a:t>
                      </a:r>
                    </a:p>
                  </a:txBody>
                  <a:tcPr anchor="ctr"/>
                </a:tc>
                <a:tc>
                  <a:txBody>
                    <a:bodyPr/>
                    <a:lstStyle/>
                    <a:p>
                      <a:pPr algn="ctr"/>
                      <a:r>
                        <a:rPr lang="en-US" sz="1400" dirty="0">
                          <a:solidFill>
                            <a:srgbClr val="002557"/>
                          </a:solidFill>
                        </a:rPr>
                        <a:t>16 (4.1)</a:t>
                      </a:r>
                    </a:p>
                  </a:txBody>
                  <a:tcPr anchor="ctr"/>
                </a:tc>
                <a:tc>
                  <a:txBody>
                    <a:bodyPr/>
                    <a:lstStyle/>
                    <a:p>
                      <a:pPr algn="ctr"/>
                      <a:r>
                        <a:rPr lang="en-US" sz="1400" dirty="0">
                          <a:solidFill>
                            <a:srgbClr val="002557"/>
                          </a:solidFill>
                        </a:rPr>
                        <a:t>41 (11.0)</a:t>
                      </a:r>
                    </a:p>
                  </a:txBody>
                  <a:tcPr anchor="ctr"/>
                </a:tc>
                <a:extLst>
                  <a:ext uri="{0D108BD9-81ED-4DB2-BD59-A6C34878D82A}">
                    <a16:rowId xmlns:a16="http://schemas.microsoft.com/office/drawing/2014/main" val="3249252274"/>
                  </a:ext>
                </a:extLst>
              </a:tr>
            </a:tbl>
          </a:graphicData>
        </a:graphic>
      </p:graphicFrame>
      <p:sp>
        <p:nvSpPr>
          <p:cNvPr id="15" name="TextBox 14">
            <a:extLst>
              <a:ext uri="{FF2B5EF4-FFF2-40B4-BE49-F238E27FC236}">
                <a16:creationId xmlns:a16="http://schemas.microsoft.com/office/drawing/2014/main" id="{C1739F2B-5D82-48D0-AD98-7DEA41270F48}"/>
              </a:ext>
            </a:extLst>
          </p:cNvPr>
          <p:cNvSpPr txBox="1"/>
          <p:nvPr/>
        </p:nvSpPr>
        <p:spPr>
          <a:xfrm>
            <a:off x="238124" y="5376655"/>
            <a:ext cx="11719925" cy="723275"/>
          </a:xfrm>
          <a:prstGeom prst="rect">
            <a:avLst/>
          </a:prstGeom>
          <a:noFill/>
        </p:spPr>
        <p:txBody>
          <a:bodyPr wrap="square" rtlCol="0" anchor="b" anchorCtr="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900" b="0" i="0" u="none" strike="noStrike" kern="1200" cap="none" spc="0" normalizeH="0" baseline="0" noProof="0" dirty="0">
                <a:ln>
                  <a:noFill/>
                </a:ln>
                <a:solidFill>
                  <a:srgbClr val="002557"/>
                </a:solidFill>
                <a:effectLst/>
                <a:uLnTx/>
                <a:uFillTx/>
                <a:latin typeface="Arial" panose="020B0604020202020204"/>
                <a:ea typeface="+mn-ea"/>
                <a:cs typeface="+mn-cs"/>
              </a:rPr>
              <a:t>Includes AEs with onset or increase in severity on or after the date of the first dose through 90 days following the date of the last dose or the date of initiation of the first subsequent therapy. </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900" b="0" i="0" u="none" strike="noStrike" kern="1200" cap="none" spc="0" normalizeH="0" baseline="0" noProof="0" dirty="0">
                <a:ln>
                  <a:noFill/>
                </a:ln>
                <a:solidFill>
                  <a:srgbClr val="002557"/>
                </a:solidFill>
                <a:effectLst/>
                <a:uLnTx/>
                <a:uFillTx/>
                <a:latin typeface="Arial" panose="020B0604020202020204"/>
                <a:ea typeface="+mn-ea"/>
                <a:cs typeface="+mn-cs"/>
              </a:rPr>
              <a:t>*Treatment-related was as assessed by investigator. </a:t>
            </a:r>
            <a:r>
              <a:rPr kumimoji="0" lang="en-US" sz="900" b="0" i="0" u="none" strike="noStrike" kern="1200" cap="none" spc="0" normalizeH="0" baseline="30000" noProof="0" dirty="0">
                <a:ln>
                  <a:noFill/>
                </a:ln>
                <a:solidFill>
                  <a:srgbClr val="002557"/>
                </a:solidFill>
                <a:effectLst/>
                <a:uLnTx/>
                <a:uFillTx/>
                <a:latin typeface="Arial" panose="020B0604020202020204"/>
                <a:ea typeface="+mn-ea"/>
                <a:cs typeface="+mn-cs"/>
              </a:rPr>
              <a:t>†</a:t>
            </a:r>
            <a:r>
              <a:rPr kumimoji="0" lang="en-US" sz="900" b="0" i="0" u="none" strike="noStrike" kern="1200" cap="none" spc="0" normalizeH="0" baseline="0" noProof="0" dirty="0">
                <a:ln>
                  <a:noFill/>
                </a:ln>
                <a:solidFill>
                  <a:srgbClr val="002557"/>
                </a:solidFill>
                <a:effectLst/>
                <a:uLnTx/>
                <a:uFillTx/>
                <a:latin typeface="Arial" panose="020B0604020202020204"/>
                <a:ea typeface="+mn-ea"/>
                <a:cs typeface="+mn-cs"/>
              </a:rPr>
              <a:t>Nervous system disorder (n=1), acute respiratory distress syndrome (n=1), hepatitis (n=1), myocarditis (n=1), immune-mediated hepatitis (n=2), pneumonitis (n=1), hepatic failure (n=1), myasthenia gravis (n=1). </a:t>
            </a:r>
            <a:r>
              <a:rPr kumimoji="0" lang="en-US" sz="900" b="0" i="0" u="none" strike="noStrike" kern="1200" cap="none" spc="0" normalizeH="0" baseline="30000" noProof="0" dirty="0">
                <a:ln>
                  <a:noFill/>
                </a:ln>
                <a:solidFill>
                  <a:srgbClr val="002557"/>
                </a:solidFill>
                <a:effectLst/>
                <a:uLnTx/>
                <a:uFillTx/>
                <a:latin typeface="Arial" panose="020B0604020202020204"/>
                <a:ea typeface="+mn-ea"/>
                <a:cs typeface="+mn-cs"/>
              </a:rPr>
              <a:t>‡</a:t>
            </a:r>
            <a:r>
              <a:rPr kumimoji="0" lang="en-US" sz="900" b="0" i="0" u="none" strike="noStrike" kern="1200" cap="none" spc="0" normalizeH="0" baseline="0" noProof="0" dirty="0">
                <a:ln>
                  <a:noFill/>
                </a:ln>
                <a:solidFill>
                  <a:srgbClr val="002557"/>
                </a:solidFill>
                <a:effectLst/>
                <a:uLnTx/>
                <a:uFillTx/>
                <a:latin typeface="Arial" panose="020B0604020202020204"/>
                <a:ea typeface="+mn-ea"/>
                <a:cs typeface="+mn-cs"/>
              </a:rPr>
              <a:t>Hematuria (n=1), cerebral hematoma (n=1), hepatic failure (n=1). </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900" b="0" i="0" u="none" strike="noStrike" kern="1200" cap="none" spc="0" normalizeH="0" baseline="0" noProof="0" dirty="0">
                <a:ln>
                  <a:noFill/>
                </a:ln>
                <a:solidFill>
                  <a:srgbClr val="002557"/>
                </a:solidFill>
                <a:effectLst/>
                <a:uLnTx/>
                <a:uFillTx/>
                <a:latin typeface="Arial" panose="020B0604020202020204"/>
                <a:ea typeface="+mn-ea"/>
                <a:cs typeface="+mn-cs"/>
              </a:rPr>
              <a:t>AE, adverse event; SMQ, Standardized MedDRA Query; </a:t>
            </a:r>
            <a:r>
              <a:rPr kumimoji="0" lang="it-IT" sz="900" b="0" i="0" u="none" strike="noStrike" kern="1200" cap="none" spc="0" normalizeH="0" baseline="0" noProof="0" dirty="0">
                <a:ln>
                  <a:noFill/>
                </a:ln>
                <a:solidFill>
                  <a:srgbClr val="002557"/>
                </a:solidFill>
                <a:effectLst/>
                <a:uLnTx/>
                <a:uFillTx/>
                <a:latin typeface="Arial" panose="020B0604020202020204"/>
                <a:ea typeface="+mn-ea"/>
                <a:cs typeface="+mn-cs"/>
              </a:rPr>
              <a:t>T300+D, t</a:t>
            </a:r>
            <a:r>
              <a:rPr kumimoji="0" lang="en-US" sz="900" b="0" i="0" u="none" strike="noStrike" kern="1200" cap="none" spc="0" normalizeH="0" baseline="0" noProof="0" dirty="0" err="1">
                <a:ln>
                  <a:noFill/>
                </a:ln>
                <a:solidFill>
                  <a:srgbClr val="002557"/>
                </a:solidFill>
                <a:effectLst/>
                <a:uLnTx/>
                <a:uFillTx/>
                <a:latin typeface="Arial" panose="020B0604020202020204"/>
                <a:ea typeface="+mn-ea"/>
                <a:cs typeface="+mn-cs"/>
              </a:rPr>
              <a:t>remelimumab</a:t>
            </a:r>
            <a:r>
              <a:rPr kumimoji="0" lang="en-US" sz="900" b="0" i="0" u="none" strike="noStrike" kern="1200" cap="none" spc="0" normalizeH="0" baseline="0" noProof="0" dirty="0">
                <a:ln>
                  <a:noFill/>
                </a:ln>
                <a:solidFill>
                  <a:srgbClr val="002557"/>
                </a:solidFill>
                <a:effectLst/>
                <a:uLnTx/>
                <a:uFillTx/>
                <a:latin typeface="Arial" panose="020B0604020202020204"/>
                <a:ea typeface="+mn-ea"/>
                <a:cs typeface="+mn-cs"/>
              </a:rPr>
              <a:t> 300 mg × 1 dose + durvalumab 1500 mg Q4W; TRAE, treatment-related adverse event.</a:t>
            </a:r>
          </a:p>
        </p:txBody>
      </p:sp>
    </p:spTree>
    <p:extLst>
      <p:ext uri="{BB962C8B-B14F-4D97-AF65-F5344CB8AC3E}">
        <p14:creationId xmlns:p14="http://schemas.microsoft.com/office/powerpoint/2010/main" val="218935309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a:extLst>
              <a:ext uri="{FF2B5EF4-FFF2-40B4-BE49-F238E27FC236}">
                <a16:creationId xmlns:a16="http://schemas.microsoft.com/office/drawing/2014/main" id="{C1739F2B-5D82-48D0-AD98-7DEA41270F48}"/>
              </a:ext>
            </a:extLst>
          </p:cNvPr>
          <p:cNvSpPr txBox="1"/>
          <p:nvPr/>
        </p:nvSpPr>
        <p:spPr>
          <a:xfrm>
            <a:off x="238125" y="5660910"/>
            <a:ext cx="11719925" cy="546303"/>
          </a:xfrm>
          <a:prstGeom prst="rect">
            <a:avLst/>
          </a:prstGeom>
          <a:noFill/>
        </p:spPr>
        <p:txBody>
          <a:bodyPr wrap="square" rtlCol="0" anchor="b" anchorCtr="0">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900" b="0" i="0" u="none" strike="noStrike" kern="1200" cap="none" spc="0" normalizeH="0" baseline="0" noProof="0" dirty="0">
                <a:ln>
                  <a:noFill/>
                </a:ln>
                <a:solidFill>
                  <a:srgbClr val="002557"/>
                </a:solidFill>
                <a:effectLst/>
                <a:uLnTx/>
                <a:uFillTx/>
                <a:latin typeface="Arial" panose="020B0604020202020204"/>
                <a:ea typeface="+mn-ea"/>
                <a:cs typeface="+mn-cs"/>
              </a:rPr>
              <a:t>Includes adverse events with onset or increase in severity on or after the date of the first dose through 90 days following the date of the last dose or the date of initiation of the first subsequent therapy. Patients may have had &gt;1 event. Events include those that occurred in ≥1% of patients in either treatment arm. </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it-IT" sz="900" b="0" i="0" u="none" strike="noStrike" kern="1200" cap="none" spc="0" normalizeH="0" baseline="0" noProof="0" dirty="0">
                <a:ln>
                  <a:noFill/>
                </a:ln>
                <a:solidFill>
                  <a:srgbClr val="002557"/>
                </a:solidFill>
                <a:effectLst/>
                <a:uLnTx/>
                <a:uFillTx/>
                <a:latin typeface="Arial" panose="020B0604020202020204"/>
                <a:ea typeface="+mn-ea"/>
                <a:cs typeface="+mn-cs"/>
              </a:rPr>
              <a:t>T300+D, t</a:t>
            </a:r>
            <a:r>
              <a:rPr kumimoji="0" lang="en-US" sz="900" b="0" i="0" u="none" strike="noStrike" kern="1200" cap="none" spc="0" normalizeH="0" baseline="0" noProof="0" dirty="0" err="1">
                <a:ln>
                  <a:noFill/>
                </a:ln>
                <a:solidFill>
                  <a:srgbClr val="002557"/>
                </a:solidFill>
                <a:effectLst/>
                <a:uLnTx/>
                <a:uFillTx/>
                <a:latin typeface="Arial" panose="020B0604020202020204"/>
                <a:ea typeface="+mn-ea"/>
                <a:cs typeface="+mn-cs"/>
              </a:rPr>
              <a:t>remelimumab</a:t>
            </a:r>
            <a:r>
              <a:rPr kumimoji="0" lang="en-US" sz="900" b="0" i="0" u="none" strike="noStrike" kern="1200" cap="none" spc="0" normalizeH="0" baseline="0" noProof="0" dirty="0">
                <a:ln>
                  <a:noFill/>
                </a:ln>
                <a:solidFill>
                  <a:srgbClr val="002557"/>
                </a:solidFill>
                <a:effectLst/>
                <a:uLnTx/>
                <a:uFillTx/>
                <a:latin typeface="Arial" panose="020B0604020202020204"/>
                <a:ea typeface="+mn-ea"/>
                <a:cs typeface="+mn-cs"/>
              </a:rPr>
              <a:t> 300 mg × 1 dose + durvalumab 1500 mg Q4W.</a:t>
            </a:r>
          </a:p>
        </p:txBody>
      </p:sp>
      <p:sp>
        <p:nvSpPr>
          <p:cNvPr id="5" name="Text Placeholder 4">
            <a:extLst>
              <a:ext uri="{FF2B5EF4-FFF2-40B4-BE49-F238E27FC236}">
                <a16:creationId xmlns:a16="http://schemas.microsoft.com/office/drawing/2014/main" id="{C0DC3D0B-BF3B-4720-A4AA-0EE7FC2EF65E}"/>
              </a:ext>
            </a:extLst>
          </p:cNvPr>
          <p:cNvSpPr>
            <a:spLocks noGrp="1"/>
          </p:cNvSpPr>
          <p:nvPr>
            <p:ph type="body" sz="quarter" idx="15"/>
          </p:nvPr>
        </p:nvSpPr>
        <p:spPr/>
        <p:txBody>
          <a:bodyPr/>
          <a:lstStyle/>
          <a:p>
            <a:r>
              <a:rPr lang="en-US" dirty="0"/>
              <a:t>Ghassan K Abou-Alfa, MD, MBA</a:t>
            </a:r>
          </a:p>
        </p:txBody>
      </p:sp>
      <p:sp>
        <p:nvSpPr>
          <p:cNvPr id="10" name="Title 1">
            <a:extLst>
              <a:ext uri="{FF2B5EF4-FFF2-40B4-BE49-F238E27FC236}">
                <a16:creationId xmlns:a16="http://schemas.microsoft.com/office/drawing/2014/main" id="{12AD2533-DB1D-4518-8E18-2DDF5E2C09F7}"/>
              </a:ext>
            </a:extLst>
          </p:cNvPr>
          <p:cNvSpPr txBox="1">
            <a:spLocks/>
          </p:cNvSpPr>
          <p:nvPr/>
        </p:nvSpPr>
        <p:spPr>
          <a:xfrm>
            <a:off x="640080" y="300490"/>
            <a:ext cx="10972800" cy="1371600"/>
          </a:xfrm>
          <a:prstGeom prst="rect">
            <a:avLst/>
          </a:prstGeom>
        </p:spPr>
        <p:txBody>
          <a:bodyPr vert="horz" lIns="91440" tIns="45720" rIns="91440" bIns="45720" rtlCol="0" anchor="ctr" anchorCtr="0">
            <a:normAutofit/>
          </a:bodyPr>
          <a:lstStyle>
            <a:defPPr>
              <a:defRPr lang="en-US"/>
            </a:defPPr>
            <a:lvl1pPr>
              <a:lnSpc>
                <a:spcPct val="90000"/>
              </a:lnSpc>
              <a:spcBef>
                <a:spcPct val="0"/>
              </a:spcBef>
              <a:buNone/>
              <a:defRPr sz="3600" b="1">
                <a:solidFill>
                  <a:schemeClr val="bg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1" i="0" u="none" strike="noStrike" kern="1200" cap="none" spc="0" normalizeH="0" baseline="0" noProof="0" dirty="0">
                <a:ln>
                  <a:noFill/>
                </a:ln>
                <a:solidFill>
                  <a:srgbClr val="002557"/>
                </a:solidFill>
                <a:effectLst/>
                <a:uLnTx/>
                <a:uFillTx/>
                <a:latin typeface="Arial" panose="020B0604020202020204" pitchFamily="34" charset="0"/>
                <a:ea typeface="+mj-ea"/>
                <a:cs typeface="Arial" panose="020B0604020202020204" pitchFamily="34" charset="0"/>
              </a:rPr>
              <a:t>Immune-mediated adverse events</a:t>
            </a: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3200" b="1" i="0" u="none" strike="noStrike" kern="1200" cap="none" spc="0" normalizeH="0" baseline="0" noProof="0" dirty="0">
              <a:ln>
                <a:noFill/>
              </a:ln>
              <a:solidFill>
                <a:srgbClr val="002557"/>
              </a:solidFill>
              <a:effectLst/>
              <a:uLnTx/>
              <a:uFillTx/>
              <a:latin typeface="Arial" panose="020B0604020202020204" pitchFamily="34" charset="0"/>
              <a:ea typeface="+mj-ea"/>
              <a:cs typeface="Arial" panose="020B0604020202020204" pitchFamily="34" charset="0"/>
            </a:endParaRPr>
          </a:p>
        </p:txBody>
      </p:sp>
      <p:graphicFrame>
        <p:nvGraphicFramePr>
          <p:cNvPr id="14" name="Table 6">
            <a:extLst>
              <a:ext uri="{FF2B5EF4-FFF2-40B4-BE49-F238E27FC236}">
                <a16:creationId xmlns:a16="http://schemas.microsoft.com/office/drawing/2014/main" id="{3DF52A3C-EE3D-4757-B2AE-4CE79FECAD02}"/>
              </a:ext>
            </a:extLst>
          </p:cNvPr>
          <p:cNvGraphicFramePr>
            <a:graphicFrameLocks noGrp="1"/>
          </p:cNvGraphicFramePr>
          <p:nvPr/>
        </p:nvGraphicFramePr>
        <p:xfrm>
          <a:off x="346234" y="1063829"/>
          <a:ext cx="11560494" cy="4580428"/>
        </p:xfrm>
        <a:graphic>
          <a:graphicData uri="http://schemas.openxmlformats.org/drawingml/2006/table">
            <a:tbl>
              <a:tblPr firstRow="1" bandRow="1">
                <a:tableStyleId>{0505E3EF-67EA-436B-97B2-0124C06EBD24}</a:tableStyleId>
              </a:tblPr>
              <a:tblGrid>
                <a:gridCol w="2183606">
                  <a:extLst>
                    <a:ext uri="{9D8B030D-6E8A-4147-A177-3AD203B41FA5}">
                      <a16:colId xmlns:a16="http://schemas.microsoft.com/office/drawing/2014/main" val="683402423"/>
                    </a:ext>
                  </a:extLst>
                </a:gridCol>
                <a:gridCol w="1172111">
                  <a:extLst>
                    <a:ext uri="{9D8B030D-6E8A-4147-A177-3AD203B41FA5}">
                      <a16:colId xmlns:a16="http://schemas.microsoft.com/office/drawing/2014/main" val="969211929"/>
                    </a:ext>
                  </a:extLst>
                </a:gridCol>
                <a:gridCol w="1172111">
                  <a:extLst>
                    <a:ext uri="{9D8B030D-6E8A-4147-A177-3AD203B41FA5}">
                      <a16:colId xmlns:a16="http://schemas.microsoft.com/office/drawing/2014/main" val="2056144852"/>
                    </a:ext>
                  </a:extLst>
                </a:gridCol>
                <a:gridCol w="947618">
                  <a:extLst>
                    <a:ext uri="{9D8B030D-6E8A-4147-A177-3AD203B41FA5}">
                      <a16:colId xmlns:a16="http://schemas.microsoft.com/office/drawing/2014/main" val="2339821082"/>
                    </a:ext>
                  </a:extLst>
                </a:gridCol>
                <a:gridCol w="1396604">
                  <a:extLst>
                    <a:ext uri="{9D8B030D-6E8A-4147-A177-3AD203B41FA5}">
                      <a16:colId xmlns:a16="http://schemas.microsoft.com/office/drawing/2014/main" val="2551981441"/>
                    </a:ext>
                  </a:extLst>
                </a:gridCol>
                <a:gridCol w="1172111">
                  <a:extLst>
                    <a:ext uri="{9D8B030D-6E8A-4147-A177-3AD203B41FA5}">
                      <a16:colId xmlns:a16="http://schemas.microsoft.com/office/drawing/2014/main" val="4024820161"/>
                    </a:ext>
                  </a:extLst>
                </a:gridCol>
                <a:gridCol w="1172111">
                  <a:extLst>
                    <a:ext uri="{9D8B030D-6E8A-4147-A177-3AD203B41FA5}">
                      <a16:colId xmlns:a16="http://schemas.microsoft.com/office/drawing/2014/main" val="4102059419"/>
                    </a:ext>
                  </a:extLst>
                </a:gridCol>
                <a:gridCol w="983574">
                  <a:extLst>
                    <a:ext uri="{9D8B030D-6E8A-4147-A177-3AD203B41FA5}">
                      <a16:colId xmlns:a16="http://schemas.microsoft.com/office/drawing/2014/main" val="621874721"/>
                    </a:ext>
                  </a:extLst>
                </a:gridCol>
                <a:gridCol w="1360648">
                  <a:extLst>
                    <a:ext uri="{9D8B030D-6E8A-4147-A177-3AD203B41FA5}">
                      <a16:colId xmlns:a16="http://schemas.microsoft.com/office/drawing/2014/main" val="863408833"/>
                    </a:ext>
                  </a:extLst>
                </a:gridCol>
              </a:tblGrid>
              <a:tr h="417505">
                <a:tc>
                  <a:txBody>
                    <a:bodyPr/>
                    <a:lstStyle/>
                    <a:p>
                      <a:r>
                        <a:rPr lang="en-US" sz="1400" dirty="0">
                          <a:solidFill>
                            <a:srgbClr val="002557"/>
                          </a:solidFill>
                        </a:rPr>
                        <a:t>Event, n (%)</a:t>
                      </a:r>
                    </a:p>
                  </a:txBody>
                  <a:tcPr anchor="ctr"/>
                </a:tc>
                <a:tc gridSpan="4">
                  <a:txBody>
                    <a:bodyPr/>
                    <a:lstStyle/>
                    <a:p>
                      <a:pPr algn="ctr"/>
                      <a:r>
                        <a:rPr lang="en-US" sz="1400" dirty="0">
                          <a:solidFill>
                            <a:schemeClr val="bg1"/>
                          </a:solidFill>
                        </a:rPr>
                        <a:t>T300+D (n=388)</a:t>
                      </a:r>
                      <a:endParaRPr lang="en-US" sz="1400" dirty="0">
                        <a:solidFill>
                          <a:srgbClr val="002557"/>
                        </a:solidFill>
                      </a:endParaRPr>
                    </a:p>
                  </a:txBody>
                  <a:tcPr anchor="ctr">
                    <a:solidFill>
                      <a:srgbClr val="4472C4"/>
                    </a:solidFill>
                  </a:tcPr>
                </a:tc>
                <a:tc hMerge="1">
                  <a:txBody>
                    <a:bodyPr/>
                    <a:lstStyle/>
                    <a:p>
                      <a:endParaRPr lang="en-GB"/>
                    </a:p>
                  </a:txBody>
                  <a:tcPr/>
                </a:tc>
                <a:tc hMerge="1">
                  <a:txBody>
                    <a:bodyPr/>
                    <a:lstStyle/>
                    <a:p>
                      <a:pPr algn="ctr"/>
                      <a:endParaRPr lang="en-US" sz="1400" dirty="0">
                        <a:solidFill>
                          <a:schemeClr val="bg1"/>
                        </a:solidFill>
                      </a:endParaRPr>
                    </a:p>
                  </a:txBody>
                  <a:tcPr anchor="ctr">
                    <a:solidFill>
                      <a:srgbClr val="4472C4"/>
                    </a:solidFill>
                  </a:tcPr>
                </a:tc>
                <a:tc hMerge="1">
                  <a:txBody>
                    <a:bodyPr/>
                    <a:lstStyle/>
                    <a:p>
                      <a:endParaRPr lang="en-US"/>
                    </a:p>
                  </a:txBody>
                  <a:tcPr/>
                </a:tc>
                <a:tc gridSpan="4">
                  <a:txBody>
                    <a:bodyPr/>
                    <a:lstStyle/>
                    <a:p>
                      <a:pPr algn="ctr"/>
                      <a:r>
                        <a:rPr lang="en-US" sz="1400" dirty="0">
                          <a:solidFill>
                            <a:schemeClr val="bg1"/>
                          </a:solidFill>
                        </a:rPr>
                        <a:t>Durvalumab (n=388)</a:t>
                      </a:r>
                    </a:p>
                  </a:txBody>
                  <a:tcPr anchor="ctr">
                    <a:solidFill>
                      <a:srgbClr val="008764"/>
                    </a:solidFill>
                  </a:tcPr>
                </a:tc>
                <a:tc hMerge="1">
                  <a:txBody>
                    <a:bodyPr/>
                    <a:lstStyle/>
                    <a:p>
                      <a:endParaRPr lang="en-GB"/>
                    </a:p>
                  </a:txBody>
                  <a:tcPr/>
                </a:tc>
                <a:tc hMerge="1">
                  <a:txBody>
                    <a:bodyPr/>
                    <a:lstStyle/>
                    <a:p>
                      <a:pPr algn="ctr"/>
                      <a:endParaRPr lang="en-US" sz="1400" dirty="0">
                        <a:solidFill>
                          <a:schemeClr val="bg1"/>
                        </a:solidFill>
                      </a:endParaRPr>
                    </a:p>
                  </a:txBody>
                  <a:tcPr anchor="ctr">
                    <a:solidFill>
                      <a:srgbClr val="830051"/>
                    </a:solidFill>
                  </a:tcPr>
                </a:tc>
                <a:tc hMerge="1">
                  <a:txBody>
                    <a:bodyPr/>
                    <a:lstStyle/>
                    <a:p>
                      <a:endParaRPr lang="en-US"/>
                    </a:p>
                  </a:txBody>
                  <a:tcPr/>
                </a:tc>
                <a:extLst>
                  <a:ext uri="{0D108BD9-81ED-4DB2-BD59-A6C34878D82A}">
                    <a16:rowId xmlns:a16="http://schemas.microsoft.com/office/drawing/2014/main" val="3856136383"/>
                  </a:ext>
                </a:extLst>
              </a:tr>
              <a:tr h="63769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solidFill>
                          <a:srgbClr val="002557"/>
                        </a:solidFill>
                      </a:endParaRPr>
                    </a:p>
                  </a:txBody>
                  <a:tcPr marT="18000" marB="1800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solidFill>
                            <a:srgbClr val="002557"/>
                          </a:solidFill>
                        </a:rPr>
                        <a:t>All grades</a:t>
                      </a:r>
                      <a:endParaRPr lang="en-US" sz="1200" dirty="0">
                        <a:solidFill>
                          <a:srgbClr val="002557"/>
                        </a:solidFill>
                      </a:endParaRPr>
                    </a:p>
                  </a:txBody>
                  <a:tcPr marT="18000" marB="18000" anchor="ctr"/>
                </a:tc>
                <a:tc>
                  <a:txBody>
                    <a:bodyPr/>
                    <a:lstStyle/>
                    <a:p>
                      <a:pPr algn="ctr"/>
                      <a:r>
                        <a:rPr lang="en-US" sz="1200" b="1" dirty="0">
                          <a:solidFill>
                            <a:srgbClr val="002557"/>
                          </a:solidFill>
                        </a:rPr>
                        <a:t>Grade 3 or 4</a:t>
                      </a:r>
                    </a:p>
                  </a:txBody>
                  <a:tcPr marT="18000" marB="18000" anchor="ctr"/>
                </a:tc>
                <a:tc>
                  <a:txBody>
                    <a:bodyPr/>
                    <a:lstStyle/>
                    <a:p>
                      <a:pPr algn="ctr"/>
                      <a:r>
                        <a:rPr lang="en-US" sz="1200" b="1" dirty="0">
                          <a:solidFill>
                            <a:srgbClr val="002557"/>
                          </a:solidFill>
                        </a:rPr>
                        <a:t>Received high-dose steroids</a:t>
                      </a:r>
                    </a:p>
                  </a:txBody>
                  <a:tcPr marT="18000" marB="18000" anchor="ctr"/>
                </a:tc>
                <a:tc>
                  <a:txBody>
                    <a:bodyPr/>
                    <a:lstStyle/>
                    <a:p>
                      <a:pPr algn="ctr"/>
                      <a:r>
                        <a:rPr lang="en-US" sz="1200" b="1">
                          <a:solidFill>
                            <a:srgbClr val="002557"/>
                          </a:solidFill>
                        </a:rPr>
                        <a:t>Leading to discontinuation</a:t>
                      </a:r>
                      <a:endParaRPr lang="en-US" sz="1200" b="1" dirty="0">
                        <a:solidFill>
                          <a:srgbClr val="002557"/>
                        </a:solidFill>
                      </a:endParaRPr>
                    </a:p>
                  </a:txBody>
                  <a:tcPr marT="18000" marB="18000" anchor="ctr"/>
                </a:tc>
                <a:tc>
                  <a:txBody>
                    <a:bodyPr/>
                    <a:lstStyle/>
                    <a:p>
                      <a:pPr algn="ctr"/>
                      <a:r>
                        <a:rPr lang="en-US" sz="1200" b="1" dirty="0">
                          <a:solidFill>
                            <a:srgbClr val="002557"/>
                          </a:solidFill>
                        </a:rPr>
                        <a:t>All grades</a:t>
                      </a:r>
                    </a:p>
                  </a:txBody>
                  <a:tcPr marT="18000" marB="18000" anchor="ctr"/>
                </a:tc>
                <a:tc>
                  <a:txBody>
                    <a:bodyPr/>
                    <a:lstStyle/>
                    <a:p>
                      <a:pPr algn="ctr"/>
                      <a:r>
                        <a:rPr lang="en-US" sz="1200" b="1" dirty="0">
                          <a:solidFill>
                            <a:srgbClr val="002557"/>
                          </a:solidFill>
                        </a:rPr>
                        <a:t>Grade 3 or 4</a:t>
                      </a:r>
                    </a:p>
                  </a:txBody>
                  <a:tcPr marT="18000" marB="18000" anchor="ctr"/>
                </a:tc>
                <a:tc>
                  <a:txBody>
                    <a:bodyPr/>
                    <a:lstStyle/>
                    <a:p>
                      <a:pPr algn="ctr"/>
                      <a:r>
                        <a:rPr lang="en-US" sz="1200" b="1" dirty="0">
                          <a:solidFill>
                            <a:srgbClr val="002557"/>
                          </a:solidFill>
                        </a:rPr>
                        <a:t>Received high-dose steroids</a:t>
                      </a:r>
                    </a:p>
                  </a:txBody>
                  <a:tcPr marT="18000" marB="18000" anchor="ctr"/>
                </a:tc>
                <a:tc>
                  <a:txBody>
                    <a:bodyPr/>
                    <a:lstStyle/>
                    <a:p>
                      <a:pPr algn="ctr"/>
                      <a:r>
                        <a:rPr lang="en-US" sz="1200" b="1">
                          <a:solidFill>
                            <a:srgbClr val="002557"/>
                          </a:solidFill>
                        </a:rPr>
                        <a:t>Leading to discontinuation</a:t>
                      </a:r>
                      <a:endParaRPr lang="en-US" sz="1200" b="1" dirty="0">
                        <a:solidFill>
                          <a:srgbClr val="002557"/>
                        </a:solidFill>
                      </a:endParaRPr>
                    </a:p>
                  </a:txBody>
                  <a:tcPr marT="18000" marB="18000" anchor="ctr"/>
                </a:tc>
                <a:extLst>
                  <a:ext uri="{0D108BD9-81ED-4DB2-BD59-A6C34878D82A}">
                    <a16:rowId xmlns:a16="http://schemas.microsoft.com/office/drawing/2014/main" val="2595467933"/>
                  </a:ext>
                </a:extLst>
              </a:tr>
              <a:tr h="54188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a:solidFill>
                            <a:srgbClr val="002557"/>
                          </a:solidFill>
                        </a:rPr>
                        <a:t>Patients with immune-mediated</a:t>
                      </a:r>
                      <a:r>
                        <a:rPr lang="en-US" sz="1400" b="1" baseline="0" dirty="0">
                          <a:solidFill>
                            <a:srgbClr val="002557"/>
                          </a:solidFill>
                        </a:rPr>
                        <a:t> </a:t>
                      </a:r>
                      <a:r>
                        <a:rPr lang="en-US" sz="1400" b="1" dirty="0">
                          <a:solidFill>
                            <a:srgbClr val="002557"/>
                          </a:solidFill>
                        </a:rPr>
                        <a:t>event</a:t>
                      </a:r>
                    </a:p>
                  </a:txBody>
                  <a:tcPr marT="18000" marB="1800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0" dirty="0">
                          <a:solidFill>
                            <a:srgbClr val="002557"/>
                          </a:solidFill>
                        </a:rPr>
                        <a:t>139 (35.8)</a:t>
                      </a:r>
                      <a:endParaRPr lang="en-US" sz="1400" b="1" dirty="0">
                        <a:solidFill>
                          <a:srgbClr val="002557"/>
                        </a:solidFill>
                      </a:endParaRPr>
                    </a:p>
                  </a:txBody>
                  <a:tcPr marT="18000" marB="18000" anchor="ctr"/>
                </a:tc>
                <a:tc>
                  <a:txBody>
                    <a:bodyPr/>
                    <a:lstStyle/>
                    <a:p>
                      <a:pPr algn="ctr"/>
                      <a:r>
                        <a:rPr lang="en-US" sz="1400" dirty="0">
                          <a:solidFill>
                            <a:srgbClr val="002557"/>
                          </a:solidFill>
                        </a:rPr>
                        <a:t>49 (12.6)</a:t>
                      </a:r>
                    </a:p>
                  </a:txBody>
                  <a:tcPr marT="18000" marB="18000" anchor="ctr"/>
                </a:tc>
                <a:tc>
                  <a:txBody>
                    <a:bodyPr/>
                    <a:lstStyle/>
                    <a:p>
                      <a:pPr algn="ctr"/>
                      <a:r>
                        <a:rPr lang="en-US" sz="1400" dirty="0">
                          <a:solidFill>
                            <a:srgbClr val="002557"/>
                          </a:solidFill>
                        </a:rPr>
                        <a:t>78 (20.1)</a:t>
                      </a:r>
                    </a:p>
                  </a:txBody>
                  <a:tcPr marT="18000" marB="18000" anchor="ctr"/>
                </a:tc>
                <a:tc>
                  <a:txBody>
                    <a:bodyPr/>
                    <a:lstStyle/>
                    <a:p>
                      <a:pPr algn="ctr"/>
                      <a:r>
                        <a:rPr lang="en-US" sz="1400" dirty="0">
                          <a:solidFill>
                            <a:srgbClr val="002557"/>
                          </a:solidFill>
                        </a:rPr>
                        <a:t>22 (5.7)</a:t>
                      </a:r>
                    </a:p>
                  </a:txBody>
                  <a:tcPr marT="18000" marB="18000" anchor="ctr"/>
                </a:tc>
                <a:tc>
                  <a:txBody>
                    <a:bodyPr/>
                    <a:lstStyle/>
                    <a:p>
                      <a:pPr algn="ctr"/>
                      <a:r>
                        <a:rPr lang="en-US" sz="1400" dirty="0">
                          <a:solidFill>
                            <a:srgbClr val="002557"/>
                          </a:solidFill>
                        </a:rPr>
                        <a:t>64 (16.5)</a:t>
                      </a:r>
                    </a:p>
                  </a:txBody>
                  <a:tcPr marT="18000" marB="18000" anchor="ctr"/>
                </a:tc>
                <a:tc>
                  <a:txBody>
                    <a:bodyPr/>
                    <a:lstStyle/>
                    <a:p>
                      <a:pPr algn="ctr"/>
                      <a:r>
                        <a:rPr lang="en-US" sz="1400" dirty="0">
                          <a:solidFill>
                            <a:srgbClr val="002557"/>
                          </a:solidFill>
                        </a:rPr>
                        <a:t>25 (6.4)</a:t>
                      </a:r>
                    </a:p>
                  </a:txBody>
                  <a:tcPr marT="18000" marB="18000" anchor="ctr"/>
                </a:tc>
                <a:tc>
                  <a:txBody>
                    <a:bodyPr/>
                    <a:lstStyle/>
                    <a:p>
                      <a:pPr algn="ctr"/>
                      <a:r>
                        <a:rPr lang="en-US" sz="1400" dirty="0">
                          <a:solidFill>
                            <a:srgbClr val="002557"/>
                          </a:solidFill>
                        </a:rPr>
                        <a:t>37 (9.5)</a:t>
                      </a:r>
                    </a:p>
                  </a:txBody>
                  <a:tcPr marT="18000" marB="18000" anchor="ctr"/>
                </a:tc>
                <a:tc>
                  <a:txBody>
                    <a:bodyPr/>
                    <a:lstStyle/>
                    <a:p>
                      <a:pPr algn="ctr"/>
                      <a:r>
                        <a:rPr lang="en-US" sz="1400" dirty="0">
                          <a:solidFill>
                            <a:srgbClr val="002557"/>
                          </a:solidFill>
                        </a:rPr>
                        <a:t>10 (2.6)</a:t>
                      </a:r>
                    </a:p>
                  </a:txBody>
                  <a:tcPr marT="18000" marB="18000" anchor="ctr"/>
                </a:tc>
                <a:extLst>
                  <a:ext uri="{0D108BD9-81ED-4DB2-BD59-A6C34878D82A}">
                    <a16:rowId xmlns:a16="http://schemas.microsoft.com/office/drawing/2014/main" val="3313247079"/>
                  </a:ext>
                </a:extLst>
              </a:tr>
              <a:tr h="298335">
                <a:tc gridSpan="9">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400" b="1" dirty="0">
                        <a:solidFill>
                          <a:srgbClr val="002557"/>
                        </a:solidFill>
                      </a:endParaRPr>
                    </a:p>
                  </a:txBody>
                  <a:tcPr marT="18000" marB="18000" anchor="ctr"/>
                </a:tc>
                <a:tc hMerge="1">
                  <a:txBody>
                    <a:bodyPr/>
                    <a:lstStyle/>
                    <a:p>
                      <a:endParaRPr lang="en-US"/>
                    </a:p>
                  </a:txBody>
                  <a:tcPr/>
                </a:tc>
                <a:tc hMerge="1">
                  <a:txBody>
                    <a:bodyPr/>
                    <a:lstStyle/>
                    <a:p>
                      <a:pPr algn="ctr"/>
                      <a:endParaRPr lang="en-US" sz="1100" dirty="0">
                        <a:solidFill>
                          <a:srgbClr val="002557"/>
                        </a:solidFill>
                      </a:endParaRPr>
                    </a:p>
                  </a:txBody>
                  <a:tcPr marT="18000" marB="18000" anchor="ctr"/>
                </a:tc>
                <a:tc hMerge="1">
                  <a:txBody>
                    <a:bodyPr/>
                    <a:lstStyle/>
                    <a:p>
                      <a:pPr algn="ctr"/>
                      <a:endParaRPr lang="en-US" sz="1100" dirty="0">
                        <a:solidFill>
                          <a:srgbClr val="002557"/>
                        </a:solidFill>
                      </a:endParaRPr>
                    </a:p>
                  </a:txBody>
                  <a:tcPr marT="18000" marB="18000" anchor="ctr"/>
                </a:tc>
                <a:tc hMerge="1">
                  <a:txBody>
                    <a:bodyPr/>
                    <a:lstStyle/>
                    <a:p>
                      <a:endParaRPr lang="en-US"/>
                    </a:p>
                  </a:txBody>
                  <a:tcPr/>
                </a:tc>
                <a:tc hMerge="1">
                  <a:txBody>
                    <a:bodyPr/>
                    <a:lstStyle/>
                    <a:p>
                      <a:pPr algn="ctr"/>
                      <a:endParaRPr lang="en-US" sz="1100" dirty="0">
                        <a:solidFill>
                          <a:srgbClr val="002557"/>
                        </a:solidFill>
                      </a:endParaRPr>
                    </a:p>
                  </a:txBody>
                  <a:tcPr marT="18000" marB="18000" anchor="ctr"/>
                </a:tc>
                <a:tc hMerge="1">
                  <a:txBody>
                    <a:bodyPr/>
                    <a:lstStyle/>
                    <a:p>
                      <a:pPr algn="ctr"/>
                      <a:endParaRPr lang="en-US" sz="1100" dirty="0">
                        <a:solidFill>
                          <a:srgbClr val="002557"/>
                        </a:solidFill>
                      </a:endParaRPr>
                    </a:p>
                  </a:txBody>
                  <a:tcPr marT="18000" marB="18000" anchor="ctr"/>
                </a:tc>
                <a:tc hMerge="1">
                  <a:txBody>
                    <a:bodyPr/>
                    <a:lstStyle/>
                    <a:p>
                      <a:pPr algn="ctr"/>
                      <a:endParaRPr lang="en-US" sz="1100" dirty="0">
                        <a:solidFill>
                          <a:srgbClr val="002557"/>
                        </a:solidFill>
                      </a:endParaRPr>
                    </a:p>
                  </a:txBody>
                  <a:tcPr marT="18000" marB="18000" anchor="ctr"/>
                </a:tc>
                <a:tc hMerge="1">
                  <a:txBody>
                    <a:bodyPr/>
                    <a:lstStyle/>
                    <a:p>
                      <a:endParaRPr lang="en-US"/>
                    </a:p>
                  </a:txBody>
                  <a:tcPr/>
                </a:tc>
                <a:extLst>
                  <a:ext uri="{0D108BD9-81ED-4DB2-BD59-A6C34878D82A}">
                    <a16:rowId xmlns:a16="http://schemas.microsoft.com/office/drawing/2014/main" val="1732977422"/>
                  </a:ext>
                </a:extLst>
              </a:tr>
              <a:tr h="298335">
                <a:tc>
                  <a:txBody>
                    <a:bodyPr/>
                    <a:lstStyle/>
                    <a:p>
                      <a:pPr marL="0" marR="0" lvl="0" indent="0" algn="l" defTabSz="914400" rtl="0" eaLnBrk="1" fontAlgn="auto" latinLnBrk="0" hangingPunct="1">
                        <a:lnSpc>
                          <a:spcPct val="100000"/>
                        </a:lnSpc>
                        <a:spcBef>
                          <a:spcPts val="0"/>
                        </a:spcBef>
                        <a:spcAft>
                          <a:spcPts val="0"/>
                        </a:spcAft>
                        <a:buFontTx/>
                        <a:buNone/>
                      </a:pPr>
                      <a:r>
                        <a:rPr kumimoji="0" lang="en-US" sz="1400" b="0" u="none" strike="noStrike" kern="1200" cap="none" spc="0" baseline="0" dirty="0">
                          <a:solidFill>
                            <a:srgbClr val="002557"/>
                          </a:solidFill>
                          <a:effectLst/>
                        </a:rPr>
                        <a:t>Hepatic events</a:t>
                      </a:r>
                      <a:endParaRPr kumimoji="0" lang="en-US" sz="1400" b="0" i="0" u="none" strike="noStrike" kern="1200" cap="none" spc="0" baseline="30000" dirty="0">
                        <a:solidFill>
                          <a:srgbClr val="002557"/>
                        </a:solidFill>
                        <a:effectLst/>
                        <a:latin typeface="+mn-lt"/>
                        <a:ea typeface="+mn-ea"/>
                        <a:cs typeface="+mn-cs"/>
                      </a:endParaRPr>
                    </a:p>
                  </a:txBody>
                  <a:tcPr marT="18000" marB="18000" anchor="ctr"/>
                </a:tc>
                <a:tc>
                  <a:txBody>
                    <a:bodyPr/>
                    <a:lstStyle/>
                    <a:p>
                      <a:pPr marL="0" marR="0" lvl="0" indent="0" algn="ctr" defTabSz="914400" rtl="0" eaLnBrk="1" fontAlgn="auto" latinLnBrk="0" hangingPunct="1">
                        <a:lnSpc>
                          <a:spcPct val="100000"/>
                        </a:lnSpc>
                        <a:spcBef>
                          <a:spcPts val="0"/>
                        </a:spcBef>
                        <a:spcAft>
                          <a:spcPts val="0"/>
                        </a:spcAft>
                        <a:buFontTx/>
                        <a:buNone/>
                      </a:pPr>
                      <a:r>
                        <a:rPr kumimoji="0" lang="en-US" sz="1400" b="0" i="0" u="none" strike="noStrike" kern="1200" cap="none" spc="0" baseline="0" dirty="0">
                          <a:solidFill>
                            <a:srgbClr val="002557"/>
                          </a:solidFill>
                          <a:effectLst/>
                          <a:latin typeface="+mn-lt"/>
                          <a:ea typeface="+mn-ea"/>
                          <a:cs typeface="+mn-cs"/>
                        </a:rPr>
                        <a:t>29 (7.5)</a:t>
                      </a:r>
                      <a:endParaRPr kumimoji="0" lang="en-US" sz="1400" b="0" i="0" u="none" strike="noStrike" kern="1200" cap="none" spc="0" baseline="30000" dirty="0">
                        <a:solidFill>
                          <a:srgbClr val="002557"/>
                        </a:solidFill>
                        <a:effectLst/>
                        <a:latin typeface="+mn-lt"/>
                        <a:ea typeface="+mn-ea"/>
                        <a:cs typeface="+mn-cs"/>
                      </a:endParaRPr>
                    </a:p>
                  </a:txBody>
                  <a:tcPr marT="18000" marB="18000" anchor="ctr"/>
                </a:tc>
                <a:tc>
                  <a:txBody>
                    <a:bodyPr/>
                    <a:lstStyle/>
                    <a:p>
                      <a:pPr marL="0" marR="0" lvl="0" indent="0" algn="ctr" defTabSz="914400" rtl="0" eaLnBrk="1" fontAlgn="auto" latinLnBrk="0" hangingPunct="1">
                        <a:lnSpc>
                          <a:spcPct val="100000"/>
                        </a:lnSpc>
                        <a:spcBef>
                          <a:spcPts val="335"/>
                        </a:spcBef>
                        <a:spcAft>
                          <a:spcPts val="0"/>
                        </a:spcAft>
                        <a:buClrTx/>
                        <a:buSzTx/>
                        <a:buFontTx/>
                        <a:buNone/>
                        <a:tabLst/>
                        <a:defRPr/>
                      </a:pPr>
                      <a:r>
                        <a:rPr kumimoji="0" lang="en-US" sz="1400" b="0" i="0" u="none" strike="noStrike" kern="1200" cap="none" spc="0" baseline="0" dirty="0">
                          <a:solidFill>
                            <a:srgbClr val="002557"/>
                          </a:solidFill>
                          <a:effectLst/>
                          <a:latin typeface="+mn-lt"/>
                          <a:ea typeface="+mn-ea"/>
                          <a:cs typeface="+mn-cs"/>
                        </a:rPr>
                        <a:t>16 (4.1)</a:t>
                      </a:r>
                    </a:p>
                  </a:txBody>
                  <a:tcPr marT="18000" marB="18000" anchor="ctr"/>
                </a:tc>
                <a:tc>
                  <a:txBody>
                    <a:bodyPr/>
                    <a:lstStyle/>
                    <a:p>
                      <a:pPr marL="0" marR="0" lvl="0" indent="0" algn="ctr" defTabSz="914400" rtl="0" eaLnBrk="1" fontAlgn="auto" latinLnBrk="0" hangingPunct="1">
                        <a:lnSpc>
                          <a:spcPct val="100000"/>
                        </a:lnSpc>
                        <a:spcBef>
                          <a:spcPts val="335"/>
                        </a:spcBef>
                        <a:spcAft>
                          <a:spcPts val="0"/>
                        </a:spcAft>
                        <a:buClrTx/>
                        <a:buSzTx/>
                        <a:buFontTx/>
                        <a:buNone/>
                        <a:tabLst/>
                        <a:defRPr/>
                      </a:pPr>
                      <a:r>
                        <a:rPr kumimoji="0" lang="en-US" sz="1400" b="0" i="0" u="none" strike="noStrike" kern="1200" cap="none" spc="0" baseline="0" dirty="0">
                          <a:solidFill>
                            <a:srgbClr val="002557"/>
                          </a:solidFill>
                          <a:effectLst/>
                          <a:latin typeface="+mn-lt"/>
                          <a:ea typeface="+mn-ea"/>
                          <a:cs typeface="+mn-cs"/>
                        </a:rPr>
                        <a:t>29 (7.5)</a:t>
                      </a:r>
                    </a:p>
                  </a:txBody>
                  <a:tcPr marT="18000" marB="18000" anchor="ctr"/>
                </a:tc>
                <a:tc>
                  <a:txBody>
                    <a:bodyPr/>
                    <a:lstStyle/>
                    <a:p>
                      <a:pPr marL="0" marR="0" lvl="0" indent="0" algn="ctr" defTabSz="914400" rtl="0" eaLnBrk="1" fontAlgn="auto" latinLnBrk="0" hangingPunct="1">
                        <a:lnSpc>
                          <a:spcPct val="100000"/>
                        </a:lnSpc>
                        <a:spcBef>
                          <a:spcPts val="335"/>
                        </a:spcBef>
                        <a:spcAft>
                          <a:spcPts val="0"/>
                        </a:spcAft>
                        <a:buClrTx/>
                        <a:buSzTx/>
                        <a:buFontTx/>
                        <a:buNone/>
                        <a:tabLst/>
                        <a:defRPr/>
                      </a:pPr>
                      <a:r>
                        <a:rPr kumimoji="0" lang="en-US" sz="1400" b="0" i="0" u="none" strike="noStrike" kern="1200" cap="none" spc="0" baseline="0" dirty="0">
                          <a:solidFill>
                            <a:srgbClr val="002557"/>
                          </a:solidFill>
                          <a:effectLst/>
                          <a:latin typeface="+mn-lt"/>
                          <a:ea typeface="+mn-ea"/>
                          <a:cs typeface="+mn-cs"/>
                        </a:rPr>
                        <a:t>9 (2.3)</a:t>
                      </a:r>
                    </a:p>
                  </a:txBody>
                  <a:tcPr marT="18000" marB="18000" anchor="ctr"/>
                </a:tc>
                <a:tc>
                  <a:txBody>
                    <a:bodyPr/>
                    <a:lstStyle/>
                    <a:p>
                      <a:pPr marL="0" marR="0" lvl="0" indent="0" algn="ctr" defTabSz="914400" rtl="0" eaLnBrk="1" fontAlgn="auto" latinLnBrk="0" hangingPunct="1">
                        <a:lnSpc>
                          <a:spcPct val="100000"/>
                        </a:lnSpc>
                        <a:spcBef>
                          <a:spcPts val="335"/>
                        </a:spcBef>
                        <a:spcAft>
                          <a:spcPts val="0"/>
                        </a:spcAft>
                        <a:buClrTx/>
                        <a:buSzTx/>
                        <a:buFontTx/>
                        <a:buNone/>
                        <a:tabLst/>
                        <a:defRPr/>
                      </a:pPr>
                      <a:r>
                        <a:rPr kumimoji="0" lang="en-US" sz="1400" b="0" i="0" u="none" strike="noStrike" kern="1200" cap="none" spc="0" baseline="0" dirty="0">
                          <a:solidFill>
                            <a:srgbClr val="002557"/>
                          </a:solidFill>
                          <a:effectLst/>
                          <a:latin typeface="+mn-lt"/>
                          <a:ea typeface="+mn-ea"/>
                          <a:cs typeface="+mn-cs"/>
                        </a:rPr>
                        <a:t>26 (6.7)</a:t>
                      </a:r>
                    </a:p>
                  </a:txBody>
                  <a:tcPr marT="18000" marB="18000" anchor="ctr"/>
                </a:tc>
                <a:tc>
                  <a:txBody>
                    <a:bodyPr/>
                    <a:lstStyle/>
                    <a:p>
                      <a:pPr marL="0" marR="0" lvl="0" indent="0" algn="ctr" defTabSz="914400" rtl="0" eaLnBrk="1" fontAlgn="auto" latinLnBrk="0" hangingPunct="1">
                        <a:lnSpc>
                          <a:spcPct val="100000"/>
                        </a:lnSpc>
                        <a:spcBef>
                          <a:spcPts val="335"/>
                        </a:spcBef>
                        <a:spcAft>
                          <a:spcPts val="0"/>
                        </a:spcAft>
                        <a:buClrTx/>
                        <a:buSzTx/>
                        <a:buFontTx/>
                        <a:buNone/>
                        <a:tabLst/>
                        <a:defRPr/>
                      </a:pPr>
                      <a:r>
                        <a:rPr kumimoji="0" lang="en-US" sz="1400" b="0" i="0" u="none" strike="noStrike" kern="1200" cap="none" spc="0" baseline="0" dirty="0">
                          <a:solidFill>
                            <a:srgbClr val="002557"/>
                          </a:solidFill>
                          <a:effectLst/>
                          <a:latin typeface="+mn-lt"/>
                          <a:ea typeface="+mn-ea"/>
                          <a:cs typeface="+mn-cs"/>
                        </a:rPr>
                        <a:t>17 (4.4)</a:t>
                      </a:r>
                    </a:p>
                  </a:txBody>
                  <a:tcPr marT="18000" marB="18000" anchor="ctr"/>
                </a:tc>
                <a:tc>
                  <a:txBody>
                    <a:bodyPr/>
                    <a:lstStyle/>
                    <a:p>
                      <a:pPr marL="0" marR="0" lvl="0" indent="0" algn="ctr" defTabSz="914400" rtl="0" eaLnBrk="1" fontAlgn="auto" latinLnBrk="0" hangingPunct="1">
                        <a:lnSpc>
                          <a:spcPct val="100000"/>
                        </a:lnSpc>
                        <a:spcBef>
                          <a:spcPts val="335"/>
                        </a:spcBef>
                        <a:spcAft>
                          <a:spcPts val="0"/>
                        </a:spcAft>
                        <a:buClrTx/>
                        <a:buSzTx/>
                        <a:buFontTx/>
                        <a:buNone/>
                        <a:tabLst/>
                        <a:defRPr/>
                      </a:pPr>
                      <a:r>
                        <a:rPr kumimoji="0" lang="en-US" sz="1400" b="0" i="0" u="none" strike="noStrike" kern="1200" cap="none" spc="0" baseline="0" dirty="0">
                          <a:solidFill>
                            <a:srgbClr val="002557"/>
                          </a:solidFill>
                          <a:effectLst/>
                          <a:latin typeface="+mn-lt"/>
                          <a:ea typeface="+mn-ea"/>
                          <a:cs typeface="+mn-cs"/>
                        </a:rPr>
                        <a:t>25 (6.4)</a:t>
                      </a:r>
                    </a:p>
                  </a:txBody>
                  <a:tcPr marT="18000" marB="18000" anchor="ctr"/>
                </a:tc>
                <a:tc>
                  <a:txBody>
                    <a:bodyPr/>
                    <a:lstStyle/>
                    <a:p>
                      <a:pPr marL="0" marR="0" lvl="0" indent="0" algn="ctr" defTabSz="914400" rtl="0" eaLnBrk="1" fontAlgn="auto" latinLnBrk="0" hangingPunct="1">
                        <a:lnSpc>
                          <a:spcPct val="100000"/>
                        </a:lnSpc>
                        <a:spcBef>
                          <a:spcPts val="335"/>
                        </a:spcBef>
                        <a:spcAft>
                          <a:spcPts val="0"/>
                        </a:spcAft>
                        <a:buClrTx/>
                        <a:buSzTx/>
                        <a:buFontTx/>
                        <a:buNone/>
                        <a:tabLst/>
                        <a:defRPr/>
                      </a:pPr>
                      <a:r>
                        <a:rPr kumimoji="0" lang="en-US" sz="1400" b="0" i="0" u="none" strike="noStrike" kern="1200" cap="none" spc="0" baseline="0" dirty="0">
                          <a:solidFill>
                            <a:srgbClr val="002557"/>
                          </a:solidFill>
                          <a:effectLst/>
                          <a:latin typeface="+mn-lt"/>
                          <a:ea typeface="+mn-ea"/>
                          <a:cs typeface="+mn-cs"/>
                        </a:rPr>
                        <a:t>5 (1.3)</a:t>
                      </a:r>
                    </a:p>
                  </a:txBody>
                  <a:tcPr marT="18000" marB="18000" anchor="ctr"/>
                </a:tc>
                <a:extLst>
                  <a:ext uri="{0D108BD9-81ED-4DB2-BD59-A6C34878D82A}">
                    <a16:rowId xmlns:a16="http://schemas.microsoft.com/office/drawing/2014/main" val="1046865468"/>
                  </a:ext>
                </a:extLst>
              </a:tr>
              <a:tr h="298335">
                <a:tc>
                  <a:txBody>
                    <a:bodyPr/>
                    <a:lstStyle/>
                    <a:p>
                      <a:pPr marL="0" marR="0" lvl="0" indent="0" algn="l" defTabSz="914400" rtl="0" eaLnBrk="1" fontAlgn="auto" latinLnBrk="0" hangingPunct="1">
                        <a:lnSpc>
                          <a:spcPct val="100000"/>
                        </a:lnSpc>
                        <a:spcBef>
                          <a:spcPts val="0"/>
                        </a:spcBef>
                        <a:spcAft>
                          <a:spcPts val="0"/>
                        </a:spcAft>
                        <a:buFontTx/>
                        <a:buNone/>
                      </a:pPr>
                      <a:r>
                        <a:rPr kumimoji="0" lang="en-US" sz="1400" b="0" u="none" strike="noStrike" kern="1200" cap="none" spc="0" baseline="0" dirty="0">
                          <a:solidFill>
                            <a:srgbClr val="002557"/>
                          </a:solidFill>
                          <a:effectLst/>
                        </a:rPr>
                        <a:t>Diarrhea/colitis</a:t>
                      </a:r>
                      <a:endParaRPr kumimoji="0" lang="en-US" sz="1400" b="0" i="0" u="none" strike="noStrike" kern="1200" cap="none" spc="0" baseline="0" dirty="0">
                        <a:solidFill>
                          <a:srgbClr val="002557"/>
                        </a:solidFill>
                        <a:effectLst/>
                        <a:latin typeface="+mn-lt"/>
                        <a:ea typeface="+mn-ea"/>
                        <a:cs typeface="+mn-cs"/>
                      </a:endParaRPr>
                    </a:p>
                  </a:txBody>
                  <a:tcPr marT="18000" marB="18000" anchor="ctr"/>
                </a:tc>
                <a:tc>
                  <a:txBody>
                    <a:bodyPr/>
                    <a:lstStyle/>
                    <a:p>
                      <a:pPr marL="0" marR="0" lvl="0" indent="0" algn="ctr" defTabSz="914400" rtl="0" eaLnBrk="1" fontAlgn="auto" latinLnBrk="0" hangingPunct="1">
                        <a:lnSpc>
                          <a:spcPct val="100000"/>
                        </a:lnSpc>
                        <a:spcBef>
                          <a:spcPts val="0"/>
                        </a:spcBef>
                        <a:spcAft>
                          <a:spcPts val="0"/>
                        </a:spcAft>
                        <a:buFontTx/>
                        <a:buNone/>
                      </a:pPr>
                      <a:r>
                        <a:rPr kumimoji="0" lang="en-US" sz="1400" b="0" i="0" u="none" strike="noStrike" kern="1200" cap="none" spc="0" baseline="0" dirty="0">
                          <a:solidFill>
                            <a:srgbClr val="002557"/>
                          </a:solidFill>
                          <a:effectLst/>
                          <a:latin typeface="+mn-lt"/>
                          <a:ea typeface="+mn-ea"/>
                          <a:cs typeface="+mn-cs"/>
                        </a:rPr>
                        <a:t>23 (5.9)</a:t>
                      </a:r>
                    </a:p>
                  </a:txBody>
                  <a:tcPr marT="18000" marB="18000" anchor="ctr"/>
                </a:tc>
                <a:tc>
                  <a:txBody>
                    <a:bodyPr/>
                    <a:lstStyle/>
                    <a:p>
                      <a:pPr marL="0" marR="0" lvl="0" indent="0" algn="ctr" defTabSz="914400" rtl="0" eaLnBrk="1" fontAlgn="auto" latinLnBrk="0" hangingPunct="1">
                        <a:lnSpc>
                          <a:spcPct val="100000"/>
                        </a:lnSpc>
                        <a:spcBef>
                          <a:spcPts val="335"/>
                        </a:spcBef>
                        <a:spcAft>
                          <a:spcPts val="0"/>
                        </a:spcAft>
                        <a:buClrTx/>
                        <a:buSzTx/>
                        <a:buFontTx/>
                        <a:buNone/>
                        <a:tabLst/>
                        <a:defRPr/>
                      </a:pPr>
                      <a:r>
                        <a:rPr kumimoji="0" lang="en-US" sz="1400" b="0" i="0" u="none" strike="noStrike" kern="1200" cap="none" spc="0" baseline="0" dirty="0">
                          <a:solidFill>
                            <a:srgbClr val="002557"/>
                          </a:solidFill>
                          <a:effectLst/>
                          <a:latin typeface="+mn-lt"/>
                          <a:ea typeface="+mn-ea"/>
                          <a:cs typeface="+mn-cs"/>
                        </a:rPr>
                        <a:t>14 (3.6)</a:t>
                      </a:r>
                    </a:p>
                  </a:txBody>
                  <a:tcPr marT="18000" marB="18000" anchor="ctr"/>
                </a:tc>
                <a:tc>
                  <a:txBody>
                    <a:bodyPr/>
                    <a:lstStyle/>
                    <a:p>
                      <a:pPr marL="0" marR="0" lvl="0" indent="0" algn="ctr" defTabSz="914400" rtl="0" eaLnBrk="1" fontAlgn="auto" latinLnBrk="0" hangingPunct="1">
                        <a:lnSpc>
                          <a:spcPct val="100000"/>
                        </a:lnSpc>
                        <a:spcBef>
                          <a:spcPts val="335"/>
                        </a:spcBef>
                        <a:spcAft>
                          <a:spcPts val="0"/>
                        </a:spcAft>
                        <a:buClrTx/>
                        <a:buSzTx/>
                        <a:buFontTx/>
                        <a:buNone/>
                        <a:tabLst/>
                        <a:defRPr/>
                      </a:pPr>
                      <a:r>
                        <a:rPr kumimoji="0" lang="en-US" sz="1400" b="0" i="0" u="none" strike="noStrike" kern="1200" cap="none" spc="0" baseline="0" dirty="0">
                          <a:solidFill>
                            <a:srgbClr val="002557"/>
                          </a:solidFill>
                          <a:effectLst/>
                          <a:latin typeface="+mn-lt"/>
                          <a:ea typeface="+mn-ea"/>
                          <a:cs typeface="+mn-cs"/>
                        </a:rPr>
                        <a:t>20 (5.2)</a:t>
                      </a:r>
                    </a:p>
                  </a:txBody>
                  <a:tcPr marT="18000" marB="18000" anchor="ctr"/>
                </a:tc>
                <a:tc>
                  <a:txBody>
                    <a:bodyPr/>
                    <a:lstStyle/>
                    <a:p>
                      <a:pPr marL="0" marR="0" lvl="0" indent="0" algn="ctr" defTabSz="914400" rtl="0" eaLnBrk="1" fontAlgn="auto" latinLnBrk="0" hangingPunct="1">
                        <a:lnSpc>
                          <a:spcPct val="100000"/>
                        </a:lnSpc>
                        <a:spcBef>
                          <a:spcPts val="335"/>
                        </a:spcBef>
                        <a:spcAft>
                          <a:spcPts val="0"/>
                        </a:spcAft>
                        <a:buClrTx/>
                        <a:buSzTx/>
                        <a:buFontTx/>
                        <a:buNone/>
                        <a:tabLst/>
                        <a:defRPr/>
                      </a:pPr>
                      <a:r>
                        <a:rPr kumimoji="0" lang="en-US" sz="1400" b="0" i="0" u="none" strike="noStrike" kern="1200" cap="none" spc="0" baseline="0" dirty="0">
                          <a:solidFill>
                            <a:srgbClr val="002557"/>
                          </a:solidFill>
                          <a:effectLst/>
                          <a:latin typeface="+mn-lt"/>
                          <a:ea typeface="+mn-ea"/>
                          <a:cs typeface="+mn-cs"/>
                        </a:rPr>
                        <a:t>5 (1.3)</a:t>
                      </a:r>
                    </a:p>
                  </a:txBody>
                  <a:tcPr marT="18000" marB="18000" anchor="ctr"/>
                </a:tc>
                <a:tc>
                  <a:txBody>
                    <a:bodyPr/>
                    <a:lstStyle/>
                    <a:p>
                      <a:pPr marL="0" marR="0" lvl="0" indent="0" algn="ctr" defTabSz="914400" rtl="0" eaLnBrk="1" fontAlgn="auto" latinLnBrk="0" hangingPunct="1">
                        <a:lnSpc>
                          <a:spcPct val="100000"/>
                        </a:lnSpc>
                        <a:spcBef>
                          <a:spcPts val="335"/>
                        </a:spcBef>
                        <a:spcAft>
                          <a:spcPts val="0"/>
                        </a:spcAft>
                        <a:buClrTx/>
                        <a:buSzTx/>
                        <a:buFontTx/>
                        <a:buNone/>
                        <a:tabLst/>
                        <a:defRPr/>
                      </a:pPr>
                      <a:r>
                        <a:rPr kumimoji="0" lang="en-US" sz="1400" b="0" i="0" u="none" strike="noStrike" kern="1200" cap="none" spc="0" baseline="0" dirty="0">
                          <a:solidFill>
                            <a:srgbClr val="002557"/>
                          </a:solidFill>
                          <a:effectLst/>
                          <a:latin typeface="+mn-lt"/>
                          <a:ea typeface="+mn-ea"/>
                          <a:cs typeface="+mn-cs"/>
                        </a:rPr>
                        <a:t>3 (0.8)</a:t>
                      </a:r>
                    </a:p>
                  </a:txBody>
                  <a:tcPr marT="18000" marB="18000" anchor="ctr"/>
                </a:tc>
                <a:tc>
                  <a:txBody>
                    <a:bodyPr/>
                    <a:lstStyle/>
                    <a:p>
                      <a:pPr marL="0" marR="0" lvl="0" indent="0" algn="ctr" defTabSz="914400" rtl="0" eaLnBrk="1" fontAlgn="auto" latinLnBrk="0" hangingPunct="1">
                        <a:lnSpc>
                          <a:spcPct val="100000"/>
                        </a:lnSpc>
                        <a:spcBef>
                          <a:spcPts val="335"/>
                        </a:spcBef>
                        <a:spcAft>
                          <a:spcPts val="0"/>
                        </a:spcAft>
                        <a:buClrTx/>
                        <a:buSzTx/>
                        <a:buFontTx/>
                        <a:buNone/>
                        <a:tabLst/>
                        <a:defRPr/>
                      </a:pPr>
                      <a:r>
                        <a:rPr kumimoji="0" lang="en-US" sz="1400" b="0" i="0" u="none" strike="noStrike" kern="1200" cap="none" spc="0" baseline="0" dirty="0">
                          <a:solidFill>
                            <a:srgbClr val="002557"/>
                          </a:solidFill>
                          <a:effectLst/>
                          <a:latin typeface="+mn-lt"/>
                          <a:ea typeface="+mn-ea"/>
                          <a:cs typeface="+mn-cs"/>
                        </a:rPr>
                        <a:t>1 (0.3)</a:t>
                      </a:r>
                    </a:p>
                  </a:txBody>
                  <a:tcPr marT="18000" marB="18000" anchor="ctr"/>
                </a:tc>
                <a:tc>
                  <a:txBody>
                    <a:bodyPr/>
                    <a:lstStyle/>
                    <a:p>
                      <a:pPr marL="0" marR="0" lvl="0" indent="0" algn="ctr" defTabSz="914400" rtl="0" eaLnBrk="1" fontAlgn="auto" latinLnBrk="0" hangingPunct="1">
                        <a:lnSpc>
                          <a:spcPct val="100000"/>
                        </a:lnSpc>
                        <a:spcBef>
                          <a:spcPts val="335"/>
                        </a:spcBef>
                        <a:spcAft>
                          <a:spcPts val="0"/>
                        </a:spcAft>
                        <a:buClrTx/>
                        <a:buSzTx/>
                        <a:buFontTx/>
                        <a:buNone/>
                        <a:tabLst/>
                        <a:defRPr/>
                      </a:pPr>
                      <a:r>
                        <a:rPr kumimoji="0" lang="en-US" sz="1400" b="0" i="0" u="none" strike="noStrike" kern="1200" cap="none" spc="0" baseline="0" dirty="0">
                          <a:solidFill>
                            <a:srgbClr val="002557"/>
                          </a:solidFill>
                          <a:effectLst/>
                          <a:latin typeface="+mn-lt"/>
                          <a:ea typeface="+mn-ea"/>
                          <a:cs typeface="+mn-cs"/>
                        </a:rPr>
                        <a:t>2 (0.5)</a:t>
                      </a:r>
                    </a:p>
                  </a:txBody>
                  <a:tcPr marT="18000" marB="18000" anchor="ctr"/>
                </a:tc>
                <a:tc>
                  <a:txBody>
                    <a:bodyPr/>
                    <a:lstStyle/>
                    <a:p>
                      <a:pPr marL="0" marR="0" lvl="0" indent="0" algn="ctr" defTabSz="914400" rtl="0" eaLnBrk="1" fontAlgn="auto" latinLnBrk="0" hangingPunct="1">
                        <a:lnSpc>
                          <a:spcPct val="100000"/>
                        </a:lnSpc>
                        <a:spcBef>
                          <a:spcPts val="335"/>
                        </a:spcBef>
                        <a:spcAft>
                          <a:spcPts val="0"/>
                        </a:spcAft>
                        <a:buClrTx/>
                        <a:buSzTx/>
                        <a:buFontTx/>
                        <a:buNone/>
                        <a:tabLst/>
                        <a:defRPr/>
                      </a:pPr>
                      <a:r>
                        <a:rPr kumimoji="0" lang="en-US" sz="1400" b="0" i="0" u="none" strike="noStrike" kern="1200" cap="none" spc="0" baseline="0" dirty="0">
                          <a:solidFill>
                            <a:srgbClr val="002557"/>
                          </a:solidFill>
                          <a:effectLst/>
                          <a:latin typeface="+mn-lt"/>
                          <a:ea typeface="+mn-ea"/>
                          <a:cs typeface="+mn-cs"/>
                        </a:rPr>
                        <a:t>1 (0.3)</a:t>
                      </a:r>
                    </a:p>
                  </a:txBody>
                  <a:tcPr marT="18000" marB="18000" anchor="ctr"/>
                </a:tc>
                <a:extLst>
                  <a:ext uri="{0D108BD9-81ED-4DB2-BD59-A6C34878D82A}">
                    <a16:rowId xmlns:a16="http://schemas.microsoft.com/office/drawing/2014/main" val="4017768862"/>
                  </a:ext>
                </a:extLst>
              </a:tr>
              <a:tr h="298335">
                <a:tc>
                  <a:txBody>
                    <a:bodyPr/>
                    <a:lstStyle/>
                    <a:p>
                      <a:pPr marL="0" marR="0" lvl="0" indent="0" algn="l" defTabSz="914400" rtl="0" eaLnBrk="1" fontAlgn="b" latinLnBrk="0" hangingPunct="1">
                        <a:lnSpc>
                          <a:spcPct val="100000"/>
                        </a:lnSpc>
                        <a:spcBef>
                          <a:spcPts val="0"/>
                        </a:spcBef>
                        <a:spcAft>
                          <a:spcPts val="0"/>
                        </a:spcAft>
                        <a:buFontTx/>
                        <a:buNone/>
                      </a:pPr>
                      <a:r>
                        <a:rPr kumimoji="0" lang="en-US" sz="1400" b="0" i="0" u="none" strike="noStrike" kern="1200" cap="none" spc="0" baseline="0" dirty="0">
                          <a:solidFill>
                            <a:srgbClr val="002557"/>
                          </a:solidFill>
                          <a:effectLst/>
                          <a:latin typeface="+mn-lt"/>
                          <a:ea typeface="+mn-ea"/>
                          <a:cs typeface="+mn-cs"/>
                        </a:rPr>
                        <a:t>Dermatitis/rash</a:t>
                      </a:r>
                    </a:p>
                  </a:txBody>
                  <a:tcPr marT="18000" marB="18000" anchor="ctr"/>
                </a:tc>
                <a:tc>
                  <a:txBody>
                    <a:bodyPr/>
                    <a:lstStyle/>
                    <a:p>
                      <a:pPr marL="0" marR="0" lvl="0" indent="0" algn="ctr" defTabSz="914400" rtl="0" eaLnBrk="1" fontAlgn="b" latinLnBrk="0" hangingPunct="1">
                        <a:lnSpc>
                          <a:spcPct val="100000"/>
                        </a:lnSpc>
                        <a:spcBef>
                          <a:spcPts val="0"/>
                        </a:spcBef>
                        <a:spcAft>
                          <a:spcPts val="0"/>
                        </a:spcAft>
                        <a:buFontTx/>
                        <a:buNone/>
                      </a:pPr>
                      <a:r>
                        <a:rPr kumimoji="0" lang="en-US" sz="1400" b="0" i="0" u="none" strike="noStrike" kern="1200" cap="none" spc="0" baseline="0" dirty="0">
                          <a:solidFill>
                            <a:srgbClr val="002557"/>
                          </a:solidFill>
                          <a:effectLst/>
                          <a:latin typeface="+mn-lt"/>
                          <a:ea typeface="+mn-ea"/>
                          <a:cs typeface="+mn-cs"/>
                        </a:rPr>
                        <a:t>19 (4.9)</a:t>
                      </a:r>
                    </a:p>
                  </a:txBody>
                  <a:tcPr marT="18000" marB="18000" anchor="ctr"/>
                </a:tc>
                <a:tc>
                  <a:txBody>
                    <a:bodyPr/>
                    <a:lstStyle/>
                    <a:p>
                      <a:pPr marL="0" marR="0" lvl="0" indent="0" algn="ctr" defTabSz="914400" rtl="0" eaLnBrk="1" fontAlgn="auto" latinLnBrk="0" hangingPunct="1">
                        <a:lnSpc>
                          <a:spcPct val="100000"/>
                        </a:lnSpc>
                        <a:spcBef>
                          <a:spcPts val="335"/>
                        </a:spcBef>
                        <a:spcAft>
                          <a:spcPts val="0"/>
                        </a:spcAft>
                        <a:buClrTx/>
                        <a:buSzTx/>
                        <a:buFontTx/>
                        <a:buNone/>
                        <a:tabLst/>
                        <a:defRPr/>
                      </a:pPr>
                      <a:r>
                        <a:rPr kumimoji="0" lang="en-US" sz="1400" b="0" i="0" u="none" strike="noStrike" kern="1200" cap="none" spc="0" baseline="0" dirty="0">
                          <a:solidFill>
                            <a:srgbClr val="002557"/>
                          </a:solidFill>
                          <a:effectLst/>
                          <a:latin typeface="+mn-lt"/>
                          <a:ea typeface="+mn-ea"/>
                          <a:cs typeface="+mn-cs"/>
                        </a:rPr>
                        <a:t>7 (1.8)</a:t>
                      </a:r>
                    </a:p>
                  </a:txBody>
                  <a:tcPr marT="18000" marB="18000" anchor="ctr"/>
                </a:tc>
                <a:tc>
                  <a:txBody>
                    <a:bodyPr/>
                    <a:lstStyle/>
                    <a:p>
                      <a:pPr marL="0" marR="0" lvl="0" indent="0" algn="ctr" defTabSz="914400" rtl="0" eaLnBrk="1" fontAlgn="auto" latinLnBrk="0" hangingPunct="1">
                        <a:lnSpc>
                          <a:spcPct val="100000"/>
                        </a:lnSpc>
                        <a:spcBef>
                          <a:spcPts val="335"/>
                        </a:spcBef>
                        <a:spcAft>
                          <a:spcPts val="0"/>
                        </a:spcAft>
                        <a:buClrTx/>
                        <a:buSzTx/>
                        <a:buFontTx/>
                        <a:buNone/>
                        <a:tabLst/>
                        <a:defRPr/>
                      </a:pPr>
                      <a:r>
                        <a:rPr kumimoji="0" lang="en-US" sz="1400" b="0" i="0" u="none" strike="noStrike" kern="1200" cap="none" spc="0" baseline="0" dirty="0">
                          <a:solidFill>
                            <a:srgbClr val="002557"/>
                          </a:solidFill>
                          <a:effectLst/>
                          <a:latin typeface="+mn-lt"/>
                          <a:ea typeface="+mn-ea"/>
                          <a:cs typeface="+mn-cs"/>
                        </a:rPr>
                        <a:t>12 (3.1)</a:t>
                      </a:r>
                    </a:p>
                  </a:txBody>
                  <a:tcPr marT="18000" marB="18000" anchor="ctr"/>
                </a:tc>
                <a:tc>
                  <a:txBody>
                    <a:bodyPr/>
                    <a:lstStyle/>
                    <a:p>
                      <a:pPr marL="0" marR="0" lvl="0" indent="0" algn="ctr" defTabSz="914400" rtl="0" eaLnBrk="1" fontAlgn="auto" latinLnBrk="0" hangingPunct="1">
                        <a:lnSpc>
                          <a:spcPct val="100000"/>
                        </a:lnSpc>
                        <a:spcBef>
                          <a:spcPts val="335"/>
                        </a:spcBef>
                        <a:spcAft>
                          <a:spcPts val="0"/>
                        </a:spcAft>
                        <a:buClrTx/>
                        <a:buSzTx/>
                        <a:buFontTx/>
                        <a:buNone/>
                        <a:tabLst/>
                        <a:defRPr/>
                      </a:pPr>
                      <a:r>
                        <a:rPr kumimoji="0" lang="en-US" sz="1400" b="0" i="0" u="none" strike="noStrike" kern="1200" cap="none" spc="0" baseline="0" dirty="0">
                          <a:solidFill>
                            <a:srgbClr val="002557"/>
                          </a:solidFill>
                          <a:effectLst/>
                          <a:latin typeface="+mn-lt"/>
                          <a:ea typeface="+mn-ea"/>
                          <a:cs typeface="+mn-cs"/>
                        </a:rPr>
                        <a:t>2 (0.5)</a:t>
                      </a:r>
                    </a:p>
                  </a:txBody>
                  <a:tcPr marT="18000" marB="18000" anchor="ctr"/>
                </a:tc>
                <a:tc>
                  <a:txBody>
                    <a:bodyPr/>
                    <a:lstStyle/>
                    <a:p>
                      <a:pPr marL="0" marR="0" lvl="0" indent="0" algn="ctr" defTabSz="914400" rtl="0" eaLnBrk="1" fontAlgn="auto" latinLnBrk="0" hangingPunct="1">
                        <a:lnSpc>
                          <a:spcPct val="100000"/>
                        </a:lnSpc>
                        <a:spcBef>
                          <a:spcPts val="335"/>
                        </a:spcBef>
                        <a:spcAft>
                          <a:spcPts val="0"/>
                        </a:spcAft>
                        <a:buClrTx/>
                        <a:buSzTx/>
                        <a:buFontTx/>
                        <a:buNone/>
                        <a:tabLst/>
                        <a:defRPr/>
                      </a:pPr>
                      <a:r>
                        <a:rPr kumimoji="0" lang="en-US" sz="1400" b="0" i="0" u="none" strike="noStrike" kern="1200" cap="none" spc="0" baseline="0" dirty="0">
                          <a:solidFill>
                            <a:srgbClr val="002557"/>
                          </a:solidFill>
                          <a:effectLst/>
                          <a:latin typeface="+mn-lt"/>
                          <a:ea typeface="+mn-ea"/>
                          <a:cs typeface="+mn-cs"/>
                        </a:rPr>
                        <a:t>3 (0.8)</a:t>
                      </a:r>
                    </a:p>
                  </a:txBody>
                  <a:tcPr marT="18000" marB="18000" anchor="ctr"/>
                </a:tc>
                <a:tc>
                  <a:txBody>
                    <a:bodyPr/>
                    <a:lstStyle/>
                    <a:p>
                      <a:pPr marL="0" marR="0" lvl="0" indent="0" algn="ctr" defTabSz="914400" rtl="0" eaLnBrk="1" fontAlgn="auto" latinLnBrk="0" hangingPunct="1">
                        <a:lnSpc>
                          <a:spcPct val="100000"/>
                        </a:lnSpc>
                        <a:spcBef>
                          <a:spcPts val="335"/>
                        </a:spcBef>
                        <a:spcAft>
                          <a:spcPts val="0"/>
                        </a:spcAft>
                        <a:buClrTx/>
                        <a:buSzTx/>
                        <a:buFontTx/>
                        <a:buNone/>
                        <a:tabLst/>
                        <a:defRPr/>
                      </a:pPr>
                      <a:r>
                        <a:rPr kumimoji="0" lang="en-US" sz="1400" b="0" i="0" u="none" strike="noStrike" kern="1200" cap="none" spc="0" baseline="0" dirty="0">
                          <a:solidFill>
                            <a:srgbClr val="002557"/>
                          </a:solidFill>
                          <a:effectLst/>
                          <a:latin typeface="+mn-lt"/>
                          <a:ea typeface="+mn-ea"/>
                          <a:cs typeface="+mn-cs"/>
                        </a:rPr>
                        <a:t>1 (0.3)</a:t>
                      </a:r>
                    </a:p>
                  </a:txBody>
                  <a:tcPr marT="18000" marB="18000" anchor="ctr"/>
                </a:tc>
                <a:tc>
                  <a:txBody>
                    <a:bodyPr/>
                    <a:lstStyle/>
                    <a:p>
                      <a:pPr marL="0" marR="0" lvl="0" indent="0" algn="ctr" defTabSz="914400" rtl="0" eaLnBrk="1" fontAlgn="auto" latinLnBrk="0" hangingPunct="1">
                        <a:lnSpc>
                          <a:spcPct val="100000"/>
                        </a:lnSpc>
                        <a:spcBef>
                          <a:spcPts val="335"/>
                        </a:spcBef>
                        <a:spcAft>
                          <a:spcPts val="0"/>
                        </a:spcAft>
                        <a:buClrTx/>
                        <a:buSzTx/>
                        <a:buFontTx/>
                        <a:buNone/>
                        <a:tabLst/>
                        <a:defRPr/>
                      </a:pPr>
                      <a:r>
                        <a:rPr kumimoji="0" lang="en-US" sz="1400" b="0" i="0" u="none" strike="noStrike" kern="1200" cap="none" spc="0" baseline="0" dirty="0">
                          <a:solidFill>
                            <a:srgbClr val="002557"/>
                          </a:solidFill>
                          <a:effectLst/>
                          <a:latin typeface="+mn-lt"/>
                          <a:ea typeface="+mn-ea"/>
                          <a:cs typeface="+mn-cs"/>
                        </a:rPr>
                        <a:t>3 (0.8)</a:t>
                      </a:r>
                    </a:p>
                  </a:txBody>
                  <a:tcPr marT="18000" marB="18000" anchor="ctr"/>
                </a:tc>
                <a:tc>
                  <a:txBody>
                    <a:bodyPr/>
                    <a:lstStyle/>
                    <a:p>
                      <a:pPr marL="0" marR="0" lvl="0" indent="0" algn="ctr" defTabSz="914400" rtl="0" eaLnBrk="1" fontAlgn="auto" latinLnBrk="0" hangingPunct="1">
                        <a:lnSpc>
                          <a:spcPct val="100000"/>
                        </a:lnSpc>
                        <a:spcBef>
                          <a:spcPts val="335"/>
                        </a:spcBef>
                        <a:spcAft>
                          <a:spcPts val="0"/>
                        </a:spcAft>
                        <a:buClrTx/>
                        <a:buSzTx/>
                        <a:buFontTx/>
                        <a:buNone/>
                        <a:tabLst/>
                        <a:defRPr/>
                      </a:pPr>
                      <a:r>
                        <a:rPr kumimoji="0" lang="en-US" sz="1400" b="0" i="0" u="none" strike="noStrike" kern="1200" cap="none" spc="0" baseline="0" dirty="0">
                          <a:solidFill>
                            <a:srgbClr val="002557"/>
                          </a:solidFill>
                          <a:effectLst/>
                          <a:latin typeface="+mn-lt"/>
                          <a:ea typeface="+mn-ea"/>
                          <a:cs typeface="+mn-cs"/>
                        </a:rPr>
                        <a:t>1 (0.3)</a:t>
                      </a:r>
                    </a:p>
                  </a:txBody>
                  <a:tcPr marT="18000" marB="18000" anchor="ctr"/>
                </a:tc>
                <a:extLst>
                  <a:ext uri="{0D108BD9-81ED-4DB2-BD59-A6C34878D82A}">
                    <a16:rowId xmlns:a16="http://schemas.microsoft.com/office/drawing/2014/main" val="2944974215"/>
                  </a:ext>
                </a:extLst>
              </a:tr>
              <a:tr h="298335">
                <a:tc>
                  <a:txBody>
                    <a:bodyPr/>
                    <a:lstStyle/>
                    <a:p>
                      <a:pPr marL="0" marR="0" lvl="0" indent="0" algn="l" defTabSz="914400" rtl="0" eaLnBrk="1" fontAlgn="b" latinLnBrk="0" hangingPunct="1">
                        <a:lnSpc>
                          <a:spcPct val="100000"/>
                        </a:lnSpc>
                        <a:spcBef>
                          <a:spcPts val="0"/>
                        </a:spcBef>
                        <a:spcAft>
                          <a:spcPts val="0"/>
                        </a:spcAft>
                        <a:buFontTx/>
                        <a:buNone/>
                      </a:pPr>
                      <a:r>
                        <a:rPr kumimoji="0" lang="en-US" sz="1400" b="0" i="0" u="none" strike="noStrike" kern="1200" cap="none" spc="0" baseline="0" dirty="0">
                          <a:solidFill>
                            <a:srgbClr val="002557"/>
                          </a:solidFill>
                          <a:effectLst/>
                          <a:latin typeface="+mn-lt"/>
                          <a:ea typeface="+mn-ea"/>
                          <a:cs typeface="+mn-cs"/>
                        </a:rPr>
                        <a:t>Pancreatic events</a:t>
                      </a:r>
                    </a:p>
                  </a:txBody>
                  <a:tcPr marT="18000" marB="18000" anchor="ctr"/>
                </a:tc>
                <a:tc>
                  <a:txBody>
                    <a:bodyPr/>
                    <a:lstStyle/>
                    <a:p>
                      <a:pPr marL="0" marR="0" lvl="0" indent="0" algn="ctr" defTabSz="914400" rtl="0" eaLnBrk="1" fontAlgn="b" latinLnBrk="0" hangingPunct="1">
                        <a:lnSpc>
                          <a:spcPct val="100000"/>
                        </a:lnSpc>
                        <a:spcBef>
                          <a:spcPts val="0"/>
                        </a:spcBef>
                        <a:spcAft>
                          <a:spcPts val="0"/>
                        </a:spcAft>
                        <a:buFontTx/>
                        <a:buNone/>
                      </a:pPr>
                      <a:r>
                        <a:rPr kumimoji="0" lang="en-US" sz="1400" b="0" i="0" u="none" strike="noStrike" kern="1200" cap="none" spc="0" baseline="0" dirty="0">
                          <a:solidFill>
                            <a:srgbClr val="002557"/>
                          </a:solidFill>
                          <a:effectLst/>
                          <a:latin typeface="+mn-lt"/>
                          <a:ea typeface="+mn-ea"/>
                          <a:cs typeface="+mn-cs"/>
                        </a:rPr>
                        <a:t>9 (2.3)</a:t>
                      </a:r>
                    </a:p>
                  </a:txBody>
                  <a:tcPr marT="18000" marB="18000" anchor="ctr"/>
                </a:tc>
                <a:tc>
                  <a:txBody>
                    <a:bodyPr/>
                    <a:lstStyle/>
                    <a:p>
                      <a:pPr marL="0" marR="0" lvl="0" indent="0" algn="ctr" defTabSz="914400" rtl="0" eaLnBrk="1" fontAlgn="auto" latinLnBrk="0" hangingPunct="1">
                        <a:lnSpc>
                          <a:spcPct val="100000"/>
                        </a:lnSpc>
                        <a:spcBef>
                          <a:spcPts val="335"/>
                        </a:spcBef>
                        <a:spcAft>
                          <a:spcPts val="0"/>
                        </a:spcAft>
                        <a:buClrTx/>
                        <a:buSzTx/>
                        <a:buFontTx/>
                        <a:buNone/>
                        <a:tabLst/>
                        <a:defRPr/>
                      </a:pPr>
                      <a:r>
                        <a:rPr kumimoji="0" lang="en-US" sz="1400" b="0" i="0" u="none" strike="noStrike" kern="1200" cap="none" spc="0" baseline="0" dirty="0">
                          <a:solidFill>
                            <a:srgbClr val="002557"/>
                          </a:solidFill>
                          <a:effectLst/>
                          <a:latin typeface="+mn-lt"/>
                          <a:ea typeface="+mn-ea"/>
                          <a:cs typeface="+mn-cs"/>
                        </a:rPr>
                        <a:t>7 (1.8)</a:t>
                      </a:r>
                    </a:p>
                  </a:txBody>
                  <a:tcPr marT="18000" marB="18000" anchor="ctr"/>
                </a:tc>
                <a:tc>
                  <a:txBody>
                    <a:bodyPr/>
                    <a:lstStyle/>
                    <a:p>
                      <a:pPr marL="0" marR="0" lvl="0" indent="0" algn="ctr" defTabSz="914400" rtl="0" eaLnBrk="1" fontAlgn="auto" latinLnBrk="0" hangingPunct="1">
                        <a:lnSpc>
                          <a:spcPct val="100000"/>
                        </a:lnSpc>
                        <a:spcBef>
                          <a:spcPts val="335"/>
                        </a:spcBef>
                        <a:spcAft>
                          <a:spcPts val="0"/>
                        </a:spcAft>
                        <a:buClrTx/>
                        <a:buSzTx/>
                        <a:buFontTx/>
                        <a:buNone/>
                        <a:tabLst/>
                        <a:defRPr/>
                      </a:pPr>
                      <a:r>
                        <a:rPr kumimoji="0" lang="en-US" sz="1400" b="0" i="0" u="none" strike="noStrike" kern="1200" cap="none" spc="0" baseline="0" dirty="0">
                          <a:solidFill>
                            <a:srgbClr val="002557"/>
                          </a:solidFill>
                          <a:effectLst/>
                          <a:latin typeface="+mn-lt"/>
                          <a:ea typeface="+mn-ea"/>
                          <a:cs typeface="+mn-cs"/>
                        </a:rPr>
                        <a:t>7 (1.8)</a:t>
                      </a:r>
                    </a:p>
                  </a:txBody>
                  <a:tcPr marT="18000" marB="18000" anchor="ctr"/>
                </a:tc>
                <a:tc>
                  <a:txBody>
                    <a:bodyPr/>
                    <a:lstStyle/>
                    <a:p>
                      <a:pPr marL="0" marR="0" lvl="0" indent="0" algn="ctr" defTabSz="914400" rtl="0" eaLnBrk="1" fontAlgn="auto" latinLnBrk="0" hangingPunct="1">
                        <a:lnSpc>
                          <a:spcPct val="100000"/>
                        </a:lnSpc>
                        <a:spcBef>
                          <a:spcPts val="335"/>
                        </a:spcBef>
                        <a:spcAft>
                          <a:spcPts val="0"/>
                        </a:spcAft>
                        <a:buClrTx/>
                        <a:buSzTx/>
                        <a:buFontTx/>
                        <a:buNone/>
                        <a:tabLst/>
                        <a:defRPr/>
                      </a:pPr>
                      <a:r>
                        <a:rPr kumimoji="0" lang="en-US" sz="1400" b="0" i="0" u="none" strike="noStrike" kern="1200" cap="none" spc="0" baseline="0" dirty="0">
                          <a:solidFill>
                            <a:srgbClr val="002557"/>
                          </a:solidFill>
                          <a:effectLst/>
                          <a:latin typeface="+mn-lt"/>
                          <a:ea typeface="+mn-ea"/>
                          <a:cs typeface="+mn-cs"/>
                        </a:rPr>
                        <a:t>0</a:t>
                      </a:r>
                    </a:p>
                  </a:txBody>
                  <a:tcPr marT="18000" marB="18000" anchor="ctr"/>
                </a:tc>
                <a:tc>
                  <a:txBody>
                    <a:bodyPr/>
                    <a:lstStyle/>
                    <a:p>
                      <a:pPr marL="0" marR="0" lvl="0" indent="0" algn="ctr" defTabSz="914400" rtl="0" eaLnBrk="1" fontAlgn="auto" latinLnBrk="0" hangingPunct="1">
                        <a:lnSpc>
                          <a:spcPct val="100000"/>
                        </a:lnSpc>
                        <a:spcBef>
                          <a:spcPts val="335"/>
                        </a:spcBef>
                        <a:spcAft>
                          <a:spcPts val="0"/>
                        </a:spcAft>
                        <a:buClrTx/>
                        <a:buSzTx/>
                        <a:buFontTx/>
                        <a:buNone/>
                        <a:tabLst/>
                        <a:defRPr/>
                      </a:pPr>
                      <a:r>
                        <a:rPr kumimoji="0" lang="en-US" sz="1400" b="0" i="0" u="none" strike="noStrike" kern="1200" cap="none" spc="0" baseline="0" dirty="0">
                          <a:solidFill>
                            <a:srgbClr val="002557"/>
                          </a:solidFill>
                          <a:effectLst/>
                          <a:latin typeface="+mn-lt"/>
                          <a:ea typeface="+mn-ea"/>
                          <a:cs typeface="+mn-cs"/>
                        </a:rPr>
                        <a:t>2 (0.5)</a:t>
                      </a:r>
                    </a:p>
                  </a:txBody>
                  <a:tcPr marT="18000" marB="18000" anchor="ctr"/>
                </a:tc>
                <a:tc>
                  <a:txBody>
                    <a:bodyPr/>
                    <a:lstStyle/>
                    <a:p>
                      <a:pPr marL="0" marR="0" lvl="0" indent="0" algn="ctr" defTabSz="914400" rtl="0" eaLnBrk="1" fontAlgn="auto" latinLnBrk="0" hangingPunct="1">
                        <a:lnSpc>
                          <a:spcPct val="100000"/>
                        </a:lnSpc>
                        <a:spcBef>
                          <a:spcPts val="335"/>
                        </a:spcBef>
                        <a:spcAft>
                          <a:spcPts val="0"/>
                        </a:spcAft>
                        <a:buClrTx/>
                        <a:buSzTx/>
                        <a:buFontTx/>
                        <a:buNone/>
                        <a:tabLst/>
                        <a:defRPr/>
                      </a:pPr>
                      <a:r>
                        <a:rPr kumimoji="0" lang="en-US" sz="1400" b="0" i="0" u="none" strike="noStrike" kern="1200" cap="none" spc="0" baseline="0" dirty="0">
                          <a:solidFill>
                            <a:srgbClr val="002557"/>
                          </a:solidFill>
                          <a:effectLst/>
                          <a:latin typeface="+mn-lt"/>
                          <a:ea typeface="+mn-ea"/>
                          <a:cs typeface="+mn-cs"/>
                        </a:rPr>
                        <a:t>1 (0.3)</a:t>
                      </a:r>
                    </a:p>
                  </a:txBody>
                  <a:tcPr marT="18000" marB="18000" anchor="ctr"/>
                </a:tc>
                <a:tc>
                  <a:txBody>
                    <a:bodyPr/>
                    <a:lstStyle/>
                    <a:p>
                      <a:pPr marL="0" marR="0" lvl="0" indent="0" algn="ctr" defTabSz="914400" rtl="0" eaLnBrk="1" fontAlgn="auto" latinLnBrk="0" hangingPunct="1">
                        <a:lnSpc>
                          <a:spcPct val="100000"/>
                        </a:lnSpc>
                        <a:spcBef>
                          <a:spcPts val="335"/>
                        </a:spcBef>
                        <a:spcAft>
                          <a:spcPts val="0"/>
                        </a:spcAft>
                        <a:buClrTx/>
                        <a:buSzTx/>
                        <a:buFontTx/>
                        <a:buNone/>
                        <a:tabLst/>
                        <a:defRPr/>
                      </a:pPr>
                      <a:r>
                        <a:rPr kumimoji="0" lang="en-US" sz="1400" b="0" i="0" u="none" strike="noStrike" kern="1200" cap="none" spc="0" baseline="0" dirty="0">
                          <a:solidFill>
                            <a:srgbClr val="002557"/>
                          </a:solidFill>
                          <a:effectLst/>
                          <a:latin typeface="+mn-lt"/>
                          <a:ea typeface="+mn-ea"/>
                          <a:cs typeface="+mn-cs"/>
                        </a:rPr>
                        <a:t>2 (0.5)</a:t>
                      </a:r>
                    </a:p>
                  </a:txBody>
                  <a:tcPr marT="18000" marB="18000" anchor="ctr"/>
                </a:tc>
                <a:tc>
                  <a:txBody>
                    <a:bodyPr/>
                    <a:lstStyle/>
                    <a:p>
                      <a:pPr marL="0" marR="0" lvl="0" indent="0" algn="ctr" defTabSz="914400" rtl="0" eaLnBrk="1" fontAlgn="auto" latinLnBrk="0" hangingPunct="1">
                        <a:lnSpc>
                          <a:spcPct val="100000"/>
                        </a:lnSpc>
                        <a:spcBef>
                          <a:spcPts val="335"/>
                        </a:spcBef>
                        <a:spcAft>
                          <a:spcPts val="0"/>
                        </a:spcAft>
                        <a:buClrTx/>
                        <a:buSzTx/>
                        <a:buFontTx/>
                        <a:buNone/>
                        <a:tabLst/>
                        <a:defRPr/>
                      </a:pPr>
                      <a:r>
                        <a:rPr kumimoji="0" lang="en-US" sz="1400" b="0" i="0" u="none" strike="noStrike" kern="1200" cap="none" spc="0" baseline="0" dirty="0">
                          <a:solidFill>
                            <a:srgbClr val="002557"/>
                          </a:solidFill>
                          <a:effectLst/>
                          <a:latin typeface="+mn-lt"/>
                          <a:ea typeface="+mn-ea"/>
                          <a:cs typeface="+mn-cs"/>
                        </a:rPr>
                        <a:t>0</a:t>
                      </a:r>
                    </a:p>
                  </a:txBody>
                  <a:tcPr marT="18000" marB="18000" anchor="ctr"/>
                </a:tc>
                <a:extLst>
                  <a:ext uri="{0D108BD9-81ED-4DB2-BD59-A6C34878D82A}">
                    <a16:rowId xmlns:a16="http://schemas.microsoft.com/office/drawing/2014/main" val="117241022"/>
                  </a:ext>
                </a:extLst>
              </a:tr>
              <a:tr h="298335">
                <a:tc>
                  <a:txBody>
                    <a:bodyPr/>
                    <a:lstStyle/>
                    <a:p>
                      <a:pPr marL="0" marR="0" lvl="0" indent="0" algn="l" defTabSz="914400" rtl="0" eaLnBrk="1" fontAlgn="auto" latinLnBrk="0" hangingPunct="1">
                        <a:lnSpc>
                          <a:spcPct val="100000"/>
                        </a:lnSpc>
                        <a:spcBef>
                          <a:spcPts val="0"/>
                        </a:spcBef>
                        <a:spcAft>
                          <a:spcPts val="0"/>
                        </a:spcAft>
                        <a:buFontTx/>
                        <a:buNone/>
                      </a:pPr>
                      <a:r>
                        <a:rPr kumimoji="0" lang="en-US" sz="1400" b="0" u="none" strike="noStrike" kern="1200" cap="none" spc="0" baseline="0" dirty="0">
                          <a:solidFill>
                            <a:srgbClr val="002557"/>
                          </a:solidFill>
                          <a:effectLst/>
                        </a:rPr>
                        <a:t>Adrenal insufficiency</a:t>
                      </a:r>
                      <a:endParaRPr kumimoji="0" lang="en-US" sz="1400" b="0" i="0" u="none" strike="noStrike" kern="1200" cap="none" spc="0" baseline="0" dirty="0">
                        <a:solidFill>
                          <a:srgbClr val="002557"/>
                        </a:solidFill>
                        <a:effectLst/>
                        <a:latin typeface="+mn-lt"/>
                        <a:ea typeface="+mn-ea"/>
                        <a:cs typeface="+mn-cs"/>
                      </a:endParaRPr>
                    </a:p>
                  </a:txBody>
                  <a:tcPr marT="18000" marB="18000" anchor="ctr"/>
                </a:tc>
                <a:tc>
                  <a:txBody>
                    <a:bodyPr/>
                    <a:lstStyle/>
                    <a:p>
                      <a:pPr marL="0" marR="0" lvl="0" indent="0" algn="ctr" defTabSz="914400" rtl="0" eaLnBrk="1" fontAlgn="auto" latinLnBrk="0" hangingPunct="1">
                        <a:lnSpc>
                          <a:spcPct val="100000"/>
                        </a:lnSpc>
                        <a:spcBef>
                          <a:spcPts val="0"/>
                        </a:spcBef>
                        <a:spcAft>
                          <a:spcPts val="0"/>
                        </a:spcAft>
                        <a:buFontTx/>
                        <a:buNone/>
                      </a:pPr>
                      <a:r>
                        <a:rPr kumimoji="0" lang="en-US" sz="1400" b="0" i="0" u="none" strike="noStrike" kern="1200" cap="none" spc="0" baseline="0">
                          <a:solidFill>
                            <a:srgbClr val="002557"/>
                          </a:solidFill>
                          <a:effectLst/>
                          <a:latin typeface="+mn-lt"/>
                          <a:ea typeface="+mn-ea"/>
                          <a:cs typeface="+mn-cs"/>
                        </a:rPr>
                        <a:t>6 (1.5)</a:t>
                      </a:r>
                      <a:endParaRPr kumimoji="0" lang="en-US" sz="1400" b="0" i="0" u="none" strike="noStrike" kern="1200" cap="none" spc="0" baseline="0" dirty="0">
                        <a:solidFill>
                          <a:srgbClr val="002557"/>
                        </a:solidFill>
                        <a:effectLst/>
                        <a:latin typeface="+mn-lt"/>
                        <a:ea typeface="+mn-ea"/>
                        <a:cs typeface="+mn-cs"/>
                      </a:endParaRPr>
                    </a:p>
                  </a:txBody>
                  <a:tcPr marT="18000" marB="18000" anchor="ctr"/>
                </a:tc>
                <a:tc>
                  <a:txBody>
                    <a:bodyPr/>
                    <a:lstStyle/>
                    <a:p>
                      <a:pPr marL="0" marR="0" lvl="0" indent="0" algn="ctr" defTabSz="914400" rtl="0" eaLnBrk="1" fontAlgn="auto" latinLnBrk="0" hangingPunct="1">
                        <a:lnSpc>
                          <a:spcPct val="100000"/>
                        </a:lnSpc>
                        <a:spcBef>
                          <a:spcPts val="335"/>
                        </a:spcBef>
                        <a:spcAft>
                          <a:spcPts val="0"/>
                        </a:spcAft>
                        <a:buClrTx/>
                        <a:buSzTx/>
                        <a:buFontTx/>
                        <a:buNone/>
                        <a:tabLst/>
                        <a:defRPr/>
                      </a:pPr>
                      <a:r>
                        <a:rPr kumimoji="0" lang="en-US" sz="1400" b="0" i="0" u="none" strike="noStrike" kern="1200" cap="none" spc="0" baseline="0" dirty="0">
                          <a:solidFill>
                            <a:srgbClr val="002557"/>
                          </a:solidFill>
                          <a:effectLst/>
                          <a:latin typeface="+mn-lt"/>
                          <a:ea typeface="+mn-ea"/>
                          <a:cs typeface="+mn-cs"/>
                        </a:rPr>
                        <a:t>1 (0.3)</a:t>
                      </a:r>
                    </a:p>
                  </a:txBody>
                  <a:tcPr marT="18000" marB="18000" anchor="ctr"/>
                </a:tc>
                <a:tc>
                  <a:txBody>
                    <a:bodyPr/>
                    <a:lstStyle/>
                    <a:p>
                      <a:pPr marL="0" marR="0" lvl="0" indent="0" algn="ctr" defTabSz="914400" rtl="0" eaLnBrk="1" fontAlgn="auto" latinLnBrk="0" hangingPunct="1">
                        <a:lnSpc>
                          <a:spcPct val="100000"/>
                        </a:lnSpc>
                        <a:spcBef>
                          <a:spcPts val="335"/>
                        </a:spcBef>
                        <a:spcAft>
                          <a:spcPts val="0"/>
                        </a:spcAft>
                        <a:buClrTx/>
                        <a:buSzTx/>
                        <a:buFontTx/>
                        <a:buNone/>
                        <a:tabLst/>
                        <a:defRPr/>
                      </a:pPr>
                      <a:r>
                        <a:rPr kumimoji="0" lang="en-US" sz="1400" b="0" i="0" u="none" strike="noStrike" kern="1200" cap="none" spc="0" baseline="0" dirty="0">
                          <a:solidFill>
                            <a:srgbClr val="002557"/>
                          </a:solidFill>
                          <a:effectLst/>
                          <a:latin typeface="+mn-lt"/>
                          <a:ea typeface="+mn-ea"/>
                          <a:cs typeface="+mn-cs"/>
                        </a:rPr>
                        <a:t>1 (0.3)</a:t>
                      </a:r>
                    </a:p>
                  </a:txBody>
                  <a:tcPr marT="18000" marB="18000" anchor="ctr"/>
                </a:tc>
                <a:tc>
                  <a:txBody>
                    <a:bodyPr/>
                    <a:lstStyle/>
                    <a:p>
                      <a:pPr marL="0" marR="0" lvl="0" indent="0" algn="ctr" defTabSz="914400" rtl="0" eaLnBrk="1" fontAlgn="auto" latinLnBrk="0" hangingPunct="1">
                        <a:lnSpc>
                          <a:spcPct val="100000"/>
                        </a:lnSpc>
                        <a:spcBef>
                          <a:spcPts val="335"/>
                        </a:spcBef>
                        <a:spcAft>
                          <a:spcPts val="0"/>
                        </a:spcAft>
                        <a:buClrTx/>
                        <a:buSzTx/>
                        <a:buFontTx/>
                        <a:buNone/>
                        <a:tabLst/>
                        <a:defRPr/>
                      </a:pPr>
                      <a:r>
                        <a:rPr kumimoji="0" lang="en-US" sz="1400" b="0" i="0" u="none" strike="noStrike" kern="1200" cap="none" spc="0" baseline="0">
                          <a:solidFill>
                            <a:srgbClr val="002557"/>
                          </a:solidFill>
                          <a:effectLst/>
                          <a:latin typeface="+mn-lt"/>
                          <a:ea typeface="+mn-ea"/>
                          <a:cs typeface="+mn-cs"/>
                        </a:rPr>
                        <a:t>0</a:t>
                      </a:r>
                      <a:endParaRPr kumimoji="0" lang="en-US" sz="1400" b="0" i="0" u="none" strike="noStrike" kern="1200" cap="none" spc="0" baseline="0" dirty="0">
                        <a:solidFill>
                          <a:srgbClr val="002557"/>
                        </a:solidFill>
                        <a:effectLst/>
                        <a:latin typeface="+mn-lt"/>
                        <a:ea typeface="+mn-ea"/>
                        <a:cs typeface="+mn-cs"/>
                      </a:endParaRPr>
                    </a:p>
                  </a:txBody>
                  <a:tcPr marT="18000" marB="18000" anchor="ctr"/>
                </a:tc>
                <a:tc>
                  <a:txBody>
                    <a:bodyPr/>
                    <a:lstStyle/>
                    <a:p>
                      <a:pPr marL="0" marR="0" lvl="0" indent="0" algn="ctr" defTabSz="914400" rtl="0" eaLnBrk="1" fontAlgn="auto" latinLnBrk="0" hangingPunct="1">
                        <a:lnSpc>
                          <a:spcPct val="100000"/>
                        </a:lnSpc>
                        <a:spcBef>
                          <a:spcPts val="335"/>
                        </a:spcBef>
                        <a:spcAft>
                          <a:spcPts val="0"/>
                        </a:spcAft>
                        <a:buClrTx/>
                        <a:buSzTx/>
                        <a:buFontTx/>
                        <a:buNone/>
                        <a:tabLst/>
                        <a:defRPr/>
                      </a:pPr>
                      <a:r>
                        <a:rPr kumimoji="0" lang="en-US" sz="1400" b="0" i="0" u="none" strike="noStrike" kern="1200" cap="none" spc="0" baseline="0" dirty="0">
                          <a:solidFill>
                            <a:srgbClr val="002557"/>
                          </a:solidFill>
                          <a:effectLst/>
                          <a:latin typeface="+mn-lt"/>
                          <a:ea typeface="+mn-ea"/>
                          <a:cs typeface="+mn-cs"/>
                        </a:rPr>
                        <a:t>6 (1.5)</a:t>
                      </a:r>
                    </a:p>
                  </a:txBody>
                  <a:tcPr marT="18000" marB="18000" anchor="ctr"/>
                </a:tc>
                <a:tc>
                  <a:txBody>
                    <a:bodyPr/>
                    <a:lstStyle/>
                    <a:p>
                      <a:pPr marL="0" marR="0" lvl="0" indent="0" algn="ctr" defTabSz="914400" rtl="0" eaLnBrk="1" fontAlgn="auto" latinLnBrk="0" hangingPunct="1">
                        <a:lnSpc>
                          <a:spcPct val="100000"/>
                        </a:lnSpc>
                        <a:spcBef>
                          <a:spcPts val="335"/>
                        </a:spcBef>
                        <a:spcAft>
                          <a:spcPts val="0"/>
                        </a:spcAft>
                        <a:buClrTx/>
                        <a:buSzTx/>
                        <a:buFontTx/>
                        <a:buNone/>
                        <a:tabLst/>
                        <a:defRPr/>
                      </a:pPr>
                      <a:r>
                        <a:rPr kumimoji="0" lang="en-US" sz="1400" b="0" i="0" u="none" strike="noStrike" kern="1200" cap="none" spc="0" baseline="0" dirty="0">
                          <a:solidFill>
                            <a:srgbClr val="002557"/>
                          </a:solidFill>
                          <a:effectLst/>
                          <a:latin typeface="+mn-lt"/>
                          <a:ea typeface="+mn-ea"/>
                          <a:cs typeface="+mn-cs"/>
                        </a:rPr>
                        <a:t>3 (0.8)</a:t>
                      </a:r>
                    </a:p>
                  </a:txBody>
                  <a:tcPr marT="18000" marB="18000" anchor="ctr"/>
                </a:tc>
                <a:tc>
                  <a:txBody>
                    <a:bodyPr/>
                    <a:lstStyle/>
                    <a:p>
                      <a:pPr marL="0" marR="0" lvl="0" indent="0" algn="ctr" defTabSz="914400" rtl="0" eaLnBrk="1" fontAlgn="auto" latinLnBrk="0" hangingPunct="1">
                        <a:lnSpc>
                          <a:spcPct val="100000"/>
                        </a:lnSpc>
                        <a:spcBef>
                          <a:spcPts val="335"/>
                        </a:spcBef>
                        <a:spcAft>
                          <a:spcPts val="0"/>
                        </a:spcAft>
                        <a:buClrTx/>
                        <a:buSzTx/>
                        <a:buFontTx/>
                        <a:buNone/>
                        <a:tabLst/>
                        <a:defRPr/>
                      </a:pPr>
                      <a:r>
                        <a:rPr kumimoji="0" lang="en-US" sz="1400" b="0" i="0" u="none" strike="noStrike" kern="1200" cap="none" spc="0" baseline="0" dirty="0">
                          <a:solidFill>
                            <a:srgbClr val="002557"/>
                          </a:solidFill>
                          <a:effectLst/>
                          <a:latin typeface="+mn-lt"/>
                          <a:ea typeface="+mn-ea"/>
                          <a:cs typeface="+mn-cs"/>
                        </a:rPr>
                        <a:t>3 (0.8)</a:t>
                      </a:r>
                    </a:p>
                  </a:txBody>
                  <a:tcPr marT="18000" marB="18000" anchor="ctr"/>
                </a:tc>
                <a:tc>
                  <a:txBody>
                    <a:bodyPr/>
                    <a:lstStyle/>
                    <a:p>
                      <a:pPr marL="0" marR="0" lvl="0" indent="0" algn="ctr" defTabSz="914400" rtl="0" eaLnBrk="1" fontAlgn="auto" latinLnBrk="0" hangingPunct="1">
                        <a:lnSpc>
                          <a:spcPct val="100000"/>
                        </a:lnSpc>
                        <a:spcBef>
                          <a:spcPts val="335"/>
                        </a:spcBef>
                        <a:spcAft>
                          <a:spcPts val="0"/>
                        </a:spcAft>
                        <a:buClrTx/>
                        <a:buSzTx/>
                        <a:buFontTx/>
                        <a:buNone/>
                        <a:tabLst/>
                        <a:defRPr/>
                      </a:pPr>
                      <a:r>
                        <a:rPr kumimoji="0" lang="en-US" sz="1400" b="0" i="0" u="none" strike="noStrike" kern="1200" cap="none" spc="0" baseline="0" dirty="0">
                          <a:solidFill>
                            <a:srgbClr val="002557"/>
                          </a:solidFill>
                          <a:effectLst/>
                          <a:latin typeface="+mn-lt"/>
                          <a:ea typeface="+mn-ea"/>
                          <a:cs typeface="+mn-cs"/>
                        </a:rPr>
                        <a:t>0</a:t>
                      </a:r>
                    </a:p>
                  </a:txBody>
                  <a:tcPr marT="18000" marB="18000" anchor="ctr"/>
                </a:tc>
                <a:extLst>
                  <a:ext uri="{0D108BD9-81ED-4DB2-BD59-A6C34878D82A}">
                    <a16:rowId xmlns:a16="http://schemas.microsoft.com/office/drawing/2014/main" val="683789733"/>
                  </a:ext>
                </a:extLst>
              </a:tr>
              <a:tr h="298335">
                <a:tc>
                  <a:txBody>
                    <a:bodyPr/>
                    <a:lstStyle/>
                    <a:p>
                      <a:pPr marL="0" marR="0" lvl="0" indent="0" algn="l" defTabSz="914400" rtl="0" eaLnBrk="1" fontAlgn="auto" latinLnBrk="0" hangingPunct="1">
                        <a:lnSpc>
                          <a:spcPct val="100000"/>
                        </a:lnSpc>
                        <a:spcBef>
                          <a:spcPts val="335"/>
                        </a:spcBef>
                        <a:spcAft>
                          <a:spcPts val="0"/>
                        </a:spcAft>
                        <a:buFontTx/>
                        <a:buNone/>
                      </a:pPr>
                      <a:r>
                        <a:rPr kumimoji="0" lang="en-US" sz="1400" b="0" i="0" u="none" strike="noStrike" kern="1200" cap="none" spc="0" baseline="0" dirty="0">
                          <a:solidFill>
                            <a:srgbClr val="002557"/>
                          </a:solidFill>
                          <a:effectLst/>
                          <a:latin typeface="+mn-lt"/>
                          <a:ea typeface="+mn-ea"/>
                          <a:cs typeface="+mn-cs"/>
                        </a:rPr>
                        <a:t>Hyperthyroid events</a:t>
                      </a:r>
                    </a:p>
                  </a:txBody>
                  <a:tcPr marT="18000" marB="18000" anchor="ctr"/>
                </a:tc>
                <a:tc>
                  <a:txBody>
                    <a:bodyPr/>
                    <a:lstStyle/>
                    <a:p>
                      <a:pPr marL="0" marR="0" lvl="0" indent="0" algn="ctr" defTabSz="914400" rtl="0" eaLnBrk="1" fontAlgn="auto" latinLnBrk="0" hangingPunct="1">
                        <a:lnSpc>
                          <a:spcPct val="100000"/>
                        </a:lnSpc>
                        <a:spcBef>
                          <a:spcPts val="335"/>
                        </a:spcBef>
                        <a:spcAft>
                          <a:spcPts val="0"/>
                        </a:spcAft>
                        <a:buFontTx/>
                        <a:buNone/>
                      </a:pPr>
                      <a:r>
                        <a:rPr kumimoji="0" lang="en-US" sz="1400" b="0" i="0" u="none" strike="noStrike" kern="1200" cap="none" spc="0" baseline="0">
                          <a:solidFill>
                            <a:srgbClr val="002557"/>
                          </a:solidFill>
                          <a:effectLst/>
                          <a:latin typeface="+mn-lt"/>
                          <a:ea typeface="+mn-ea"/>
                          <a:cs typeface="+mn-cs"/>
                        </a:rPr>
                        <a:t>18 (4.6)</a:t>
                      </a:r>
                      <a:endParaRPr kumimoji="0" lang="en-US" sz="1400" b="0" i="0" u="none" strike="noStrike" kern="1200" cap="none" spc="0" baseline="0" dirty="0">
                        <a:solidFill>
                          <a:srgbClr val="002557"/>
                        </a:solidFill>
                        <a:effectLst/>
                        <a:latin typeface="+mn-lt"/>
                        <a:ea typeface="+mn-ea"/>
                        <a:cs typeface="+mn-cs"/>
                      </a:endParaRPr>
                    </a:p>
                  </a:txBody>
                  <a:tcPr marT="18000" marB="18000" anchor="ctr"/>
                </a:tc>
                <a:tc>
                  <a:txBody>
                    <a:bodyPr/>
                    <a:lstStyle/>
                    <a:p>
                      <a:pPr marL="0" marR="0" lvl="0" indent="0" algn="ctr" defTabSz="914400" rtl="0" eaLnBrk="1" fontAlgn="auto" latinLnBrk="0" hangingPunct="1">
                        <a:lnSpc>
                          <a:spcPct val="100000"/>
                        </a:lnSpc>
                        <a:spcBef>
                          <a:spcPts val="335"/>
                        </a:spcBef>
                        <a:spcAft>
                          <a:spcPts val="0"/>
                        </a:spcAft>
                        <a:buClrTx/>
                        <a:buSzTx/>
                        <a:buFontTx/>
                        <a:buNone/>
                        <a:tabLst/>
                        <a:defRPr/>
                      </a:pPr>
                      <a:r>
                        <a:rPr kumimoji="0" lang="en-US" sz="1400" b="0" i="0" u="none" strike="noStrike" kern="1200" cap="none" spc="0" baseline="0" dirty="0">
                          <a:solidFill>
                            <a:srgbClr val="002557"/>
                          </a:solidFill>
                          <a:effectLst/>
                          <a:latin typeface="+mn-lt"/>
                          <a:ea typeface="+mn-ea"/>
                          <a:cs typeface="Arial" panose="020B0604020202020204" pitchFamily="34" charset="0"/>
                        </a:rPr>
                        <a:t>1 (0.3)</a:t>
                      </a:r>
                    </a:p>
                  </a:txBody>
                  <a:tcPr marT="18000" marB="18000" anchor="ctr"/>
                </a:tc>
                <a:tc>
                  <a:txBody>
                    <a:bodyPr/>
                    <a:lstStyle/>
                    <a:p>
                      <a:pPr marL="0" marR="0" lvl="0" indent="0" algn="ctr" defTabSz="914400" rtl="0" eaLnBrk="1" fontAlgn="auto" latinLnBrk="0" hangingPunct="1">
                        <a:lnSpc>
                          <a:spcPct val="100000"/>
                        </a:lnSpc>
                        <a:spcBef>
                          <a:spcPts val="335"/>
                        </a:spcBef>
                        <a:spcAft>
                          <a:spcPts val="0"/>
                        </a:spcAft>
                        <a:buClrTx/>
                        <a:buSzTx/>
                        <a:buFontTx/>
                        <a:buNone/>
                        <a:tabLst/>
                        <a:defRPr/>
                      </a:pPr>
                      <a:r>
                        <a:rPr kumimoji="0" lang="en-US" sz="1400" b="0" i="0" u="none" strike="noStrike" kern="1200" cap="none" spc="0" baseline="0" dirty="0">
                          <a:solidFill>
                            <a:srgbClr val="002557"/>
                          </a:solidFill>
                          <a:effectLst/>
                          <a:latin typeface="+mn-lt"/>
                          <a:ea typeface="+mn-ea"/>
                          <a:cs typeface="Arial" panose="020B0604020202020204" pitchFamily="34" charset="0"/>
                        </a:rPr>
                        <a:t>2 (0.5)</a:t>
                      </a:r>
                    </a:p>
                  </a:txBody>
                  <a:tcPr marT="18000" marB="18000" anchor="ctr"/>
                </a:tc>
                <a:tc>
                  <a:txBody>
                    <a:bodyPr/>
                    <a:lstStyle/>
                    <a:p>
                      <a:pPr marL="0" marR="0" lvl="0" indent="0" algn="ctr" defTabSz="914400" rtl="0" eaLnBrk="1" fontAlgn="auto" latinLnBrk="0" hangingPunct="1">
                        <a:lnSpc>
                          <a:spcPct val="100000"/>
                        </a:lnSpc>
                        <a:spcBef>
                          <a:spcPts val="335"/>
                        </a:spcBef>
                        <a:spcAft>
                          <a:spcPts val="0"/>
                        </a:spcAft>
                        <a:buClrTx/>
                        <a:buSzTx/>
                        <a:buFontTx/>
                        <a:buNone/>
                        <a:tabLst/>
                        <a:defRPr/>
                      </a:pPr>
                      <a:r>
                        <a:rPr kumimoji="0" lang="en-US" sz="1400" b="0" i="0" u="none" strike="noStrike" kern="1200" cap="none" spc="0" baseline="0">
                          <a:solidFill>
                            <a:srgbClr val="002557"/>
                          </a:solidFill>
                          <a:effectLst/>
                          <a:latin typeface="+mn-lt"/>
                          <a:ea typeface="+mn-ea"/>
                          <a:cs typeface="Arial" panose="020B0604020202020204" pitchFamily="34" charset="0"/>
                        </a:rPr>
                        <a:t>0</a:t>
                      </a:r>
                      <a:endParaRPr kumimoji="0" lang="en-US" sz="1400" b="0" i="0" u="none" strike="noStrike" kern="1200" cap="none" spc="0" baseline="0" dirty="0">
                        <a:solidFill>
                          <a:srgbClr val="002557"/>
                        </a:solidFill>
                        <a:effectLst/>
                        <a:latin typeface="+mn-lt"/>
                        <a:ea typeface="+mn-ea"/>
                        <a:cs typeface="Arial" panose="020B0604020202020204" pitchFamily="34" charset="0"/>
                      </a:endParaRPr>
                    </a:p>
                  </a:txBody>
                  <a:tcPr marT="18000" marB="18000" anchor="ctr"/>
                </a:tc>
                <a:tc>
                  <a:txBody>
                    <a:bodyPr/>
                    <a:lstStyle/>
                    <a:p>
                      <a:pPr marL="0" marR="0" lvl="0" indent="0" algn="ctr" defTabSz="914400" rtl="0" eaLnBrk="1" fontAlgn="auto" latinLnBrk="0" hangingPunct="1">
                        <a:lnSpc>
                          <a:spcPct val="100000"/>
                        </a:lnSpc>
                        <a:spcBef>
                          <a:spcPts val="335"/>
                        </a:spcBef>
                        <a:spcAft>
                          <a:spcPts val="0"/>
                        </a:spcAft>
                        <a:buClrTx/>
                        <a:buSzTx/>
                        <a:buFontTx/>
                        <a:buNone/>
                        <a:tabLst/>
                        <a:defRPr/>
                      </a:pPr>
                      <a:r>
                        <a:rPr kumimoji="0" lang="en-US" sz="1400" b="0" i="0" u="none" strike="noStrike" kern="1200" cap="none" spc="0" baseline="0" dirty="0">
                          <a:solidFill>
                            <a:srgbClr val="002557"/>
                          </a:solidFill>
                          <a:effectLst/>
                          <a:latin typeface="+mn-lt"/>
                          <a:ea typeface="+mn-ea"/>
                          <a:cs typeface="Arial" panose="020B0604020202020204" pitchFamily="34" charset="0"/>
                        </a:rPr>
                        <a:t>4 (1.0)</a:t>
                      </a:r>
                    </a:p>
                  </a:txBody>
                  <a:tcPr marT="18000" marB="18000" anchor="ctr"/>
                </a:tc>
                <a:tc>
                  <a:txBody>
                    <a:bodyPr/>
                    <a:lstStyle/>
                    <a:p>
                      <a:pPr marL="0" marR="0" lvl="0" indent="0" algn="ctr" defTabSz="914400" rtl="0" eaLnBrk="1" fontAlgn="auto" latinLnBrk="0" hangingPunct="1">
                        <a:lnSpc>
                          <a:spcPct val="100000"/>
                        </a:lnSpc>
                        <a:spcBef>
                          <a:spcPts val="335"/>
                        </a:spcBef>
                        <a:spcAft>
                          <a:spcPts val="0"/>
                        </a:spcAft>
                        <a:buClrTx/>
                        <a:buSzTx/>
                        <a:buFontTx/>
                        <a:buNone/>
                        <a:tabLst/>
                        <a:defRPr/>
                      </a:pPr>
                      <a:r>
                        <a:rPr kumimoji="0" lang="en-US" sz="1400" b="0" i="0" u="none" strike="noStrike" kern="1200" cap="none" spc="0" baseline="0" dirty="0">
                          <a:solidFill>
                            <a:srgbClr val="002557"/>
                          </a:solidFill>
                          <a:effectLst/>
                          <a:latin typeface="+mn-lt"/>
                          <a:ea typeface="+mn-ea"/>
                          <a:cs typeface="Arial" panose="020B0604020202020204" pitchFamily="34" charset="0"/>
                        </a:rPr>
                        <a:t>0</a:t>
                      </a:r>
                    </a:p>
                  </a:txBody>
                  <a:tcPr marT="18000" marB="18000" anchor="ctr"/>
                </a:tc>
                <a:tc>
                  <a:txBody>
                    <a:bodyPr/>
                    <a:lstStyle/>
                    <a:p>
                      <a:pPr marL="0" marR="0" lvl="0" indent="0" algn="ctr" defTabSz="914400" rtl="0" eaLnBrk="1" fontAlgn="auto" latinLnBrk="0" hangingPunct="1">
                        <a:lnSpc>
                          <a:spcPct val="100000"/>
                        </a:lnSpc>
                        <a:spcBef>
                          <a:spcPts val="335"/>
                        </a:spcBef>
                        <a:spcAft>
                          <a:spcPts val="0"/>
                        </a:spcAft>
                        <a:buClrTx/>
                        <a:buSzTx/>
                        <a:buFontTx/>
                        <a:buNone/>
                        <a:tabLst/>
                        <a:defRPr/>
                      </a:pPr>
                      <a:r>
                        <a:rPr kumimoji="0" lang="en-US" sz="1400" b="0" i="0" u="none" strike="noStrike" kern="1200" cap="none" spc="0" baseline="0" dirty="0">
                          <a:solidFill>
                            <a:srgbClr val="002557"/>
                          </a:solidFill>
                          <a:effectLst/>
                          <a:latin typeface="+mn-lt"/>
                          <a:ea typeface="+mn-ea"/>
                          <a:cs typeface="Arial" panose="020B0604020202020204" pitchFamily="34" charset="0"/>
                        </a:rPr>
                        <a:t>0</a:t>
                      </a:r>
                    </a:p>
                  </a:txBody>
                  <a:tcPr marT="18000" marB="18000" anchor="ctr"/>
                </a:tc>
                <a:tc>
                  <a:txBody>
                    <a:bodyPr/>
                    <a:lstStyle/>
                    <a:p>
                      <a:pPr marL="0" marR="0" lvl="0" indent="0" algn="ctr" defTabSz="914400" rtl="0" eaLnBrk="1" fontAlgn="auto" latinLnBrk="0" hangingPunct="1">
                        <a:lnSpc>
                          <a:spcPct val="100000"/>
                        </a:lnSpc>
                        <a:spcBef>
                          <a:spcPts val="335"/>
                        </a:spcBef>
                        <a:spcAft>
                          <a:spcPts val="0"/>
                        </a:spcAft>
                        <a:buClrTx/>
                        <a:buSzTx/>
                        <a:buFontTx/>
                        <a:buNone/>
                        <a:tabLst/>
                        <a:defRPr/>
                      </a:pPr>
                      <a:r>
                        <a:rPr kumimoji="0" lang="en-US" sz="1400" b="0" i="0" u="none" strike="noStrike" kern="1200" cap="none" spc="0" baseline="0">
                          <a:solidFill>
                            <a:srgbClr val="002557"/>
                          </a:solidFill>
                          <a:effectLst/>
                          <a:latin typeface="+mn-lt"/>
                          <a:ea typeface="+mn-ea"/>
                          <a:cs typeface="Arial" panose="020B0604020202020204" pitchFamily="34" charset="0"/>
                        </a:rPr>
                        <a:t>0</a:t>
                      </a:r>
                      <a:endParaRPr kumimoji="0" lang="en-US" sz="1400" b="0" i="0" u="none" strike="noStrike" kern="1200" cap="none" spc="0" baseline="0" dirty="0">
                        <a:solidFill>
                          <a:srgbClr val="002557"/>
                        </a:solidFill>
                        <a:effectLst/>
                        <a:latin typeface="+mn-lt"/>
                        <a:ea typeface="+mn-ea"/>
                        <a:cs typeface="Arial" panose="020B0604020202020204" pitchFamily="34" charset="0"/>
                      </a:endParaRPr>
                    </a:p>
                  </a:txBody>
                  <a:tcPr marT="18000" marB="18000" anchor="ctr"/>
                </a:tc>
                <a:extLst>
                  <a:ext uri="{0D108BD9-81ED-4DB2-BD59-A6C34878D82A}">
                    <a16:rowId xmlns:a16="http://schemas.microsoft.com/office/drawing/2014/main" val="295487593"/>
                  </a:ext>
                </a:extLst>
              </a:tr>
              <a:tr h="298335">
                <a:tc>
                  <a:txBody>
                    <a:bodyPr/>
                    <a:lstStyle/>
                    <a:p>
                      <a:pPr marL="0" marR="0" lvl="0" indent="0" algn="l" defTabSz="914400" rtl="0" eaLnBrk="1" fontAlgn="b" latinLnBrk="0" hangingPunct="1">
                        <a:lnSpc>
                          <a:spcPct val="100000"/>
                        </a:lnSpc>
                        <a:spcBef>
                          <a:spcPts val="0"/>
                        </a:spcBef>
                        <a:spcAft>
                          <a:spcPts val="0"/>
                        </a:spcAft>
                        <a:buFontTx/>
                        <a:buNone/>
                      </a:pPr>
                      <a:r>
                        <a:rPr kumimoji="0" lang="en-US" sz="1400" b="0" u="none" strike="noStrike" kern="1200" cap="none" spc="0" baseline="0" dirty="0">
                          <a:solidFill>
                            <a:srgbClr val="002557"/>
                          </a:solidFill>
                          <a:effectLst/>
                        </a:rPr>
                        <a:t>Hypothyroid events</a:t>
                      </a:r>
                      <a:endParaRPr kumimoji="0" lang="en-US" sz="1400" b="0" i="0" u="none" strike="noStrike" kern="1200" cap="none" spc="0" baseline="30000" dirty="0">
                        <a:solidFill>
                          <a:srgbClr val="002557"/>
                        </a:solidFill>
                        <a:effectLst/>
                        <a:latin typeface="+mn-lt"/>
                        <a:ea typeface="+mn-ea"/>
                        <a:cs typeface="+mn-cs"/>
                      </a:endParaRPr>
                    </a:p>
                  </a:txBody>
                  <a:tcPr marT="18000" marB="18000" anchor="ctr"/>
                </a:tc>
                <a:tc>
                  <a:txBody>
                    <a:bodyPr/>
                    <a:lstStyle/>
                    <a:p>
                      <a:pPr marL="0" marR="0" lvl="0" indent="0" algn="ctr" defTabSz="914400" rtl="0" eaLnBrk="1" fontAlgn="b" latinLnBrk="0" hangingPunct="1">
                        <a:lnSpc>
                          <a:spcPct val="100000"/>
                        </a:lnSpc>
                        <a:spcBef>
                          <a:spcPts val="0"/>
                        </a:spcBef>
                        <a:spcAft>
                          <a:spcPts val="0"/>
                        </a:spcAft>
                        <a:buFontTx/>
                        <a:buNone/>
                      </a:pPr>
                      <a:r>
                        <a:rPr kumimoji="0" lang="en-US" sz="1400" b="0" i="0" u="none" strike="noStrike" kern="1200" cap="none" spc="0" baseline="0">
                          <a:solidFill>
                            <a:srgbClr val="002557"/>
                          </a:solidFill>
                          <a:effectLst/>
                          <a:latin typeface="+mn-lt"/>
                          <a:ea typeface="+mn-ea"/>
                          <a:cs typeface="+mn-cs"/>
                        </a:rPr>
                        <a:t>42 (10.8)</a:t>
                      </a:r>
                      <a:endParaRPr kumimoji="0" lang="en-US" sz="1400" b="0" i="0" u="none" strike="noStrike" kern="1200" cap="none" spc="0" baseline="30000" dirty="0">
                        <a:solidFill>
                          <a:srgbClr val="002557"/>
                        </a:solidFill>
                        <a:effectLst/>
                        <a:latin typeface="+mn-lt"/>
                        <a:ea typeface="+mn-ea"/>
                        <a:cs typeface="+mn-cs"/>
                      </a:endParaRPr>
                    </a:p>
                  </a:txBody>
                  <a:tcPr marT="18000" marB="18000" anchor="ctr"/>
                </a:tc>
                <a:tc>
                  <a:txBody>
                    <a:bodyPr/>
                    <a:lstStyle/>
                    <a:p>
                      <a:pPr marL="0" marR="0" lvl="0" indent="0" algn="ctr" defTabSz="914400" rtl="0" eaLnBrk="1" fontAlgn="auto" latinLnBrk="0" hangingPunct="1">
                        <a:lnSpc>
                          <a:spcPct val="100000"/>
                        </a:lnSpc>
                        <a:spcBef>
                          <a:spcPts val="335"/>
                        </a:spcBef>
                        <a:spcAft>
                          <a:spcPts val="0"/>
                        </a:spcAft>
                        <a:buClrTx/>
                        <a:buSzTx/>
                        <a:buFontTx/>
                        <a:buNone/>
                        <a:tabLst/>
                        <a:defRPr/>
                      </a:pPr>
                      <a:r>
                        <a:rPr kumimoji="0" lang="en-US" sz="1400" b="0" i="0" u="none" strike="noStrike" kern="1200" cap="none" spc="0" baseline="0" dirty="0">
                          <a:solidFill>
                            <a:srgbClr val="002557"/>
                          </a:solidFill>
                          <a:effectLst/>
                          <a:latin typeface="+mn-lt"/>
                          <a:ea typeface="+mn-ea"/>
                          <a:cs typeface="+mn-cs"/>
                        </a:rPr>
                        <a:t>0</a:t>
                      </a:r>
                    </a:p>
                  </a:txBody>
                  <a:tcPr marT="18000" marB="18000" anchor="ctr"/>
                </a:tc>
                <a:tc>
                  <a:txBody>
                    <a:bodyPr/>
                    <a:lstStyle/>
                    <a:p>
                      <a:pPr marL="0" marR="0" lvl="0" indent="0" algn="ctr" defTabSz="914400" rtl="0" eaLnBrk="1" fontAlgn="auto" latinLnBrk="0" hangingPunct="1">
                        <a:lnSpc>
                          <a:spcPct val="100000"/>
                        </a:lnSpc>
                        <a:spcBef>
                          <a:spcPts val="335"/>
                        </a:spcBef>
                        <a:spcAft>
                          <a:spcPts val="0"/>
                        </a:spcAft>
                        <a:buClrTx/>
                        <a:buSzTx/>
                        <a:buFontTx/>
                        <a:buNone/>
                        <a:tabLst/>
                        <a:defRPr/>
                      </a:pPr>
                      <a:r>
                        <a:rPr kumimoji="0" lang="en-US" sz="1400" b="0" i="0" u="none" strike="noStrike" kern="1200" cap="none" spc="0" baseline="0" dirty="0">
                          <a:solidFill>
                            <a:srgbClr val="002557"/>
                          </a:solidFill>
                          <a:effectLst/>
                          <a:latin typeface="+mn-lt"/>
                          <a:ea typeface="+mn-ea"/>
                          <a:cs typeface="+mn-cs"/>
                        </a:rPr>
                        <a:t>1 (0.3)</a:t>
                      </a:r>
                    </a:p>
                  </a:txBody>
                  <a:tcPr marT="18000" marB="18000" anchor="ctr"/>
                </a:tc>
                <a:tc>
                  <a:txBody>
                    <a:bodyPr/>
                    <a:lstStyle/>
                    <a:p>
                      <a:pPr marL="0" marR="0" lvl="0" indent="0" algn="ctr" defTabSz="914400" rtl="0" eaLnBrk="1" fontAlgn="auto" latinLnBrk="0" hangingPunct="1">
                        <a:lnSpc>
                          <a:spcPct val="100000"/>
                        </a:lnSpc>
                        <a:spcBef>
                          <a:spcPts val="335"/>
                        </a:spcBef>
                        <a:spcAft>
                          <a:spcPts val="0"/>
                        </a:spcAft>
                        <a:buClrTx/>
                        <a:buSzTx/>
                        <a:buFontTx/>
                        <a:buNone/>
                        <a:tabLst/>
                        <a:defRPr/>
                      </a:pPr>
                      <a:r>
                        <a:rPr kumimoji="0" lang="en-US" sz="1400" b="0" i="0" u="none" strike="noStrike" kern="1200" cap="none" spc="0" baseline="0">
                          <a:solidFill>
                            <a:srgbClr val="002557"/>
                          </a:solidFill>
                          <a:effectLst/>
                          <a:latin typeface="+mn-lt"/>
                          <a:ea typeface="+mn-ea"/>
                          <a:cs typeface="+mn-cs"/>
                        </a:rPr>
                        <a:t>0</a:t>
                      </a:r>
                      <a:endParaRPr kumimoji="0" lang="en-US" sz="1400" b="0" i="0" u="none" strike="noStrike" kern="1200" cap="none" spc="0" baseline="0" dirty="0">
                        <a:solidFill>
                          <a:srgbClr val="002557"/>
                        </a:solidFill>
                        <a:effectLst/>
                        <a:latin typeface="+mn-lt"/>
                        <a:ea typeface="+mn-ea"/>
                        <a:cs typeface="+mn-cs"/>
                      </a:endParaRPr>
                    </a:p>
                  </a:txBody>
                  <a:tcPr marT="18000" marB="18000" anchor="ctr"/>
                </a:tc>
                <a:tc>
                  <a:txBody>
                    <a:bodyPr/>
                    <a:lstStyle/>
                    <a:p>
                      <a:pPr marL="0" marR="0" lvl="0" indent="0" algn="ctr" defTabSz="914400" rtl="0" eaLnBrk="1" fontAlgn="auto" latinLnBrk="0" hangingPunct="1">
                        <a:lnSpc>
                          <a:spcPct val="100000"/>
                        </a:lnSpc>
                        <a:spcBef>
                          <a:spcPts val="335"/>
                        </a:spcBef>
                        <a:spcAft>
                          <a:spcPts val="0"/>
                        </a:spcAft>
                        <a:buClrTx/>
                        <a:buSzTx/>
                        <a:buFontTx/>
                        <a:buNone/>
                        <a:tabLst/>
                        <a:defRPr/>
                      </a:pPr>
                      <a:r>
                        <a:rPr kumimoji="0" lang="en-US" sz="1400" b="0" i="0" u="none" strike="noStrike" kern="1200" cap="none" spc="0" baseline="0" dirty="0">
                          <a:solidFill>
                            <a:srgbClr val="002557"/>
                          </a:solidFill>
                          <a:effectLst/>
                          <a:latin typeface="+mn-lt"/>
                          <a:ea typeface="+mn-ea"/>
                          <a:cs typeface="+mn-cs"/>
                        </a:rPr>
                        <a:t>19 (4.9)</a:t>
                      </a:r>
                    </a:p>
                  </a:txBody>
                  <a:tcPr marT="18000" marB="18000" anchor="ctr"/>
                </a:tc>
                <a:tc>
                  <a:txBody>
                    <a:bodyPr/>
                    <a:lstStyle/>
                    <a:p>
                      <a:pPr marL="0" marR="0" lvl="0" indent="0" algn="ctr" defTabSz="914400" rtl="0" eaLnBrk="1" fontAlgn="auto" latinLnBrk="0" hangingPunct="1">
                        <a:lnSpc>
                          <a:spcPct val="100000"/>
                        </a:lnSpc>
                        <a:spcBef>
                          <a:spcPts val="335"/>
                        </a:spcBef>
                        <a:spcAft>
                          <a:spcPts val="0"/>
                        </a:spcAft>
                        <a:buClrTx/>
                        <a:buSzTx/>
                        <a:buFontTx/>
                        <a:buNone/>
                        <a:tabLst/>
                        <a:defRPr/>
                      </a:pPr>
                      <a:r>
                        <a:rPr kumimoji="0" lang="en-US" sz="1400" b="0" i="0" u="none" strike="noStrike" kern="1200" cap="none" spc="0" baseline="0" dirty="0">
                          <a:solidFill>
                            <a:srgbClr val="002557"/>
                          </a:solidFill>
                          <a:effectLst/>
                          <a:latin typeface="+mn-lt"/>
                          <a:ea typeface="+mn-ea"/>
                          <a:cs typeface="+mn-cs"/>
                        </a:rPr>
                        <a:t>0</a:t>
                      </a:r>
                    </a:p>
                  </a:txBody>
                  <a:tcPr marT="18000" marB="18000" anchor="ctr"/>
                </a:tc>
                <a:tc>
                  <a:txBody>
                    <a:bodyPr/>
                    <a:lstStyle/>
                    <a:p>
                      <a:pPr marL="0" marR="0" lvl="0" indent="0" algn="ctr" defTabSz="914400" rtl="0" eaLnBrk="1" fontAlgn="auto" latinLnBrk="0" hangingPunct="1">
                        <a:lnSpc>
                          <a:spcPct val="100000"/>
                        </a:lnSpc>
                        <a:spcBef>
                          <a:spcPts val="335"/>
                        </a:spcBef>
                        <a:spcAft>
                          <a:spcPts val="0"/>
                        </a:spcAft>
                        <a:buClrTx/>
                        <a:buSzTx/>
                        <a:buFontTx/>
                        <a:buNone/>
                        <a:tabLst/>
                        <a:defRPr/>
                      </a:pPr>
                      <a:r>
                        <a:rPr kumimoji="0" lang="en-US" sz="1400" b="0" i="0" u="none" strike="noStrike" kern="1200" cap="none" spc="0" baseline="0" dirty="0">
                          <a:solidFill>
                            <a:srgbClr val="002557"/>
                          </a:solidFill>
                          <a:effectLst/>
                          <a:latin typeface="+mn-lt"/>
                          <a:ea typeface="+mn-ea"/>
                          <a:cs typeface="+mn-cs"/>
                        </a:rPr>
                        <a:t>0</a:t>
                      </a:r>
                    </a:p>
                  </a:txBody>
                  <a:tcPr marT="18000" marB="18000" anchor="ctr"/>
                </a:tc>
                <a:tc>
                  <a:txBody>
                    <a:bodyPr/>
                    <a:lstStyle/>
                    <a:p>
                      <a:pPr marL="0" marR="0" lvl="0" indent="0" algn="ctr" defTabSz="914400" rtl="0" eaLnBrk="1" fontAlgn="auto" latinLnBrk="0" hangingPunct="1">
                        <a:lnSpc>
                          <a:spcPct val="100000"/>
                        </a:lnSpc>
                        <a:spcBef>
                          <a:spcPts val="335"/>
                        </a:spcBef>
                        <a:spcAft>
                          <a:spcPts val="0"/>
                        </a:spcAft>
                        <a:buClrTx/>
                        <a:buSzTx/>
                        <a:buFontTx/>
                        <a:buNone/>
                        <a:tabLst/>
                        <a:defRPr/>
                      </a:pPr>
                      <a:r>
                        <a:rPr kumimoji="0" lang="en-US" sz="1400" b="0" i="0" u="none" strike="noStrike" kern="1200" cap="none" spc="0" baseline="0">
                          <a:solidFill>
                            <a:srgbClr val="002557"/>
                          </a:solidFill>
                          <a:effectLst/>
                          <a:latin typeface="+mn-lt"/>
                          <a:ea typeface="+mn-ea"/>
                          <a:cs typeface="+mn-cs"/>
                        </a:rPr>
                        <a:t>0</a:t>
                      </a:r>
                      <a:endParaRPr kumimoji="0" lang="en-US" sz="1400" b="0" i="0" u="none" strike="noStrike" kern="1200" cap="none" spc="0" baseline="0" dirty="0">
                        <a:solidFill>
                          <a:srgbClr val="002557"/>
                        </a:solidFill>
                        <a:effectLst/>
                        <a:latin typeface="+mn-lt"/>
                        <a:ea typeface="+mn-ea"/>
                        <a:cs typeface="+mn-cs"/>
                      </a:endParaRPr>
                    </a:p>
                  </a:txBody>
                  <a:tcPr marT="18000" marB="18000" anchor="ctr"/>
                </a:tc>
                <a:extLst>
                  <a:ext uri="{0D108BD9-81ED-4DB2-BD59-A6C34878D82A}">
                    <a16:rowId xmlns:a16="http://schemas.microsoft.com/office/drawing/2014/main" val="774212458"/>
                  </a:ext>
                </a:extLst>
              </a:tr>
              <a:tr h="298335">
                <a:tc>
                  <a:txBody>
                    <a:bodyPr/>
                    <a:lstStyle/>
                    <a:p>
                      <a:pPr marL="0" marR="0" lvl="0" indent="0" algn="l" defTabSz="914400" rtl="0" eaLnBrk="1" fontAlgn="auto" latinLnBrk="0" hangingPunct="1">
                        <a:lnSpc>
                          <a:spcPct val="100000"/>
                        </a:lnSpc>
                        <a:spcBef>
                          <a:spcPts val="0"/>
                        </a:spcBef>
                        <a:spcAft>
                          <a:spcPts val="0"/>
                        </a:spcAft>
                        <a:buFontTx/>
                        <a:buNone/>
                      </a:pPr>
                      <a:r>
                        <a:rPr kumimoji="0" lang="en-US" sz="1400" b="0" u="none" strike="noStrike" kern="1200" cap="none" spc="0" baseline="0" dirty="0">
                          <a:solidFill>
                            <a:srgbClr val="002557"/>
                          </a:solidFill>
                          <a:effectLst/>
                        </a:rPr>
                        <a:t>Pneumonitis</a:t>
                      </a:r>
                      <a:endParaRPr kumimoji="0" lang="en-US" sz="1400" b="0" i="0" u="none" strike="noStrike" kern="1200" cap="none" spc="0" baseline="0" dirty="0">
                        <a:solidFill>
                          <a:srgbClr val="002557"/>
                        </a:solidFill>
                        <a:effectLst/>
                        <a:latin typeface="+mn-lt"/>
                        <a:ea typeface="+mn-ea"/>
                        <a:cs typeface="+mn-cs"/>
                      </a:endParaRPr>
                    </a:p>
                  </a:txBody>
                  <a:tcPr marT="18000" marB="18000" anchor="ctr"/>
                </a:tc>
                <a:tc>
                  <a:txBody>
                    <a:bodyPr/>
                    <a:lstStyle/>
                    <a:p>
                      <a:pPr marL="0" marR="0" lvl="0" indent="0" algn="ctr" defTabSz="914400" rtl="0" eaLnBrk="1" fontAlgn="auto" latinLnBrk="0" hangingPunct="1">
                        <a:lnSpc>
                          <a:spcPct val="100000"/>
                        </a:lnSpc>
                        <a:spcBef>
                          <a:spcPts val="0"/>
                        </a:spcBef>
                        <a:spcAft>
                          <a:spcPts val="0"/>
                        </a:spcAft>
                        <a:buFontTx/>
                        <a:buNone/>
                      </a:pPr>
                      <a:r>
                        <a:rPr kumimoji="0" lang="en-US" sz="1400" b="0" i="0" u="none" strike="noStrike" kern="1200" cap="none" spc="0" baseline="0" dirty="0">
                          <a:solidFill>
                            <a:srgbClr val="002557"/>
                          </a:solidFill>
                          <a:effectLst/>
                          <a:latin typeface="+mn-lt"/>
                          <a:ea typeface="+mn-ea"/>
                          <a:cs typeface="+mn-cs"/>
                        </a:rPr>
                        <a:t>5 (1.3)</a:t>
                      </a:r>
                    </a:p>
                  </a:txBody>
                  <a:tcPr marT="18000" marB="18000" anchor="ctr"/>
                </a:tc>
                <a:tc>
                  <a:txBody>
                    <a:bodyPr/>
                    <a:lstStyle/>
                    <a:p>
                      <a:pPr marL="0" marR="0" lvl="0" indent="0" algn="ctr" defTabSz="914400" rtl="0" eaLnBrk="1" fontAlgn="auto" latinLnBrk="0" hangingPunct="1">
                        <a:lnSpc>
                          <a:spcPct val="100000"/>
                        </a:lnSpc>
                        <a:spcBef>
                          <a:spcPts val="335"/>
                        </a:spcBef>
                        <a:spcAft>
                          <a:spcPts val="0"/>
                        </a:spcAft>
                        <a:buClrTx/>
                        <a:buSzTx/>
                        <a:buFontTx/>
                        <a:buNone/>
                        <a:tabLst/>
                        <a:defRPr/>
                      </a:pPr>
                      <a:r>
                        <a:rPr kumimoji="0" lang="en-US" sz="1400" b="0" i="0" u="none" strike="noStrike" kern="1200" cap="none" spc="0" baseline="0" dirty="0">
                          <a:solidFill>
                            <a:srgbClr val="002557"/>
                          </a:solidFill>
                          <a:effectLst/>
                          <a:latin typeface="+mn-lt"/>
                          <a:ea typeface="+mn-ea"/>
                          <a:cs typeface="+mn-cs"/>
                        </a:rPr>
                        <a:t>0</a:t>
                      </a:r>
                    </a:p>
                  </a:txBody>
                  <a:tcPr marT="18000" marB="18000" anchor="ctr"/>
                </a:tc>
                <a:tc>
                  <a:txBody>
                    <a:bodyPr/>
                    <a:lstStyle/>
                    <a:p>
                      <a:pPr marL="0" marR="0" lvl="0" indent="0" algn="ctr" defTabSz="914400" rtl="0" eaLnBrk="1" fontAlgn="auto" latinLnBrk="0" hangingPunct="1">
                        <a:lnSpc>
                          <a:spcPct val="100000"/>
                        </a:lnSpc>
                        <a:spcBef>
                          <a:spcPts val="335"/>
                        </a:spcBef>
                        <a:spcAft>
                          <a:spcPts val="0"/>
                        </a:spcAft>
                        <a:buClrTx/>
                        <a:buSzTx/>
                        <a:buFontTx/>
                        <a:buNone/>
                        <a:tabLst/>
                        <a:defRPr/>
                      </a:pPr>
                      <a:r>
                        <a:rPr kumimoji="0" lang="en-US" sz="1400" b="0" i="0" u="none" strike="noStrike" kern="1200" cap="none" spc="0" baseline="0" dirty="0">
                          <a:solidFill>
                            <a:srgbClr val="002557"/>
                          </a:solidFill>
                          <a:effectLst/>
                          <a:latin typeface="+mn-lt"/>
                          <a:ea typeface="+mn-ea"/>
                          <a:cs typeface="+mn-cs"/>
                        </a:rPr>
                        <a:t>4 (1.0)</a:t>
                      </a:r>
                    </a:p>
                  </a:txBody>
                  <a:tcPr marT="18000" marB="18000" anchor="ctr"/>
                </a:tc>
                <a:tc>
                  <a:txBody>
                    <a:bodyPr/>
                    <a:lstStyle/>
                    <a:p>
                      <a:pPr marL="0" marR="0" lvl="0" indent="0" algn="ctr" defTabSz="914400" rtl="0" eaLnBrk="1" fontAlgn="auto" latinLnBrk="0" hangingPunct="1">
                        <a:lnSpc>
                          <a:spcPct val="100000"/>
                        </a:lnSpc>
                        <a:spcBef>
                          <a:spcPts val="335"/>
                        </a:spcBef>
                        <a:spcAft>
                          <a:spcPts val="0"/>
                        </a:spcAft>
                        <a:buClrTx/>
                        <a:buSzTx/>
                        <a:buFontTx/>
                        <a:buNone/>
                        <a:tabLst/>
                        <a:defRPr/>
                      </a:pPr>
                      <a:r>
                        <a:rPr kumimoji="0" lang="en-US" sz="1400" b="0" i="0" u="none" strike="noStrike" kern="1200" cap="none" spc="0" baseline="0" dirty="0">
                          <a:solidFill>
                            <a:srgbClr val="002557"/>
                          </a:solidFill>
                          <a:effectLst/>
                          <a:latin typeface="+mn-lt"/>
                          <a:ea typeface="+mn-ea"/>
                          <a:cs typeface="+mn-cs"/>
                        </a:rPr>
                        <a:t>1 (0.3)</a:t>
                      </a:r>
                    </a:p>
                  </a:txBody>
                  <a:tcPr marT="18000" marB="18000" anchor="ctr"/>
                </a:tc>
                <a:tc>
                  <a:txBody>
                    <a:bodyPr/>
                    <a:lstStyle/>
                    <a:p>
                      <a:pPr marL="0" marR="0" lvl="0" indent="0" algn="ctr" defTabSz="914400" rtl="0" eaLnBrk="1" fontAlgn="auto" latinLnBrk="0" hangingPunct="1">
                        <a:lnSpc>
                          <a:spcPct val="100000"/>
                        </a:lnSpc>
                        <a:spcBef>
                          <a:spcPts val="335"/>
                        </a:spcBef>
                        <a:spcAft>
                          <a:spcPts val="0"/>
                        </a:spcAft>
                        <a:buClrTx/>
                        <a:buSzTx/>
                        <a:buFontTx/>
                        <a:buNone/>
                        <a:tabLst/>
                        <a:defRPr/>
                      </a:pPr>
                      <a:r>
                        <a:rPr kumimoji="0" lang="en-US" sz="1400" b="0" i="0" u="none" strike="noStrike" kern="1200" cap="none" spc="0" baseline="0" dirty="0">
                          <a:solidFill>
                            <a:srgbClr val="002557"/>
                          </a:solidFill>
                          <a:effectLst/>
                          <a:latin typeface="+mn-lt"/>
                          <a:ea typeface="+mn-ea"/>
                          <a:cs typeface="+mn-cs"/>
                        </a:rPr>
                        <a:t>3 (0.8)</a:t>
                      </a:r>
                    </a:p>
                  </a:txBody>
                  <a:tcPr marT="18000" marB="18000" anchor="ctr"/>
                </a:tc>
                <a:tc>
                  <a:txBody>
                    <a:bodyPr/>
                    <a:lstStyle/>
                    <a:p>
                      <a:pPr marL="0" marR="0" lvl="0" indent="0" algn="ctr" defTabSz="914400" rtl="0" eaLnBrk="1" fontAlgn="auto" latinLnBrk="0" hangingPunct="1">
                        <a:lnSpc>
                          <a:spcPct val="100000"/>
                        </a:lnSpc>
                        <a:spcBef>
                          <a:spcPts val="335"/>
                        </a:spcBef>
                        <a:spcAft>
                          <a:spcPts val="0"/>
                        </a:spcAft>
                        <a:buClrTx/>
                        <a:buSzTx/>
                        <a:buFontTx/>
                        <a:buNone/>
                        <a:tabLst/>
                        <a:defRPr/>
                      </a:pPr>
                      <a:r>
                        <a:rPr kumimoji="0" lang="en-US" sz="1400" b="0" i="0" u="none" strike="noStrike" kern="1200" cap="none" spc="0" baseline="0" dirty="0">
                          <a:solidFill>
                            <a:srgbClr val="002557"/>
                          </a:solidFill>
                          <a:effectLst/>
                          <a:latin typeface="+mn-lt"/>
                          <a:ea typeface="+mn-ea"/>
                          <a:cs typeface="+mn-cs"/>
                        </a:rPr>
                        <a:t>1 (0.3)</a:t>
                      </a:r>
                    </a:p>
                  </a:txBody>
                  <a:tcPr marT="18000" marB="18000" anchor="ctr"/>
                </a:tc>
                <a:tc>
                  <a:txBody>
                    <a:bodyPr/>
                    <a:lstStyle/>
                    <a:p>
                      <a:pPr marL="0" marR="0" lvl="0" indent="0" algn="ctr" defTabSz="914400" rtl="0" eaLnBrk="1" fontAlgn="auto" latinLnBrk="0" hangingPunct="1">
                        <a:lnSpc>
                          <a:spcPct val="100000"/>
                        </a:lnSpc>
                        <a:spcBef>
                          <a:spcPts val="335"/>
                        </a:spcBef>
                        <a:spcAft>
                          <a:spcPts val="0"/>
                        </a:spcAft>
                        <a:buClrTx/>
                        <a:buSzTx/>
                        <a:buFontTx/>
                        <a:buNone/>
                        <a:tabLst/>
                        <a:defRPr/>
                      </a:pPr>
                      <a:r>
                        <a:rPr kumimoji="0" lang="en-US" sz="1400" b="0" i="0" u="none" strike="noStrike" kern="1200" cap="none" spc="0" baseline="0" dirty="0">
                          <a:solidFill>
                            <a:srgbClr val="002557"/>
                          </a:solidFill>
                          <a:effectLst/>
                          <a:latin typeface="+mn-lt"/>
                          <a:ea typeface="+mn-ea"/>
                          <a:cs typeface="+mn-cs"/>
                        </a:rPr>
                        <a:t>3 (0.8)</a:t>
                      </a:r>
                    </a:p>
                  </a:txBody>
                  <a:tcPr marT="18000" marB="18000" anchor="ctr"/>
                </a:tc>
                <a:tc>
                  <a:txBody>
                    <a:bodyPr/>
                    <a:lstStyle/>
                    <a:p>
                      <a:pPr marL="0" marR="0" lvl="0" indent="0" algn="ctr" defTabSz="914400" rtl="0" eaLnBrk="1" fontAlgn="auto" latinLnBrk="0" hangingPunct="1">
                        <a:lnSpc>
                          <a:spcPct val="100000"/>
                        </a:lnSpc>
                        <a:spcBef>
                          <a:spcPts val="335"/>
                        </a:spcBef>
                        <a:spcAft>
                          <a:spcPts val="0"/>
                        </a:spcAft>
                        <a:buClrTx/>
                        <a:buSzTx/>
                        <a:buFontTx/>
                        <a:buNone/>
                        <a:tabLst/>
                        <a:defRPr/>
                      </a:pPr>
                      <a:r>
                        <a:rPr kumimoji="0" lang="en-US" sz="1400" b="0" i="0" u="none" strike="noStrike" kern="1200" cap="none" spc="0" baseline="0" dirty="0">
                          <a:solidFill>
                            <a:srgbClr val="002557"/>
                          </a:solidFill>
                          <a:effectLst/>
                          <a:latin typeface="+mn-lt"/>
                          <a:ea typeface="+mn-ea"/>
                          <a:cs typeface="+mn-cs"/>
                        </a:rPr>
                        <a:t>2 (0.5)</a:t>
                      </a:r>
                    </a:p>
                  </a:txBody>
                  <a:tcPr marT="18000" marB="18000" anchor="ctr"/>
                </a:tc>
                <a:extLst>
                  <a:ext uri="{0D108BD9-81ED-4DB2-BD59-A6C34878D82A}">
                    <a16:rowId xmlns:a16="http://schemas.microsoft.com/office/drawing/2014/main" val="1230984545"/>
                  </a:ext>
                </a:extLst>
              </a:tr>
              <a:tr h="298335">
                <a:tc>
                  <a:txBody>
                    <a:bodyPr/>
                    <a:lstStyle/>
                    <a:p>
                      <a:pPr marL="0" marR="0" lvl="0" indent="0" algn="l" defTabSz="914400" rtl="0" eaLnBrk="1" fontAlgn="b" latinLnBrk="0" hangingPunct="1">
                        <a:lnSpc>
                          <a:spcPct val="100000"/>
                        </a:lnSpc>
                        <a:spcBef>
                          <a:spcPts val="0"/>
                        </a:spcBef>
                        <a:spcAft>
                          <a:spcPts val="0"/>
                        </a:spcAft>
                        <a:buFontTx/>
                        <a:buNone/>
                      </a:pPr>
                      <a:r>
                        <a:rPr kumimoji="0" lang="en-US" sz="1400" b="0" i="0" u="none" strike="noStrike" kern="1200" cap="none" spc="0" baseline="0" dirty="0">
                          <a:solidFill>
                            <a:srgbClr val="002557"/>
                          </a:solidFill>
                          <a:effectLst/>
                          <a:latin typeface="+mn-lt"/>
                          <a:ea typeface="+mn-ea"/>
                          <a:cs typeface="+mn-cs"/>
                        </a:rPr>
                        <a:t>Renal events</a:t>
                      </a:r>
                    </a:p>
                  </a:txBody>
                  <a:tcPr marT="18000" marB="18000" anchor="ctr"/>
                </a:tc>
                <a:tc>
                  <a:txBody>
                    <a:bodyPr/>
                    <a:lstStyle/>
                    <a:p>
                      <a:pPr marL="0" marR="0" lvl="0" indent="0" algn="ctr" defTabSz="914400" rtl="0" eaLnBrk="1" fontAlgn="b" latinLnBrk="0" hangingPunct="1">
                        <a:lnSpc>
                          <a:spcPct val="100000"/>
                        </a:lnSpc>
                        <a:spcBef>
                          <a:spcPts val="0"/>
                        </a:spcBef>
                        <a:spcAft>
                          <a:spcPts val="0"/>
                        </a:spcAft>
                        <a:buFontTx/>
                        <a:buNone/>
                      </a:pPr>
                      <a:r>
                        <a:rPr kumimoji="0" lang="en-US" sz="1400" b="0" i="0" u="none" strike="noStrike" kern="1200" cap="none" spc="0" baseline="0">
                          <a:solidFill>
                            <a:srgbClr val="002557"/>
                          </a:solidFill>
                          <a:effectLst/>
                          <a:latin typeface="+mn-lt"/>
                          <a:ea typeface="+mn-ea"/>
                          <a:cs typeface="+mn-cs"/>
                        </a:rPr>
                        <a:t>4 (1.0)</a:t>
                      </a:r>
                      <a:endParaRPr kumimoji="0" lang="en-US" sz="1400" b="0" i="0" u="none" strike="noStrike" kern="1200" cap="none" spc="0" baseline="0" dirty="0">
                        <a:solidFill>
                          <a:srgbClr val="002557"/>
                        </a:solidFill>
                        <a:effectLst/>
                        <a:latin typeface="+mn-lt"/>
                        <a:ea typeface="+mn-ea"/>
                        <a:cs typeface="+mn-cs"/>
                      </a:endParaRPr>
                    </a:p>
                  </a:txBody>
                  <a:tcPr marT="18000" marB="18000" anchor="ctr"/>
                </a:tc>
                <a:tc>
                  <a:txBody>
                    <a:bodyPr/>
                    <a:lstStyle/>
                    <a:p>
                      <a:pPr marL="0" marR="0" lvl="0" indent="0" algn="ctr" defTabSz="914400" rtl="0" eaLnBrk="1" fontAlgn="auto" latinLnBrk="0" hangingPunct="1">
                        <a:lnSpc>
                          <a:spcPct val="100000"/>
                        </a:lnSpc>
                        <a:spcBef>
                          <a:spcPts val="335"/>
                        </a:spcBef>
                        <a:spcAft>
                          <a:spcPts val="0"/>
                        </a:spcAft>
                        <a:buClrTx/>
                        <a:buSzTx/>
                        <a:buFontTx/>
                        <a:buNone/>
                        <a:tabLst/>
                        <a:defRPr/>
                      </a:pPr>
                      <a:r>
                        <a:rPr kumimoji="0" lang="en-US" sz="1400" b="0" i="0" u="none" strike="noStrike" kern="1200" cap="none" spc="0" baseline="0" dirty="0">
                          <a:solidFill>
                            <a:srgbClr val="002557"/>
                          </a:solidFill>
                          <a:effectLst/>
                          <a:latin typeface="+mn-lt"/>
                          <a:ea typeface="+mn-ea"/>
                          <a:cs typeface="+mn-cs"/>
                        </a:rPr>
                        <a:t>2 (0.5)</a:t>
                      </a:r>
                    </a:p>
                  </a:txBody>
                  <a:tcPr marT="18000" marB="18000" anchor="ctr"/>
                </a:tc>
                <a:tc>
                  <a:txBody>
                    <a:bodyPr/>
                    <a:lstStyle/>
                    <a:p>
                      <a:pPr marL="0" marR="0" lvl="0" indent="0" algn="ctr" defTabSz="914400" rtl="0" eaLnBrk="1" fontAlgn="auto" latinLnBrk="0" hangingPunct="1">
                        <a:lnSpc>
                          <a:spcPct val="100000"/>
                        </a:lnSpc>
                        <a:spcBef>
                          <a:spcPts val="335"/>
                        </a:spcBef>
                        <a:spcAft>
                          <a:spcPts val="0"/>
                        </a:spcAft>
                        <a:buClrTx/>
                        <a:buSzTx/>
                        <a:buFontTx/>
                        <a:buNone/>
                        <a:tabLst/>
                        <a:defRPr/>
                      </a:pPr>
                      <a:r>
                        <a:rPr kumimoji="0" lang="en-US" sz="1400" b="0" i="0" u="none" strike="noStrike" kern="1200" cap="none" spc="0" baseline="0" dirty="0">
                          <a:solidFill>
                            <a:srgbClr val="002557"/>
                          </a:solidFill>
                          <a:effectLst/>
                          <a:latin typeface="+mn-lt"/>
                          <a:ea typeface="+mn-ea"/>
                          <a:cs typeface="+mn-cs"/>
                        </a:rPr>
                        <a:t>3 (0.8)</a:t>
                      </a:r>
                    </a:p>
                  </a:txBody>
                  <a:tcPr marT="18000" marB="18000" anchor="ctr"/>
                </a:tc>
                <a:tc>
                  <a:txBody>
                    <a:bodyPr/>
                    <a:lstStyle/>
                    <a:p>
                      <a:pPr marL="0" marR="0" lvl="0" indent="0" algn="ctr" defTabSz="914400" rtl="0" eaLnBrk="1" fontAlgn="auto" latinLnBrk="0" hangingPunct="1">
                        <a:lnSpc>
                          <a:spcPct val="100000"/>
                        </a:lnSpc>
                        <a:spcBef>
                          <a:spcPts val="335"/>
                        </a:spcBef>
                        <a:spcAft>
                          <a:spcPts val="0"/>
                        </a:spcAft>
                        <a:buClrTx/>
                        <a:buSzTx/>
                        <a:buFontTx/>
                        <a:buNone/>
                        <a:tabLst/>
                        <a:defRPr/>
                      </a:pPr>
                      <a:r>
                        <a:rPr kumimoji="0" lang="en-US" sz="1400" b="0" i="0" u="none" strike="noStrike" kern="1200" cap="none" spc="0" baseline="0">
                          <a:solidFill>
                            <a:srgbClr val="002557"/>
                          </a:solidFill>
                          <a:effectLst/>
                          <a:latin typeface="+mn-lt"/>
                          <a:ea typeface="+mn-ea"/>
                          <a:cs typeface="+mn-cs"/>
                        </a:rPr>
                        <a:t>2 (0.5)</a:t>
                      </a:r>
                      <a:endParaRPr kumimoji="0" lang="en-US" sz="1400" b="0" i="0" u="none" strike="noStrike" kern="1200" cap="none" spc="0" baseline="0" dirty="0">
                        <a:solidFill>
                          <a:srgbClr val="002557"/>
                        </a:solidFill>
                        <a:effectLst/>
                        <a:latin typeface="+mn-lt"/>
                        <a:ea typeface="+mn-ea"/>
                        <a:cs typeface="+mn-cs"/>
                      </a:endParaRPr>
                    </a:p>
                  </a:txBody>
                  <a:tcPr marT="18000" marB="18000" anchor="ctr"/>
                </a:tc>
                <a:tc>
                  <a:txBody>
                    <a:bodyPr/>
                    <a:lstStyle/>
                    <a:p>
                      <a:pPr marL="0" marR="0" lvl="0" indent="0" algn="ctr" defTabSz="914400" rtl="0" eaLnBrk="1" fontAlgn="auto" latinLnBrk="0" hangingPunct="1">
                        <a:lnSpc>
                          <a:spcPct val="100000"/>
                        </a:lnSpc>
                        <a:spcBef>
                          <a:spcPts val="335"/>
                        </a:spcBef>
                        <a:spcAft>
                          <a:spcPts val="0"/>
                        </a:spcAft>
                        <a:buClrTx/>
                        <a:buSzTx/>
                        <a:buFontTx/>
                        <a:buNone/>
                        <a:tabLst/>
                        <a:defRPr/>
                      </a:pPr>
                      <a:r>
                        <a:rPr kumimoji="0" lang="en-US" sz="1400" b="0" i="0" u="none" strike="noStrike" kern="1200" cap="none" spc="0" baseline="0" dirty="0">
                          <a:solidFill>
                            <a:srgbClr val="002557"/>
                          </a:solidFill>
                          <a:effectLst/>
                          <a:latin typeface="+mn-lt"/>
                          <a:ea typeface="+mn-ea"/>
                          <a:cs typeface="+mn-cs"/>
                        </a:rPr>
                        <a:t>0</a:t>
                      </a:r>
                    </a:p>
                  </a:txBody>
                  <a:tcPr marT="18000" marB="18000" anchor="ctr"/>
                </a:tc>
                <a:tc>
                  <a:txBody>
                    <a:bodyPr/>
                    <a:lstStyle/>
                    <a:p>
                      <a:pPr marL="0" marR="0" lvl="0" indent="0" algn="ctr" defTabSz="914400" rtl="0" eaLnBrk="1" fontAlgn="auto" latinLnBrk="0" hangingPunct="1">
                        <a:lnSpc>
                          <a:spcPct val="100000"/>
                        </a:lnSpc>
                        <a:spcBef>
                          <a:spcPts val="335"/>
                        </a:spcBef>
                        <a:spcAft>
                          <a:spcPts val="0"/>
                        </a:spcAft>
                        <a:buClrTx/>
                        <a:buSzTx/>
                        <a:buFontTx/>
                        <a:buNone/>
                        <a:tabLst/>
                        <a:defRPr/>
                      </a:pPr>
                      <a:r>
                        <a:rPr kumimoji="0" lang="en-US" sz="1400" b="0" i="0" u="none" strike="noStrike" kern="1200" cap="none" spc="0" baseline="0" dirty="0">
                          <a:solidFill>
                            <a:srgbClr val="002557"/>
                          </a:solidFill>
                          <a:effectLst/>
                          <a:latin typeface="+mn-lt"/>
                          <a:ea typeface="+mn-ea"/>
                          <a:cs typeface="+mn-cs"/>
                        </a:rPr>
                        <a:t>0</a:t>
                      </a:r>
                    </a:p>
                  </a:txBody>
                  <a:tcPr marT="18000" marB="18000" anchor="ctr"/>
                </a:tc>
                <a:tc>
                  <a:txBody>
                    <a:bodyPr/>
                    <a:lstStyle/>
                    <a:p>
                      <a:pPr marL="0" marR="0" lvl="0" indent="0" algn="ctr" defTabSz="914400" rtl="0" eaLnBrk="1" fontAlgn="auto" latinLnBrk="0" hangingPunct="1">
                        <a:lnSpc>
                          <a:spcPct val="100000"/>
                        </a:lnSpc>
                        <a:spcBef>
                          <a:spcPts val="335"/>
                        </a:spcBef>
                        <a:spcAft>
                          <a:spcPts val="0"/>
                        </a:spcAft>
                        <a:buClrTx/>
                        <a:buSzTx/>
                        <a:buFontTx/>
                        <a:buNone/>
                        <a:tabLst/>
                        <a:defRPr/>
                      </a:pPr>
                      <a:r>
                        <a:rPr kumimoji="0" lang="en-US" sz="1400" b="0" i="0" u="none" strike="noStrike" kern="1200" cap="none" spc="0" baseline="0" dirty="0">
                          <a:solidFill>
                            <a:srgbClr val="002557"/>
                          </a:solidFill>
                          <a:effectLst/>
                          <a:latin typeface="+mn-lt"/>
                          <a:ea typeface="+mn-ea"/>
                          <a:cs typeface="+mn-cs"/>
                        </a:rPr>
                        <a:t>0</a:t>
                      </a:r>
                    </a:p>
                  </a:txBody>
                  <a:tcPr marT="18000" marB="18000" anchor="ctr"/>
                </a:tc>
                <a:tc>
                  <a:txBody>
                    <a:bodyPr/>
                    <a:lstStyle/>
                    <a:p>
                      <a:pPr marL="0" marR="0" lvl="0" indent="0" algn="ctr" defTabSz="914400" rtl="0" eaLnBrk="1" fontAlgn="auto" latinLnBrk="0" hangingPunct="1">
                        <a:lnSpc>
                          <a:spcPct val="100000"/>
                        </a:lnSpc>
                        <a:spcBef>
                          <a:spcPts val="335"/>
                        </a:spcBef>
                        <a:spcAft>
                          <a:spcPts val="0"/>
                        </a:spcAft>
                        <a:buClrTx/>
                        <a:buSzTx/>
                        <a:buFontTx/>
                        <a:buNone/>
                        <a:tabLst/>
                        <a:defRPr/>
                      </a:pPr>
                      <a:r>
                        <a:rPr kumimoji="0" lang="en-US" sz="1400" b="0" i="0" u="none" strike="noStrike" kern="1200" cap="none" spc="0" baseline="0" dirty="0">
                          <a:solidFill>
                            <a:srgbClr val="002557"/>
                          </a:solidFill>
                          <a:effectLst/>
                          <a:latin typeface="+mn-lt"/>
                          <a:ea typeface="+mn-ea"/>
                          <a:cs typeface="+mn-cs"/>
                        </a:rPr>
                        <a:t>0</a:t>
                      </a:r>
                    </a:p>
                  </a:txBody>
                  <a:tcPr marT="18000" marB="18000" anchor="ctr"/>
                </a:tc>
                <a:extLst>
                  <a:ext uri="{0D108BD9-81ED-4DB2-BD59-A6C34878D82A}">
                    <a16:rowId xmlns:a16="http://schemas.microsoft.com/office/drawing/2014/main" val="2017243361"/>
                  </a:ext>
                </a:extLst>
              </a:tr>
            </a:tbl>
          </a:graphicData>
        </a:graphic>
      </p:graphicFrame>
    </p:spTree>
    <p:extLst>
      <p:ext uri="{BB962C8B-B14F-4D97-AF65-F5344CB8AC3E}">
        <p14:creationId xmlns:p14="http://schemas.microsoft.com/office/powerpoint/2010/main" val="325559907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26E156-CBD5-4466-A1F4-9F4EA54C4412}"/>
              </a:ext>
            </a:extLst>
          </p:cNvPr>
          <p:cNvSpPr txBox="1">
            <a:spLocks/>
          </p:cNvSpPr>
          <p:nvPr/>
        </p:nvSpPr>
        <p:spPr>
          <a:xfrm>
            <a:off x="640080" y="365124"/>
            <a:ext cx="10972800" cy="636723"/>
          </a:xfrm>
          <a:prstGeom prst="rect">
            <a:avLst/>
          </a:prstGeom>
        </p:spPr>
        <p:txBody>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lang="en-US" sz="3300" b="1" i="0" u="none" strike="noStrike" kern="1200" cap="none" spc="0" normalizeH="0" baseline="0" noProof="0" dirty="0">
                <a:ln>
                  <a:noFill/>
                </a:ln>
                <a:solidFill>
                  <a:prstClr val="black"/>
                </a:solidFill>
                <a:effectLst/>
                <a:uLnTx/>
                <a:uFillTx/>
                <a:latin typeface="Calibri Light" panose="020F0302020204030204"/>
                <a:ea typeface="+mj-ea"/>
                <a:cs typeface="+mj-cs"/>
              </a:rPr>
              <a:t>Tislelizumab</a:t>
            </a:r>
          </a:p>
        </p:txBody>
      </p:sp>
      <p:sp>
        <p:nvSpPr>
          <p:cNvPr id="4" name="Content Placeholder 3">
            <a:extLst>
              <a:ext uri="{FF2B5EF4-FFF2-40B4-BE49-F238E27FC236}">
                <a16:creationId xmlns:a16="http://schemas.microsoft.com/office/drawing/2014/main" id="{71B89EAD-E072-435F-8890-E25834F7FF61}"/>
              </a:ext>
            </a:extLst>
          </p:cNvPr>
          <p:cNvSpPr txBox="1">
            <a:spLocks/>
          </p:cNvSpPr>
          <p:nvPr/>
        </p:nvSpPr>
        <p:spPr>
          <a:xfrm>
            <a:off x="649311" y="4572000"/>
            <a:ext cx="10972800" cy="1661159"/>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71450" marR="0" lvl="0" indent="-171450"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GB" sz="2100" b="0" i="0" u="none" strike="noStrike" kern="1200" cap="none" spc="0" normalizeH="0" baseline="0" noProof="0" dirty="0" err="1">
                <a:ln>
                  <a:noFill/>
                </a:ln>
                <a:solidFill>
                  <a:prstClr val="black"/>
                </a:solidFill>
                <a:effectLst/>
                <a:uLnTx/>
                <a:uFillTx/>
                <a:latin typeface="Calibri" panose="020F0502020204030204"/>
                <a:ea typeface="+mn-ea"/>
                <a:cs typeface="+mn-cs"/>
              </a:rPr>
              <a:t>Tislelizumab</a:t>
            </a:r>
            <a:r>
              <a:rPr kumimoji="0" lang="en-GB" sz="2100" b="0" i="0" u="none" strike="noStrike" kern="1200" cap="none" spc="0" normalizeH="0" baseline="0" noProof="0" dirty="0">
                <a:ln>
                  <a:noFill/>
                </a:ln>
                <a:solidFill>
                  <a:prstClr val="black"/>
                </a:solidFill>
                <a:effectLst/>
                <a:uLnTx/>
                <a:uFillTx/>
                <a:latin typeface="Calibri" panose="020F0502020204030204"/>
                <a:ea typeface="+mn-ea"/>
                <a:cs typeface="+mn-cs"/>
              </a:rPr>
              <a:t>, a monoclonal antibody with high binding affinity for PD-1, was specifically engineered to minimize </a:t>
            </a:r>
            <a:r>
              <a:rPr kumimoji="0" lang="en-GB" sz="2100" b="0" i="0" u="none" strike="noStrike" kern="1200" cap="none" spc="0" normalizeH="0" baseline="0" noProof="0" dirty="0" err="1">
                <a:ln>
                  <a:noFill/>
                </a:ln>
                <a:solidFill>
                  <a:prstClr val="black"/>
                </a:solidFill>
                <a:effectLst/>
                <a:uLnTx/>
                <a:uFillTx/>
                <a:latin typeface="Calibri" panose="020F0502020204030204"/>
                <a:ea typeface="+mn-ea"/>
                <a:cs typeface="+mn-cs"/>
              </a:rPr>
              <a:t>Fcγ</a:t>
            </a:r>
            <a:r>
              <a:rPr kumimoji="0" lang="en-GB" sz="2100" b="0" i="0" u="none" strike="noStrike" kern="1200" cap="none" spc="0" normalizeH="0" baseline="0" noProof="0" dirty="0">
                <a:ln>
                  <a:noFill/>
                </a:ln>
                <a:solidFill>
                  <a:prstClr val="black"/>
                </a:solidFill>
                <a:effectLst/>
                <a:uLnTx/>
                <a:uFillTx/>
                <a:latin typeface="Calibri" panose="020F0502020204030204"/>
                <a:ea typeface="+mn-ea"/>
                <a:cs typeface="+mn-cs"/>
              </a:rPr>
              <a:t> receptor binding on macrophages</a:t>
            </a:r>
            <a:endParaRPr kumimoji="0" lang="en-GB" sz="2100" b="0" i="0" u="none" strike="noStrike" kern="1200" cap="none" spc="0" normalizeH="0" baseline="30000" noProof="0" dirty="0">
              <a:ln>
                <a:noFill/>
              </a:ln>
              <a:solidFill>
                <a:prstClr val="black"/>
              </a:solidFill>
              <a:effectLst/>
              <a:uLnTx/>
              <a:uFillTx/>
              <a:latin typeface="Calibri" panose="020F0502020204030204"/>
              <a:ea typeface="+mn-ea"/>
              <a:cs typeface="+mn-cs"/>
            </a:endParaRPr>
          </a:p>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endParaRPr kumimoji="0" lang="en-GB" sz="2100" b="0" i="0" u="none" strike="noStrike" kern="1200" cap="none" spc="0" normalizeH="0" baseline="30000" noProof="0" dirty="0">
              <a:ln>
                <a:noFill/>
              </a:ln>
              <a:solidFill>
                <a:prstClr val="black"/>
              </a:solidFill>
              <a:effectLst/>
              <a:uLnTx/>
              <a:uFillTx/>
              <a:latin typeface="Calibri" panose="020F0502020204030204"/>
              <a:ea typeface="+mn-ea"/>
              <a:cs typeface="+mn-cs"/>
            </a:endParaRPr>
          </a:p>
        </p:txBody>
      </p:sp>
      <p:pic>
        <p:nvPicPr>
          <p:cNvPr id="5" name="Picture 4">
            <a:extLst>
              <a:ext uri="{FF2B5EF4-FFF2-40B4-BE49-F238E27FC236}">
                <a16:creationId xmlns:a16="http://schemas.microsoft.com/office/drawing/2014/main" id="{839E9758-DA89-45B0-BBBA-4778EA532EA8}"/>
              </a:ext>
            </a:extLst>
          </p:cNvPr>
          <p:cNvPicPr>
            <a:picLocks noChangeAspect="1"/>
          </p:cNvPicPr>
          <p:nvPr/>
        </p:nvPicPr>
        <p:blipFill>
          <a:blip r:embed="rId2"/>
          <a:stretch>
            <a:fillRect/>
          </a:stretch>
        </p:blipFill>
        <p:spPr>
          <a:xfrm>
            <a:off x="671910" y="1219200"/>
            <a:ext cx="8409155" cy="2797596"/>
          </a:xfrm>
          <a:prstGeom prst="rect">
            <a:avLst/>
          </a:prstGeom>
        </p:spPr>
      </p:pic>
    </p:spTree>
    <p:extLst>
      <p:ext uri="{BB962C8B-B14F-4D97-AF65-F5344CB8AC3E}">
        <p14:creationId xmlns:p14="http://schemas.microsoft.com/office/powerpoint/2010/main" val="37984496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2"/>
          </p:nvPr>
        </p:nvSpPr>
        <p:spPr>
          <a:xfrm>
            <a:off x="479999" y="1077065"/>
            <a:ext cx="11213200" cy="600000"/>
          </a:xfrm>
        </p:spPr>
        <p:txBody>
          <a:bodyPr/>
          <a:lstStyle/>
          <a:p>
            <a:r>
              <a:rPr lang="en-GB" sz="2267" dirty="0"/>
              <a:t>Randomized, open-label, </a:t>
            </a:r>
            <a:r>
              <a:rPr lang="en-GB" sz="2267" dirty="0" err="1"/>
              <a:t>multicenter</a:t>
            </a:r>
            <a:r>
              <a:rPr lang="en-GB" sz="2267" dirty="0"/>
              <a:t>, multiregional phase 3 study  </a:t>
            </a:r>
          </a:p>
        </p:txBody>
      </p:sp>
      <p:sp>
        <p:nvSpPr>
          <p:cNvPr id="3" name="Title 2"/>
          <p:cNvSpPr>
            <a:spLocks noGrp="1"/>
          </p:cNvSpPr>
          <p:nvPr>
            <p:ph type="ctrTitle"/>
          </p:nvPr>
        </p:nvSpPr>
        <p:spPr>
          <a:xfrm>
            <a:off x="479999" y="449838"/>
            <a:ext cx="11213020" cy="576000"/>
          </a:xfrm>
        </p:spPr>
        <p:txBody>
          <a:bodyPr/>
          <a:lstStyle/>
          <a:p>
            <a:r>
              <a:rPr lang="en-GB" dirty="0"/>
              <a:t>RATIONALE-301: Study Design</a:t>
            </a:r>
          </a:p>
        </p:txBody>
      </p:sp>
      <p:sp>
        <p:nvSpPr>
          <p:cNvPr id="4" name="Text Placeholder 3"/>
          <p:cNvSpPr>
            <a:spLocks noGrp="1"/>
          </p:cNvSpPr>
          <p:nvPr>
            <p:ph type="body" idx="1"/>
          </p:nvPr>
        </p:nvSpPr>
        <p:spPr>
          <a:xfrm>
            <a:off x="500433" y="4070875"/>
            <a:ext cx="11213200" cy="1261364"/>
          </a:xfrm>
        </p:spPr>
        <p:txBody>
          <a:bodyPr/>
          <a:lstStyle/>
          <a:p>
            <a:pPr>
              <a:spcBef>
                <a:spcPts val="133"/>
              </a:spcBef>
            </a:pPr>
            <a:r>
              <a:rPr lang="en-GB" sz="1400" b="1" dirty="0"/>
              <a:t>Primary endpoint: </a:t>
            </a:r>
            <a:r>
              <a:rPr lang="en-GB" sz="1400" dirty="0"/>
              <a:t>OS in the ITT population</a:t>
            </a:r>
          </a:p>
          <a:p>
            <a:pPr>
              <a:spcBef>
                <a:spcPts val="133"/>
              </a:spcBef>
            </a:pPr>
            <a:r>
              <a:rPr lang="en-GB" sz="1400" b="1" dirty="0"/>
              <a:t>Key secondary endpoints: </a:t>
            </a:r>
            <a:r>
              <a:rPr lang="en-GB" sz="1400" dirty="0"/>
              <a:t>ORR, PFS, and </a:t>
            </a:r>
            <a:r>
              <a:rPr lang="en-GB" sz="1400" dirty="0" err="1"/>
              <a:t>DoR</a:t>
            </a:r>
            <a:r>
              <a:rPr lang="en-GB" sz="1400" dirty="0"/>
              <a:t> by BIRC per RECIST v1.1, and safety </a:t>
            </a:r>
          </a:p>
          <a:p>
            <a:pPr>
              <a:spcBef>
                <a:spcPts val="133"/>
              </a:spcBef>
            </a:pPr>
            <a:r>
              <a:rPr lang="en-GB" sz="1400" b="1" dirty="0"/>
              <a:t>Stratification factors: </a:t>
            </a:r>
            <a:r>
              <a:rPr lang="en-GB" sz="1400" dirty="0"/>
              <a:t>Macrovascular invasion (present vs absent), extrahepatic spread (present vs absent), ECOG PS (0 vs 1), </a:t>
            </a:r>
            <a:r>
              <a:rPr lang="en-GB" sz="1400" dirty="0" err="1"/>
              <a:t>etiology</a:t>
            </a:r>
            <a:r>
              <a:rPr lang="en-GB" sz="1400" dirty="0"/>
              <a:t> (HCV vs </a:t>
            </a:r>
            <a:r>
              <a:rPr lang="en-GB" sz="1400" dirty="0" err="1"/>
              <a:t>other</a:t>
            </a:r>
            <a:r>
              <a:rPr lang="en-GB" sz="1400" baseline="30000" dirty="0" err="1"/>
              <a:t>a</a:t>
            </a:r>
            <a:r>
              <a:rPr lang="en-GB" sz="1400" dirty="0"/>
              <a:t>),  </a:t>
            </a:r>
          </a:p>
          <a:p>
            <a:pPr>
              <a:spcBef>
                <a:spcPts val="133"/>
              </a:spcBef>
            </a:pPr>
            <a:r>
              <a:rPr lang="en-GB" sz="1400" dirty="0"/>
              <a:t>geography (Asia [excluding Japan], vs Japan vs rest of world)</a:t>
            </a:r>
          </a:p>
        </p:txBody>
      </p:sp>
      <p:sp>
        <p:nvSpPr>
          <p:cNvPr id="5" name="Text Placeholder 4"/>
          <p:cNvSpPr>
            <a:spLocks noGrp="1"/>
          </p:cNvSpPr>
          <p:nvPr>
            <p:ph type="body" idx="12"/>
          </p:nvPr>
        </p:nvSpPr>
        <p:spPr>
          <a:xfrm>
            <a:off x="2050286" y="6171803"/>
            <a:ext cx="3201037" cy="235962"/>
          </a:xfrm>
        </p:spPr>
        <p:txBody>
          <a:bodyPr/>
          <a:lstStyle/>
          <a:p>
            <a:r>
              <a:rPr lang="en-GB" dirty="0"/>
              <a:t>Masatoshi Kudo</a:t>
            </a:r>
          </a:p>
        </p:txBody>
      </p:sp>
      <p:sp>
        <p:nvSpPr>
          <p:cNvPr id="6" name="TextBox 5"/>
          <p:cNvSpPr txBox="1"/>
          <p:nvPr/>
        </p:nvSpPr>
        <p:spPr>
          <a:xfrm>
            <a:off x="489667" y="5461267"/>
            <a:ext cx="11213200" cy="52302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33" b="0" i="0" u="none" strike="noStrike" kern="1200" cap="none" spc="0" normalizeH="0" baseline="30000" noProof="0" dirty="0" err="1">
                <a:ln>
                  <a:noFill/>
                </a:ln>
                <a:solidFill>
                  <a:srgbClr val="4472C4"/>
                </a:solidFill>
                <a:effectLst/>
                <a:uLnTx/>
                <a:uFillTx/>
                <a:latin typeface="Arial" panose="020B0604020202020204"/>
                <a:ea typeface="+mn-ea"/>
                <a:cs typeface="+mn-cs"/>
              </a:rPr>
              <a:t>a</a:t>
            </a:r>
            <a:r>
              <a:rPr kumimoji="0" lang="en-GB" sz="933" b="0" i="0" u="none" strike="noStrike" kern="1200" cap="none" spc="0" normalizeH="0" baseline="0" noProof="0" dirty="0" err="1">
                <a:ln>
                  <a:noFill/>
                </a:ln>
                <a:solidFill>
                  <a:srgbClr val="4472C4"/>
                </a:solidFill>
                <a:effectLst/>
                <a:uLnTx/>
                <a:uFillTx/>
                <a:latin typeface="Arial" panose="020B0604020202020204"/>
                <a:ea typeface="+mn-ea"/>
                <a:cs typeface="+mn-cs"/>
              </a:rPr>
              <a:t>Includes</a:t>
            </a:r>
            <a:r>
              <a:rPr kumimoji="0" lang="en-GB" sz="933" b="0" i="0" u="none" strike="noStrike" kern="1200" cap="none" spc="0" normalizeH="0" baseline="0" noProof="0" dirty="0">
                <a:ln>
                  <a:noFill/>
                </a:ln>
                <a:solidFill>
                  <a:srgbClr val="4472C4"/>
                </a:solidFill>
                <a:effectLst/>
                <a:uLnTx/>
                <a:uFillTx/>
                <a:latin typeface="Arial" panose="020B0604020202020204"/>
                <a:ea typeface="+mn-ea"/>
                <a:cs typeface="+mn-cs"/>
              </a:rPr>
              <a:t> HBV. Abbreviations: BCLC, Barcelona Clinic Liver Cancer; BID, twice daily; BIRC, blinded independent review committee; </a:t>
            </a:r>
            <a:r>
              <a:rPr kumimoji="0" lang="en-GB" sz="933" b="0" i="0" u="none" strike="noStrike" kern="1200" cap="none" spc="0" normalizeH="0" baseline="0" noProof="0" dirty="0" err="1">
                <a:ln>
                  <a:noFill/>
                </a:ln>
                <a:solidFill>
                  <a:srgbClr val="4472C4"/>
                </a:solidFill>
                <a:effectLst/>
                <a:uLnTx/>
                <a:uFillTx/>
                <a:latin typeface="Arial" panose="020B0604020202020204"/>
                <a:ea typeface="+mn-ea"/>
                <a:cs typeface="+mn-cs"/>
              </a:rPr>
              <a:t>DoR</a:t>
            </a:r>
            <a:r>
              <a:rPr kumimoji="0" lang="en-GB" sz="933" b="0" i="0" u="none" strike="noStrike" kern="1200" cap="none" spc="0" normalizeH="0" baseline="0" noProof="0" dirty="0">
                <a:ln>
                  <a:noFill/>
                </a:ln>
                <a:solidFill>
                  <a:srgbClr val="4472C4"/>
                </a:solidFill>
                <a:effectLst/>
                <a:uLnTx/>
                <a:uFillTx/>
                <a:latin typeface="Arial" panose="020B0604020202020204"/>
                <a:ea typeface="+mn-ea"/>
                <a:cs typeface="+mn-cs"/>
              </a:rPr>
              <a:t>, duration of response; ECOG PS, European Cooperative Oncology Group performance status; HBV, hepatitis B virus; HCC, hepatocellular carcinoma; HCV, hepatitis C virus; ITT, intent-to-treat; IV, intravenous; ORR, objective response rate; OS, overall survival; </a:t>
            </a:r>
            <a:br>
              <a:rPr kumimoji="0" lang="en-GB" sz="933" b="0" i="0" u="none" strike="noStrike" kern="1200" cap="none" spc="0" normalizeH="0" baseline="0" noProof="0" dirty="0">
                <a:ln>
                  <a:noFill/>
                </a:ln>
                <a:solidFill>
                  <a:srgbClr val="4472C4"/>
                </a:solidFill>
                <a:effectLst/>
                <a:uLnTx/>
                <a:uFillTx/>
                <a:latin typeface="Arial" panose="020B0604020202020204"/>
                <a:ea typeface="+mn-ea"/>
                <a:cs typeface="+mn-cs"/>
              </a:rPr>
            </a:br>
            <a:r>
              <a:rPr kumimoji="0" lang="en-GB" sz="933" b="0" i="0" u="none" strike="noStrike" kern="1200" cap="none" spc="0" normalizeH="0" baseline="0" noProof="0" dirty="0">
                <a:ln>
                  <a:noFill/>
                </a:ln>
                <a:solidFill>
                  <a:srgbClr val="4472C4"/>
                </a:solidFill>
                <a:effectLst/>
                <a:uLnTx/>
                <a:uFillTx/>
                <a:latin typeface="Arial" panose="020B0604020202020204"/>
                <a:ea typeface="+mn-ea"/>
                <a:cs typeface="+mn-cs"/>
              </a:rPr>
              <a:t>PFS, progression-free survival; PO, oral; Q3W, once every 3 weeks; RECIST, Response Evaluation Criteria In Solid Tumors.</a:t>
            </a:r>
          </a:p>
        </p:txBody>
      </p:sp>
      <p:grpSp>
        <p:nvGrpSpPr>
          <p:cNvPr id="32" name="Group 31">
            <a:extLst>
              <a:ext uri="{FF2B5EF4-FFF2-40B4-BE49-F238E27FC236}">
                <a16:creationId xmlns:a16="http://schemas.microsoft.com/office/drawing/2014/main" id="{8D3ED94E-386E-48C9-863C-74B5FF4A1C88}"/>
              </a:ext>
            </a:extLst>
          </p:cNvPr>
          <p:cNvGrpSpPr/>
          <p:nvPr/>
        </p:nvGrpSpPr>
        <p:grpSpPr>
          <a:xfrm>
            <a:off x="1006054" y="1677070"/>
            <a:ext cx="10179893" cy="2393808"/>
            <a:chOff x="133116" y="4043163"/>
            <a:chExt cx="2779696" cy="990505"/>
          </a:xfrm>
        </p:grpSpPr>
        <p:cxnSp>
          <p:nvCxnSpPr>
            <p:cNvPr id="33" name="Connector: Elbow 23">
              <a:extLst>
                <a:ext uri="{FF2B5EF4-FFF2-40B4-BE49-F238E27FC236}">
                  <a16:creationId xmlns:a16="http://schemas.microsoft.com/office/drawing/2014/main" id="{C7701546-31FE-49F3-9D6F-A73FAD040019}"/>
                </a:ext>
              </a:extLst>
            </p:cNvPr>
            <p:cNvCxnSpPr>
              <a:cxnSpLocks/>
            </p:cNvCxnSpPr>
            <p:nvPr/>
          </p:nvCxnSpPr>
          <p:spPr>
            <a:xfrm>
              <a:off x="2006803" y="4296908"/>
              <a:ext cx="276552" cy="252971"/>
            </a:xfrm>
            <a:prstGeom prst="bentConnector3">
              <a:avLst>
                <a:gd name="adj1" fmla="val 50000"/>
              </a:avLst>
            </a:prstGeom>
            <a:ln w="31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4" name="Connector: Elbow 26">
              <a:extLst>
                <a:ext uri="{FF2B5EF4-FFF2-40B4-BE49-F238E27FC236}">
                  <a16:creationId xmlns:a16="http://schemas.microsoft.com/office/drawing/2014/main" id="{D920DDE1-0890-400D-839D-C51E7E591CA7}"/>
                </a:ext>
              </a:extLst>
            </p:cNvPr>
            <p:cNvCxnSpPr>
              <a:cxnSpLocks/>
            </p:cNvCxnSpPr>
            <p:nvPr/>
          </p:nvCxnSpPr>
          <p:spPr>
            <a:xfrm flipV="1">
              <a:off x="2009054" y="4549061"/>
              <a:ext cx="272607" cy="262206"/>
            </a:xfrm>
            <a:prstGeom prst="bentConnector3">
              <a:avLst>
                <a:gd name="adj1" fmla="val 50000"/>
              </a:avLst>
            </a:prstGeom>
            <a:ln w="31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5" name="Rectangle: Rounded Corners 1">
              <a:extLst>
                <a:ext uri="{FF2B5EF4-FFF2-40B4-BE49-F238E27FC236}">
                  <a16:creationId xmlns:a16="http://schemas.microsoft.com/office/drawing/2014/main" id="{67B2AA6C-16DB-42A3-9DF2-72C13E40AACD}"/>
                </a:ext>
              </a:extLst>
            </p:cNvPr>
            <p:cNvSpPr/>
            <p:nvPr/>
          </p:nvSpPr>
          <p:spPr>
            <a:xfrm>
              <a:off x="133116" y="4043163"/>
              <a:ext cx="929303" cy="990505"/>
            </a:xfrm>
            <a:prstGeom prst="roundRect">
              <a:avLst/>
            </a:prstGeom>
            <a:solidFill>
              <a:srgbClr val="176E94"/>
            </a:solidFill>
            <a:ln>
              <a:solidFill>
                <a:srgbClr val="176E94"/>
              </a:solidFill>
            </a:ln>
          </p:spPr>
          <p:style>
            <a:lnRef idx="2">
              <a:schemeClr val="accent1">
                <a:shade val="50000"/>
              </a:schemeClr>
            </a:lnRef>
            <a:fillRef idx="1">
              <a:schemeClr val="accent1"/>
            </a:fillRef>
            <a:effectRef idx="0">
              <a:schemeClr val="accent1"/>
            </a:effectRef>
            <a:fontRef idx="minor">
              <a:schemeClr val="lt1"/>
            </a:fontRef>
          </p:style>
          <p:txBody>
            <a:bodyPr lIns="96000" tIns="0" rIns="0" bIns="0" rtlCol="0" anchor="ctr"/>
            <a:lstStyle/>
            <a:p>
              <a:pPr marL="0" marR="0" lvl="0" indent="0" algn="l" defTabSz="914400" rtl="0" eaLnBrk="1" fontAlgn="auto" latinLnBrk="0" hangingPunct="1">
                <a:lnSpc>
                  <a:spcPct val="100000"/>
                </a:lnSpc>
                <a:spcBef>
                  <a:spcPts val="400"/>
                </a:spcBef>
                <a:spcAft>
                  <a:spcPts val="400"/>
                </a:spcAft>
                <a:buClr>
                  <a:prstClr val="white"/>
                </a:buClr>
                <a:buSzTx/>
                <a:buFontTx/>
                <a:buNone/>
                <a:tabLst/>
                <a:defRPr/>
              </a:pPr>
              <a:r>
                <a:rPr kumimoji="0" lang="en-GB" sz="1333" b="1" i="0" u="none" strike="noStrike" kern="1200" cap="none" spc="0" normalizeH="0" baseline="0" noProof="0" dirty="0">
                  <a:ln>
                    <a:noFill/>
                  </a:ln>
                  <a:solidFill>
                    <a:prstClr val="white"/>
                  </a:solidFill>
                  <a:effectLst/>
                  <a:uLnTx/>
                  <a:uFillTx/>
                  <a:latin typeface="Arial Narrow" panose="020B0606020202030204" pitchFamily="34" charset="0"/>
                  <a:ea typeface="+mn-ea"/>
                  <a:cs typeface="+mn-cs"/>
                </a:rPr>
                <a:t>Key eligibility criteria:</a:t>
              </a:r>
            </a:p>
            <a:p>
              <a:pPr marL="47999" marR="0" lvl="0" indent="-47999" algn="l" defTabSz="914400" rtl="0" eaLnBrk="1" fontAlgn="auto" latinLnBrk="0" hangingPunct="1">
                <a:lnSpc>
                  <a:spcPct val="100000"/>
                </a:lnSpc>
                <a:spcBef>
                  <a:spcPts val="0"/>
                </a:spcBef>
                <a:spcAft>
                  <a:spcPts val="400"/>
                </a:spcAft>
                <a:buClr>
                  <a:prstClr val="white"/>
                </a:buClr>
                <a:buSzTx/>
                <a:buFont typeface="Arial" panose="020B0604020202020204" pitchFamily="34" charset="0"/>
                <a:buChar char="•"/>
                <a:tabLst/>
                <a:defRPr/>
              </a:pPr>
              <a:r>
                <a:rPr kumimoji="0" lang="en-GB" sz="1333" b="0" i="0" u="none" strike="noStrike" kern="1200" cap="none" spc="0" normalizeH="0" baseline="0" noProof="0" dirty="0">
                  <a:ln>
                    <a:noFill/>
                  </a:ln>
                  <a:solidFill>
                    <a:prstClr val="white"/>
                  </a:solidFill>
                  <a:effectLst/>
                  <a:uLnTx/>
                  <a:uFillTx/>
                  <a:latin typeface="Arial Narrow" panose="020B0606020202030204" pitchFamily="34" charset="0"/>
                  <a:ea typeface="+mn-ea"/>
                  <a:cs typeface="+mn-cs"/>
                </a:rPr>
                <a:t> Histologically confirmed HCC</a:t>
              </a:r>
            </a:p>
            <a:p>
              <a:pPr marL="47999" marR="0" lvl="0" indent="-47999" algn="l" defTabSz="914400" rtl="0" eaLnBrk="1" fontAlgn="auto" latinLnBrk="0" hangingPunct="1">
                <a:lnSpc>
                  <a:spcPct val="100000"/>
                </a:lnSpc>
                <a:spcBef>
                  <a:spcPts val="0"/>
                </a:spcBef>
                <a:spcAft>
                  <a:spcPts val="400"/>
                </a:spcAft>
                <a:buClr>
                  <a:prstClr val="white"/>
                </a:buClr>
                <a:buSzTx/>
                <a:buFont typeface="Arial" panose="020B0604020202020204" pitchFamily="34" charset="0"/>
                <a:buChar char="•"/>
                <a:tabLst/>
                <a:defRPr/>
              </a:pPr>
              <a:r>
                <a:rPr kumimoji="0" lang="en-GB" sz="1333" b="0" i="0" u="none" strike="noStrike" kern="1200" cap="none" spc="0" normalizeH="0" baseline="0" noProof="0" dirty="0">
                  <a:ln>
                    <a:noFill/>
                  </a:ln>
                  <a:solidFill>
                    <a:prstClr val="white"/>
                  </a:solidFill>
                  <a:effectLst/>
                  <a:uLnTx/>
                  <a:uFillTx/>
                  <a:latin typeface="Arial Narrow" panose="020B0606020202030204" pitchFamily="34" charset="0"/>
                  <a:ea typeface="+mn-ea"/>
                  <a:cs typeface="+mn-cs"/>
                </a:rPr>
                <a:t> Systemic therapy-naïve </a:t>
              </a:r>
            </a:p>
            <a:p>
              <a:pPr marL="47999" marR="0" lvl="0" indent="-47999" algn="l" defTabSz="914400" rtl="0" eaLnBrk="1" fontAlgn="auto" latinLnBrk="0" hangingPunct="1">
                <a:lnSpc>
                  <a:spcPct val="100000"/>
                </a:lnSpc>
                <a:spcBef>
                  <a:spcPts val="0"/>
                </a:spcBef>
                <a:spcAft>
                  <a:spcPts val="400"/>
                </a:spcAft>
                <a:buClr>
                  <a:prstClr val="white"/>
                </a:buClr>
                <a:buSzTx/>
                <a:buFont typeface="Arial" panose="020B0604020202020204" pitchFamily="34" charset="0"/>
                <a:buChar char="•"/>
                <a:tabLst/>
                <a:defRPr/>
              </a:pPr>
              <a:r>
                <a:rPr kumimoji="0" lang="en-GB" sz="1333" b="0" i="0" u="none" strike="noStrike" kern="1200" cap="none" spc="0" normalizeH="0" baseline="0" noProof="0" dirty="0">
                  <a:ln>
                    <a:noFill/>
                  </a:ln>
                  <a:solidFill>
                    <a:prstClr val="white"/>
                  </a:solidFill>
                  <a:effectLst/>
                  <a:uLnTx/>
                  <a:uFillTx/>
                  <a:latin typeface="Arial Narrow" panose="020B0606020202030204" pitchFamily="34" charset="0"/>
                  <a:ea typeface="+mn-ea"/>
                  <a:cs typeface="+mn-cs"/>
                </a:rPr>
                <a:t> BCLC stage C or B disease not amenable to or progressed after loco-regional therapy </a:t>
              </a:r>
            </a:p>
            <a:p>
              <a:pPr marL="47999" marR="0" lvl="0" indent="-47999" algn="l" defTabSz="914400" rtl="0" eaLnBrk="1" fontAlgn="auto" latinLnBrk="0" hangingPunct="1">
                <a:lnSpc>
                  <a:spcPct val="100000"/>
                </a:lnSpc>
                <a:spcBef>
                  <a:spcPts val="0"/>
                </a:spcBef>
                <a:spcAft>
                  <a:spcPts val="400"/>
                </a:spcAft>
                <a:buClr>
                  <a:prstClr val="white"/>
                </a:buClr>
                <a:buSzTx/>
                <a:buFont typeface="Arial" panose="020B0604020202020204" pitchFamily="34" charset="0"/>
                <a:buChar char="•"/>
                <a:tabLst/>
                <a:defRPr/>
              </a:pPr>
              <a:r>
                <a:rPr kumimoji="0" lang="en-GB" sz="1333" b="0" i="0" u="none" strike="noStrike" kern="1200" cap="none" spc="0" normalizeH="0" baseline="0" noProof="0" dirty="0">
                  <a:ln>
                    <a:noFill/>
                  </a:ln>
                  <a:solidFill>
                    <a:prstClr val="white"/>
                  </a:solidFill>
                  <a:effectLst/>
                  <a:uLnTx/>
                  <a:uFillTx/>
                  <a:latin typeface="Arial Narrow" panose="020B0606020202030204" pitchFamily="34" charset="0"/>
                  <a:ea typeface="+mn-ea"/>
                  <a:cs typeface="+mn-cs"/>
                </a:rPr>
                <a:t> Child-Pugh class A</a:t>
              </a:r>
            </a:p>
            <a:p>
              <a:pPr marL="47999" marR="0" lvl="0" indent="-47999" algn="l" defTabSz="914400" rtl="0" eaLnBrk="1" fontAlgn="auto" latinLnBrk="0" hangingPunct="1">
                <a:lnSpc>
                  <a:spcPct val="100000"/>
                </a:lnSpc>
                <a:spcBef>
                  <a:spcPts val="0"/>
                </a:spcBef>
                <a:spcAft>
                  <a:spcPts val="400"/>
                </a:spcAft>
                <a:buClr>
                  <a:prstClr val="white"/>
                </a:buClr>
                <a:buSzTx/>
                <a:buFont typeface="Arial" panose="020B0604020202020204" pitchFamily="34" charset="0"/>
                <a:buChar char="•"/>
                <a:tabLst/>
                <a:defRPr/>
              </a:pPr>
              <a:r>
                <a:rPr kumimoji="0" lang="en-GB" sz="1333" b="0" i="0" u="none" strike="noStrike" kern="1200" cap="none" spc="0" normalizeH="0" baseline="0" noProof="0" dirty="0">
                  <a:ln>
                    <a:noFill/>
                  </a:ln>
                  <a:solidFill>
                    <a:prstClr val="white"/>
                  </a:solidFill>
                  <a:effectLst/>
                  <a:uLnTx/>
                  <a:uFillTx/>
                  <a:latin typeface="Arial Narrow" panose="020B0606020202030204" pitchFamily="34" charset="0"/>
                  <a:ea typeface="+mn-ea"/>
                  <a:cs typeface="+mn-cs"/>
                </a:rPr>
                <a:t> ≥1 measurable lesion per RECIST v1.1</a:t>
              </a:r>
            </a:p>
            <a:p>
              <a:pPr marL="47999" marR="0" lvl="0" indent="-47999" algn="l" defTabSz="914400" rtl="0" eaLnBrk="1" fontAlgn="auto" latinLnBrk="0" hangingPunct="1">
                <a:lnSpc>
                  <a:spcPct val="100000"/>
                </a:lnSpc>
                <a:spcBef>
                  <a:spcPts val="0"/>
                </a:spcBef>
                <a:spcAft>
                  <a:spcPts val="400"/>
                </a:spcAft>
                <a:buClr>
                  <a:prstClr val="white"/>
                </a:buClr>
                <a:buSzTx/>
                <a:buFont typeface="Arial" panose="020B0604020202020204" pitchFamily="34" charset="0"/>
                <a:buChar char="•"/>
                <a:tabLst/>
                <a:defRPr/>
              </a:pPr>
              <a:r>
                <a:rPr kumimoji="0" lang="en-GB" sz="1333" b="0" i="0" u="none" strike="noStrike" kern="1200" cap="none" spc="0" normalizeH="0" baseline="0" noProof="0" dirty="0">
                  <a:ln>
                    <a:noFill/>
                  </a:ln>
                  <a:solidFill>
                    <a:prstClr val="white"/>
                  </a:solidFill>
                  <a:effectLst/>
                  <a:uLnTx/>
                  <a:uFillTx/>
                  <a:latin typeface="Arial Narrow" panose="020B0606020202030204" pitchFamily="34" charset="0"/>
                  <a:ea typeface="+mn-ea"/>
                  <a:cs typeface="+mn-cs"/>
                </a:rPr>
                <a:t> ECOG PS ≤1</a:t>
              </a:r>
            </a:p>
            <a:p>
              <a:pPr marL="47999" marR="0" lvl="0" indent="-47999" algn="l" defTabSz="914400" rtl="0" eaLnBrk="1" fontAlgn="auto" latinLnBrk="0" hangingPunct="1">
                <a:lnSpc>
                  <a:spcPct val="100000"/>
                </a:lnSpc>
                <a:spcBef>
                  <a:spcPts val="0"/>
                </a:spcBef>
                <a:spcAft>
                  <a:spcPts val="400"/>
                </a:spcAft>
                <a:buClr>
                  <a:prstClr val="white"/>
                </a:buClr>
                <a:buSzTx/>
                <a:buFont typeface="Arial" panose="020B0604020202020204" pitchFamily="34" charset="0"/>
                <a:buChar char="•"/>
                <a:tabLst/>
                <a:defRPr/>
              </a:pPr>
              <a:r>
                <a:rPr kumimoji="0" lang="en-GB" sz="1333" b="0" i="0" u="none" strike="noStrike" kern="1200" cap="none" spc="0" normalizeH="0" baseline="0" noProof="0" dirty="0">
                  <a:ln>
                    <a:noFill/>
                  </a:ln>
                  <a:solidFill>
                    <a:prstClr val="white"/>
                  </a:solidFill>
                  <a:effectLst/>
                  <a:uLnTx/>
                  <a:uFillTx/>
                  <a:latin typeface="Arial Narrow" panose="020B0606020202030204" pitchFamily="34" charset="0"/>
                  <a:ea typeface="+mn-ea"/>
                  <a:cs typeface="+mn-cs"/>
                </a:rPr>
                <a:t>No </a:t>
              </a:r>
              <a:r>
                <a:rPr kumimoji="0" lang="en-GB" sz="1333" b="0" i="0" u="none" strike="noStrike" kern="1200" cap="none" spc="0" normalizeH="0" baseline="0" noProof="0" dirty="0" err="1">
                  <a:ln>
                    <a:noFill/>
                  </a:ln>
                  <a:solidFill>
                    <a:prstClr val="white"/>
                  </a:solidFill>
                  <a:effectLst/>
                  <a:uLnTx/>
                  <a:uFillTx/>
                  <a:latin typeface="Arial Narrow" panose="020B0606020202030204" pitchFamily="34" charset="0"/>
                  <a:ea typeface="+mn-ea"/>
                  <a:cs typeface="+mn-cs"/>
                </a:rPr>
                <a:t>tumor</a:t>
              </a:r>
              <a:r>
                <a:rPr kumimoji="0" lang="en-GB" sz="1333" b="0" i="0" u="none" strike="noStrike" kern="1200" cap="none" spc="0" normalizeH="0" baseline="0" noProof="0" dirty="0">
                  <a:ln>
                    <a:noFill/>
                  </a:ln>
                  <a:solidFill>
                    <a:prstClr val="white"/>
                  </a:solidFill>
                  <a:effectLst/>
                  <a:uLnTx/>
                  <a:uFillTx/>
                  <a:latin typeface="Arial Narrow" panose="020B0606020202030204" pitchFamily="34" charset="0"/>
                  <a:ea typeface="+mn-ea"/>
                  <a:cs typeface="+mn-cs"/>
                </a:rPr>
                <a:t> thrombus involving main trunk of portal vein or inferior vena cava </a:t>
              </a:r>
            </a:p>
          </p:txBody>
        </p:sp>
        <p:sp>
          <p:nvSpPr>
            <p:cNvPr id="37" name="Rectangle: Rounded Corners 183">
              <a:extLst>
                <a:ext uri="{FF2B5EF4-FFF2-40B4-BE49-F238E27FC236}">
                  <a16:creationId xmlns:a16="http://schemas.microsoft.com/office/drawing/2014/main" id="{9E48EC21-B5B1-4F8D-939D-5D453C885045}"/>
                </a:ext>
              </a:extLst>
            </p:cNvPr>
            <p:cNvSpPr/>
            <p:nvPr/>
          </p:nvSpPr>
          <p:spPr>
            <a:xfrm>
              <a:off x="1498175" y="4088778"/>
              <a:ext cx="521362" cy="416259"/>
            </a:xfrm>
            <a:prstGeom prst="roundRect">
              <a:avLst/>
            </a:prstGeom>
            <a:solidFill>
              <a:srgbClr val="D8261C"/>
            </a:solidFill>
            <a:ln>
              <a:solidFill>
                <a:srgbClr val="D8261C"/>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err="1">
                  <a:ln>
                    <a:noFill/>
                  </a:ln>
                  <a:solidFill>
                    <a:prstClr val="white"/>
                  </a:solidFill>
                  <a:effectLst/>
                  <a:uLnTx/>
                  <a:uFillTx/>
                  <a:latin typeface="Arial Narrow" panose="020B0606020202030204" pitchFamily="34" charset="0"/>
                  <a:ea typeface="+mn-ea"/>
                  <a:cs typeface="+mn-cs"/>
                </a:rPr>
                <a:t>Tislelizumab</a:t>
              </a:r>
              <a:r>
                <a:rPr kumimoji="0" lang="en-GB" sz="1400" b="1" i="0" u="none" strike="noStrike" kern="1200" cap="none" spc="0" normalizeH="0" baseline="0" noProof="0" dirty="0">
                  <a:ln>
                    <a:noFill/>
                  </a:ln>
                  <a:solidFill>
                    <a:prstClr val="white"/>
                  </a:solidFill>
                  <a:effectLst/>
                  <a:uLnTx/>
                  <a:uFillTx/>
                  <a:latin typeface="Arial Narrow" panose="020B0606020202030204" pitchFamily="34" charset="0"/>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Arial Narrow" panose="020B0606020202030204" pitchFamily="34" charset="0"/>
                  <a:ea typeface="+mn-ea"/>
                  <a:cs typeface="+mn-cs"/>
                </a:rPr>
                <a:t>200 mg IV Q3W</a:t>
              </a:r>
            </a:p>
          </p:txBody>
        </p:sp>
        <p:sp>
          <p:nvSpPr>
            <p:cNvPr id="38" name="Rectangle: Rounded Corners 184">
              <a:extLst>
                <a:ext uri="{FF2B5EF4-FFF2-40B4-BE49-F238E27FC236}">
                  <a16:creationId xmlns:a16="http://schemas.microsoft.com/office/drawing/2014/main" id="{7DD3F63B-63B7-40C0-8EEB-28609A96893C}"/>
                </a:ext>
              </a:extLst>
            </p:cNvPr>
            <p:cNvSpPr/>
            <p:nvPr/>
          </p:nvSpPr>
          <p:spPr>
            <a:xfrm>
              <a:off x="1498175" y="4604059"/>
              <a:ext cx="521362" cy="416259"/>
            </a:xfrm>
            <a:prstGeom prst="roundRect">
              <a:avLst/>
            </a:prstGeom>
            <a:solidFill>
              <a:srgbClr val="4F74C8"/>
            </a:solidFill>
            <a:ln>
              <a:solidFill>
                <a:srgbClr val="4F74C8"/>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Arial Narrow" panose="020B0606020202030204" pitchFamily="34" charset="0"/>
                  <a:ea typeface="+mn-ea"/>
                  <a:cs typeface="+mn-cs"/>
                </a:rPr>
                <a:t>Sorafenib</a:t>
              </a:r>
              <a:br>
                <a:rPr kumimoji="0" lang="en-GB" sz="1400" b="1" i="0" u="none" strike="noStrike" kern="1200" cap="none" spc="0" normalizeH="0" baseline="0" noProof="0" dirty="0">
                  <a:ln>
                    <a:noFill/>
                  </a:ln>
                  <a:solidFill>
                    <a:prstClr val="white"/>
                  </a:solidFill>
                  <a:effectLst/>
                  <a:uLnTx/>
                  <a:uFillTx/>
                  <a:latin typeface="Arial Narrow" panose="020B0606020202030204" pitchFamily="34" charset="0"/>
                  <a:ea typeface="+mn-ea"/>
                  <a:cs typeface="+mn-cs"/>
                </a:rPr>
              </a:br>
              <a:r>
                <a:rPr kumimoji="0" lang="en-GB" sz="1400" b="1" i="0" u="none" strike="noStrike" kern="1200" cap="none" spc="0" normalizeH="0" baseline="0" noProof="0" dirty="0">
                  <a:ln>
                    <a:noFill/>
                  </a:ln>
                  <a:solidFill>
                    <a:prstClr val="white"/>
                  </a:solidFill>
                  <a:effectLst/>
                  <a:uLnTx/>
                  <a:uFillTx/>
                  <a:latin typeface="Arial Narrow" panose="020B0606020202030204" pitchFamily="34" charset="0"/>
                  <a:ea typeface="+mn-ea"/>
                  <a:cs typeface="+mn-cs"/>
                </a:rPr>
                <a:t> 400 mg PO BID </a:t>
              </a:r>
            </a:p>
          </p:txBody>
        </p:sp>
        <p:sp>
          <p:nvSpPr>
            <p:cNvPr id="39" name="Rectangle: Rounded Corners 187">
              <a:extLst>
                <a:ext uri="{FF2B5EF4-FFF2-40B4-BE49-F238E27FC236}">
                  <a16:creationId xmlns:a16="http://schemas.microsoft.com/office/drawing/2014/main" id="{D366467B-4D8D-4660-BE74-96423455B04E}"/>
                </a:ext>
              </a:extLst>
            </p:cNvPr>
            <p:cNvSpPr/>
            <p:nvPr/>
          </p:nvSpPr>
          <p:spPr>
            <a:xfrm>
              <a:off x="2292418" y="4255098"/>
              <a:ext cx="620394" cy="679735"/>
            </a:xfrm>
            <a:prstGeom prst="roundRect">
              <a:avLst/>
            </a:prstGeom>
            <a:solidFill>
              <a:srgbClr val="176E94"/>
            </a:solidFill>
            <a:ln>
              <a:solidFill>
                <a:srgbClr val="176E94"/>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white"/>
                  </a:solidFill>
                  <a:effectLst/>
                  <a:uLnTx/>
                  <a:uFillTx/>
                  <a:latin typeface="Arial Narrow" panose="020B0606020202030204" pitchFamily="34" charset="0"/>
                  <a:ea typeface="+mn-ea"/>
                  <a:cs typeface="+mn-cs"/>
                </a:rPr>
                <a:t>Treatment until disease progression or intolerable toxicity </a:t>
              </a:r>
            </a:p>
          </p:txBody>
        </p:sp>
        <p:cxnSp>
          <p:nvCxnSpPr>
            <p:cNvPr id="41" name="Connector: Elbow 7">
              <a:extLst>
                <a:ext uri="{FF2B5EF4-FFF2-40B4-BE49-F238E27FC236}">
                  <a16:creationId xmlns:a16="http://schemas.microsoft.com/office/drawing/2014/main" id="{34236170-8B63-4433-A8B6-464CB4EB6B15}"/>
                </a:ext>
              </a:extLst>
            </p:cNvPr>
            <p:cNvCxnSpPr>
              <a:cxnSpLocks/>
              <a:endCxn id="37" idx="1"/>
            </p:cNvCxnSpPr>
            <p:nvPr/>
          </p:nvCxnSpPr>
          <p:spPr>
            <a:xfrm flipV="1">
              <a:off x="1141130" y="4296908"/>
              <a:ext cx="357045" cy="250992"/>
            </a:xfrm>
            <a:prstGeom prst="bentConnector3">
              <a:avLst/>
            </a:prstGeom>
            <a:ln w="31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2" name="Connector: Elbow 10">
              <a:extLst>
                <a:ext uri="{FF2B5EF4-FFF2-40B4-BE49-F238E27FC236}">
                  <a16:creationId xmlns:a16="http://schemas.microsoft.com/office/drawing/2014/main" id="{BDD6809D-267B-443E-8531-D900FBE48B69}"/>
                </a:ext>
              </a:extLst>
            </p:cNvPr>
            <p:cNvCxnSpPr>
              <a:cxnSpLocks/>
            </p:cNvCxnSpPr>
            <p:nvPr/>
          </p:nvCxnSpPr>
          <p:spPr>
            <a:xfrm>
              <a:off x="1065918" y="4548139"/>
              <a:ext cx="432257" cy="263128"/>
            </a:xfrm>
            <a:prstGeom prst="bentConnector3">
              <a:avLst>
                <a:gd name="adj1" fmla="val 58814"/>
              </a:avLst>
            </a:prstGeom>
            <a:ln w="31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3" name="Oval 42">
              <a:extLst>
                <a:ext uri="{FF2B5EF4-FFF2-40B4-BE49-F238E27FC236}">
                  <a16:creationId xmlns:a16="http://schemas.microsoft.com/office/drawing/2014/main" id="{F1F39682-A357-4591-BFC9-DD46DCB6C1FF}"/>
                </a:ext>
              </a:extLst>
            </p:cNvPr>
            <p:cNvSpPr/>
            <p:nvPr/>
          </p:nvSpPr>
          <p:spPr>
            <a:xfrm>
              <a:off x="1103413" y="4465760"/>
              <a:ext cx="104854" cy="168452"/>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33" b="1" i="0" u="none" strike="noStrike" kern="1200" cap="none" spc="0" normalizeH="0" baseline="0" noProof="0" dirty="0">
                  <a:ln>
                    <a:noFill/>
                  </a:ln>
                  <a:solidFill>
                    <a:prstClr val="white"/>
                  </a:solidFill>
                  <a:effectLst/>
                  <a:uLnTx/>
                  <a:uFillTx/>
                  <a:latin typeface="Arial Narrow" panose="020B0606020202030204" pitchFamily="34" charset="0"/>
                  <a:ea typeface="+mn-ea"/>
                  <a:cs typeface="+mn-cs"/>
                </a:rPr>
                <a:t>R</a:t>
              </a:r>
            </a:p>
          </p:txBody>
        </p:sp>
      </p:grpSp>
      <p:sp>
        <p:nvSpPr>
          <p:cNvPr id="7" name="TextBox 6">
            <a:extLst>
              <a:ext uri="{FF2B5EF4-FFF2-40B4-BE49-F238E27FC236}">
                <a16:creationId xmlns:a16="http://schemas.microsoft.com/office/drawing/2014/main" id="{0F9FA422-72A8-4D22-A205-3E2EF462B710}"/>
              </a:ext>
            </a:extLst>
          </p:cNvPr>
          <p:cNvSpPr txBox="1"/>
          <p:nvPr/>
        </p:nvSpPr>
        <p:spPr>
          <a:xfrm>
            <a:off x="4494154" y="3130170"/>
            <a:ext cx="532348"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4472C4"/>
                </a:solidFill>
                <a:effectLst/>
                <a:uLnTx/>
                <a:uFillTx/>
                <a:latin typeface="Arial" panose="020B0604020202020204"/>
                <a:ea typeface="+mn-ea"/>
                <a:cs typeface="+mn-cs"/>
              </a:rPr>
              <a:t>1:1</a:t>
            </a:r>
          </a:p>
        </p:txBody>
      </p:sp>
      <p:sp>
        <p:nvSpPr>
          <p:cNvPr id="8" name="Arrow: Right 7">
            <a:extLst>
              <a:ext uri="{FF2B5EF4-FFF2-40B4-BE49-F238E27FC236}">
                <a16:creationId xmlns:a16="http://schemas.microsoft.com/office/drawing/2014/main" id="{5D9DF5B2-75B9-4E8B-A167-AA652687FE69}"/>
              </a:ext>
            </a:extLst>
          </p:cNvPr>
          <p:cNvSpPr/>
          <p:nvPr/>
        </p:nvSpPr>
        <p:spPr>
          <a:xfrm>
            <a:off x="152400" y="3689046"/>
            <a:ext cx="764640" cy="20659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9" name="TextBox 8">
            <a:extLst>
              <a:ext uri="{FF2B5EF4-FFF2-40B4-BE49-F238E27FC236}">
                <a16:creationId xmlns:a16="http://schemas.microsoft.com/office/drawing/2014/main" id="{179B0337-0B9A-00D3-619F-DF50E20BA3BC}"/>
              </a:ext>
            </a:extLst>
          </p:cNvPr>
          <p:cNvSpPr txBox="1"/>
          <p:nvPr/>
        </p:nvSpPr>
        <p:spPr>
          <a:xfrm>
            <a:off x="2220604" y="5830406"/>
            <a:ext cx="1430200"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panose="020B0604020202020204"/>
                <a:ea typeface="+mn-ea"/>
                <a:cs typeface="+mn-cs"/>
              </a:rPr>
              <a:t>Abstract LBA36</a:t>
            </a:r>
          </a:p>
        </p:txBody>
      </p:sp>
    </p:spTree>
    <p:extLst>
      <p:ext uri="{BB962C8B-B14F-4D97-AF65-F5344CB8AC3E}">
        <p14:creationId xmlns:p14="http://schemas.microsoft.com/office/powerpoint/2010/main" val="64179229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23" name="Graphic 2">
            <a:extLst>
              <a:ext uri="{FF2B5EF4-FFF2-40B4-BE49-F238E27FC236}">
                <a16:creationId xmlns:a16="http://schemas.microsoft.com/office/drawing/2014/main" id="{D01D60C4-B292-4401-8670-651E7E086384}"/>
              </a:ext>
            </a:extLst>
          </p:cNvPr>
          <p:cNvGrpSpPr/>
          <p:nvPr/>
        </p:nvGrpSpPr>
        <p:grpSpPr>
          <a:xfrm>
            <a:off x="3755809" y="1916011"/>
            <a:ext cx="5211528" cy="2070780"/>
            <a:chOff x="5397965" y="2457929"/>
            <a:chExt cx="2226719" cy="1502162"/>
          </a:xfrm>
          <a:noFill/>
        </p:grpSpPr>
        <p:sp>
          <p:nvSpPr>
            <p:cNvPr id="2424" name="Freeform 766">
              <a:extLst>
                <a:ext uri="{FF2B5EF4-FFF2-40B4-BE49-F238E27FC236}">
                  <a16:creationId xmlns:a16="http://schemas.microsoft.com/office/drawing/2014/main" id="{8489AB48-1C24-4878-8ECE-9D641E2A066D}"/>
                </a:ext>
              </a:extLst>
            </p:cNvPr>
            <p:cNvSpPr/>
            <p:nvPr/>
          </p:nvSpPr>
          <p:spPr>
            <a:xfrm>
              <a:off x="5433524" y="2476551"/>
              <a:ext cx="2181194" cy="1469916"/>
            </a:xfrm>
            <a:custGeom>
              <a:avLst/>
              <a:gdLst>
                <a:gd name="connsiteX0" fmla="*/ 0 w 2181194"/>
                <a:gd name="connsiteY0" fmla="*/ 0 h 1469916"/>
                <a:gd name="connsiteX1" fmla="*/ 0 w 2181194"/>
                <a:gd name="connsiteY1" fmla="*/ 11354 h 1469916"/>
                <a:gd name="connsiteX2" fmla="*/ 24914 w 2181194"/>
                <a:gd name="connsiteY2" fmla="*/ 11354 h 1469916"/>
                <a:gd name="connsiteX3" fmla="*/ 24914 w 2181194"/>
                <a:gd name="connsiteY3" fmla="*/ 15782 h 1469916"/>
                <a:gd name="connsiteX4" fmla="*/ 29670 w 2181194"/>
                <a:gd name="connsiteY4" fmla="*/ 15782 h 1469916"/>
                <a:gd name="connsiteX5" fmla="*/ 29670 w 2181194"/>
                <a:gd name="connsiteY5" fmla="*/ 19416 h 1469916"/>
                <a:gd name="connsiteX6" fmla="*/ 33407 w 2181194"/>
                <a:gd name="connsiteY6" fmla="*/ 19416 h 1469916"/>
                <a:gd name="connsiteX7" fmla="*/ 33407 w 2181194"/>
                <a:gd name="connsiteY7" fmla="*/ 22254 h 1469916"/>
                <a:gd name="connsiteX8" fmla="*/ 38050 w 2181194"/>
                <a:gd name="connsiteY8" fmla="*/ 22254 h 1469916"/>
                <a:gd name="connsiteX9" fmla="*/ 38050 w 2181194"/>
                <a:gd name="connsiteY9" fmla="*/ 30883 h 1469916"/>
                <a:gd name="connsiteX10" fmla="*/ 44052 w 2181194"/>
                <a:gd name="connsiteY10" fmla="*/ 30883 h 1469916"/>
                <a:gd name="connsiteX11" fmla="*/ 44052 w 2181194"/>
                <a:gd name="connsiteY11" fmla="*/ 38604 h 1469916"/>
                <a:gd name="connsiteX12" fmla="*/ 50394 w 2181194"/>
                <a:gd name="connsiteY12" fmla="*/ 38604 h 1469916"/>
                <a:gd name="connsiteX13" fmla="*/ 50394 w 2181194"/>
                <a:gd name="connsiteY13" fmla="*/ 47801 h 1469916"/>
                <a:gd name="connsiteX14" fmla="*/ 55263 w 2181194"/>
                <a:gd name="connsiteY14" fmla="*/ 47801 h 1469916"/>
                <a:gd name="connsiteX15" fmla="*/ 55263 w 2181194"/>
                <a:gd name="connsiteY15" fmla="*/ 50299 h 1469916"/>
                <a:gd name="connsiteX16" fmla="*/ 64549 w 2181194"/>
                <a:gd name="connsiteY16" fmla="*/ 50299 h 1469916"/>
                <a:gd name="connsiteX17" fmla="*/ 64549 w 2181194"/>
                <a:gd name="connsiteY17" fmla="*/ 53933 h 1469916"/>
                <a:gd name="connsiteX18" fmla="*/ 67040 w 2181194"/>
                <a:gd name="connsiteY18" fmla="*/ 53933 h 1469916"/>
                <a:gd name="connsiteX19" fmla="*/ 67040 w 2181194"/>
                <a:gd name="connsiteY19" fmla="*/ 61199 h 1469916"/>
                <a:gd name="connsiteX20" fmla="*/ 73495 w 2181194"/>
                <a:gd name="connsiteY20" fmla="*/ 61199 h 1469916"/>
                <a:gd name="connsiteX21" fmla="*/ 73495 w 2181194"/>
                <a:gd name="connsiteY21" fmla="*/ 76641 h 1469916"/>
                <a:gd name="connsiteX22" fmla="*/ 79271 w 2181194"/>
                <a:gd name="connsiteY22" fmla="*/ 76641 h 1469916"/>
                <a:gd name="connsiteX23" fmla="*/ 79271 w 2181194"/>
                <a:gd name="connsiteY23" fmla="*/ 106616 h 1469916"/>
                <a:gd name="connsiteX24" fmla="*/ 93087 w 2181194"/>
                <a:gd name="connsiteY24" fmla="*/ 106616 h 1469916"/>
                <a:gd name="connsiteX25" fmla="*/ 93087 w 2181194"/>
                <a:gd name="connsiteY25" fmla="*/ 121490 h 1469916"/>
                <a:gd name="connsiteX26" fmla="*/ 94672 w 2181194"/>
                <a:gd name="connsiteY26" fmla="*/ 121490 h 1469916"/>
                <a:gd name="connsiteX27" fmla="*/ 94672 w 2181194"/>
                <a:gd name="connsiteY27" fmla="*/ 124329 h 1469916"/>
                <a:gd name="connsiteX28" fmla="*/ 95918 w 2181194"/>
                <a:gd name="connsiteY28" fmla="*/ 124329 h 1469916"/>
                <a:gd name="connsiteX29" fmla="*/ 95918 w 2181194"/>
                <a:gd name="connsiteY29" fmla="*/ 126486 h 1469916"/>
                <a:gd name="connsiteX30" fmla="*/ 98069 w 2181194"/>
                <a:gd name="connsiteY30" fmla="*/ 126486 h 1469916"/>
                <a:gd name="connsiteX31" fmla="*/ 98069 w 2181194"/>
                <a:gd name="connsiteY31" fmla="*/ 133071 h 1469916"/>
                <a:gd name="connsiteX32" fmla="*/ 101580 w 2181194"/>
                <a:gd name="connsiteY32" fmla="*/ 133071 h 1469916"/>
                <a:gd name="connsiteX33" fmla="*/ 101580 w 2181194"/>
                <a:gd name="connsiteY33" fmla="*/ 136137 h 1469916"/>
                <a:gd name="connsiteX34" fmla="*/ 106110 w 2181194"/>
                <a:gd name="connsiteY34" fmla="*/ 136137 h 1469916"/>
                <a:gd name="connsiteX35" fmla="*/ 106110 w 2181194"/>
                <a:gd name="connsiteY35" fmla="*/ 140792 h 1469916"/>
                <a:gd name="connsiteX36" fmla="*/ 111772 w 2181194"/>
                <a:gd name="connsiteY36" fmla="*/ 140792 h 1469916"/>
                <a:gd name="connsiteX37" fmla="*/ 111772 w 2181194"/>
                <a:gd name="connsiteY37" fmla="*/ 150784 h 1469916"/>
                <a:gd name="connsiteX38" fmla="*/ 120039 w 2181194"/>
                <a:gd name="connsiteY38" fmla="*/ 150784 h 1469916"/>
                <a:gd name="connsiteX39" fmla="*/ 120039 w 2181194"/>
                <a:gd name="connsiteY39" fmla="*/ 162365 h 1469916"/>
                <a:gd name="connsiteX40" fmla="*/ 121737 w 2181194"/>
                <a:gd name="connsiteY40" fmla="*/ 162365 h 1469916"/>
                <a:gd name="connsiteX41" fmla="*/ 121737 w 2181194"/>
                <a:gd name="connsiteY41" fmla="*/ 174514 h 1469916"/>
                <a:gd name="connsiteX42" fmla="*/ 129778 w 2181194"/>
                <a:gd name="connsiteY42" fmla="*/ 174514 h 1469916"/>
                <a:gd name="connsiteX43" fmla="*/ 129778 w 2181194"/>
                <a:gd name="connsiteY43" fmla="*/ 189388 h 1469916"/>
                <a:gd name="connsiteX44" fmla="*/ 130344 w 2181194"/>
                <a:gd name="connsiteY44" fmla="*/ 189388 h 1469916"/>
                <a:gd name="connsiteX45" fmla="*/ 130344 w 2181194"/>
                <a:gd name="connsiteY45" fmla="*/ 193816 h 1469916"/>
                <a:gd name="connsiteX46" fmla="*/ 131363 w 2181194"/>
                <a:gd name="connsiteY46" fmla="*/ 193816 h 1469916"/>
                <a:gd name="connsiteX47" fmla="*/ 131363 w 2181194"/>
                <a:gd name="connsiteY47" fmla="*/ 196769 h 1469916"/>
                <a:gd name="connsiteX48" fmla="*/ 133402 w 2181194"/>
                <a:gd name="connsiteY48" fmla="*/ 196769 h 1469916"/>
                <a:gd name="connsiteX49" fmla="*/ 133402 w 2181194"/>
                <a:gd name="connsiteY49" fmla="*/ 199721 h 1469916"/>
                <a:gd name="connsiteX50" fmla="*/ 135893 w 2181194"/>
                <a:gd name="connsiteY50" fmla="*/ 199721 h 1469916"/>
                <a:gd name="connsiteX51" fmla="*/ 135893 w 2181194"/>
                <a:gd name="connsiteY51" fmla="*/ 210848 h 1469916"/>
                <a:gd name="connsiteX52" fmla="*/ 139064 w 2181194"/>
                <a:gd name="connsiteY52" fmla="*/ 210848 h 1469916"/>
                <a:gd name="connsiteX53" fmla="*/ 139064 w 2181194"/>
                <a:gd name="connsiteY53" fmla="*/ 218228 h 1469916"/>
                <a:gd name="connsiteX54" fmla="*/ 142574 w 2181194"/>
                <a:gd name="connsiteY54" fmla="*/ 218228 h 1469916"/>
                <a:gd name="connsiteX55" fmla="*/ 142574 w 2181194"/>
                <a:gd name="connsiteY55" fmla="*/ 225154 h 1469916"/>
                <a:gd name="connsiteX56" fmla="*/ 149369 w 2181194"/>
                <a:gd name="connsiteY56" fmla="*/ 225154 h 1469916"/>
                <a:gd name="connsiteX57" fmla="*/ 149369 w 2181194"/>
                <a:gd name="connsiteY57" fmla="*/ 253199 h 1469916"/>
                <a:gd name="connsiteX58" fmla="*/ 154918 w 2181194"/>
                <a:gd name="connsiteY58" fmla="*/ 253199 h 1469916"/>
                <a:gd name="connsiteX59" fmla="*/ 154918 w 2181194"/>
                <a:gd name="connsiteY59" fmla="*/ 272047 h 1469916"/>
                <a:gd name="connsiteX60" fmla="*/ 163864 w 2181194"/>
                <a:gd name="connsiteY60" fmla="*/ 272047 h 1469916"/>
                <a:gd name="connsiteX61" fmla="*/ 163864 w 2181194"/>
                <a:gd name="connsiteY61" fmla="*/ 287602 h 1469916"/>
                <a:gd name="connsiteX62" fmla="*/ 175981 w 2181194"/>
                <a:gd name="connsiteY62" fmla="*/ 287602 h 1469916"/>
                <a:gd name="connsiteX63" fmla="*/ 175981 w 2181194"/>
                <a:gd name="connsiteY63" fmla="*/ 296231 h 1469916"/>
                <a:gd name="connsiteX64" fmla="*/ 185494 w 2181194"/>
                <a:gd name="connsiteY64" fmla="*/ 296231 h 1469916"/>
                <a:gd name="connsiteX65" fmla="*/ 185494 w 2181194"/>
                <a:gd name="connsiteY65" fmla="*/ 299297 h 1469916"/>
                <a:gd name="connsiteX66" fmla="*/ 188665 w 2181194"/>
                <a:gd name="connsiteY66" fmla="*/ 299297 h 1469916"/>
                <a:gd name="connsiteX67" fmla="*/ 188665 w 2181194"/>
                <a:gd name="connsiteY67" fmla="*/ 310197 h 1469916"/>
                <a:gd name="connsiteX68" fmla="*/ 192628 w 2181194"/>
                <a:gd name="connsiteY68" fmla="*/ 310197 h 1469916"/>
                <a:gd name="connsiteX69" fmla="*/ 192628 w 2181194"/>
                <a:gd name="connsiteY69" fmla="*/ 314852 h 1469916"/>
                <a:gd name="connsiteX70" fmla="*/ 202933 w 2181194"/>
                <a:gd name="connsiteY70" fmla="*/ 314852 h 1469916"/>
                <a:gd name="connsiteX71" fmla="*/ 202933 w 2181194"/>
                <a:gd name="connsiteY71" fmla="*/ 328818 h 1469916"/>
                <a:gd name="connsiteX72" fmla="*/ 208822 w 2181194"/>
                <a:gd name="connsiteY72" fmla="*/ 328818 h 1469916"/>
                <a:gd name="connsiteX73" fmla="*/ 208822 w 2181194"/>
                <a:gd name="connsiteY73" fmla="*/ 335290 h 1469916"/>
                <a:gd name="connsiteX74" fmla="*/ 212106 w 2181194"/>
                <a:gd name="connsiteY74" fmla="*/ 335290 h 1469916"/>
                <a:gd name="connsiteX75" fmla="*/ 212106 w 2181194"/>
                <a:gd name="connsiteY75" fmla="*/ 347439 h 1469916"/>
                <a:gd name="connsiteX76" fmla="*/ 218108 w 2181194"/>
                <a:gd name="connsiteY76" fmla="*/ 347439 h 1469916"/>
                <a:gd name="connsiteX77" fmla="*/ 218108 w 2181194"/>
                <a:gd name="connsiteY77" fmla="*/ 358680 h 1469916"/>
                <a:gd name="connsiteX78" fmla="*/ 220826 w 2181194"/>
                <a:gd name="connsiteY78" fmla="*/ 358680 h 1469916"/>
                <a:gd name="connsiteX79" fmla="*/ 220826 w 2181194"/>
                <a:gd name="connsiteY79" fmla="*/ 364243 h 1469916"/>
                <a:gd name="connsiteX80" fmla="*/ 233849 w 2181194"/>
                <a:gd name="connsiteY80" fmla="*/ 364243 h 1469916"/>
                <a:gd name="connsiteX81" fmla="*/ 233849 w 2181194"/>
                <a:gd name="connsiteY81" fmla="*/ 379571 h 1469916"/>
                <a:gd name="connsiteX82" fmla="*/ 239285 w 2181194"/>
                <a:gd name="connsiteY82" fmla="*/ 379571 h 1469916"/>
                <a:gd name="connsiteX83" fmla="*/ 239285 w 2181194"/>
                <a:gd name="connsiteY83" fmla="*/ 391607 h 1469916"/>
                <a:gd name="connsiteX84" fmla="*/ 248910 w 2181194"/>
                <a:gd name="connsiteY84" fmla="*/ 391607 h 1469916"/>
                <a:gd name="connsiteX85" fmla="*/ 248910 w 2181194"/>
                <a:gd name="connsiteY85" fmla="*/ 402734 h 1469916"/>
                <a:gd name="connsiteX86" fmla="*/ 258876 w 2181194"/>
                <a:gd name="connsiteY86" fmla="*/ 402734 h 1469916"/>
                <a:gd name="connsiteX87" fmla="*/ 258876 w 2181194"/>
                <a:gd name="connsiteY87" fmla="*/ 417040 h 1469916"/>
                <a:gd name="connsiteX88" fmla="*/ 268841 w 2181194"/>
                <a:gd name="connsiteY88" fmla="*/ 417040 h 1469916"/>
                <a:gd name="connsiteX89" fmla="*/ 268841 w 2181194"/>
                <a:gd name="connsiteY89" fmla="*/ 424988 h 1469916"/>
                <a:gd name="connsiteX90" fmla="*/ 274164 w 2181194"/>
                <a:gd name="connsiteY90" fmla="*/ 424988 h 1469916"/>
                <a:gd name="connsiteX91" fmla="*/ 274164 w 2181194"/>
                <a:gd name="connsiteY91" fmla="*/ 441452 h 1469916"/>
                <a:gd name="connsiteX92" fmla="*/ 278920 w 2181194"/>
                <a:gd name="connsiteY92" fmla="*/ 441452 h 1469916"/>
                <a:gd name="connsiteX93" fmla="*/ 278920 w 2181194"/>
                <a:gd name="connsiteY93" fmla="*/ 451898 h 1469916"/>
                <a:gd name="connsiteX94" fmla="*/ 284016 w 2181194"/>
                <a:gd name="connsiteY94" fmla="*/ 451898 h 1469916"/>
                <a:gd name="connsiteX95" fmla="*/ 284016 w 2181194"/>
                <a:gd name="connsiteY95" fmla="*/ 463479 h 1469916"/>
                <a:gd name="connsiteX96" fmla="*/ 287753 w 2181194"/>
                <a:gd name="connsiteY96" fmla="*/ 463479 h 1469916"/>
                <a:gd name="connsiteX97" fmla="*/ 287753 w 2181194"/>
                <a:gd name="connsiteY97" fmla="*/ 469497 h 1469916"/>
                <a:gd name="connsiteX98" fmla="*/ 295794 w 2181194"/>
                <a:gd name="connsiteY98" fmla="*/ 469497 h 1469916"/>
                <a:gd name="connsiteX99" fmla="*/ 295794 w 2181194"/>
                <a:gd name="connsiteY99" fmla="*/ 490048 h 1469916"/>
                <a:gd name="connsiteX100" fmla="*/ 305533 w 2181194"/>
                <a:gd name="connsiteY100" fmla="*/ 490048 h 1469916"/>
                <a:gd name="connsiteX101" fmla="*/ 305533 w 2181194"/>
                <a:gd name="connsiteY101" fmla="*/ 501288 h 1469916"/>
                <a:gd name="connsiteX102" fmla="*/ 311535 w 2181194"/>
                <a:gd name="connsiteY102" fmla="*/ 501288 h 1469916"/>
                <a:gd name="connsiteX103" fmla="*/ 311535 w 2181194"/>
                <a:gd name="connsiteY103" fmla="*/ 510485 h 1469916"/>
                <a:gd name="connsiteX104" fmla="*/ 319462 w 2181194"/>
                <a:gd name="connsiteY104" fmla="*/ 510485 h 1469916"/>
                <a:gd name="connsiteX105" fmla="*/ 319462 w 2181194"/>
                <a:gd name="connsiteY105" fmla="*/ 517979 h 1469916"/>
                <a:gd name="connsiteX106" fmla="*/ 326483 w 2181194"/>
                <a:gd name="connsiteY106" fmla="*/ 517979 h 1469916"/>
                <a:gd name="connsiteX107" fmla="*/ 326483 w 2181194"/>
                <a:gd name="connsiteY107" fmla="*/ 528993 h 1469916"/>
                <a:gd name="connsiteX108" fmla="*/ 332371 w 2181194"/>
                <a:gd name="connsiteY108" fmla="*/ 528993 h 1469916"/>
                <a:gd name="connsiteX109" fmla="*/ 332371 w 2181194"/>
                <a:gd name="connsiteY109" fmla="*/ 544775 h 1469916"/>
                <a:gd name="connsiteX110" fmla="*/ 342677 w 2181194"/>
                <a:gd name="connsiteY110" fmla="*/ 544775 h 1469916"/>
                <a:gd name="connsiteX111" fmla="*/ 342677 w 2181194"/>
                <a:gd name="connsiteY111" fmla="*/ 556243 h 1469916"/>
                <a:gd name="connsiteX112" fmla="*/ 347546 w 2181194"/>
                <a:gd name="connsiteY112" fmla="*/ 556243 h 1469916"/>
                <a:gd name="connsiteX113" fmla="*/ 347546 w 2181194"/>
                <a:gd name="connsiteY113" fmla="*/ 565326 h 1469916"/>
                <a:gd name="connsiteX114" fmla="*/ 350490 w 2181194"/>
                <a:gd name="connsiteY114" fmla="*/ 565326 h 1469916"/>
                <a:gd name="connsiteX115" fmla="*/ 350490 w 2181194"/>
                <a:gd name="connsiteY115" fmla="*/ 567824 h 1469916"/>
                <a:gd name="connsiteX116" fmla="*/ 352869 w 2181194"/>
                <a:gd name="connsiteY116" fmla="*/ 567824 h 1469916"/>
                <a:gd name="connsiteX117" fmla="*/ 352869 w 2181194"/>
                <a:gd name="connsiteY117" fmla="*/ 577475 h 1469916"/>
                <a:gd name="connsiteX118" fmla="*/ 357625 w 2181194"/>
                <a:gd name="connsiteY118" fmla="*/ 577475 h 1469916"/>
                <a:gd name="connsiteX119" fmla="*/ 357625 w 2181194"/>
                <a:gd name="connsiteY119" fmla="*/ 584288 h 1469916"/>
                <a:gd name="connsiteX120" fmla="*/ 368157 w 2181194"/>
                <a:gd name="connsiteY120" fmla="*/ 584288 h 1469916"/>
                <a:gd name="connsiteX121" fmla="*/ 368157 w 2181194"/>
                <a:gd name="connsiteY121" fmla="*/ 588716 h 1469916"/>
                <a:gd name="connsiteX122" fmla="*/ 369402 w 2181194"/>
                <a:gd name="connsiteY122" fmla="*/ 588716 h 1469916"/>
                <a:gd name="connsiteX123" fmla="*/ 369402 w 2181194"/>
                <a:gd name="connsiteY123" fmla="*/ 590078 h 1469916"/>
                <a:gd name="connsiteX124" fmla="*/ 374159 w 2181194"/>
                <a:gd name="connsiteY124" fmla="*/ 590078 h 1469916"/>
                <a:gd name="connsiteX125" fmla="*/ 374159 w 2181194"/>
                <a:gd name="connsiteY125" fmla="*/ 600184 h 1469916"/>
                <a:gd name="connsiteX126" fmla="*/ 386502 w 2181194"/>
                <a:gd name="connsiteY126" fmla="*/ 600184 h 1469916"/>
                <a:gd name="connsiteX127" fmla="*/ 386502 w 2181194"/>
                <a:gd name="connsiteY127" fmla="*/ 606088 h 1469916"/>
                <a:gd name="connsiteX128" fmla="*/ 393070 w 2181194"/>
                <a:gd name="connsiteY128" fmla="*/ 606088 h 1469916"/>
                <a:gd name="connsiteX129" fmla="*/ 393070 w 2181194"/>
                <a:gd name="connsiteY129" fmla="*/ 622211 h 1469916"/>
                <a:gd name="connsiteX130" fmla="*/ 406546 w 2181194"/>
                <a:gd name="connsiteY130" fmla="*/ 622211 h 1469916"/>
                <a:gd name="connsiteX131" fmla="*/ 406546 w 2181194"/>
                <a:gd name="connsiteY131" fmla="*/ 626980 h 1469916"/>
                <a:gd name="connsiteX132" fmla="*/ 408585 w 2181194"/>
                <a:gd name="connsiteY132" fmla="*/ 626980 h 1469916"/>
                <a:gd name="connsiteX133" fmla="*/ 408585 w 2181194"/>
                <a:gd name="connsiteY133" fmla="*/ 632997 h 1469916"/>
                <a:gd name="connsiteX134" fmla="*/ 410963 w 2181194"/>
                <a:gd name="connsiteY134" fmla="*/ 632997 h 1469916"/>
                <a:gd name="connsiteX135" fmla="*/ 410963 w 2181194"/>
                <a:gd name="connsiteY135" fmla="*/ 638788 h 1469916"/>
                <a:gd name="connsiteX136" fmla="*/ 413341 w 2181194"/>
                <a:gd name="connsiteY136" fmla="*/ 638788 h 1469916"/>
                <a:gd name="connsiteX137" fmla="*/ 413341 w 2181194"/>
                <a:gd name="connsiteY137" fmla="*/ 649688 h 1469916"/>
                <a:gd name="connsiteX138" fmla="*/ 417304 w 2181194"/>
                <a:gd name="connsiteY138" fmla="*/ 649688 h 1469916"/>
                <a:gd name="connsiteX139" fmla="*/ 417304 w 2181194"/>
                <a:gd name="connsiteY139" fmla="*/ 651505 h 1469916"/>
                <a:gd name="connsiteX140" fmla="*/ 421721 w 2181194"/>
                <a:gd name="connsiteY140" fmla="*/ 651505 h 1469916"/>
                <a:gd name="connsiteX141" fmla="*/ 421721 w 2181194"/>
                <a:gd name="connsiteY141" fmla="*/ 659566 h 1469916"/>
                <a:gd name="connsiteX142" fmla="*/ 428516 w 2181194"/>
                <a:gd name="connsiteY142" fmla="*/ 659566 h 1469916"/>
                <a:gd name="connsiteX143" fmla="*/ 428516 w 2181194"/>
                <a:gd name="connsiteY143" fmla="*/ 667060 h 1469916"/>
                <a:gd name="connsiteX144" fmla="*/ 436556 w 2181194"/>
                <a:gd name="connsiteY144" fmla="*/ 667060 h 1469916"/>
                <a:gd name="connsiteX145" fmla="*/ 436556 w 2181194"/>
                <a:gd name="connsiteY145" fmla="*/ 675235 h 1469916"/>
                <a:gd name="connsiteX146" fmla="*/ 441425 w 2181194"/>
                <a:gd name="connsiteY146" fmla="*/ 675235 h 1469916"/>
                <a:gd name="connsiteX147" fmla="*/ 441425 w 2181194"/>
                <a:gd name="connsiteY147" fmla="*/ 683751 h 1469916"/>
                <a:gd name="connsiteX148" fmla="*/ 446974 w 2181194"/>
                <a:gd name="connsiteY148" fmla="*/ 683751 h 1469916"/>
                <a:gd name="connsiteX149" fmla="*/ 446974 w 2181194"/>
                <a:gd name="connsiteY149" fmla="*/ 702826 h 1469916"/>
                <a:gd name="connsiteX150" fmla="*/ 454675 w 2181194"/>
                <a:gd name="connsiteY150" fmla="*/ 702826 h 1469916"/>
                <a:gd name="connsiteX151" fmla="*/ 454675 w 2181194"/>
                <a:gd name="connsiteY151" fmla="*/ 708843 h 1469916"/>
                <a:gd name="connsiteX152" fmla="*/ 461130 w 2181194"/>
                <a:gd name="connsiteY152" fmla="*/ 708843 h 1469916"/>
                <a:gd name="connsiteX153" fmla="*/ 461130 w 2181194"/>
                <a:gd name="connsiteY153" fmla="*/ 713726 h 1469916"/>
                <a:gd name="connsiteX154" fmla="*/ 463508 w 2181194"/>
                <a:gd name="connsiteY154" fmla="*/ 713726 h 1469916"/>
                <a:gd name="connsiteX155" fmla="*/ 463508 w 2181194"/>
                <a:gd name="connsiteY155" fmla="*/ 720992 h 1469916"/>
                <a:gd name="connsiteX156" fmla="*/ 472228 w 2181194"/>
                <a:gd name="connsiteY156" fmla="*/ 720992 h 1469916"/>
                <a:gd name="connsiteX157" fmla="*/ 472228 w 2181194"/>
                <a:gd name="connsiteY157" fmla="*/ 730871 h 1469916"/>
                <a:gd name="connsiteX158" fmla="*/ 481740 w 2181194"/>
                <a:gd name="connsiteY158" fmla="*/ 730871 h 1469916"/>
                <a:gd name="connsiteX159" fmla="*/ 481740 w 2181194"/>
                <a:gd name="connsiteY159" fmla="*/ 741544 h 1469916"/>
                <a:gd name="connsiteX160" fmla="*/ 496575 w 2181194"/>
                <a:gd name="connsiteY160" fmla="*/ 741544 h 1469916"/>
                <a:gd name="connsiteX161" fmla="*/ 496575 w 2181194"/>
                <a:gd name="connsiteY161" fmla="*/ 748810 h 1469916"/>
                <a:gd name="connsiteX162" fmla="*/ 504389 w 2181194"/>
                <a:gd name="connsiteY162" fmla="*/ 748810 h 1469916"/>
                <a:gd name="connsiteX163" fmla="*/ 504389 w 2181194"/>
                <a:gd name="connsiteY163" fmla="*/ 757326 h 1469916"/>
                <a:gd name="connsiteX164" fmla="*/ 507107 w 2181194"/>
                <a:gd name="connsiteY164" fmla="*/ 757326 h 1469916"/>
                <a:gd name="connsiteX165" fmla="*/ 507107 w 2181194"/>
                <a:gd name="connsiteY165" fmla="*/ 759029 h 1469916"/>
                <a:gd name="connsiteX166" fmla="*/ 522508 w 2181194"/>
                <a:gd name="connsiteY166" fmla="*/ 759029 h 1469916"/>
                <a:gd name="connsiteX167" fmla="*/ 522508 w 2181194"/>
                <a:gd name="connsiteY167" fmla="*/ 779807 h 1469916"/>
                <a:gd name="connsiteX168" fmla="*/ 527265 w 2181194"/>
                <a:gd name="connsiteY168" fmla="*/ 779807 h 1469916"/>
                <a:gd name="connsiteX169" fmla="*/ 527265 w 2181194"/>
                <a:gd name="connsiteY169" fmla="*/ 797860 h 1469916"/>
                <a:gd name="connsiteX170" fmla="*/ 536664 w 2181194"/>
                <a:gd name="connsiteY170" fmla="*/ 797860 h 1469916"/>
                <a:gd name="connsiteX171" fmla="*/ 536664 w 2181194"/>
                <a:gd name="connsiteY171" fmla="*/ 807284 h 1469916"/>
                <a:gd name="connsiteX172" fmla="*/ 541194 w 2181194"/>
                <a:gd name="connsiteY172" fmla="*/ 807284 h 1469916"/>
                <a:gd name="connsiteX173" fmla="*/ 541194 w 2181194"/>
                <a:gd name="connsiteY173" fmla="*/ 829652 h 1469916"/>
                <a:gd name="connsiteX174" fmla="*/ 548668 w 2181194"/>
                <a:gd name="connsiteY174" fmla="*/ 829652 h 1469916"/>
                <a:gd name="connsiteX175" fmla="*/ 548668 w 2181194"/>
                <a:gd name="connsiteY175" fmla="*/ 835670 h 1469916"/>
                <a:gd name="connsiteX176" fmla="*/ 558520 w 2181194"/>
                <a:gd name="connsiteY176" fmla="*/ 835670 h 1469916"/>
                <a:gd name="connsiteX177" fmla="*/ 558520 w 2181194"/>
                <a:gd name="connsiteY177" fmla="*/ 842255 h 1469916"/>
                <a:gd name="connsiteX178" fmla="*/ 564862 w 2181194"/>
                <a:gd name="connsiteY178" fmla="*/ 842255 h 1469916"/>
                <a:gd name="connsiteX179" fmla="*/ 564862 w 2181194"/>
                <a:gd name="connsiteY179" fmla="*/ 864510 h 1469916"/>
                <a:gd name="connsiteX180" fmla="*/ 570411 w 2181194"/>
                <a:gd name="connsiteY180" fmla="*/ 864510 h 1469916"/>
                <a:gd name="connsiteX181" fmla="*/ 570411 w 2181194"/>
                <a:gd name="connsiteY181" fmla="*/ 874729 h 1469916"/>
                <a:gd name="connsiteX182" fmla="*/ 573468 w 2181194"/>
                <a:gd name="connsiteY182" fmla="*/ 874729 h 1469916"/>
                <a:gd name="connsiteX183" fmla="*/ 573468 w 2181194"/>
                <a:gd name="connsiteY183" fmla="*/ 889262 h 1469916"/>
                <a:gd name="connsiteX184" fmla="*/ 577205 w 2181194"/>
                <a:gd name="connsiteY184" fmla="*/ 889262 h 1469916"/>
                <a:gd name="connsiteX185" fmla="*/ 577205 w 2181194"/>
                <a:gd name="connsiteY185" fmla="*/ 892668 h 1469916"/>
                <a:gd name="connsiteX186" fmla="*/ 582188 w 2181194"/>
                <a:gd name="connsiteY186" fmla="*/ 892668 h 1469916"/>
                <a:gd name="connsiteX187" fmla="*/ 582188 w 2181194"/>
                <a:gd name="connsiteY187" fmla="*/ 902319 h 1469916"/>
                <a:gd name="connsiteX188" fmla="*/ 596796 w 2181194"/>
                <a:gd name="connsiteY188" fmla="*/ 902319 h 1469916"/>
                <a:gd name="connsiteX189" fmla="*/ 596796 w 2181194"/>
                <a:gd name="connsiteY189" fmla="*/ 908110 h 1469916"/>
                <a:gd name="connsiteX190" fmla="*/ 610159 w 2181194"/>
                <a:gd name="connsiteY190" fmla="*/ 908110 h 1469916"/>
                <a:gd name="connsiteX191" fmla="*/ 610159 w 2181194"/>
                <a:gd name="connsiteY191" fmla="*/ 913673 h 1469916"/>
                <a:gd name="connsiteX192" fmla="*/ 613896 w 2181194"/>
                <a:gd name="connsiteY192" fmla="*/ 913673 h 1469916"/>
                <a:gd name="connsiteX193" fmla="*/ 613896 w 2181194"/>
                <a:gd name="connsiteY193" fmla="*/ 918896 h 1469916"/>
                <a:gd name="connsiteX194" fmla="*/ 621031 w 2181194"/>
                <a:gd name="connsiteY194" fmla="*/ 918896 h 1469916"/>
                <a:gd name="connsiteX195" fmla="*/ 621031 w 2181194"/>
                <a:gd name="connsiteY195" fmla="*/ 929002 h 1469916"/>
                <a:gd name="connsiteX196" fmla="*/ 640169 w 2181194"/>
                <a:gd name="connsiteY196" fmla="*/ 929002 h 1469916"/>
                <a:gd name="connsiteX197" fmla="*/ 640169 w 2181194"/>
                <a:gd name="connsiteY197" fmla="*/ 940129 h 1469916"/>
                <a:gd name="connsiteX198" fmla="*/ 678445 w 2181194"/>
                <a:gd name="connsiteY198" fmla="*/ 940129 h 1469916"/>
                <a:gd name="connsiteX199" fmla="*/ 678445 w 2181194"/>
                <a:gd name="connsiteY199" fmla="*/ 945238 h 1469916"/>
                <a:gd name="connsiteX200" fmla="*/ 704831 w 2181194"/>
                <a:gd name="connsiteY200" fmla="*/ 945238 h 1469916"/>
                <a:gd name="connsiteX201" fmla="*/ 704831 w 2181194"/>
                <a:gd name="connsiteY201" fmla="*/ 951710 h 1469916"/>
                <a:gd name="connsiteX202" fmla="*/ 719100 w 2181194"/>
                <a:gd name="connsiteY202" fmla="*/ 951710 h 1469916"/>
                <a:gd name="connsiteX203" fmla="*/ 719100 w 2181194"/>
                <a:gd name="connsiteY203" fmla="*/ 961929 h 1469916"/>
                <a:gd name="connsiteX204" fmla="*/ 734841 w 2181194"/>
                <a:gd name="connsiteY204" fmla="*/ 961929 h 1469916"/>
                <a:gd name="connsiteX205" fmla="*/ 734841 w 2181194"/>
                <a:gd name="connsiteY205" fmla="*/ 971921 h 1469916"/>
                <a:gd name="connsiteX206" fmla="*/ 744920 w 2181194"/>
                <a:gd name="connsiteY206" fmla="*/ 971921 h 1469916"/>
                <a:gd name="connsiteX207" fmla="*/ 744920 w 2181194"/>
                <a:gd name="connsiteY207" fmla="*/ 984978 h 1469916"/>
                <a:gd name="connsiteX208" fmla="*/ 751941 w 2181194"/>
                <a:gd name="connsiteY208" fmla="*/ 984978 h 1469916"/>
                <a:gd name="connsiteX209" fmla="*/ 751941 w 2181194"/>
                <a:gd name="connsiteY209" fmla="*/ 995991 h 1469916"/>
                <a:gd name="connsiteX210" fmla="*/ 762359 w 2181194"/>
                <a:gd name="connsiteY210" fmla="*/ 995991 h 1469916"/>
                <a:gd name="connsiteX211" fmla="*/ 762359 w 2181194"/>
                <a:gd name="connsiteY211" fmla="*/ 1009049 h 1469916"/>
                <a:gd name="connsiteX212" fmla="*/ 771532 w 2181194"/>
                <a:gd name="connsiteY212" fmla="*/ 1009049 h 1469916"/>
                <a:gd name="connsiteX213" fmla="*/ 771532 w 2181194"/>
                <a:gd name="connsiteY213" fmla="*/ 1018473 h 1469916"/>
                <a:gd name="connsiteX214" fmla="*/ 777307 w 2181194"/>
                <a:gd name="connsiteY214" fmla="*/ 1018473 h 1469916"/>
                <a:gd name="connsiteX215" fmla="*/ 777307 w 2181194"/>
                <a:gd name="connsiteY215" fmla="*/ 1035277 h 1469916"/>
                <a:gd name="connsiteX216" fmla="*/ 780025 w 2181194"/>
                <a:gd name="connsiteY216" fmla="*/ 1035277 h 1469916"/>
                <a:gd name="connsiteX217" fmla="*/ 780025 w 2181194"/>
                <a:gd name="connsiteY217" fmla="*/ 1037207 h 1469916"/>
                <a:gd name="connsiteX218" fmla="*/ 788972 w 2181194"/>
                <a:gd name="connsiteY218" fmla="*/ 1037207 h 1469916"/>
                <a:gd name="connsiteX219" fmla="*/ 788972 w 2181194"/>
                <a:gd name="connsiteY219" fmla="*/ 1039819 h 1469916"/>
                <a:gd name="connsiteX220" fmla="*/ 794974 w 2181194"/>
                <a:gd name="connsiteY220" fmla="*/ 1039819 h 1469916"/>
                <a:gd name="connsiteX221" fmla="*/ 794974 w 2181194"/>
                <a:gd name="connsiteY221" fmla="*/ 1041749 h 1469916"/>
                <a:gd name="connsiteX222" fmla="*/ 806751 w 2181194"/>
                <a:gd name="connsiteY222" fmla="*/ 1041749 h 1469916"/>
                <a:gd name="connsiteX223" fmla="*/ 806751 w 2181194"/>
                <a:gd name="connsiteY223" fmla="*/ 1066728 h 1469916"/>
                <a:gd name="connsiteX224" fmla="*/ 809582 w 2181194"/>
                <a:gd name="connsiteY224" fmla="*/ 1066728 h 1469916"/>
                <a:gd name="connsiteX225" fmla="*/ 809582 w 2181194"/>
                <a:gd name="connsiteY225" fmla="*/ 1070135 h 1469916"/>
                <a:gd name="connsiteX226" fmla="*/ 816603 w 2181194"/>
                <a:gd name="connsiteY226" fmla="*/ 1070135 h 1469916"/>
                <a:gd name="connsiteX227" fmla="*/ 816603 w 2181194"/>
                <a:gd name="connsiteY227" fmla="*/ 1074222 h 1469916"/>
                <a:gd name="connsiteX228" fmla="*/ 852162 w 2181194"/>
                <a:gd name="connsiteY228" fmla="*/ 1074222 h 1469916"/>
                <a:gd name="connsiteX229" fmla="*/ 852162 w 2181194"/>
                <a:gd name="connsiteY229" fmla="*/ 1085690 h 1469916"/>
                <a:gd name="connsiteX230" fmla="*/ 858956 w 2181194"/>
                <a:gd name="connsiteY230" fmla="*/ 1085690 h 1469916"/>
                <a:gd name="connsiteX231" fmla="*/ 858956 w 2181194"/>
                <a:gd name="connsiteY231" fmla="*/ 1094433 h 1469916"/>
                <a:gd name="connsiteX232" fmla="*/ 862354 w 2181194"/>
                <a:gd name="connsiteY232" fmla="*/ 1094433 h 1469916"/>
                <a:gd name="connsiteX233" fmla="*/ 862354 w 2181194"/>
                <a:gd name="connsiteY233" fmla="*/ 1097952 h 1469916"/>
                <a:gd name="connsiteX234" fmla="*/ 869148 w 2181194"/>
                <a:gd name="connsiteY234" fmla="*/ 1097952 h 1469916"/>
                <a:gd name="connsiteX235" fmla="*/ 869148 w 2181194"/>
                <a:gd name="connsiteY235" fmla="*/ 1102721 h 1469916"/>
                <a:gd name="connsiteX236" fmla="*/ 882964 w 2181194"/>
                <a:gd name="connsiteY236" fmla="*/ 1102721 h 1469916"/>
                <a:gd name="connsiteX237" fmla="*/ 882964 w 2181194"/>
                <a:gd name="connsiteY237" fmla="*/ 1113281 h 1469916"/>
                <a:gd name="connsiteX238" fmla="*/ 885682 w 2181194"/>
                <a:gd name="connsiteY238" fmla="*/ 1113281 h 1469916"/>
                <a:gd name="connsiteX239" fmla="*/ 885682 w 2181194"/>
                <a:gd name="connsiteY239" fmla="*/ 1123953 h 1469916"/>
                <a:gd name="connsiteX240" fmla="*/ 892363 w 2181194"/>
                <a:gd name="connsiteY240" fmla="*/ 1123953 h 1469916"/>
                <a:gd name="connsiteX241" fmla="*/ 892363 w 2181194"/>
                <a:gd name="connsiteY241" fmla="*/ 1135194 h 1469916"/>
                <a:gd name="connsiteX242" fmla="*/ 902442 w 2181194"/>
                <a:gd name="connsiteY242" fmla="*/ 1135194 h 1469916"/>
                <a:gd name="connsiteX243" fmla="*/ 902442 w 2181194"/>
                <a:gd name="connsiteY243" fmla="*/ 1145981 h 1469916"/>
                <a:gd name="connsiteX244" fmla="*/ 907651 w 2181194"/>
                <a:gd name="connsiteY244" fmla="*/ 1145981 h 1469916"/>
                <a:gd name="connsiteX245" fmla="*/ 907651 w 2181194"/>
                <a:gd name="connsiteY245" fmla="*/ 1152112 h 1469916"/>
                <a:gd name="connsiteX246" fmla="*/ 946041 w 2181194"/>
                <a:gd name="connsiteY246" fmla="*/ 1152112 h 1469916"/>
                <a:gd name="connsiteX247" fmla="*/ 946041 w 2181194"/>
                <a:gd name="connsiteY247" fmla="*/ 1157221 h 1469916"/>
                <a:gd name="connsiteX248" fmla="*/ 962688 w 2181194"/>
                <a:gd name="connsiteY248" fmla="*/ 1157221 h 1469916"/>
                <a:gd name="connsiteX249" fmla="*/ 962688 w 2181194"/>
                <a:gd name="connsiteY249" fmla="*/ 1168462 h 1469916"/>
                <a:gd name="connsiteX250" fmla="*/ 987828 w 2181194"/>
                <a:gd name="connsiteY250" fmla="*/ 1168462 h 1469916"/>
                <a:gd name="connsiteX251" fmla="*/ 987828 w 2181194"/>
                <a:gd name="connsiteY251" fmla="*/ 1178567 h 1469916"/>
                <a:gd name="connsiteX252" fmla="*/ 1000285 w 2181194"/>
                <a:gd name="connsiteY252" fmla="*/ 1178567 h 1469916"/>
                <a:gd name="connsiteX253" fmla="*/ 1000285 w 2181194"/>
                <a:gd name="connsiteY253" fmla="*/ 1191965 h 1469916"/>
                <a:gd name="connsiteX254" fmla="*/ 1007080 w 2181194"/>
                <a:gd name="connsiteY254" fmla="*/ 1191965 h 1469916"/>
                <a:gd name="connsiteX255" fmla="*/ 1007080 w 2181194"/>
                <a:gd name="connsiteY255" fmla="*/ 1199005 h 1469916"/>
                <a:gd name="connsiteX256" fmla="*/ 1015913 w 2181194"/>
                <a:gd name="connsiteY256" fmla="*/ 1199005 h 1469916"/>
                <a:gd name="connsiteX257" fmla="*/ 1015913 w 2181194"/>
                <a:gd name="connsiteY257" fmla="*/ 1208542 h 1469916"/>
                <a:gd name="connsiteX258" fmla="*/ 1032447 w 2181194"/>
                <a:gd name="connsiteY258" fmla="*/ 1208542 h 1469916"/>
                <a:gd name="connsiteX259" fmla="*/ 1032447 w 2181194"/>
                <a:gd name="connsiteY259" fmla="*/ 1220578 h 1469916"/>
                <a:gd name="connsiteX260" fmla="*/ 1049886 w 2181194"/>
                <a:gd name="connsiteY260" fmla="*/ 1220578 h 1469916"/>
                <a:gd name="connsiteX261" fmla="*/ 1049886 w 2181194"/>
                <a:gd name="connsiteY261" fmla="*/ 1232386 h 1469916"/>
                <a:gd name="connsiteX262" fmla="*/ 1103677 w 2181194"/>
                <a:gd name="connsiteY262" fmla="*/ 1232386 h 1469916"/>
                <a:gd name="connsiteX263" fmla="*/ 1103677 w 2181194"/>
                <a:gd name="connsiteY263" fmla="*/ 1238972 h 1469916"/>
                <a:gd name="connsiteX264" fmla="*/ 1184533 w 2181194"/>
                <a:gd name="connsiteY264" fmla="*/ 1238972 h 1469916"/>
                <a:gd name="connsiteX265" fmla="*/ 1184533 w 2181194"/>
                <a:gd name="connsiteY265" fmla="*/ 1243400 h 1469916"/>
                <a:gd name="connsiteX266" fmla="*/ 1189743 w 2181194"/>
                <a:gd name="connsiteY266" fmla="*/ 1243400 h 1469916"/>
                <a:gd name="connsiteX267" fmla="*/ 1189743 w 2181194"/>
                <a:gd name="connsiteY267" fmla="*/ 1249190 h 1469916"/>
                <a:gd name="connsiteX268" fmla="*/ 1212844 w 2181194"/>
                <a:gd name="connsiteY268" fmla="*/ 1249190 h 1469916"/>
                <a:gd name="connsiteX269" fmla="*/ 1212844 w 2181194"/>
                <a:gd name="connsiteY269" fmla="*/ 1255208 h 1469916"/>
                <a:gd name="connsiteX270" fmla="*/ 1215336 w 2181194"/>
                <a:gd name="connsiteY270" fmla="*/ 1255208 h 1469916"/>
                <a:gd name="connsiteX271" fmla="*/ 1215336 w 2181194"/>
                <a:gd name="connsiteY271" fmla="*/ 1266903 h 1469916"/>
                <a:gd name="connsiteX272" fmla="*/ 1230284 w 2181194"/>
                <a:gd name="connsiteY272" fmla="*/ 1266903 h 1469916"/>
                <a:gd name="connsiteX273" fmla="*/ 1230284 w 2181194"/>
                <a:gd name="connsiteY273" fmla="*/ 1272921 h 1469916"/>
                <a:gd name="connsiteX274" fmla="*/ 1238211 w 2181194"/>
                <a:gd name="connsiteY274" fmla="*/ 1272921 h 1469916"/>
                <a:gd name="connsiteX275" fmla="*/ 1238211 w 2181194"/>
                <a:gd name="connsiteY275" fmla="*/ 1278257 h 1469916"/>
                <a:gd name="connsiteX276" fmla="*/ 1257576 w 2181194"/>
                <a:gd name="connsiteY276" fmla="*/ 1278257 h 1469916"/>
                <a:gd name="connsiteX277" fmla="*/ 1257576 w 2181194"/>
                <a:gd name="connsiteY277" fmla="*/ 1287681 h 1469916"/>
                <a:gd name="connsiteX278" fmla="*/ 1261992 w 2181194"/>
                <a:gd name="connsiteY278" fmla="*/ 1287681 h 1469916"/>
                <a:gd name="connsiteX279" fmla="*/ 1261992 w 2181194"/>
                <a:gd name="connsiteY279" fmla="*/ 1292450 h 1469916"/>
                <a:gd name="connsiteX280" fmla="*/ 1273430 w 2181194"/>
                <a:gd name="connsiteY280" fmla="*/ 1292450 h 1469916"/>
                <a:gd name="connsiteX281" fmla="*/ 1273430 w 2181194"/>
                <a:gd name="connsiteY281" fmla="*/ 1297105 h 1469916"/>
                <a:gd name="connsiteX282" fmla="*/ 1281130 w 2181194"/>
                <a:gd name="connsiteY282" fmla="*/ 1297105 h 1469916"/>
                <a:gd name="connsiteX283" fmla="*/ 1281130 w 2181194"/>
                <a:gd name="connsiteY283" fmla="*/ 1301193 h 1469916"/>
                <a:gd name="connsiteX284" fmla="*/ 1298683 w 2181194"/>
                <a:gd name="connsiteY284" fmla="*/ 1301193 h 1469916"/>
                <a:gd name="connsiteX285" fmla="*/ 1298683 w 2181194"/>
                <a:gd name="connsiteY285" fmla="*/ 1311639 h 1469916"/>
                <a:gd name="connsiteX286" fmla="*/ 1302194 w 2181194"/>
                <a:gd name="connsiteY286" fmla="*/ 1311639 h 1469916"/>
                <a:gd name="connsiteX287" fmla="*/ 1302194 w 2181194"/>
                <a:gd name="connsiteY287" fmla="*/ 1314591 h 1469916"/>
                <a:gd name="connsiteX288" fmla="*/ 1317935 w 2181194"/>
                <a:gd name="connsiteY288" fmla="*/ 1314591 h 1469916"/>
                <a:gd name="connsiteX289" fmla="*/ 1317935 w 2181194"/>
                <a:gd name="connsiteY289" fmla="*/ 1323788 h 1469916"/>
                <a:gd name="connsiteX290" fmla="*/ 1334921 w 2181194"/>
                <a:gd name="connsiteY290" fmla="*/ 1323788 h 1469916"/>
                <a:gd name="connsiteX291" fmla="*/ 1334921 w 2181194"/>
                <a:gd name="connsiteY291" fmla="*/ 1330146 h 1469916"/>
                <a:gd name="connsiteX292" fmla="*/ 1341490 w 2181194"/>
                <a:gd name="connsiteY292" fmla="*/ 1330146 h 1469916"/>
                <a:gd name="connsiteX293" fmla="*/ 1341490 w 2181194"/>
                <a:gd name="connsiteY293" fmla="*/ 1335823 h 1469916"/>
                <a:gd name="connsiteX294" fmla="*/ 1364478 w 2181194"/>
                <a:gd name="connsiteY294" fmla="*/ 1335823 h 1469916"/>
                <a:gd name="connsiteX295" fmla="*/ 1364478 w 2181194"/>
                <a:gd name="connsiteY295" fmla="*/ 1341727 h 1469916"/>
                <a:gd name="connsiteX296" fmla="*/ 1403434 w 2181194"/>
                <a:gd name="connsiteY296" fmla="*/ 1341727 h 1469916"/>
                <a:gd name="connsiteX297" fmla="*/ 1403434 w 2181194"/>
                <a:gd name="connsiteY297" fmla="*/ 1346950 h 1469916"/>
                <a:gd name="connsiteX298" fmla="*/ 1449411 w 2181194"/>
                <a:gd name="connsiteY298" fmla="*/ 1346950 h 1469916"/>
                <a:gd name="connsiteX299" fmla="*/ 1449411 w 2181194"/>
                <a:gd name="connsiteY299" fmla="*/ 1354671 h 1469916"/>
                <a:gd name="connsiteX300" fmla="*/ 1466398 w 2181194"/>
                <a:gd name="connsiteY300" fmla="*/ 1354671 h 1469916"/>
                <a:gd name="connsiteX301" fmla="*/ 1466398 w 2181194"/>
                <a:gd name="connsiteY301" fmla="*/ 1367274 h 1469916"/>
                <a:gd name="connsiteX302" fmla="*/ 1574999 w 2181194"/>
                <a:gd name="connsiteY302" fmla="*/ 1367274 h 1469916"/>
                <a:gd name="connsiteX303" fmla="*/ 1574999 w 2181194"/>
                <a:gd name="connsiteY303" fmla="*/ 1374768 h 1469916"/>
                <a:gd name="connsiteX304" fmla="*/ 1586210 w 2181194"/>
                <a:gd name="connsiteY304" fmla="*/ 1374768 h 1469916"/>
                <a:gd name="connsiteX305" fmla="*/ 1586210 w 2181194"/>
                <a:gd name="connsiteY305" fmla="*/ 1383624 h 1469916"/>
                <a:gd name="connsiteX306" fmla="*/ 1617012 w 2181194"/>
                <a:gd name="connsiteY306" fmla="*/ 1383624 h 1469916"/>
                <a:gd name="connsiteX307" fmla="*/ 1617012 w 2181194"/>
                <a:gd name="connsiteY307" fmla="*/ 1393616 h 1469916"/>
                <a:gd name="connsiteX308" fmla="*/ 1691527 w 2181194"/>
                <a:gd name="connsiteY308" fmla="*/ 1393616 h 1469916"/>
                <a:gd name="connsiteX309" fmla="*/ 1691527 w 2181194"/>
                <a:gd name="connsiteY309" fmla="*/ 1403948 h 1469916"/>
                <a:gd name="connsiteX310" fmla="*/ 1791635 w 2181194"/>
                <a:gd name="connsiteY310" fmla="*/ 1403948 h 1469916"/>
                <a:gd name="connsiteX311" fmla="*/ 1791635 w 2181194"/>
                <a:gd name="connsiteY311" fmla="*/ 1417233 h 1469916"/>
                <a:gd name="connsiteX312" fmla="*/ 1817228 w 2181194"/>
                <a:gd name="connsiteY312" fmla="*/ 1417233 h 1469916"/>
                <a:gd name="connsiteX313" fmla="*/ 1817228 w 2181194"/>
                <a:gd name="connsiteY313" fmla="*/ 1435172 h 1469916"/>
                <a:gd name="connsiteX314" fmla="*/ 1924470 w 2181194"/>
                <a:gd name="connsiteY314" fmla="*/ 1435172 h 1469916"/>
                <a:gd name="connsiteX315" fmla="*/ 1924470 w 2181194"/>
                <a:gd name="connsiteY315" fmla="*/ 1469916 h 1469916"/>
                <a:gd name="connsiteX316" fmla="*/ 2181195 w 2181194"/>
                <a:gd name="connsiteY316" fmla="*/ 1469916 h 1469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2181194" h="1469916">
                  <a:moveTo>
                    <a:pt x="0" y="0"/>
                  </a:moveTo>
                  <a:lnTo>
                    <a:pt x="0" y="11354"/>
                  </a:lnTo>
                  <a:lnTo>
                    <a:pt x="24914" y="11354"/>
                  </a:lnTo>
                  <a:lnTo>
                    <a:pt x="24914" y="15782"/>
                  </a:lnTo>
                  <a:lnTo>
                    <a:pt x="29670" y="15782"/>
                  </a:lnTo>
                  <a:lnTo>
                    <a:pt x="29670" y="19416"/>
                  </a:lnTo>
                  <a:lnTo>
                    <a:pt x="33407" y="19416"/>
                  </a:lnTo>
                  <a:lnTo>
                    <a:pt x="33407" y="22254"/>
                  </a:lnTo>
                  <a:lnTo>
                    <a:pt x="38050" y="22254"/>
                  </a:lnTo>
                  <a:lnTo>
                    <a:pt x="38050" y="30883"/>
                  </a:lnTo>
                  <a:lnTo>
                    <a:pt x="44052" y="30883"/>
                  </a:lnTo>
                  <a:lnTo>
                    <a:pt x="44052" y="38604"/>
                  </a:lnTo>
                  <a:lnTo>
                    <a:pt x="50394" y="38604"/>
                  </a:lnTo>
                  <a:lnTo>
                    <a:pt x="50394" y="47801"/>
                  </a:lnTo>
                  <a:lnTo>
                    <a:pt x="55263" y="47801"/>
                  </a:lnTo>
                  <a:lnTo>
                    <a:pt x="55263" y="50299"/>
                  </a:lnTo>
                  <a:lnTo>
                    <a:pt x="64549" y="50299"/>
                  </a:lnTo>
                  <a:lnTo>
                    <a:pt x="64549" y="53933"/>
                  </a:lnTo>
                  <a:lnTo>
                    <a:pt x="67040" y="53933"/>
                  </a:lnTo>
                  <a:lnTo>
                    <a:pt x="67040" y="61199"/>
                  </a:lnTo>
                  <a:lnTo>
                    <a:pt x="73495" y="61199"/>
                  </a:lnTo>
                  <a:lnTo>
                    <a:pt x="73495" y="76641"/>
                  </a:lnTo>
                  <a:lnTo>
                    <a:pt x="79271" y="76641"/>
                  </a:lnTo>
                  <a:lnTo>
                    <a:pt x="79271" y="106616"/>
                  </a:lnTo>
                  <a:lnTo>
                    <a:pt x="93087" y="106616"/>
                  </a:lnTo>
                  <a:lnTo>
                    <a:pt x="93087" y="121490"/>
                  </a:lnTo>
                  <a:lnTo>
                    <a:pt x="94672" y="121490"/>
                  </a:lnTo>
                  <a:lnTo>
                    <a:pt x="94672" y="124329"/>
                  </a:lnTo>
                  <a:lnTo>
                    <a:pt x="95918" y="124329"/>
                  </a:lnTo>
                  <a:lnTo>
                    <a:pt x="95918" y="126486"/>
                  </a:lnTo>
                  <a:lnTo>
                    <a:pt x="98069" y="126486"/>
                  </a:lnTo>
                  <a:lnTo>
                    <a:pt x="98069" y="133071"/>
                  </a:lnTo>
                  <a:lnTo>
                    <a:pt x="101580" y="133071"/>
                  </a:lnTo>
                  <a:lnTo>
                    <a:pt x="101580" y="136137"/>
                  </a:lnTo>
                  <a:lnTo>
                    <a:pt x="106110" y="136137"/>
                  </a:lnTo>
                  <a:lnTo>
                    <a:pt x="106110" y="140792"/>
                  </a:lnTo>
                  <a:lnTo>
                    <a:pt x="111772" y="140792"/>
                  </a:lnTo>
                  <a:lnTo>
                    <a:pt x="111772" y="150784"/>
                  </a:lnTo>
                  <a:lnTo>
                    <a:pt x="120039" y="150784"/>
                  </a:lnTo>
                  <a:lnTo>
                    <a:pt x="120039" y="162365"/>
                  </a:lnTo>
                  <a:lnTo>
                    <a:pt x="121737" y="162365"/>
                  </a:lnTo>
                  <a:lnTo>
                    <a:pt x="121737" y="174514"/>
                  </a:lnTo>
                  <a:lnTo>
                    <a:pt x="129778" y="174514"/>
                  </a:lnTo>
                  <a:lnTo>
                    <a:pt x="129778" y="189388"/>
                  </a:lnTo>
                  <a:lnTo>
                    <a:pt x="130344" y="189388"/>
                  </a:lnTo>
                  <a:lnTo>
                    <a:pt x="130344" y="193816"/>
                  </a:lnTo>
                  <a:lnTo>
                    <a:pt x="131363" y="193816"/>
                  </a:lnTo>
                  <a:lnTo>
                    <a:pt x="131363" y="196769"/>
                  </a:lnTo>
                  <a:lnTo>
                    <a:pt x="133402" y="196769"/>
                  </a:lnTo>
                  <a:lnTo>
                    <a:pt x="133402" y="199721"/>
                  </a:lnTo>
                  <a:lnTo>
                    <a:pt x="135893" y="199721"/>
                  </a:lnTo>
                  <a:lnTo>
                    <a:pt x="135893" y="210848"/>
                  </a:lnTo>
                  <a:lnTo>
                    <a:pt x="139064" y="210848"/>
                  </a:lnTo>
                  <a:lnTo>
                    <a:pt x="139064" y="218228"/>
                  </a:lnTo>
                  <a:lnTo>
                    <a:pt x="142574" y="218228"/>
                  </a:lnTo>
                  <a:lnTo>
                    <a:pt x="142574" y="225154"/>
                  </a:lnTo>
                  <a:lnTo>
                    <a:pt x="149369" y="225154"/>
                  </a:lnTo>
                  <a:lnTo>
                    <a:pt x="149369" y="253199"/>
                  </a:lnTo>
                  <a:lnTo>
                    <a:pt x="154918" y="253199"/>
                  </a:lnTo>
                  <a:lnTo>
                    <a:pt x="154918" y="272047"/>
                  </a:lnTo>
                  <a:lnTo>
                    <a:pt x="163864" y="272047"/>
                  </a:lnTo>
                  <a:lnTo>
                    <a:pt x="163864" y="287602"/>
                  </a:lnTo>
                  <a:lnTo>
                    <a:pt x="175981" y="287602"/>
                  </a:lnTo>
                  <a:lnTo>
                    <a:pt x="175981" y="296231"/>
                  </a:lnTo>
                  <a:lnTo>
                    <a:pt x="185494" y="296231"/>
                  </a:lnTo>
                  <a:lnTo>
                    <a:pt x="185494" y="299297"/>
                  </a:lnTo>
                  <a:lnTo>
                    <a:pt x="188665" y="299297"/>
                  </a:lnTo>
                  <a:lnTo>
                    <a:pt x="188665" y="310197"/>
                  </a:lnTo>
                  <a:lnTo>
                    <a:pt x="192628" y="310197"/>
                  </a:lnTo>
                  <a:lnTo>
                    <a:pt x="192628" y="314852"/>
                  </a:lnTo>
                  <a:lnTo>
                    <a:pt x="202933" y="314852"/>
                  </a:lnTo>
                  <a:lnTo>
                    <a:pt x="202933" y="328818"/>
                  </a:lnTo>
                  <a:lnTo>
                    <a:pt x="208822" y="328818"/>
                  </a:lnTo>
                  <a:lnTo>
                    <a:pt x="208822" y="335290"/>
                  </a:lnTo>
                  <a:lnTo>
                    <a:pt x="212106" y="335290"/>
                  </a:lnTo>
                  <a:lnTo>
                    <a:pt x="212106" y="347439"/>
                  </a:lnTo>
                  <a:lnTo>
                    <a:pt x="218108" y="347439"/>
                  </a:lnTo>
                  <a:lnTo>
                    <a:pt x="218108" y="358680"/>
                  </a:lnTo>
                  <a:lnTo>
                    <a:pt x="220826" y="358680"/>
                  </a:lnTo>
                  <a:lnTo>
                    <a:pt x="220826" y="364243"/>
                  </a:lnTo>
                  <a:lnTo>
                    <a:pt x="233849" y="364243"/>
                  </a:lnTo>
                  <a:lnTo>
                    <a:pt x="233849" y="379571"/>
                  </a:lnTo>
                  <a:lnTo>
                    <a:pt x="239285" y="379571"/>
                  </a:lnTo>
                  <a:lnTo>
                    <a:pt x="239285" y="391607"/>
                  </a:lnTo>
                  <a:lnTo>
                    <a:pt x="248910" y="391607"/>
                  </a:lnTo>
                  <a:lnTo>
                    <a:pt x="248910" y="402734"/>
                  </a:lnTo>
                  <a:lnTo>
                    <a:pt x="258876" y="402734"/>
                  </a:lnTo>
                  <a:lnTo>
                    <a:pt x="258876" y="417040"/>
                  </a:lnTo>
                  <a:lnTo>
                    <a:pt x="268841" y="417040"/>
                  </a:lnTo>
                  <a:lnTo>
                    <a:pt x="268841" y="424988"/>
                  </a:lnTo>
                  <a:lnTo>
                    <a:pt x="274164" y="424988"/>
                  </a:lnTo>
                  <a:lnTo>
                    <a:pt x="274164" y="441452"/>
                  </a:lnTo>
                  <a:lnTo>
                    <a:pt x="278920" y="441452"/>
                  </a:lnTo>
                  <a:lnTo>
                    <a:pt x="278920" y="451898"/>
                  </a:lnTo>
                  <a:lnTo>
                    <a:pt x="284016" y="451898"/>
                  </a:lnTo>
                  <a:lnTo>
                    <a:pt x="284016" y="463479"/>
                  </a:lnTo>
                  <a:lnTo>
                    <a:pt x="287753" y="463479"/>
                  </a:lnTo>
                  <a:lnTo>
                    <a:pt x="287753" y="469497"/>
                  </a:lnTo>
                  <a:lnTo>
                    <a:pt x="295794" y="469497"/>
                  </a:lnTo>
                  <a:lnTo>
                    <a:pt x="295794" y="490048"/>
                  </a:lnTo>
                  <a:lnTo>
                    <a:pt x="305533" y="490048"/>
                  </a:lnTo>
                  <a:lnTo>
                    <a:pt x="305533" y="501288"/>
                  </a:lnTo>
                  <a:lnTo>
                    <a:pt x="311535" y="501288"/>
                  </a:lnTo>
                  <a:lnTo>
                    <a:pt x="311535" y="510485"/>
                  </a:lnTo>
                  <a:lnTo>
                    <a:pt x="319462" y="510485"/>
                  </a:lnTo>
                  <a:lnTo>
                    <a:pt x="319462" y="517979"/>
                  </a:lnTo>
                  <a:lnTo>
                    <a:pt x="326483" y="517979"/>
                  </a:lnTo>
                  <a:lnTo>
                    <a:pt x="326483" y="528993"/>
                  </a:lnTo>
                  <a:lnTo>
                    <a:pt x="332371" y="528993"/>
                  </a:lnTo>
                  <a:lnTo>
                    <a:pt x="332371" y="544775"/>
                  </a:lnTo>
                  <a:lnTo>
                    <a:pt x="342677" y="544775"/>
                  </a:lnTo>
                  <a:lnTo>
                    <a:pt x="342677" y="556243"/>
                  </a:lnTo>
                  <a:lnTo>
                    <a:pt x="347546" y="556243"/>
                  </a:lnTo>
                  <a:lnTo>
                    <a:pt x="347546" y="565326"/>
                  </a:lnTo>
                  <a:lnTo>
                    <a:pt x="350490" y="565326"/>
                  </a:lnTo>
                  <a:lnTo>
                    <a:pt x="350490" y="567824"/>
                  </a:lnTo>
                  <a:lnTo>
                    <a:pt x="352869" y="567824"/>
                  </a:lnTo>
                  <a:lnTo>
                    <a:pt x="352869" y="577475"/>
                  </a:lnTo>
                  <a:lnTo>
                    <a:pt x="357625" y="577475"/>
                  </a:lnTo>
                  <a:lnTo>
                    <a:pt x="357625" y="584288"/>
                  </a:lnTo>
                  <a:lnTo>
                    <a:pt x="368157" y="584288"/>
                  </a:lnTo>
                  <a:lnTo>
                    <a:pt x="368157" y="588716"/>
                  </a:lnTo>
                  <a:lnTo>
                    <a:pt x="369402" y="588716"/>
                  </a:lnTo>
                  <a:lnTo>
                    <a:pt x="369402" y="590078"/>
                  </a:lnTo>
                  <a:lnTo>
                    <a:pt x="374159" y="590078"/>
                  </a:lnTo>
                  <a:lnTo>
                    <a:pt x="374159" y="600184"/>
                  </a:lnTo>
                  <a:lnTo>
                    <a:pt x="386502" y="600184"/>
                  </a:lnTo>
                  <a:lnTo>
                    <a:pt x="386502" y="606088"/>
                  </a:lnTo>
                  <a:lnTo>
                    <a:pt x="393070" y="606088"/>
                  </a:lnTo>
                  <a:lnTo>
                    <a:pt x="393070" y="622211"/>
                  </a:lnTo>
                  <a:lnTo>
                    <a:pt x="406546" y="622211"/>
                  </a:lnTo>
                  <a:lnTo>
                    <a:pt x="406546" y="626980"/>
                  </a:lnTo>
                  <a:lnTo>
                    <a:pt x="408585" y="626980"/>
                  </a:lnTo>
                  <a:lnTo>
                    <a:pt x="408585" y="632997"/>
                  </a:lnTo>
                  <a:lnTo>
                    <a:pt x="410963" y="632997"/>
                  </a:lnTo>
                  <a:lnTo>
                    <a:pt x="410963" y="638788"/>
                  </a:lnTo>
                  <a:lnTo>
                    <a:pt x="413341" y="638788"/>
                  </a:lnTo>
                  <a:lnTo>
                    <a:pt x="413341" y="649688"/>
                  </a:lnTo>
                  <a:lnTo>
                    <a:pt x="417304" y="649688"/>
                  </a:lnTo>
                  <a:lnTo>
                    <a:pt x="417304" y="651505"/>
                  </a:lnTo>
                  <a:lnTo>
                    <a:pt x="421721" y="651505"/>
                  </a:lnTo>
                  <a:lnTo>
                    <a:pt x="421721" y="659566"/>
                  </a:lnTo>
                  <a:lnTo>
                    <a:pt x="428516" y="659566"/>
                  </a:lnTo>
                  <a:lnTo>
                    <a:pt x="428516" y="667060"/>
                  </a:lnTo>
                  <a:lnTo>
                    <a:pt x="436556" y="667060"/>
                  </a:lnTo>
                  <a:lnTo>
                    <a:pt x="436556" y="675235"/>
                  </a:lnTo>
                  <a:lnTo>
                    <a:pt x="441425" y="675235"/>
                  </a:lnTo>
                  <a:lnTo>
                    <a:pt x="441425" y="683751"/>
                  </a:lnTo>
                  <a:lnTo>
                    <a:pt x="446974" y="683751"/>
                  </a:lnTo>
                  <a:lnTo>
                    <a:pt x="446974" y="702826"/>
                  </a:lnTo>
                  <a:lnTo>
                    <a:pt x="454675" y="702826"/>
                  </a:lnTo>
                  <a:lnTo>
                    <a:pt x="454675" y="708843"/>
                  </a:lnTo>
                  <a:lnTo>
                    <a:pt x="461130" y="708843"/>
                  </a:lnTo>
                  <a:lnTo>
                    <a:pt x="461130" y="713726"/>
                  </a:lnTo>
                  <a:lnTo>
                    <a:pt x="463508" y="713726"/>
                  </a:lnTo>
                  <a:lnTo>
                    <a:pt x="463508" y="720992"/>
                  </a:lnTo>
                  <a:lnTo>
                    <a:pt x="472228" y="720992"/>
                  </a:lnTo>
                  <a:lnTo>
                    <a:pt x="472228" y="730871"/>
                  </a:lnTo>
                  <a:lnTo>
                    <a:pt x="481740" y="730871"/>
                  </a:lnTo>
                  <a:lnTo>
                    <a:pt x="481740" y="741544"/>
                  </a:lnTo>
                  <a:lnTo>
                    <a:pt x="496575" y="741544"/>
                  </a:lnTo>
                  <a:lnTo>
                    <a:pt x="496575" y="748810"/>
                  </a:lnTo>
                  <a:lnTo>
                    <a:pt x="504389" y="748810"/>
                  </a:lnTo>
                  <a:lnTo>
                    <a:pt x="504389" y="757326"/>
                  </a:lnTo>
                  <a:lnTo>
                    <a:pt x="507107" y="757326"/>
                  </a:lnTo>
                  <a:lnTo>
                    <a:pt x="507107" y="759029"/>
                  </a:lnTo>
                  <a:lnTo>
                    <a:pt x="522508" y="759029"/>
                  </a:lnTo>
                  <a:lnTo>
                    <a:pt x="522508" y="779807"/>
                  </a:lnTo>
                  <a:lnTo>
                    <a:pt x="527265" y="779807"/>
                  </a:lnTo>
                  <a:lnTo>
                    <a:pt x="527265" y="797860"/>
                  </a:lnTo>
                  <a:lnTo>
                    <a:pt x="536664" y="797860"/>
                  </a:lnTo>
                  <a:lnTo>
                    <a:pt x="536664" y="807284"/>
                  </a:lnTo>
                  <a:lnTo>
                    <a:pt x="541194" y="807284"/>
                  </a:lnTo>
                  <a:lnTo>
                    <a:pt x="541194" y="829652"/>
                  </a:lnTo>
                  <a:lnTo>
                    <a:pt x="548668" y="829652"/>
                  </a:lnTo>
                  <a:lnTo>
                    <a:pt x="548668" y="835670"/>
                  </a:lnTo>
                  <a:lnTo>
                    <a:pt x="558520" y="835670"/>
                  </a:lnTo>
                  <a:lnTo>
                    <a:pt x="558520" y="842255"/>
                  </a:lnTo>
                  <a:lnTo>
                    <a:pt x="564862" y="842255"/>
                  </a:lnTo>
                  <a:lnTo>
                    <a:pt x="564862" y="864510"/>
                  </a:lnTo>
                  <a:lnTo>
                    <a:pt x="570411" y="864510"/>
                  </a:lnTo>
                  <a:lnTo>
                    <a:pt x="570411" y="874729"/>
                  </a:lnTo>
                  <a:lnTo>
                    <a:pt x="573468" y="874729"/>
                  </a:lnTo>
                  <a:lnTo>
                    <a:pt x="573468" y="889262"/>
                  </a:lnTo>
                  <a:lnTo>
                    <a:pt x="577205" y="889262"/>
                  </a:lnTo>
                  <a:lnTo>
                    <a:pt x="577205" y="892668"/>
                  </a:lnTo>
                  <a:lnTo>
                    <a:pt x="582188" y="892668"/>
                  </a:lnTo>
                  <a:lnTo>
                    <a:pt x="582188" y="902319"/>
                  </a:lnTo>
                  <a:lnTo>
                    <a:pt x="596796" y="902319"/>
                  </a:lnTo>
                  <a:lnTo>
                    <a:pt x="596796" y="908110"/>
                  </a:lnTo>
                  <a:lnTo>
                    <a:pt x="610159" y="908110"/>
                  </a:lnTo>
                  <a:lnTo>
                    <a:pt x="610159" y="913673"/>
                  </a:lnTo>
                  <a:lnTo>
                    <a:pt x="613896" y="913673"/>
                  </a:lnTo>
                  <a:lnTo>
                    <a:pt x="613896" y="918896"/>
                  </a:lnTo>
                  <a:lnTo>
                    <a:pt x="621031" y="918896"/>
                  </a:lnTo>
                  <a:lnTo>
                    <a:pt x="621031" y="929002"/>
                  </a:lnTo>
                  <a:lnTo>
                    <a:pt x="640169" y="929002"/>
                  </a:lnTo>
                  <a:lnTo>
                    <a:pt x="640169" y="940129"/>
                  </a:lnTo>
                  <a:lnTo>
                    <a:pt x="678445" y="940129"/>
                  </a:lnTo>
                  <a:lnTo>
                    <a:pt x="678445" y="945238"/>
                  </a:lnTo>
                  <a:lnTo>
                    <a:pt x="704831" y="945238"/>
                  </a:lnTo>
                  <a:lnTo>
                    <a:pt x="704831" y="951710"/>
                  </a:lnTo>
                  <a:lnTo>
                    <a:pt x="719100" y="951710"/>
                  </a:lnTo>
                  <a:lnTo>
                    <a:pt x="719100" y="961929"/>
                  </a:lnTo>
                  <a:lnTo>
                    <a:pt x="734841" y="961929"/>
                  </a:lnTo>
                  <a:lnTo>
                    <a:pt x="734841" y="971921"/>
                  </a:lnTo>
                  <a:lnTo>
                    <a:pt x="744920" y="971921"/>
                  </a:lnTo>
                  <a:lnTo>
                    <a:pt x="744920" y="984978"/>
                  </a:lnTo>
                  <a:lnTo>
                    <a:pt x="751941" y="984978"/>
                  </a:lnTo>
                  <a:lnTo>
                    <a:pt x="751941" y="995991"/>
                  </a:lnTo>
                  <a:lnTo>
                    <a:pt x="762359" y="995991"/>
                  </a:lnTo>
                  <a:lnTo>
                    <a:pt x="762359" y="1009049"/>
                  </a:lnTo>
                  <a:lnTo>
                    <a:pt x="771532" y="1009049"/>
                  </a:lnTo>
                  <a:lnTo>
                    <a:pt x="771532" y="1018473"/>
                  </a:lnTo>
                  <a:lnTo>
                    <a:pt x="777307" y="1018473"/>
                  </a:lnTo>
                  <a:lnTo>
                    <a:pt x="777307" y="1035277"/>
                  </a:lnTo>
                  <a:lnTo>
                    <a:pt x="780025" y="1035277"/>
                  </a:lnTo>
                  <a:lnTo>
                    <a:pt x="780025" y="1037207"/>
                  </a:lnTo>
                  <a:lnTo>
                    <a:pt x="788972" y="1037207"/>
                  </a:lnTo>
                  <a:lnTo>
                    <a:pt x="788972" y="1039819"/>
                  </a:lnTo>
                  <a:lnTo>
                    <a:pt x="794974" y="1039819"/>
                  </a:lnTo>
                  <a:lnTo>
                    <a:pt x="794974" y="1041749"/>
                  </a:lnTo>
                  <a:lnTo>
                    <a:pt x="806751" y="1041749"/>
                  </a:lnTo>
                  <a:lnTo>
                    <a:pt x="806751" y="1066728"/>
                  </a:lnTo>
                  <a:lnTo>
                    <a:pt x="809582" y="1066728"/>
                  </a:lnTo>
                  <a:lnTo>
                    <a:pt x="809582" y="1070135"/>
                  </a:lnTo>
                  <a:lnTo>
                    <a:pt x="816603" y="1070135"/>
                  </a:lnTo>
                  <a:lnTo>
                    <a:pt x="816603" y="1074222"/>
                  </a:lnTo>
                  <a:lnTo>
                    <a:pt x="852162" y="1074222"/>
                  </a:lnTo>
                  <a:lnTo>
                    <a:pt x="852162" y="1085690"/>
                  </a:lnTo>
                  <a:lnTo>
                    <a:pt x="858956" y="1085690"/>
                  </a:lnTo>
                  <a:lnTo>
                    <a:pt x="858956" y="1094433"/>
                  </a:lnTo>
                  <a:lnTo>
                    <a:pt x="862354" y="1094433"/>
                  </a:lnTo>
                  <a:lnTo>
                    <a:pt x="862354" y="1097952"/>
                  </a:lnTo>
                  <a:lnTo>
                    <a:pt x="869148" y="1097952"/>
                  </a:lnTo>
                  <a:lnTo>
                    <a:pt x="869148" y="1102721"/>
                  </a:lnTo>
                  <a:lnTo>
                    <a:pt x="882964" y="1102721"/>
                  </a:lnTo>
                  <a:lnTo>
                    <a:pt x="882964" y="1113281"/>
                  </a:lnTo>
                  <a:lnTo>
                    <a:pt x="885682" y="1113281"/>
                  </a:lnTo>
                  <a:lnTo>
                    <a:pt x="885682" y="1123953"/>
                  </a:lnTo>
                  <a:lnTo>
                    <a:pt x="892363" y="1123953"/>
                  </a:lnTo>
                  <a:lnTo>
                    <a:pt x="892363" y="1135194"/>
                  </a:lnTo>
                  <a:lnTo>
                    <a:pt x="902442" y="1135194"/>
                  </a:lnTo>
                  <a:lnTo>
                    <a:pt x="902442" y="1145981"/>
                  </a:lnTo>
                  <a:lnTo>
                    <a:pt x="907651" y="1145981"/>
                  </a:lnTo>
                  <a:lnTo>
                    <a:pt x="907651" y="1152112"/>
                  </a:lnTo>
                  <a:lnTo>
                    <a:pt x="946041" y="1152112"/>
                  </a:lnTo>
                  <a:lnTo>
                    <a:pt x="946041" y="1157221"/>
                  </a:lnTo>
                  <a:lnTo>
                    <a:pt x="962688" y="1157221"/>
                  </a:lnTo>
                  <a:lnTo>
                    <a:pt x="962688" y="1168462"/>
                  </a:lnTo>
                  <a:lnTo>
                    <a:pt x="987828" y="1168462"/>
                  </a:lnTo>
                  <a:lnTo>
                    <a:pt x="987828" y="1178567"/>
                  </a:lnTo>
                  <a:lnTo>
                    <a:pt x="1000285" y="1178567"/>
                  </a:lnTo>
                  <a:lnTo>
                    <a:pt x="1000285" y="1191965"/>
                  </a:lnTo>
                  <a:lnTo>
                    <a:pt x="1007080" y="1191965"/>
                  </a:lnTo>
                  <a:lnTo>
                    <a:pt x="1007080" y="1199005"/>
                  </a:lnTo>
                  <a:lnTo>
                    <a:pt x="1015913" y="1199005"/>
                  </a:lnTo>
                  <a:lnTo>
                    <a:pt x="1015913" y="1208542"/>
                  </a:lnTo>
                  <a:lnTo>
                    <a:pt x="1032447" y="1208542"/>
                  </a:lnTo>
                  <a:lnTo>
                    <a:pt x="1032447" y="1220578"/>
                  </a:lnTo>
                  <a:lnTo>
                    <a:pt x="1049886" y="1220578"/>
                  </a:lnTo>
                  <a:lnTo>
                    <a:pt x="1049886" y="1232386"/>
                  </a:lnTo>
                  <a:lnTo>
                    <a:pt x="1103677" y="1232386"/>
                  </a:lnTo>
                  <a:lnTo>
                    <a:pt x="1103677" y="1238972"/>
                  </a:lnTo>
                  <a:lnTo>
                    <a:pt x="1184533" y="1238972"/>
                  </a:lnTo>
                  <a:lnTo>
                    <a:pt x="1184533" y="1243400"/>
                  </a:lnTo>
                  <a:lnTo>
                    <a:pt x="1189743" y="1243400"/>
                  </a:lnTo>
                  <a:lnTo>
                    <a:pt x="1189743" y="1249190"/>
                  </a:lnTo>
                  <a:lnTo>
                    <a:pt x="1212844" y="1249190"/>
                  </a:lnTo>
                  <a:lnTo>
                    <a:pt x="1212844" y="1255208"/>
                  </a:lnTo>
                  <a:lnTo>
                    <a:pt x="1215336" y="1255208"/>
                  </a:lnTo>
                  <a:lnTo>
                    <a:pt x="1215336" y="1266903"/>
                  </a:lnTo>
                  <a:lnTo>
                    <a:pt x="1230284" y="1266903"/>
                  </a:lnTo>
                  <a:lnTo>
                    <a:pt x="1230284" y="1272921"/>
                  </a:lnTo>
                  <a:lnTo>
                    <a:pt x="1238211" y="1272921"/>
                  </a:lnTo>
                  <a:lnTo>
                    <a:pt x="1238211" y="1278257"/>
                  </a:lnTo>
                  <a:lnTo>
                    <a:pt x="1257576" y="1278257"/>
                  </a:lnTo>
                  <a:lnTo>
                    <a:pt x="1257576" y="1287681"/>
                  </a:lnTo>
                  <a:lnTo>
                    <a:pt x="1261992" y="1287681"/>
                  </a:lnTo>
                  <a:lnTo>
                    <a:pt x="1261992" y="1292450"/>
                  </a:lnTo>
                  <a:lnTo>
                    <a:pt x="1273430" y="1292450"/>
                  </a:lnTo>
                  <a:lnTo>
                    <a:pt x="1273430" y="1297105"/>
                  </a:lnTo>
                  <a:lnTo>
                    <a:pt x="1281130" y="1297105"/>
                  </a:lnTo>
                  <a:lnTo>
                    <a:pt x="1281130" y="1301193"/>
                  </a:lnTo>
                  <a:lnTo>
                    <a:pt x="1298683" y="1301193"/>
                  </a:lnTo>
                  <a:lnTo>
                    <a:pt x="1298683" y="1311639"/>
                  </a:lnTo>
                  <a:lnTo>
                    <a:pt x="1302194" y="1311639"/>
                  </a:lnTo>
                  <a:lnTo>
                    <a:pt x="1302194" y="1314591"/>
                  </a:lnTo>
                  <a:lnTo>
                    <a:pt x="1317935" y="1314591"/>
                  </a:lnTo>
                  <a:lnTo>
                    <a:pt x="1317935" y="1323788"/>
                  </a:lnTo>
                  <a:lnTo>
                    <a:pt x="1334921" y="1323788"/>
                  </a:lnTo>
                  <a:lnTo>
                    <a:pt x="1334921" y="1330146"/>
                  </a:lnTo>
                  <a:lnTo>
                    <a:pt x="1341490" y="1330146"/>
                  </a:lnTo>
                  <a:lnTo>
                    <a:pt x="1341490" y="1335823"/>
                  </a:lnTo>
                  <a:lnTo>
                    <a:pt x="1364478" y="1335823"/>
                  </a:lnTo>
                  <a:lnTo>
                    <a:pt x="1364478" y="1341727"/>
                  </a:lnTo>
                  <a:lnTo>
                    <a:pt x="1403434" y="1341727"/>
                  </a:lnTo>
                  <a:lnTo>
                    <a:pt x="1403434" y="1346950"/>
                  </a:lnTo>
                  <a:lnTo>
                    <a:pt x="1449411" y="1346950"/>
                  </a:lnTo>
                  <a:lnTo>
                    <a:pt x="1449411" y="1354671"/>
                  </a:lnTo>
                  <a:lnTo>
                    <a:pt x="1466398" y="1354671"/>
                  </a:lnTo>
                  <a:lnTo>
                    <a:pt x="1466398" y="1367274"/>
                  </a:lnTo>
                  <a:lnTo>
                    <a:pt x="1574999" y="1367274"/>
                  </a:lnTo>
                  <a:lnTo>
                    <a:pt x="1574999" y="1374768"/>
                  </a:lnTo>
                  <a:lnTo>
                    <a:pt x="1586210" y="1374768"/>
                  </a:lnTo>
                  <a:lnTo>
                    <a:pt x="1586210" y="1383624"/>
                  </a:lnTo>
                  <a:lnTo>
                    <a:pt x="1617012" y="1383624"/>
                  </a:lnTo>
                  <a:lnTo>
                    <a:pt x="1617012" y="1393616"/>
                  </a:lnTo>
                  <a:lnTo>
                    <a:pt x="1691527" y="1393616"/>
                  </a:lnTo>
                  <a:lnTo>
                    <a:pt x="1691527" y="1403948"/>
                  </a:lnTo>
                  <a:lnTo>
                    <a:pt x="1791635" y="1403948"/>
                  </a:lnTo>
                  <a:lnTo>
                    <a:pt x="1791635" y="1417233"/>
                  </a:lnTo>
                  <a:lnTo>
                    <a:pt x="1817228" y="1417233"/>
                  </a:lnTo>
                  <a:lnTo>
                    <a:pt x="1817228" y="1435172"/>
                  </a:lnTo>
                  <a:lnTo>
                    <a:pt x="1924470" y="1435172"/>
                  </a:lnTo>
                  <a:lnTo>
                    <a:pt x="1924470" y="1469916"/>
                  </a:lnTo>
                  <a:lnTo>
                    <a:pt x="2181195" y="1469916"/>
                  </a:lnTo>
                </a:path>
              </a:pathLst>
            </a:custGeom>
            <a:noFill/>
            <a:ln w="6350" cap="flat">
              <a:solidFill>
                <a:srgbClr val="4F74C8"/>
              </a:solidFill>
              <a:custDash>
                <a:ds d="0" sp="0"/>
                <a:ds d="37500" sp="75000"/>
              </a:custDash>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425" name="Freeform 767">
              <a:extLst>
                <a:ext uri="{FF2B5EF4-FFF2-40B4-BE49-F238E27FC236}">
                  <a16:creationId xmlns:a16="http://schemas.microsoft.com/office/drawing/2014/main" id="{7C02EA48-F383-41C8-A3FF-FADE7FAD36B3}"/>
                </a:ext>
              </a:extLst>
            </p:cNvPr>
            <p:cNvSpPr/>
            <p:nvPr/>
          </p:nvSpPr>
          <p:spPr>
            <a:xfrm>
              <a:off x="7597732" y="3933068"/>
              <a:ext cx="26952" cy="27023"/>
            </a:xfrm>
            <a:custGeom>
              <a:avLst/>
              <a:gdLst>
                <a:gd name="connsiteX0" fmla="*/ 26952 w 26952"/>
                <a:gd name="connsiteY0" fmla="*/ 13512 h 27023"/>
                <a:gd name="connsiteX1" fmla="*/ 13476 w 26952"/>
                <a:gd name="connsiteY1" fmla="*/ 27023 h 27023"/>
                <a:gd name="connsiteX2" fmla="*/ 0 w 26952"/>
                <a:gd name="connsiteY2" fmla="*/ 13512 h 27023"/>
                <a:gd name="connsiteX3" fmla="*/ 13476 w 26952"/>
                <a:gd name="connsiteY3" fmla="*/ 0 h 27023"/>
                <a:gd name="connsiteX4" fmla="*/ 26952 w 26952"/>
                <a:gd name="connsiteY4" fmla="*/ 13512 h 27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52" h="27023">
                  <a:moveTo>
                    <a:pt x="26952" y="13512"/>
                  </a:moveTo>
                  <a:cubicBezTo>
                    <a:pt x="26952" y="20974"/>
                    <a:pt x="20919" y="27023"/>
                    <a:pt x="13476" y="27023"/>
                  </a:cubicBezTo>
                  <a:cubicBezTo>
                    <a:pt x="6033" y="27023"/>
                    <a:pt x="0" y="20974"/>
                    <a:pt x="0" y="13512"/>
                  </a:cubicBezTo>
                  <a:cubicBezTo>
                    <a:pt x="0" y="6049"/>
                    <a:pt x="6033" y="0"/>
                    <a:pt x="13476" y="0"/>
                  </a:cubicBezTo>
                  <a:cubicBezTo>
                    <a:pt x="20919" y="0"/>
                    <a:pt x="26952" y="6049"/>
                    <a:pt x="26952" y="13512"/>
                  </a:cubicBezTo>
                  <a:close/>
                </a:path>
              </a:pathLst>
            </a:custGeom>
            <a:noFill/>
            <a:ln w="6350" cap="flat">
              <a:solidFill>
                <a:srgbClr val="4F74C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26" name="Freeform 768">
              <a:extLst>
                <a:ext uri="{FF2B5EF4-FFF2-40B4-BE49-F238E27FC236}">
                  <a16:creationId xmlns:a16="http://schemas.microsoft.com/office/drawing/2014/main" id="{FBCBB692-A886-4B7E-BB33-EDE8A623D05A}"/>
                </a:ext>
              </a:extLst>
            </p:cNvPr>
            <p:cNvSpPr/>
            <p:nvPr/>
          </p:nvSpPr>
          <p:spPr>
            <a:xfrm>
              <a:off x="7465803" y="3933068"/>
              <a:ext cx="26952" cy="27023"/>
            </a:xfrm>
            <a:custGeom>
              <a:avLst/>
              <a:gdLst>
                <a:gd name="connsiteX0" fmla="*/ 26952 w 26952"/>
                <a:gd name="connsiteY0" fmla="*/ 13512 h 27023"/>
                <a:gd name="connsiteX1" fmla="*/ 13476 w 26952"/>
                <a:gd name="connsiteY1" fmla="*/ 27023 h 27023"/>
                <a:gd name="connsiteX2" fmla="*/ 0 w 26952"/>
                <a:gd name="connsiteY2" fmla="*/ 13512 h 27023"/>
                <a:gd name="connsiteX3" fmla="*/ 13476 w 26952"/>
                <a:gd name="connsiteY3" fmla="*/ 0 h 27023"/>
                <a:gd name="connsiteX4" fmla="*/ 26952 w 26952"/>
                <a:gd name="connsiteY4" fmla="*/ 13512 h 27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52" h="27023">
                  <a:moveTo>
                    <a:pt x="26952" y="13512"/>
                  </a:moveTo>
                  <a:cubicBezTo>
                    <a:pt x="26952" y="20974"/>
                    <a:pt x="20919" y="27023"/>
                    <a:pt x="13476" y="27023"/>
                  </a:cubicBezTo>
                  <a:cubicBezTo>
                    <a:pt x="6034" y="27023"/>
                    <a:pt x="0" y="20974"/>
                    <a:pt x="0" y="13512"/>
                  </a:cubicBezTo>
                  <a:cubicBezTo>
                    <a:pt x="0" y="6049"/>
                    <a:pt x="6033" y="0"/>
                    <a:pt x="13476" y="0"/>
                  </a:cubicBezTo>
                  <a:cubicBezTo>
                    <a:pt x="20919" y="0"/>
                    <a:pt x="26952" y="6049"/>
                    <a:pt x="26952" y="13512"/>
                  </a:cubicBezTo>
                  <a:close/>
                </a:path>
              </a:pathLst>
            </a:custGeom>
            <a:noFill/>
            <a:ln w="6350" cap="flat">
              <a:solidFill>
                <a:srgbClr val="4F74C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27" name="Freeform 769">
              <a:extLst>
                <a:ext uri="{FF2B5EF4-FFF2-40B4-BE49-F238E27FC236}">
                  <a16:creationId xmlns:a16="http://schemas.microsoft.com/office/drawing/2014/main" id="{F78B121C-8D7E-428A-AC73-868116CA978C}"/>
                </a:ext>
              </a:extLst>
            </p:cNvPr>
            <p:cNvSpPr/>
            <p:nvPr/>
          </p:nvSpPr>
          <p:spPr>
            <a:xfrm>
              <a:off x="7446098" y="3933068"/>
              <a:ext cx="26952" cy="27023"/>
            </a:xfrm>
            <a:custGeom>
              <a:avLst/>
              <a:gdLst>
                <a:gd name="connsiteX0" fmla="*/ 26952 w 26952"/>
                <a:gd name="connsiteY0" fmla="*/ 13512 h 27023"/>
                <a:gd name="connsiteX1" fmla="*/ 13476 w 26952"/>
                <a:gd name="connsiteY1" fmla="*/ 27023 h 27023"/>
                <a:gd name="connsiteX2" fmla="*/ 0 w 26952"/>
                <a:gd name="connsiteY2" fmla="*/ 13512 h 27023"/>
                <a:gd name="connsiteX3" fmla="*/ 13476 w 26952"/>
                <a:gd name="connsiteY3" fmla="*/ 0 h 27023"/>
                <a:gd name="connsiteX4" fmla="*/ 26952 w 26952"/>
                <a:gd name="connsiteY4" fmla="*/ 13512 h 27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52" h="27023">
                  <a:moveTo>
                    <a:pt x="26952" y="13512"/>
                  </a:moveTo>
                  <a:cubicBezTo>
                    <a:pt x="26952" y="20974"/>
                    <a:pt x="20919" y="27023"/>
                    <a:pt x="13476" y="27023"/>
                  </a:cubicBezTo>
                  <a:cubicBezTo>
                    <a:pt x="6033" y="27023"/>
                    <a:pt x="0" y="20974"/>
                    <a:pt x="0" y="13512"/>
                  </a:cubicBezTo>
                  <a:cubicBezTo>
                    <a:pt x="0" y="6049"/>
                    <a:pt x="6033" y="0"/>
                    <a:pt x="13476" y="0"/>
                  </a:cubicBezTo>
                  <a:cubicBezTo>
                    <a:pt x="20919" y="0"/>
                    <a:pt x="26952" y="6049"/>
                    <a:pt x="26952" y="13512"/>
                  </a:cubicBezTo>
                  <a:close/>
                </a:path>
              </a:pathLst>
            </a:custGeom>
            <a:noFill/>
            <a:ln w="6350" cap="flat">
              <a:solidFill>
                <a:srgbClr val="4F74C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28" name="Freeform 770">
              <a:extLst>
                <a:ext uri="{FF2B5EF4-FFF2-40B4-BE49-F238E27FC236}">
                  <a16:creationId xmlns:a16="http://schemas.microsoft.com/office/drawing/2014/main" id="{3B898E0D-2A33-4285-84B0-B8C940CD7A6D}"/>
                </a:ext>
              </a:extLst>
            </p:cNvPr>
            <p:cNvSpPr/>
            <p:nvPr/>
          </p:nvSpPr>
          <p:spPr>
            <a:xfrm>
              <a:off x="7420392" y="3933068"/>
              <a:ext cx="26952" cy="27023"/>
            </a:xfrm>
            <a:custGeom>
              <a:avLst/>
              <a:gdLst>
                <a:gd name="connsiteX0" fmla="*/ 26952 w 26952"/>
                <a:gd name="connsiteY0" fmla="*/ 13512 h 27023"/>
                <a:gd name="connsiteX1" fmla="*/ 13476 w 26952"/>
                <a:gd name="connsiteY1" fmla="*/ 27023 h 27023"/>
                <a:gd name="connsiteX2" fmla="*/ 0 w 26952"/>
                <a:gd name="connsiteY2" fmla="*/ 13512 h 27023"/>
                <a:gd name="connsiteX3" fmla="*/ 13476 w 26952"/>
                <a:gd name="connsiteY3" fmla="*/ 0 h 27023"/>
                <a:gd name="connsiteX4" fmla="*/ 26952 w 26952"/>
                <a:gd name="connsiteY4" fmla="*/ 13512 h 27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52" h="27023">
                  <a:moveTo>
                    <a:pt x="26952" y="13512"/>
                  </a:moveTo>
                  <a:cubicBezTo>
                    <a:pt x="26952" y="20974"/>
                    <a:pt x="20919" y="27023"/>
                    <a:pt x="13476" y="27023"/>
                  </a:cubicBezTo>
                  <a:cubicBezTo>
                    <a:pt x="6033" y="27023"/>
                    <a:pt x="0" y="20974"/>
                    <a:pt x="0" y="13512"/>
                  </a:cubicBezTo>
                  <a:cubicBezTo>
                    <a:pt x="0" y="6049"/>
                    <a:pt x="6033" y="0"/>
                    <a:pt x="13476" y="0"/>
                  </a:cubicBezTo>
                  <a:cubicBezTo>
                    <a:pt x="20918" y="0"/>
                    <a:pt x="26952" y="6049"/>
                    <a:pt x="26952" y="13512"/>
                  </a:cubicBezTo>
                  <a:close/>
                </a:path>
              </a:pathLst>
            </a:custGeom>
            <a:noFill/>
            <a:ln w="6350" cap="flat">
              <a:solidFill>
                <a:srgbClr val="4F74C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29" name="Freeform 771">
              <a:extLst>
                <a:ext uri="{FF2B5EF4-FFF2-40B4-BE49-F238E27FC236}">
                  <a16:creationId xmlns:a16="http://schemas.microsoft.com/office/drawing/2014/main" id="{855569A2-E1D0-4042-B07B-D0A2FA31B5BD}"/>
                </a:ext>
              </a:extLst>
            </p:cNvPr>
            <p:cNvSpPr/>
            <p:nvPr/>
          </p:nvSpPr>
          <p:spPr>
            <a:xfrm>
              <a:off x="7390269" y="3933068"/>
              <a:ext cx="26952" cy="27023"/>
            </a:xfrm>
            <a:custGeom>
              <a:avLst/>
              <a:gdLst>
                <a:gd name="connsiteX0" fmla="*/ 26952 w 26952"/>
                <a:gd name="connsiteY0" fmla="*/ 13512 h 27023"/>
                <a:gd name="connsiteX1" fmla="*/ 13476 w 26952"/>
                <a:gd name="connsiteY1" fmla="*/ 27023 h 27023"/>
                <a:gd name="connsiteX2" fmla="*/ 0 w 26952"/>
                <a:gd name="connsiteY2" fmla="*/ 13512 h 27023"/>
                <a:gd name="connsiteX3" fmla="*/ 13476 w 26952"/>
                <a:gd name="connsiteY3" fmla="*/ 0 h 27023"/>
                <a:gd name="connsiteX4" fmla="*/ 26952 w 26952"/>
                <a:gd name="connsiteY4" fmla="*/ 13512 h 27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52" h="27023">
                  <a:moveTo>
                    <a:pt x="26952" y="13512"/>
                  </a:moveTo>
                  <a:cubicBezTo>
                    <a:pt x="26952" y="20974"/>
                    <a:pt x="20919" y="27023"/>
                    <a:pt x="13476" y="27023"/>
                  </a:cubicBezTo>
                  <a:cubicBezTo>
                    <a:pt x="6034" y="27023"/>
                    <a:pt x="0" y="20974"/>
                    <a:pt x="0" y="13512"/>
                  </a:cubicBezTo>
                  <a:cubicBezTo>
                    <a:pt x="0" y="6049"/>
                    <a:pt x="6033" y="0"/>
                    <a:pt x="13476" y="0"/>
                  </a:cubicBezTo>
                  <a:cubicBezTo>
                    <a:pt x="20919" y="0"/>
                    <a:pt x="26952" y="6049"/>
                    <a:pt x="26952" y="13512"/>
                  </a:cubicBezTo>
                  <a:close/>
                </a:path>
              </a:pathLst>
            </a:custGeom>
            <a:noFill/>
            <a:ln w="6350" cap="flat">
              <a:solidFill>
                <a:srgbClr val="4F74C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30" name="Freeform 772">
              <a:extLst>
                <a:ext uri="{FF2B5EF4-FFF2-40B4-BE49-F238E27FC236}">
                  <a16:creationId xmlns:a16="http://schemas.microsoft.com/office/drawing/2014/main" id="{6D4B8C2E-90E7-455D-8682-02AFC0F0FD2D}"/>
                </a:ext>
              </a:extLst>
            </p:cNvPr>
            <p:cNvSpPr/>
            <p:nvPr/>
          </p:nvSpPr>
          <p:spPr>
            <a:xfrm>
              <a:off x="7370338" y="3933068"/>
              <a:ext cx="26952" cy="27023"/>
            </a:xfrm>
            <a:custGeom>
              <a:avLst/>
              <a:gdLst>
                <a:gd name="connsiteX0" fmla="*/ 26952 w 26952"/>
                <a:gd name="connsiteY0" fmla="*/ 13512 h 27023"/>
                <a:gd name="connsiteX1" fmla="*/ 13476 w 26952"/>
                <a:gd name="connsiteY1" fmla="*/ 27023 h 27023"/>
                <a:gd name="connsiteX2" fmla="*/ 0 w 26952"/>
                <a:gd name="connsiteY2" fmla="*/ 13512 h 27023"/>
                <a:gd name="connsiteX3" fmla="*/ 13476 w 26952"/>
                <a:gd name="connsiteY3" fmla="*/ 0 h 27023"/>
                <a:gd name="connsiteX4" fmla="*/ 26952 w 26952"/>
                <a:gd name="connsiteY4" fmla="*/ 13512 h 27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52" h="27023">
                  <a:moveTo>
                    <a:pt x="26952" y="13512"/>
                  </a:moveTo>
                  <a:cubicBezTo>
                    <a:pt x="26952" y="20974"/>
                    <a:pt x="20919" y="27023"/>
                    <a:pt x="13476" y="27023"/>
                  </a:cubicBezTo>
                  <a:cubicBezTo>
                    <a:pt x="6033" y="27023"/>
                    <a:pt x="0" y="20974"/>
                    <a:pt x="0" y="13512"/>
                  </a:cubicBezTo>
                  <a:cubicBezTo>
                    <a:pt x="0" y="6049"/>
                    <a:pt x="6033" y="0"/>
                    <a:pt x="13476" y="0"/>
                  </a:cubicBezTo>
                  <a:cubicBezTo>
                    <a:pt x="20919" y="0"/>
                    <a:pt x="26952" y="6049"/>
                    <a:pt x="26952" y="13512"/>
                  </a:cubicBezTo>
                  <a:close/>
                </a:path>
              </a:pathLst>
            </a:custGeom>
            <a:noFill/>
            <a:ln w="6350" cap="flat">
              <a:solidFill>
                <a:srgbClr val="4F74C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31" name="Freeform 773">
              <a:extLst>
                <a:ext uri="{FF2B5EF4-FFF2-40B4-BE49-F238E27FC236}">
                  <a16:creationId xmlns:a16="http://schemas.microsoft.com/office/drawing/2014/main" id="{480017FC-8DCC-48E3-B293-914B5FDCC2DE}"/>
                </a:ext>
              </a:extLst>
            </p:cNvPr>
            <p:cNvSpPr/>
            <p:nvPr/>
          </p:nvSpPr>
          <p:spPr>
            <a:xfrm>
              <a:off x="7331948" y="3897983"/>
              <a:ext cx="26952" cy="27023"/>
            </a:xfrm>
            <a:custGeom>
              <a:avLst/>
              <a:gdLst>
                <a:gd name="connsiteX0" fmla="*/ 26952 w 26952"/>
                <a:gd name="connsiteY0" fmla="*/ 13512 h 27023"/>
                <a:gd name="connsiteX1" fmla="*/ 13476 w 26952"/>
                <a:gd name="connsiteY1" fmla="*/ 27023 h 27023"/>
                <a:gd name="connsiteX2" fmla="*/ 0 w 26952"/>
                <a:gd name="connsiteY2" fmla="*/ 13512 h 27023"/>
                <a:gd name="connsiteX3" fmla="*/ 13476 w 26952"/>
                <a:gd name="connsiteY3" fmla="*/ 0 h 27023"/>
                <a:gd name="connsiteX4" fmla="*/ 26952 w 26952"/>
                <a:gd name="connsiteY4" fmla="*/ 13512 h 27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52" h="27023">
                  <a:moveTo>
                    <a:pt x="26952" y="13512"/>
                  </a:moveTo>
                  <a:cubicBezTo>
                    <a:pt x="26952" y="20974"/>
                    <a:pt x="20919" y="27023"/>
                    <a:pt x="13476" y="27023"/>
                  </a:cubicBezTo>
                  <a:cubicBezTo>
                    <a:pt x="6033" y="27023"/>
                    <a:pt x="0" y="20974"/>
                    <a:pt x="0" y="13512"/>
                  </a:cubicBezTo>
                  <a:cubicBezTo>
                    <a:pt x="0" y="6049"/>
                    <a:pt x="6033" y="0"/>
                    <a:pt x="13476" y="0"/>
                  </a:cubicBezTo>
                  <a:cubicBezTo>
                    <a:pt x="20919" y="0"/>
                    <a:pt x="26952" y="6049"/>
                    <a:pt x="26952" y="13512"/>
                  </a:cubicBezTo>
                  <a:close/>
                </a:path>
              </a:pathLst>
            </a:custGeom>
            <a:noFill/>
            <a:ln w="6350" cap="flat">
              <a:solidFill>
                <a:srgbClr val="4F74C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32" name="Freeform 774">
              <a:extLst>
                <a:ext uri="{FF2B5EF4-FFF2-40B4-BE49-F238E27FC236}">
                  <a16:creationId xmlns:a16="http://schemas.microsoft.com/office/drawing/2014/main" id="{6F3E63D8-0C14-4388-94A5-9965A699D52D}"/>
                </a:ext>
              </a:extLst>
            </p:cNvPr>
            <p:cNvSpPr/>
            <p:nvPr/>
          </p:nvSpPr>
          <p:spPr>
            <a:xfrm>
              <a:off x="7325493" y="3897983"/>
              <a:ext cx="26952" cy="27023"/>
            </a:xfrm>
            <a:custGeom>
              <a:avLst/>
              <a:gdLst>
                <a:gd name="connsiteX0" fmla="*/ 26952 w 26952"/>
                <a:gd name="connsiteY0" fmla="*/ 13512 h 27023"/>
                <a:gd name="connsiteX1" fmla="*/ 13476 w 26952"/>
                <a:gd name="connsiteY1" fmla="*/ 27023 h 27023"/>
                <a:gd name="connsiteX2" fmla="*/ 0 w 26952"/>
                <a:gd name="connsiteY2" fmla="*/ 13512 h 27023"/>
                <a:gd name="connsiteX3" fmla="*/ 13476 w 26952"/>
                <a:gd name="connsiteY3" fmla="*/ 0 h 27023"/>
                <a:gd name="connsiteX4" fmla="*/ 26952 w 26952"/>
                <a:gd name="connsiteY4" fmla="*/ 13512 h 27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52" h="27023">
                  <a:moveTo>
                    <a:pt x="26952" y="13512"/>
                  </a:moveTo>
                  <a:cubicBezTo>
                    <a:pt x="26952" y="20974"/>
                    <a:pt x="20919" y="27023"/>
                    <a:pt x="13476" y="27023"/>
                  </a:cubicBezTo>
                  <a:cubicBezTo>
                    <a:pt x="6034" y="27023"/>
                    <a:pt x="0" y="20974"/>
                    <a:pt x="0" y="13512"/>
                  </a:cubicBezTo>
                  <a:cubicBezTo>
                    <a:pt x="0" y="6049"/>
                    <a:pt x="6033" y="0"/>
                    <a:pt x="13476" y="0"/>
                  </a:cubicBezTo>
                  <a:cubicBezTo>
                    <a:pt x="20919" y="0"/>
                    <a:pt x="26952" y="6049"/>
                    <a:pt x="26952" y="13512"/>
                  </a:cubicBezTo>
                  <a:close/>
                </a:path>
              </a:pathLst>
            </a:custGeom>
            <a:noFill/>
            <a:ln w="6350" cap="flat">
              <a:solidFill>
                <a:srgbClr val="4F74C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33" name="Freeform 775">
              <a:extLst>
                <a:ext uri="{FF2B5EF4-FFF2-40B4-BE49-F238E27FC236}">
                  <a16:creationId xmlns:a16="http://schemas.microsoft.com/office/drawing/2014/main" id="{091FCA02-1F87-445B-B4CE-0101190CEFF6}"/>
                </a:ext>
              </a:extLst>
            </p:cNvPr>
            <p:cNvSpPr/>
            <p:nvPr/>
          </p:nvSpPr>
          <p:spPr>
            <a:xfrm>
              <a:off x="7313716" y="3897983"/>
              <a:ext cx="26952" cy="27023"/>
            </a:xfrm>
            <a:custGeom>
              <a:avLst/>
              <a:gdLst>
                <a:gd name="connsiteX0" fmla="*/ 26952 w 26952"/>
                <a:gd name="connsiteY0" fmla="*/ 13512 h 27023"/>
                <a:gd name="connsiteX1" fmla="*/ 13476 w 26952"/>
                <a:gd name="connsiteY1" fmla="*/ 27023 h 27023"/>
                <a:gd name="connsiteX2" fmla="*/ 0 w 26952"/>
                <a:gd name="connsiteY2" fmla="*/ 13512 h 27023"/>
                <a:gd name="connsiteX3" fmla="*/ 13476 w 26952"/>
                <a:gd name="connsiteY3" fmla="*/ 0 h 27023"/>
                <a:gd name="connsiteX4" fmla="*/ 26952 w 26952"/>
                <a:gd name="connsiteY4" fmla="*/ 13512 h 27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52" h="27023">
                  <a:moveTo>
                    <a:pt x="26952" y="13512"/>
                  </a:moveTo>
                  <a:cubicBezTo>
                    <a:pt x="26952" y="20974"/>
                    <a:pt x="20919" y="27023"/>
                    <a:pt x="13476" y="27023"/>
                  </a:cubicBezTo>
                  <a:cubicBezTo>
                    <a:pt x="6033" y="27023"/>
                    <a:pt x="0" y="20974"/>
                    <a:pt x="0" y="13512"/>
                  </a:cubicBezTo>
                  <a:cubicBezTo>
                    <a:pt x="0" y="6049"/>
                    <a:pt x="6033" y="0"/>
                    <a:pt x="13476" y="0"/>
                  </a:cubicBezTo>
                  <a:cubicBezTo>
                    <a:pt x="20919" y="0"/>
                    <a:pt x="26952" y="6049"/>
                    <a:pt x="26952" y="13512"/>
                  </a:cubicBezTo>
                  <a:close/>
                </a:path>
              </a:pathLst>
            </a:custGeom>
            <a:noFill/>
            <a:ln w="6350" cap="flat">
              <a:solidFill>
                <a:srgbClr val="4F74C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34" name="Freeform 776">
              <a:extLst>
                <a:ext uri="{FF2B5EF4-FFF2-40B4-BE49-F238E27FC236}">
                  <a16:creationId xmlns:a16="http://schemas.microsoft.com/office/drawing/2014/main" id="{B614013D-7002-41D2-A0B8-1DFACD41023B}"/>
                </a:ext>
              </a:extLst>
            </p:cNvPr>
            <p:cNvSpPr/>
            <p:nvPr/>
          </p:nvSpPr>
          <p:spPr>
            <a:xfrm>
              <a:off x="7292766" y="3897983"/>
              <a:ext cx="26952" cy="27023"/>
            </a:xfrm>
            <a:custGeom>
              <a:avLst/>
              <a:gdLst>
                <a:gd name="connsiteX0" fmla="*/ 26952 w 26952"/>
                <a:gd name="connsiteY0" fmla="*/ 13512 h 27023"/>
                <a:gd name="connsiteX1" fmla="*/ 13476 w 26952"/>
                <a:gd name="connsiteY1" fmla="*/ 27023 h 27023"/>
                <a:gd name="connsiteX2" fmla="*/ 0 w 26952"/>
                <a:gd name="connsiteY2" fmla="*/ 13512 h 27023"/>
                <a:gd name="connsiteX3" fmla="*/ 13476 w 26952"/>
                <a:gd name="connsiteY3" fmla="*/ 0 h 27023"/>
                <a:gd name="connsiteX4" fmla="*/ 26952 w 26952"/>
                <a:gd name="connsiteY4" fmla="*/ 13512 h 27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52" h="27023">
                  <a:moveTo>
                    <a:pt x="26952" y="13512"/>
                  </a:moveTo>
                  <a:cubicBezTo>
                    <a:pt x="26952" y="20974"/>
                    <a:pt x="20919" y="27023"/>
                    <a:pt x="13476" y="27023"/>
                  </a:cubicBezTo>
                  <a:cubicBezTo>
                    <a:pt x="6034" y="27023"/>
                    <a:pt x="0" y="20974"/>
                    <a:pt x="0" y="13512"/>
                  </a:cubicBezTo>
                  <a:cubicBezTo>
                    <a:pt x="0" y="6049"/>
                    <a:pt x="6033" y="0"/>
                    <a:pt x="13476" y="0"/>
                  </a:cubicBezTo>
                  <a:cubicBezTo>
                    <a:pt x="20919" y="0"/>
                    <a:pt x="26952" y="6049"/>
                    <a:pt x="26952" y="13512"/>
                  </a:cubicBezTo>
                  <a:close/>
                </a:path>
              </a:pathLst>
            </a:custGeom>
            <a:noFill/>
            <a:ln w="6350" cap="flat">
              <a:solidFill>
                <a:srgbClr val="4F74C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35" name="Freeform 777">
              <a:extLst>
                <a:ext uri="{FF2B5EF4-FFF2-40B4-BE49-F238E27FC236}">
                  <a16:creationId xmlns:a16="http://schemas.microsoft.com/office/drawing/2014/main" id="{DDE1A734-9391-4FC6-B5EB-ABF556B0E0D7}"/>
                </a:ext>
              </a:extLst>
            </p:cNvPr>
            <p:cNvSpPr/>
            <p:nvPr/>
          </p:nvSpPr>
          <p:spPr>
            <a:xfrm>
              <a:off x="7255282" y="3897983"/>
              <a:ext cx="26952" cy="27023"/>
            </a:xfrm>
            <a:custGeom>
              <a:avLst/>
              <a:gdLst>
                <a:gd name="connsiteX0" fmla="*/ 26952 w 26952"/>
                <a:gd name="connsiteY0" fmla="*/ 13512 h 27023"/>
                <a:gd name="connsiteX1" fmla="*/ 13476 w 26952"/>
                <a:gd name="connsiteY1" fmla="*/ 27023 h 27023"/>
                <a:gd name="connsiteX2" fmla="*/ 0 w 26952"/>
                <a:gd name="connsiteY2" fmla="*/ 13512 h 27023"/>
                <a:gd name="connsiteX3" fmla="*/ 13476 w 26952"/>
                <a:gd name="connsiteY3" fmla="*/ 0 h 27023"/>
                <a:gd name="connsiteX4" fmla="*/ 26952 w 26952"/>
                <a:gd name="connsiteY4" fmla="*/ 13512 h 27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52" h="27023">
                  <a:moveTo>
                    <a:pt x="26952" y="13512"/>
                  </a:moveTo>
                  <a:cubicBezTo>
                    <a:pt x="26952" y="20974"/>
                    <a:pt x="20919" y="27023"/>
                    <a:pt x="13476" y="27023"/>
                  </a:cubicBezTo>
                  <a:cubicBezTo>
                    <a:pt x="6033" y="27023"/>
                    <a:pt x="0" y="20974"/>
                    <a:pt x="0" y="13512"/>
                  </a:cubicBezTo>
                  <a:cubicBezTo>
                    <a:pt x="0" y="6049"/>
                    <a:pt x="6033" y="0"/>
                    <a:pt x="13476" y="0"/>
                  </a:cubicBezTo>
                  <a:cubicBezTo>
                    <a:pt x="20918" y="0"/>
                    <a:pt x="26952" y="6049"/>
                    <a:pt x="26952" y="13512"/>
                  </a:cubicBezTo>
                  <a:close/>
                </a:path>
              </a:pathLst>
            </a:custGeom>
            <a:noFill/>
            <a:ln w="6350" cap="flat">
              <a:solidFill>
                <a:srgbClr val="4F74C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36" name="Freeform 778">
              <a:extLst>
                <a:ext uri="{FF2B5EF4-FFF2-40B4-BE49-F238E27FC236}">
                  <a16:creationId xmlns:a16="http://schemas.microsoft.com/office/drawing/2014/main" id="{27D2FBB0-E7CE-487D-9B16-ABBEA61D3A36}"/>
                </a:ext>
              </a:extLst>
            </p:cNvPr>
            <p:cNvSpPr/>
            <p:nvPr/>
          </p:nvSpPr>
          <p:spPr>
            <a:xfrm>
              <a:off x="7244524" y="3897983"/>
              <a:ext cx="26952" cy="27023"/>
            </a:xfrm>
            <a:custGeom>
              <a:avLst/>
              <a:gdLst>
                <a:gd name="connsiteX0" fmla="*/ 26952 w 26952"/>
                <a:gd name="connsiteY0" fmla="*/ 13512 h 27023"/>
                <a:gd name="connsiteX1" fmla="*/ 13476 w 26952"/>
                <a:gd name="connsiteY1" fmla="*/ 27023 h 27023"/>
                <a:gd name="connsiteX2" fmla="*/ 0 w 26952"/>
                <a:gd name="connsiteY2" fmla="*/ 13512 h 27023"/>
                <a:gd name="connsiteX3" fmla="*/ 13476 w 26952"/>
                <a:gd name="connsiteY3" fmla="*/ 0 h 27023"/>
                <a:gd name="connsiteX4" fmla="*/ 26952 w 26952"/>
                <a:gd name="connsiteY4" fmla="*/ 13512 h 27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52" h="27023">
                  <a:moveTo>
                    <a:pt x="26952" y="13512"/>
                  </a:moveTo>
                  <a:cubicBezTo>
                    <a:pt x="26952" y="20974"/>
                    <a:pt x="20919" y="27023"/>
                    <a:pt x="13476" y="27023"/>
                  </a:cubicBezTo>
                  <a:cubicBezTo>
                    <a:pt x="6033" y="27023"/>
                    <a:pt x="0" y="20974"/>
                    <a:pt x="0" y="13512"/>
                  </a:cubicBezTo>
                  <a:cubicBezTo>
                    <a:pt x="0" y="6049"/>
                    <a:pt x="6033" y="0"/>
                    <a:pt x="13476" y="0"/>
                  </a:cubicBezTo>
                  <a:cubicBezTo>
                    <a:pt x="20919" y="0"/>
                    <a:pt x="26952" y="6049"/>
                    <a:pt x="26952" y="13512"/>
                  </a:cubicBezTo>
                  <a:close/>
                </a:path>
              </a:pathLst>
            </a:custGeom>
            <a:noFill/>
            <a:ln w="6350" cap="flat">
              <a:solidFill>
                <a:srgbClr val="4F74C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37" name="Freeform 779">
              <a:extLst>
                <a:ext uri="{FF2B5EF4-FFF2-40B4-BE49-F238E27FC236}">
                  <a16:creationId xmlns:a16="http://schemas.microsoft.com/office/drawing/2014/main" id="{5E71D9EB-36E8-42E7-8DF9-9281EDD9BE33}"/>
                </a:ext>
              </a:extLst>
            </p:cNvPr>
            <p:cNvSpPr/>
            <p:nvPr/>
          </p:nvSpPr>
          <p:spPr>
            <a:xfrm>
              <a:off x="7226744" y="3881520"/>
              <a:ext cx="26952" cy="27023"/>
            </a:xfrm>
            <a:custGeom>
              <a:avLst/>
              <a:gdLst>
                <a:gd name="connsiteX0" fmla="*/ 26952 w 26952"/>
                <a:gd name="connsiteY0" fmla="*/ 13511 h 27023"/>
                <a:gd name="connsiteX1" fmla="*/ 13476 w 26952"/>
                <a:gd name="connsiteY1" fmla="*/ 27023 h 27023"/>
                <a:gd name="connsiteX2" fmla="*/ 0 w 26952"/>
                <a:gd name="connsiteY2" fmla="*/ 13511 h 27023"/>
                <a:gd name="connsiteX3" fmla="*/ 13476 w 26952"/>
                <a:gd name="connsiteY3" fmla="*/ 0 h 27023"/>
                <a:gd name="connsiteX4" fmla="*/ 26952 w 26952"/>
                <a:gd name="connsiteY4" fmla="*/ 13511 h 27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52" h="27023">
                  <a:moveTo>
                    <a:pt x="26952" y="13511"/>
                  </a:moveTo>
                  <a:cubicBezTo>
                    <a:pt x="26952" y="20974"/>
                    <a:pt x="20919" y="27023"/>
                    <a:pt x="13476" y="27023"/>
                  </a:cubicBezTo>
                  <a:cubicBezTo>
                    <a:pt x="6034" y="27023"/>
                    <a:pt x="0" y="20974"/>
                    <a:pt x="0" y="13511"/>
                  </a:cubicBezTo>
                  <a:cubicBezTo>
                    <a:pt x="0" y="6049"/>
                    <a:pt x="6033" y="0"/>
                    <a:pt x="13476" y="0"/>
                  </a:cubicBezTo>
                  <a:cubicBezTo>
                    <a:pt x="20919" y="0"/>
                    <a:pt x="26952" y="6049"/>
                    <a:pt x="26952" y="13511"/>
                  </a:cubicBezTo>
                  <a:close/>
                </a:path>
              </a:pathLst>
            </a:custGeom>
            <a:noFill/>
            <a:ln w="6350" cap="flat">
              <a:solidFill>
                <a:srgbClr val="4F74C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38" name="Freeform 780">
              <a:extLst>
                <a:ext uri="{FF2B5EF4-FFF2-40B4-BE49-F238E27FC236}">
                  <a16:creationId xmlns:a16="http://schemas.microsoft.com/office/drawing/2014/main" id="{E2BA09B1-0253-4F8A-96CB-BBA149BEC937}"/>
                </a:ext>
              </a:extLst>
            </p:cNvPr>
            <p:cNvSpPr/>
            <p:nvPr/>
          </p:nvSpPr>
          <p:spPr>
            <a:xfrm>
              <a:off x="7199679" y="3866873"/>
              <a:ext cx="26952" cy="27023"/>
            </a:xfrm>
            <a:custGeom>
              <a:avLst/>
              <a:gdLst>
                <a:gd name="connsiteX0" fmla="*/ 26952 w 26952"/>
                <a:gd name="connsiteY0" fmla="*/ 13512 h 27023"/>
                <a:gd name="connsiteX1" fmla="*/ 13476 w 26952"/>
                <a:gd name="connsiteY1" fmla="*/ 27023 h 27023"/>
                <a:gd name="connsiteX2" fmla="*/ 0 w 26952"/>
                <a:gd name="connsiteY2" fmla="*/ 13512 h 27023"/>
                <a:gd name="connsiteX3" fmla="*/ 13476 w 26952"/>
                <a:gd name="connsiteY3" fmla="*/ 0 h 27023"/>
                <a:gd name="connsiteX4" fmla="*/ 26952 w 26952"/>
                <a:gd name="connsiteY4" fmla="*/ 13512 h 27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52" h="27023">
                  <a:moveTo>
                    <a:pt x="26952" y="13512"/>
                  </a:moveTo>
                  <a:cubicBezTo>
                    <a:pt x="26952" y="20974"/>
                    <a:pt x="20919" y="27023"/>
                    <a:pt x="13476" y="27023"/>
                  </a:cubicBezTo>
                  <a:cubicBezTo>
                    <a:pt x="6034" y="27023"/>
                    <a:pt x="0" y="20974"/>
                    <a:pt x="0" y="13512"/>
                  </a:cubicBezTo>
                  <a:cubicBezTo>
                    <a:pt x="0" y="6049"/>
                    <a:pt x="6033" y="0"/>
                    <a:pt x="13476" y="0"/>
                  </a:cubicBezTo>
                  <a:cubicBezTo>
                    <a:pt x="20919" y="0"/>
                    <a:pt x="26952" y="6049"/>
                    <a:pt x="26952" y="13512"/>
                  </a:cubicBezTo>
                  <a:close/>
                </a:path>
              </a:pathLst>
            </a:custGeom>
            <a:noFill/>
            <a:ln w="6350" cap="flat">
              <a:solidFill>
                <a:srgbClr val="4F74C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39" name="Freeform 781">
              <a:extLst>
                <a:ext uri="{FF2B5EF4-FFF2-40B4-BE49-F238E27FC236}">
                  <a16:creationId xmlns:a16="http://schemas.microsoft.com/office/drawing/2014/main" id="{002A2BF2-8453-4FB6-AFB2-B209F543BC7E}"/>
                </a:ext>
              </a:extLst>
            </p:cNvPr>
            <p:cNvSpPr/>
            <p:nvPr/>
          </p:nvSpPr>
          <p:spPr>
            <a:xfrm>
              <a:off x="7177257" y="3866873"/>
              <a:ext cx="26952" cy="27023"/>
            </a:xfrm>
            <a:custGeom>
              <a:avLst/>
              <a:gdLst>
                <a:gd name="connsiteX0" fmla="*/ 26952 w 26952"/>
                <a:gd name="connsiteY0" fmla="*/ 13512 h 27023"/>
                <a:gd name="connsiteX1" fmla="*/ 13476 w 26952"/>
                <a:gd name="connsiteY1" fmla="*/ 27023 h 27023"/>
                <a:gd name="connsiteX2" fmla="*/ 0 w 26952"/>
                <a:gd name="connsiteY2" fmla="*/ 13512 h 27023"/>
                <a:gd name="connsiteX3" fmla="*/ 13476 w 26952"/>
                <a:gd name="connsiteY3" fmla="*/ 0 h 27023"/>
                <a:gd name="connsiteX4" fmla="*/ 26952 w 26952"/>
                <a:gd name="connsiteY4" fmla="*/ 13512 h 27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52" h="27023">
                  <a:moveTo>
                    <a:pt x="26952" y="13512"/>
                  </a:moveTo>
                  <a:cubicBezTo>
                    <a:pt x="26952" y="20974"/>
                    <a:pt x="20919" y="27023"/>
                    <a:pt x="13476" y="27023"/>
                  </a:cubicBezTo>
                  <a:cubicBezTo>
                    <a:pt x="6033" y="27023"/>
                    <a:pt x="0" y="20974"/>
                    <a:pt x="0" y="13512"/>
                  </a:cubicBezTo>
                  <a:cubicBezTo>
                    <a:pt x="0" y="6049"/>
                    <a:pt x="6033" y="0"/>
                    <a:pt x="13476" y="0"/>
                  </a:cubicBezTo>
                  <a:cubicBezTo>
                    <a:pt x="20918" y="0"/>
                    <a:pt x="26952" y="6049"/>
                    <a:pt x="26952" y="13512"/>
                  </a:cubicBezTo>
                  <a:close/>
                </a:path>
              </a:pathLst>
            </a:custGeom>
            <a:noFill/>
            <a:ln w="6350" cap="flat">
              <a:solidFill>
                <a:srgbClr val="4F74C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0" name="Freeform 782">
              <a:extLst>
                <a:ext uri="{FF2B5EF4-FFF2-40B4-BE49-F238E27FC236}">
                  <a16:creationId xmlns:a16="http://schemas.microsoft.com/office/drawing/2014/main" id="{47A5EA5F-5D2C-43A4-A74D-DC6B726DA5E4}"/>
                </a:ext>
              </a:extLst>
            </p:cNvPr>
            <p:cNvSpPr/>
            <p:nvPr/>
          </p:nvSpPr>
          <p:spPr>
            <a:xfrm>
              <a:off x="7166159" y="3866873"/>
              <a:ext cx="26952" cy="27023"/>
            </a:xfrm>
            <a:custGeom>
              <a:avLst/>
              <a:gdLst>
                <a:gd name="connsiteX0" fmla="*/ 26952 w 26952"/>
                <a:gd name="connsiteY0" fmla="*/ 13512 h 27023"/>
                <a:gd name="connsiteX1" fmla="*/ 13476 w 26952"/>
                <a:gd name="connsiteY1" fmla="*/ 27023 h 27023"/>
                <a:gd name="connsiteX2" fmla="*/ 0 w 26952"/>
                <a:gd name="connsiteY2" fmla="*/ 13512 h 27023"/>
                <a:gd name="connsiteX3" fmla="*/ 13476 w 26952"/>
                <a:gd name="connsiteY3" fmla="*/ 0 h 27023"/>
                <a:gd name="connsiteX4" fmla="*/ 26952 w 26952"/>
                <a:gd name="connsiteY4" fmla="*/ 13512 h 27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52" h="27023">
                  <a:moveTo>
                    <a:pt x="26952" y="13512"/>
                  </a:moveTo>
                  <a:cubicBezTo>
                    <a:pt x="26952" y="20974"/>
                    <a:pt x="20919" y="27023"/>
                    <a:pt x="13476" y="27023"/>
                  </a:cubicBezTo>
                  <a:cubicBezTo>
                    <a:pt x="6033" y="27023"/>
                    <a:pt x="0" y="20974"/>
                    <a:pt x="0" y="13512"/>
                  </a:cubicBezTo>
                  <a:cubicBezTo>
                    <a:pt x="0" y="6049"/>
                    <a:pt x="6033" y="0"/>
                    <a:pt x="13476" y="0"/>
                  </a:cubicBezTo>
                  <a:cubicBezTo>
                    <a:pt x="20919" y="0"/>
                    <a:pt x="26952" y="6049"/>
                    <a:pt x="26952" y="13512"/>
                  </a:cubicBezTo>
                  <a:close/>
                </a:path>
              </a:pathLst>
            </a:custGeom>
            <a:noFill/>
            <a:ln w="6350" cap="flat">
              <a:solidFill>
                <a:srgbClr val="4F74C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1" name="Freeform 783">
              <a:extLst>
                <a:ext uri="{FF2B5EF4-FFF2-40B4-BE49-F238E27FC236}">
                  <a16:creationId xmlns:a16="http://schemas.microsoft.com/office/drawing/2014/main" id="{487AB887-CC1D-490C-932A-8027A6C26DE1}"/>
                </a:ext>
              </a:extLst>
            </p:cNvPr>
            <p:cNvSpPr/>
            <p:nvPr/>
          </p:nvSpPr>
          <p:spPr>
            <a:xfrm>
              <a:off x="7156873" y="3866873"/>
              <a:ext cx="26952" cy="27023"/>
            </a:xfrm>
            <a:custGeom>
              <a:avLst/>
              <a:gdLst>
                <a:gd name="connsiteX0" fmla="*/ 26952 w 26952"/>
                <a:gd name="connsiteY0" fmla="*/ 13512 h 27023"/>
                <a:gd name="connsiteX1" fmla="*/ 13476 w 26952"/>
                <a:gd name="connsiteY1" fmla="*/ 27023 h 27023"/>
                <a:gd name="connsiteX2" fmla="*/ 0 w 26952"/>
                <a:gd name="connsiteY2" fmla="*/ 13512 h 27023"/>
                <a:gd name="connsiteX3" fmla="*/ 13476 w 26952"/>
                <a:gd name="connsiteY3" fmla="*/ 0 h 27023"/>
                <a:gd name="connsiteX4" fmla="*/ 26952 w 26952"/>
                <a:gd name="connsiteY4" fmla="*/ 13512 h 27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52" h="27023">
                  <a:moveTo>
                    <a:pt x="26952" y="13512"/>
                  </a:moveTo>
                  <a:cubicBezTo>
                    <a:pt x="26952" y="20974"/>
                    <a:pt x="20919" y="27023"/>
                    <a:pt x="13476" y="27023"/>
                  </a:cubicBezTo>
                  <a:cubicBezTo>
                    <a:pt x="6034" y="27023"/>
                    <a:pt x="0" y="20974"/>
                    <a:pt x="0" y="13512"/>
                  </a:cubicBezTo>
                  <a:cubicBezTo>
                    <a:pt x="0" y="6049"/>
                    <a:pt x="6033" y="0"/>
                    <a:pt x="13476" y="0"/>
                  </a:cubicBezTo>
                  <a:cubicBezTo>
                    <a:pt x="20919" y="0"/>
                    <a:pt x="26952" y="6049"/>
                    <a:pt x="26952" y="13512"/>
                  </a:cubicBezTo>
                  <a:close/>
                </a:path>
              </a:pathLst>
            </a:custGeom>
            <a:noFill/>
            <a:ln w="6350" cap="flat">
              <a:solidFill>
                <a:srgbClr val="4F74C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2" name="Freeform 784">
              <a:extLst>
                <a:ext uri="{FF2B5EF4-FFF2-40B4-BE49-F238E27FC236}">
                  <a16:creationId xmlns:a16="http://schemas.microsoft.com/office/drawing/2014/main" id="{0BAF5004-892B-4588-A0C3-83023B08E4F7}"/>
                </a:ext>
              </a:extLst>
            </p:cNvPr>
            <p:cNvSpPr/>
            <p:nvPr/>
          </p:nvSpPr>
          <p:spPr>
            <a:xfrm>
              <a:off x="7138301" y="3866873"/>
              <a:ext cx="26952" cy="27023"/>
            </a:xfrm>
            <a:custGeom>
              <a:avLst/>
              <a:gdLst>
                <a:gd name="connsiteX0" fmla="*/ 26952 w 26952"/>
                <a:gd name="connsiteY0" fmla="*/ 13512 h 27023"/>
                <a:gd name="connsiteX1" fmla="*/ 13476 w 26952"/>
                <a:gd name="connsiteY1" fmla="*/ 27023 h 27023"/>
                <a:gd name="connsiteX2" fmla="*/ 0 w 26952"/>
                <a:gd name="connsiteY2" fmla="*/ 13512 h 27023"/>
                <a:gd name="connsiteX3" fmla="*/ 13476 w 26952"/>
                <a:gd name="connsiteY3" fmla="*/ 0 h 27023"/>
                <a:gd name="connsiteX4" fmla="*/ 26952 w 26952"/>
                <a:gd name="connsiteY4" fmla="*/ 13512 h 27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52" h="27023">
                  <a:moveTo>
                    <a:pt x="26952" y="13512"/>
                  </a:moveTo>
                  <a:cubicBezTo>
                    <a:pt x="26952" y="20974"/>
                    <a:pt x="20919" y="27023"/>
                    <a:pt x="13476" y="27023"/>
                  </a:cubicBezTo>
                  <a:cubicBezTo>
                    <a:pt x="6034" y="27023"/>
                    <a:pt x="0" y="20974"/>
                    <a:pt x="0" y="13512"/>
                  </a:cubicBezTo>
                  <a:cubicBezTo>
                    <a:pt x="0" y="6049"/>
                    <a:pt x="6033" y="0"/>
                    <a:pt x="13476" y="0"/>
                  </a:cubicBezTo>
                  <a:cubicBezTo>
                    <a:pt x="20919" y="0"/>
                    <a:pt x="26952" y="6049"/>
                    <a:pt x="26952" y="13512"/>
                  </a:cubicBezTo>
                  <a:close/>
                </a:path>
              </a:pathLst>
            </a:custGeom>
            <a:noFill/>
            <a:ln w="6350" cap="flat">
              <a:solidFill>
                <a:srgbClr val="4F74C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3" name="Freeform 785">
              <a:extLst>
                <a:ext uri="{FF2B5EF4-FFF2-40B4-BE49-F238E27FC236}">
                  <a16:creationId xmlns:a16="http://schemas.microsoft.com/office/drawing/2014/main" id="{FDBB91FB-B18C-4F31-B9AC-B3F9C1F00EC0}"/>
                </a:ext>
              </a:extLst>
            </p:cNvPr>
            <p:cNvSpPr/>
            <p:nvPr/>
          </p:nvSpPr>
          <p:spPr>
            <a:xfrm>
              <a:off x="7135470" y="3866873"/>
              <a:ext cx="26952" cy="27023"/>
            </a:xfrm>
            <a:custGeom>
              <a:avLst/>
              <a:gdLst>
                <a:gd name="connsiteX0" fmla="*/ 26952 w 26952"/>
                <a:gd name="connsiteY0" fmla="*/ 13512 h 27023"/>
                <a:gd name="connsiteX1" fmla="*/ 13476 w 26952"/>
                <a:gd name="connsiteY1" fmla="*/ 27023 h 27023"/>
                <a:gd name="connsiteX2" fmla="*/ 0 w 26952"/>
                <a:gd name="connsiteY2" fmla="*/ 13512 h 27023"/>
                <a:gd name="connsiteX3" fmla="*/ 13476 w 26952"/>
                <a:gd name="connsiteY3" fmla="*/ 0 h 27023"/>
                <a:gd name="connsiteX4" fmla="*/ 26952 w 26952"/>
                <a:gd name="connsiteY4" fmla="*/ 13512 h 27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52" h="27023">
                  <a:moveTo>
                    <a:pt x="26952" y="13512"/>
                  </a:moveTo>
                  <a:cubicBezTo>
                    <a:pt x="26952" y="20974"/>
                    <a:pt x="20919" y="27023"/>
                    <a:pt x="13476" y="27023"/>
                  </a:cubicBezTo>
                  <a:cubicBezTo>
                    <a:pt x="6034" y="27023"/>
                    <a:pt x="0" y="20974"/>
                    <a:pt x="0" y="13512"/>
                  </a:cubicBezTo>
                  <a:cubicBezTo>
                    <a:pt x="0" y="6049"/>
                    <a:pt x="6033" y="0"/>
                    <a:pt x="13476" y="0"/>
                  </a:cubicBezTo>
                  <a:cubicBezTo>
                    <a:pt x="20919" y="0"/>
                    <a:pt x="26952" y="6049"/>
                    <a:pt x="26952" y="13512"/>
                  </a:cubicBezTo>
                  <a:close/>
                </a:path>
              </a:pathLst>
            </a:custGeom>
            <a:noFill/>
            <a:ln w="6350" cap="flat">
              <a:solidFill>
                <a:srgbClr val="4F74C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4" name="Freeform 786">
              <a:extLst>
                <a:ext uri="{FF2B5EF4-FFF2-40B4-BE49-F238E27FC236}">
                  <a16:creationId xmlns:a16="http://schemas.microsoft.com/office/drawing/2014/main" id="{87C9539C-A31D-456E-97EC-610776DA3E39}"/>
                </a:ext>
              </a:extLst>
            </p:cNvPr>
            <p:cNvSpPr/>
            <p:nvPr/>
          </p:nvSpPr>
          <p:spPr>
            <a:xfrm>
              <a:off x="7098665" y="3857676"/>
              <a:ext cx="26952" cy="27023"/>
            </a:xfrm>
            <a:custGeom>
              <a:avLst/>
              <a:gdLst>
                <a:gd name="connsiteX0" fmla="*/ 26952 w 26952"/>
                <a:gd name="connsiteY0" fmla="*/ 13512 h 27023"/>
                <a:gd name="connsiteX1" fmla="*/ 13476 w 26952"/>
                <a:gd name="connsiteY1" fmla="*/ 27023 h 27023"/>
                <a:gd name="connsiteX2" fmla="*/ 0 w 26952"/>
                <a:gd name="connsiteY2" fmla="*/ 13512 h 27023"/>
                <a:gd name="connsiteX3" fmla="*/ 13476 w 26952"/>
                <a:gd name="connsiteY3" fmla="*/ 0 h 27023"/>
                <a:gd name="connsiteX4" fmla="*/ 26952 w 26952"/>
                <a:gd name="connsiteY4" fmla="*/ 13512 h 27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52" h="27023">
                  <a:moveTo>
                    <a:pt x="26952" y="13512"/>
                  </a:moveTo>
                  <a:cubicBezTo>
                    <a:pt x="26952" y="20974"/>
                    <a:pt x="20919" y="27023"/>
                    <a:pt x="13476" y="27023"/>
                  </a:cubicBezTo>
                  <a:cubicBezTo>
                    <a:pt x="6034" y="27023"/>
                    <a:pt x="0" y="20974"/>
                    <a:pt x="0" y="13512"/>
                  </a:cubicBezTo>
                  <a:cubicBezTo>
                    <a:pt x="0" y="6049"/>
                    <a:pt x="6033" y="0"/>
                    <a:pt x="13476" y="0"/>
                  </a:cubicBezTo>
                  <a:cubicBezTo>
                    <a:pt x="20919" y="0"/>
                    <a:pt x="26952" y="6049"/>
                    <a:pt x="26952" y="13512"/>
                  </a:cubicBezTo>
                  <a:close/>
                </a:path>
              </a:pathLst>
            </a:custGeom>
            <a:noFill/>
            <a:ln w="6350" cap="flat">
              <a:solidFill>
                <a:srgbClr val="4F74C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5" name="Freeform 787">
              <a:extLst>
                <a:ext uri="{FF2B5EF4-FFF2-40B4-BE49-F238E27FC236}">
                  <a16:creationId xmlns:a16="http://schemas.microsoft.com/office/drawing/2014/main" id="{DF1B1E3B-D196-4798-A07A-19C6FFD2F23D}"/>
                </a:ext>
              </a:extLst>
            </p:cNvPr>
            <p:cNvSpPr/>
            <p:nvPr/>
          </p:nvSpPr>
          <p:spPr>
            <a:xfrm>
              <a:off x="7092663" y="3857676"/>
              <a:ext cx="26952" cy="27023"/>
            </a:xfrm>
            <a:custGeom>
              <a:avLst/>
              <a:gdLst>
                <a:gd name="connsiteX0" fmla="*/ 26952 w 26952"/>
                <a:gd name="connsiteY0" fmla="*/ 13512 h 27023"/>
                <a:gd name="connsiteX1" fmla="*/ 13476 w 26952"/>
                <a:gd name="connsiteY1" fmla="*/ 27023 h 27023"/>
                <a:gd name="connsiteX2" fmla="*/ 0 w 26952"/>
                <a:gd name="connsiteY2" fmla="*/ 13512 h 27023"/>
                <a:gd name="connsiteX3" fmla="*/ 13476 w 26952"/>
                <a:gd name="connsiteY3" fmla="*/ 0 h 27023"/>
                <a:gd name="connsiteX4" fmla="*/ 26952 w 26952"/>
                <a:gd name="connsiteY4" fmla="*/ 13512 h 27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52" h="27023">
                  <a:moveTo>
                    <a:pt x="26952" y="13512"/>
                  </a:moveTo>
                  <a:cubicBezTo>
                    <a:pt x="26952" y="20974"/>
                    <a:pt x="20919" y="27023"/>
                    <a:pt x="13476" y="27023"/>
                  </a:cubicBezTo>
                  <a:cubicBezTo>
                    <a:pt x="6033" y="27023"/>
                    <a:pt x="0" y="20974"/>
                    <a:pt x="0" y="13512"/>
                  </a:cubicBezTo>
                  <a:cubicBezTo>
                    <a:pt x="0" y="6049"/>
                    <a:pt x="6033" y="0"/>
                    <a:pt x="13476" y="0"/>
                  </a:cubicBezTo>
                  <a:cubicBezTo>
                    <a:pt x="20918" y="0"/>
                    <a:pt x="26952" y="6049"/>
                    <a:pt x="26952" y="13512"/>
                  </a:cubicBezTo>
                  <a:close/>
                </a:path>
              </a:pathLst>
            </a:custGeom>
            <a:noFill/>
            <a:ln w="6350" cap="flat">
              <a:solidFill>
                <a:srgbClr val="4F74C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6" name="Freeform 788">
              <a:extLst>
                <a:ext uri="{FF2B5EF4-FFF2-40B4-BE49-F238E27FC236}">
                  <a16:creationId xmlns:a16="http://schemas.microsoft.com/office/drawing/2014/main" id="{75587497-77B6-4DC3-8294-BE92A5C90D70}"/>
                </a:ext>
              </a:extLst>
            </p:cNvPr>
            <p:cNvSpPr/>
            <p:nvPr/>
          </p:nvSpPr>
          <p:spPr>
            <a:xfrm>
              <a:off x="7080207" y="3857676"/>
              <a:ext cx="26952" cy="27023"/>
            </a:xfrm>
            <a:custGeom>
              <a:avLst/>
              <a:gdLst>
                <a:gd name="connsiteX0" fmla="*/ 26952 w 26952"/>
                <a:gd name="connsiteY0" fmla="*/ 13512 h 27023"/>
                <a:gd name="connsiteX1" fmla="*/ 13476 w 26952"/>
                <a:gd name="connsiteY1" fmla="*/ 27023 h 27023"/>
                <a:gd name="connsiteX2" fmla="*/ 0 w 26952"/>
                <a:gd name="connsiteY2" fmla="*/ 13512 h 27023"/>
                <a:gd name="connsiteX3" fmla="*/ 13476 w 26952"/>
                <a:gd name="connsiteY3" fmla="*/ 0 h 27023"/>
                <a:gd name="connsiteX4" fmla="*/ 26952 w 26952"/>
                <a:gd name="connsiteY4" fmla="*/ 13512 h 27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52" h="27023">
                  <a:moveTo>
                    <a:pt x="26952" y="13512"/>
                  </a:moveTo>
                  <a:cubicBezTo>
                    <a:pt x="26952" y="20974"/>
                    <a:pt x="20919" y="27023"/>
                    <a:pt x="13476" y="27023"/>
                  </a:cubicBezTo>
                  <a:cubicBezTo>
                    <a:pt x="6034" y="27023"/>
                    <a:pt x="0" y="20974"/>
                    <a:pt x="0" y="13512"/>
                  </a:cubicBezTo>
                  <a:cubicBezTo>
                    <a:pt x="0" y="6049"/>
                    <a:pt x="6033" y="0"/>
                    <a:pt x="13476" y="0"/>
                  </a:cubicBezTo>
                  <a:cubicBezTo>
                    <a:pt x="20919" y="0"/>
                    <a:pt x="26952" y="6049"/>
                    <a:pt x="26952" y="13512"/>
                  </a:cubicBezTo>
                  <a:close/>
                </a:path>
              </a:pathLst>
            </a:custGeom>
            <a:noFill/>
            <a:ln w="6350" cap="flat">
              <a:solidFill>
                <a:srgbClr val="4F74C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7" name="Freeform 789">
              <a:extLst>
                <a:ext uri="{FF2B5EF4-FFF2-40B4-BE49-F238E27FC236}">
                  <a16:creationId xmlns:a16="http://schemas.microsoft.com/office/drawing/2014/main" id="{F0BD27E9-EADB-4AAF-90FE-D025DFB33776}"/>
                </a:ext>
              </a:extLst>
            </p:cNvPr>
            <p:cNvSpPr/>
            <p:nvPr/>
          </p:nvSpPr>
          <p:spPr>
            <a:xfrm>
              <a:off x="7065711" y="3857676"/>
              <a:ext cx="26952" cy="27023"/>
            </a:xfrm>
            <a:custGeom>
              <a:avLst/>
              <a:gdLst>
                <a:gd name="connsiteX0" fmla="*/ 26952 w 26952"/>
                <a:gd name="connsiteY0" fmla="*/ 13512 h 27023"/>
                <a:gd name="connsiteX1" fmla="*/ 13476 w 26952"/>
                <a:gd name="connsiteY1" fmla="*/ 27023 h 27023"/>
                <a:gd name="connsiteX2" fmla="*/ 0 w 26952"/>
                <a:gd name="connsiteY2" fmla="*/ 13512 h 27023"/>
                <a:gd name="connsiteX3" fmla="*/ 13476 w 26952"/>
                <a:gd name="connsiteY3" fmla="*/ 0 h 27023"/>
                <a:gd name="connsiteX4" fmla="*/ 26952 w 26952"/>
                <a:gd name="connsiteY4" fmla="*/ 13512 h 27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52" h="27023">
                  <a:moveTo>
                    <a:pt x="26952" y="13512"/>
                  </a:moveTo>
                  <a:cubicBezTo>
                    <a:pt x="26952" y="20974"/>
                    <a:pt x="20919" y="27023"/>
                    <a:pt x="13476" y="27023"/>
                  </a:cubicBezTo>
                  <a:cubicBezTo>
                    <a:pt x="6034" y="27023"/>
                    <a:pt x="0" y="20974"/>
                    <a:pt x="0" y="13512"/>
                  </a:cubicBezTo>
                  <a:cubicBezTo>
                    <a:pt x="0" y="6049"/>
                    <a:pt x="6033" y="0"/>
                    <a:pt x="13476" y="0"/>
                  </a:cubicBezTo>
                  <a:cubicBezTo>
                    <a:pt x="20919" y="0"/>
                    <a:pt x="26952" y="6049"/>
                    <a:pt x="26952" y="13512"/>
                  </a:cubicBezTo>
                  <a:close/>
                </a:path>
              </a:pathLst>
            </a:custGeom>
            <a:noFill/>
            <a:ln w="6350" cap="flat">
              <a:solidFill>
                <a:srgbClr val="4F74C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8" name="Freeform 790">
              <a:extLst>
                <a:ext uri="{FF2B5EF4-FFF2-40B4-BE49-F238E27FC236}">
                  <a16:creationId xmlns:a16="http://schemas.microsoft.com/office/drawing/2014/main" id="{23E5DD18-8129-4F35-9CFD-D595E8F4EFEF}"/>
                </a:ext>
              </a:extLst>
            </p:cNvPr>
            <p:cNvSpPr/>
            <p:nvPr/>
          </p:nvSpPr>
          <p:spPr>
            <a:xfrm>
              <a:off x="7032531" y="3847457"/>
              <a:ext cx="26952" cy="27023"/>
            </a:xfrm>
            <a:custGeom>
              <a:avLst/>
              <a:gdLst>
                <a:gd name="connsiteX0" fmla="*/ 26952 w 26952"/>
                <a:gd name="connsiteY0" fmla="*/ 13512 h 27023"/>
                <a:gd name="connsiteX1" fmla="*/ 13476 w 26952"/>
                <a:gd name="connsiteY1" fmla="*/ 27023 h 27023"/>
                <a:gd name="connsiteX2" fmla="*/ 0 w 26952"/>
                <a:gd name="connsiteY2" fmla="*/ 13512 h 27023"/>
                <a:gd name="connsiteX3" fmla="*/ 13476 w 26952"/>
                <a:gd name="connsiteY3" fmla="*/ 0 h 27023"/>
                <a:gd name="connsiteX4" fmla="*/ 26952 w 26952"/>
                <a:gd name="connsiteY4" fmla="*/ 13512 h 27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52" h="27023">
                  <a:moveTo>
                    <a:pt x="26952" y="13512"/>
                  </a:moveTo>
                  <a:cubicBezTo>
                    <a:pt x="26952" y="20974"/>
                    <a:pt x="20919" y="27023"/>
                    <a:pt x="13476" y="27023"/>
                  </a:cubicBezTo>
                  <a:cubicBezTo>
                    <a:pt x="6033" y="27023"/>
                    <a:pt x="0" y="20974"/>
                    <a:pt x="0" y="13512"/>
                  </a:cubicBezTo>
                  <a:cubicBezTo>
                    <a:pt x="0" y="6049"/>
                    <a:pt x="6033" y="0"/>
                    <a:pt x="13476" y="0"/>
                  </a:cubicBezTo>
                  <a:cubicBezTo>
                    <a:pt x="20918" y="0"/>
                    <a:pt x="26952" y="6049"/>
                    <a:pt x="26952" y="13512"/>
                  </a:cubicBezTo>
                  <a:close/>
                </a:path>
              </a:pathLst>
            </a:custGeom>
            <a:noFill/>
            <a:ln w="6350" cap="flat">
              <a:solidFill>
                <a:srgbClr val="4F74C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9" name="Freeform 791">
              <a:extLst>
                <a:ext uri="{FF2B5EF4-FFF2-40B4-BE49-F238E27FC236}">
                  <a16:creationId xmlns:a16="http://schemas.microsoft.com/office/drawing/2014/main" id="{43AC7E5E-EC7C-4EAE-8ECA-0C4BFEFAFF2E}"/>
                </a:ext>
              </a:extLst>
            </p:cNvPr>
            <p:cNvSpPr/>
            <p:nvPr/>
          </p:nvSpPr>
          <p:spPr>
            <a:xfrm>
              <a:off x="7028341" y="3847457"/>
              <a:ext cx="26952" cy="27023"/>
            </a:xfrm>
            <a:custGeom>
              <a:avLst/>
              <a:gdLst>
                <a:gd name="connsiteX0" fmla="*/ 26952 w 26952"/>
                <a:gd name="connsiteY0" fmla="*/ 13512 h 27023"/>
                <a:gd name="connsiteX1" fmla="*/ 13476 w 26952"/>
                <a:gd name="connsiteY1" fmla="*/ 27023 h 27023"/>
                <a:gd name="connsiteX2" fmla="*/ 0 w 26952"/>
                <a:gd name="connsiteY2" fmla="*/ 13512 h 27023"/>
                <a:gd name="connsiteX3" fmla="*/ 13476 w 26952"/>
                <a:gd name="connsiteY3" fmla="*/ 0 h 27023"/>
                <a:gd name="connsiteX4" fmla="*/ 26952 w 26952"/>
                <a:gd name="connsiteY4" fmla="*/ 13512 h 27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52" h="27023">
                  <a:moveTo>
                    <a:pt x="26952" y="13512"/>
                  </a:moveTo>
                  <a:cubicBezTo>
                    <a:pt x="26952" y="20974"/>
                    <a:pt x="20919" y="27023"/>
                    <a:pt x="13476" y="27023"/>
                  </a:cubicBezTo>
                  <a:cubicBezTo>
                    <a:pt x="6033" y="27023"/>
                    <a:pt x="0" y="20974"/>
                    <a:pt x="0" y="13512"/>
                  </a:cubicBezTo>
                  <a:cubicBezTo>
                    <a:pt x="0" y="6049"/>
                    <a:pt x="6033" y="0"/>
                    <a:pt x="13476" y="0"/>
                  </a:cubicBezTo>
                  <a:cubicBezTo>
                    <a:pt x="20919" y="0"/>
                    <a:pt x="26952" y="6049"/>
                    <a:pt x="26952" y="13512"/>
                  </a:cubicBezTo>
                  <a:close/>
                </a:path>
              </a:pathLst>
            </a:custGeom>
            <a:noFill/>
            <a:ln w="6350" cap="flat">
              <a:solidFill>
                <a:srgbClr val="4F74C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50" name="Freeform 792">
              <a:extLst>
                <a:ext uri="{FF2B5EF4-FFF2-40B4-BE49-F238E27FC236}">
                  <a16:creationId xmlns:a16="http://schemas.microsoft.com/office/drawing/2014/main" id="{D0DA4904-F69D-41B0-8112-00E072E36670}"/>
                </a:ext>
              </a:extLst>
            </p:cNvPr>
            <p:cNvSpPr/>
            <p:nvPr/>
          </p:nvSpPr>
          <p:spPr>
            <a:xfrm>
              <a:off x="7017583" y="3847457"/>
              <a:ext cx="26952" cy="27023"/>
            </a:xfrm>
            <a:custGeom>
              <a:avLst/>
              <a:gdLst>
                <a:gd name="connsiteX0" fmla="*/ 26952 w 26952"/>
                <a:gd name="connsiteY0" fmla="*/ 13512 h 27023"/>
                <a:gd name="connsiteX1" fmla="*/ 13476 w 26952"/>
                <a:gd name="connsiteY1" fmla="*/ 27023 h 27023"/>
                <a:gd name="connsiteX2" fmla="*/ 0 w 26952"/>
                <a:gd name="connsiteY2" fmla="*/ 13512 h 27023"/>
                <a:gd name="connsiteX3" fmla="*/ 13476 w 26952"/>
                <a:gd name="connsiteY3" fmla="*/ 0 h 27023"/>
                <a:gd name="connsiteX4" fmla="*/ 26952 w 26952"/>
                <a:gd name="connsiteY4" fmla="*/ 13512 h 27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52" h="27023">
                  <a:moveTo>
                    <a:pt x="26952" y="13512"/>
                  </a:moveTo>
                  <a:cubicBezTo>
                    <a:pt x="26952" y="20974"/>
                    <a:pt x="20919" y="27023"/>
                    <a:pt x="13476" y="27023"/>
                  </a:cubicBezTo>
                  <a:cubicBezTo>
                    <a:pt x="6034" y="27023"/>
                    <a:pt x="0" y="20974"/>
                    <a:pt x="0" y="13512"/>
                  </a:cubicBezTo>
                  <a:cubicBezTo>
                    <a:pt x="0" y="6049"/>
                    <a:pt x="6033" y="0"/>
                    <a:pt x="13476" y="0"/>
                  </a:cubicBezTo>
                  <a:cubicBezTo>
                    <a:pt x="20919" y="0"/>
                    <a:pt x="26952" y="6049"/>
                    <a:pt x="26952" y="13512"/>
                  </a:cubicBezTo>
                  <a:close/>
                </a:path>
              </a:pathLst>
            </a:custGeom>
            <a:noFill/>
            <a:ln w="6350" cap="flat">
              <a:solidFill>
                <a:srgbClr val="4F74C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51" name="Freeform 793">
              <a:extLst>
                <a:ext uri="{FF2B5EF4-FFF2-40B4-BE49-F238E27FC236}">
                  <a16:creationId xmlns:a16="http://schemas.microsoft.com/office/drawing/2014/main" id="{0FBA88B4-B92E-4374-BC06-51800AB42202}"/>
                </a:ext>
              </a:extLst>
            </p:cNvPr>
            <p:cNvSpPr/>
            <p:nvPr/>
          </p:nvSpPr>
          <p:spPr>
            <a:xfrm>
              <a:off x="7008523" y="3840418"/>
              <a:ext cx="26952" cy="27023"/>
            </a:xfrm>
            <a:custGeom>
              <a:avLst/>
              <a:gdLst>
                <a:gd name="connsiteX0" fmla="*/ 26952 w 26952"/>
                <a:gd name="connsiteY0" fmla="*/ 13511 h 27023"/>
                <a:gd name="connsiteX1" fmla="*/ 13476 w 26952"/>
                <a:gd name="connsiteY1" fmla="*/ 27023 h 27023"/>
                <a:gd name="connsiteX2" fmla="*/ 0 w 26952"/>
                <a:gd name="connsiteY2" fmla="*/ 13511 h 27023"/>
                <a:gd name="connsiteX3" fmla="*/ 13476 w 26952"/>
                <a:gd name="connsiteY3" fmla="*/ 0 h 27023"/>
                <a:gd name="connsiteX4" fmla="*/ 26952 w 26952"/>
                <a:gd name="connsiteY4" fmla="*/ 13511 h 27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52" h="27023">
                  <a:moveTo>
                    <a:pt x="26952" y="13511"/>
                  </a:moveTo>
                  <a:cubicBezTo>
                    <a:pt x="26952" y="20974"/>
                    <a:pt x="20919" y="27023"/>
                    <a:pt x="13476" y="27023"/>
                  </a:cubicBezTo>
                  <a:cubicBezTo>
                    <a:pt x="6033" y="27023"/>
                    <a:pt x="0" y="20974"/>
                    <a:pt x="0" y="13511"/>
                  </a:cubicBezTo>
                  <a:cubicBezTo>
                    <a:pt x="0" y="6049"/>
                    <a:pt x="6033" y="0"/>
                    <a:pt x="13476" y="0"/>
                  </a:cubicBezTo>
                  <a:cubicBezTo>
                    <a:pt x="20919" y="0"/>
                    <a:pt x="26952" y="6049"/>
                    <a:pt x="26952" y="13511"/>
                  </a:cubicBezTo>
                  <a:close/>
                </a:path>
              </a:pathLst>
            </a:custGeom>
            <a:noFill/>
            <a:ln w="6350" cap="flat">
              <a:solidFill>
                <a:srgbClr val="4F74C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52" name="Freeform 794">
              <a:extLst>
                <a:ext uri="{FF2B5EF4-FFF2-40B4-BE49-F238E27FC236}">
                  <a16:creationId xmlns:a16="http://schemas.microsoft.com/office/drawing/2014/main" id="{E4E96151-3CA8-4394-B7D1-99AA86335626}"/>
                </a:ext>
              </a:extLst>
            </p:cNvPr>
            <p:cNvSpPr/>
            <p:nvPr/>
          </p:nvSpPr>
          <p:spPr>
            <a:xfrm>
              <a:off x="6996972" y="3840418"/>
              <a:ext cx="26952" cy="27023"/>
            </a:xfrm>
            <a:custGeom>
              <a:avLst/>
              <a:gdLst>
                <a:gd name="connsiteX0" fmla="*/ 26952 w 26952"/>
                <a:gd name="connsiteY0" fmla="*/ 13511 h 27023"/>
                <a:gd name="connsiteX1" fmla="*/ 13476 w 26952"/>
                <a:gd name="connsiteY1" fmla="*/ 27023 h 27023"/>
                <a:gd name="connsiteX2" fmla="*/ 0 w 26952"/>
                <a:gd name="connsiteY2" fmla="*/ 13511 h 27023"/>
                <a:gd name="connsiteX3" fmla="*/ 13476 w 26952"/>
                <a:gd name="connsiteY3" fmla="*/ 0 h 27023"/>
                <a:gd name="connsiteX4" fmla="*/ 26952 w 26952"/>
                <a:gd name="connsiteY4" fmla="*/ 13511 h 27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52" h="27023">
                  <a:moveTo>
                    <a:pt x="26952" y="13511"/>
                  </a:moveTo>
                  <a:cubicBezTo>
                    <a:pt x="26952" y="20974"/>
                    <a:pt x="20919" y="27023"/>
                    <a:pt x="13476" y="27023"/>
                  </a:cubicBezTo>
                  <a:cubicBezTo>
                    <a:pt x="6033" y="27023"/>
                    <a:pt x="0" y="20974"/>
                    <a:pt x="0" y="13511"/>
                  </a:cubicBezTo>
                  <a:cubicBezTo>
                    <a:pt x="0" y="6049"/>
                    <a:pt x="6033" y="0"/>
                    <a:pt x="13476" y="0"/>
                  </a:cubicBezTo>
                  <a:cubicBezTo>
                    <a:pt x="20919" y="0"/>
                    <a:pt x="26952" y="6049"/>
                    <a:pt x="26952" y="13511"/>
                  </a:cubicBezTo>
                  <a:close/>
                </a:path>
              </a:pathLst>
            </a:custGeom>
            <a:noFill/>
            <a:ln w="6350" cap="flat">
              <a:solidFill>
                <a:srgbClr val="4F74C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53" name="Freeform 795">
              <a:extLst>
                <a:ext uri="{FF2B5EF4-FFF2-40B4-BE49-F238E27FC236}">
                  <a16:creationId xmlns:a16="http://schemas.microsoft.com/office/drawing/2014/main" id="{BCDE56E1-624C-427B-96B1-F91C6BBBABF7}"/>
                </a:ext>
              </a:extLst>
            </p:cNvPr>
            <p:cNvSpPr/>
            <p:nvPr/>
          </p:nvSpPr>
          <p:spPr>
            <a:xfrm>
              <a:off x="6978060" y="3831788"/>
              <a:ext cx="26952" cy="27023"/>
            </a:xfrm>
            <a:custGeom>
              <a:avLst/>
              <a:gdLst>
                <a:gd name="connsiteX0" fmla="*/ 26952 w 26952"/>
                <a:gd name="connsiteY0" fmla="*/ 13512 h 27023"/>
                <a:gd name="connsiteX1" fmla="*/ 13476 w 26952"/>
                <a:gd name="connsiteY1" fmla="*/ 27023 h 27023"/>
                <a:gd name="connsiteX2" fmla="*/ 0 w 26952"/>
                <a:gd name="connsiteY2" fmla="*/ 13512 h 27023"/>
                <a:gd name="connsiteX3" fmla="*/ 13476 w 26952"/>
                <a:gd name="connsiteY3" fmla="*/ 0 h 27023"/>
                <a:gd name="connsiteX4" fmla="*/ 26952 w 26952"/>
                <a:gd name="connsiteY4" fmla="*/ 13512 h 27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52" h="27023">
                  <a:moveTo>
                    <a:pt x="26952" y="13512"/>
                  </a:moveTo>
                  <a:cubicBezTo>
                    <a:pt x="26952" y="20974"/>
                    <a:pt x="20919" y="27023"/>
                    <a:pt x="13476" y="27023"/>
                  </a:cubicBezTo>
                  <a:cubicBezTo>
                    <a:pt x="6033" y="27023"/>
                    <a:pt x="0" y="20974"/>
                    <a:pt x="0" y="13512"/>
                  </a:cubicBezTo>
                  <a:cubicBezTo>
                    <a:pt x="0" y="6049"/>
                    <a:pt x="6033" y="0"/>
                    <a:pt x="13476" y="0"/>
                  </a:cubicBezTo>
                  <a:cubicBezTo>
                    <a:pt x="20919" y="0"/>
                    <a:pt x="26952" y="6049"/>
                    <a:pt x="26952" y="13512"/>
                  </a:cubicBezTo>
                  <a:close/>
                </a:path>
              </a:pathLst>
            </a:custGeom>
            <a:noFill/>
            <a:ln w="6350" cap="flat">
              <a:solidFill>
                <a:srgbClr val="4F74C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54" name="Freeform 796">
              <a:extLst>
                <a:ext uri="{FF2B5EF4-FFF2-40B4-BE49-F238E27FC236}">
                  <a16:creationId xmlns:a16="http://schemas.microsoft.com/office/drawing/2014/main" id="{62A521F4-B39C-4AB3-B2E1-58AF4D84E66A}"/>
                </a:ext>
              </a:extLst>
            </p:cNvPr>
            <p:cNvSpPr/>
            <p:nvPr/>
          </p:nvSpPr>
          <p:spPr>
            <a:xfrm>
              <a:off x="6946239" y="3831788"/>
              <a:ext cx="26952" cy="27023"/>
            </a:xfrm>
            <a:custGeom>
              <a:avLst/>
              <a:gdLst>
                <a:gd name="connsiteX0" fmla="*/ 26952 w 26952"/>
                <a:gd name="connsiteY0" fmla="*/ 13512 h 27023"/>
                <a:gd name="connsiteX1" fmla="*/ 13476 w 26952"/>
                <a:gd name="connsiteY1" fmla="*/ 27023 h 27023"/>
                <a:gd name="connsiteX2" fmla="*/ 0 w 26952"/>
                <a:gd name="connsiteY2" fmla="*/ 13512 h 27023"/>
                <a:gd name="connsiteX3" fmla="*/ 13476 w 26952"/>
                <a:gd name="connsiteY3" fmla="*/ 0 h 27023"/>
                <a:gd name="connsiteX4" fmla="*/ 26952 w 26952"/>
                <a:gd name="connsiteY4" fmla="*/ 13512 h 27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52" h="27023">
                  <a:moveTo>
                    <a:pt x="26952" y="13512"/>
                  </a:moveTo>
                  <a:cubicBezTo>
                    <a:pt x="26952" y="20974"/>
                    <a:pt x="20919" y="27023"/>
                    <a:pt x="13476" y="27023"/>
                  </a:cubicBezTo>
                  <a:cubicBezTo>
                    <a:pt x="6033" y="27023"/>
                    <a:pt x="0" y="20974"/>
                    <a:pt x="0" y="13512"/>
                  </a:cubicBezTo>
                  <a:cubicBezTo>
                    <a:pt x="0" y="6049"/>
                    <a:pt x="6033" y="0"/>
                    <a:pt x="13476" y="0"/>
                  </a:cubicBezTo>
                  <a:cubicBezTo>
                    <a:pt x="20919" y="0"/>
                    <a:pt x="26952" y="6049"/>
                    <a:pt x="26952" y="13512"/>
                  </a:cubicBezTo>
                  <a:close/>
                </a:path>
              </a:pathLst>
            </a:custGeom>
            <a:noFill/>
            <a:ln w="6350" cap="flat">
              <a:solidFill>
                <a:srgbClr val="4F74C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55" name="Freeform 797">
              <a:extLst>
                <a:ext uri="{FF2B5EF4-FFF2-40B4-BE49-F238E27FC236}">
                  <a16:creationId xmlns:a16="http://schemas.microsoft.com/office/drawing/2014/main" id="{77D0EFB1-0E58-45EF-B249-402CF48768CF}"/>
                </a:ext>
              </a:extLst>
            </p:cNvPr>
            <p:cNvSpPr/>
            <p:nvPr/>
          </p:nvSpPr>
          <p:spPr>
            <a:xfrm>
              <a:off x="6942049" y="3831788"/>
              <a:ext cx="26952" cy="27023"/>
            </a:xfrm>
            <a:custGeom>
              <a:avLst/>
              <a:gdLst>
                <a:gd name="connsiteX0" fmla="*/ 26952 w 26952"/>
                <a:gd name="connsiteY0" fmla="*/ 13512 h 27023"/>
                <a:gd name="connsiteX1" fmla="*/ 13476 w 26952"/>
                <a:gd name="connsiteY1" fmla="*/ 27023 h 27023"/>
                <a:gd name="connsiteX2" fmla="*/ 0 w 26952"/>
                <a:gd name="connsiteY2" fmla="*/ 13512 h 27023"/>
                <a:gd name="connsiteX3" fmla="*/ 13476 w 26952"/>
                <a:gd name="connsiteY3" fmla="*/ 0 h 27023"/>
                <a:gd name="connsiteX4" fmla="*/ 26952 w 26952"/>
                <a:gd name="connsiteY4" fmla="*/ 13512 h 27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52" h="27023">
                  <a:moveTo>
                    <a:pt x="26952" y="13512"/>
                  </a:moveTo>
                  <a:cubicBezTo>
                    <a:pt x="26952" y="20974"/>
                    <a:pt x="20919" y="27023"/>
                    <a:pt x="13476" y="27023"/>
                  </a:cubicBezTo>
                  <a:cubicBezTo>
                    <a:pt x="6034" y="27023"/>
                    <a:pt x="0" y="20974"/>
                    <a:pt x="0" y="13512"/>
                  </a:cubicBezTo>
                  <a:cubicBezTo>
                    <a:pt x="0" y="6049"/>
                    <a:pt x="6033" y="0"/>
                    <a:pt x="13476" y="0"/>
                  </a:cubicBezTo>
                  <a:cubicBezTo>
                    <a:pt x="20919" y="0"/>
                    <a:pt x="26952" y="6049"/>
                    <a:pt x="26952" y="13512"/>
                  </a:cubicBezTo>
                  <a:close/>
                </a:path>
              </a:pathLst>
            </a:custGeom>
            <a:noFill/>
            <a:ln w="6350" cap="flat">
              <a:solidFill>
                <a:srgbClr val="4F74C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56" name="Freeform 798">
              <a:extLst>
                <a:ext uri="{FF2B5EF4-FFF2-40B4-BE49-F238E27FC236}">
                  <a16:creationId xmlns:a16="http://schemas.microsoft.com/office/drawing/2014/main" id="{B67FF0B1-A738-4253-A049-A9D5CB94D023}"/>
                </a:ext>
              </a:extLst>
            </p:cNvPr>
            <p:cNvSpPr/>
            <p:nvPr/>
          </p:nvSpPr>
          <p:spPr>
            <a:xfrm>
              <a:off x="6935367" y="3831788"/>
              <a:ext cx="26952" cy="27023"/>
            </a:xfrm>
            <a:custGeom>
              <a:avLst/>
              <a:gdLst>
                <a:gd name="connsiteX0" fmla="*/ 26952 w 26952"/>
                <a:gd name="connsiteY0" fmla="*/ 13512 h 27023"/>
                <a:gd name="connsiteX1" fmla="*/ 13476 w 26952"/>
                <a:gd name="connsiteY1" fmla="*/ 27023 h 27023"/>
                <a:gd name="connsiteX2" fmla="*/ 0 w 26952"/>
                <a:gd name="connsiteY2" fmla="*/ 13512 h 27023"/>
                <a:gd name="connsiteX3" fmla="*/ 13476 w 26952"/>
                <a:gd name="connsiteY3" fmla="*/ 0 h 27023"/>
                <a:gd name="connsiteX4" fmla="*/ 26952 w 26952"/>
                <a:gd name="connsiteY4" fmla="*/ 13512 h 27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52" h="27023">
                  <a:moveTo>
                    <a:pt x="26952" y="13512"/>
                  </a:moveTo>
                  <a:cubicBezTo>
                    <a:pt x="26952" y="20974"/>
                    <a:pt x="20919" y="27023"/>
                    <a:pt x="13476" y="27023"/>
                  </a:cubicBezTo>
                  <a:cubicBezTo>
                    <a:pt x="6033" y="27023"/>
                    <a:pt x="0" y="20974"/>
                    <a:pt x="0" y="13512"/>
                  </a:cubicBezTo>
                  <a:cubicBezTo>
                    <a:pt x="0" y="6049"/>
                    <a:pt x="6033" y="0"/>
                    <a:pt x="13476" y="0"/>
                  </a:cubicBezTo>
                  <a:cubicBezTo>
                    <a:pt x="20918" y="0"/>
                    <a:pt x="26952" y="6049"/>
                    <a:pt x="26952" y="13512"/>
                  </a:cubicBezTo>
                  <a:close/>
                </a:path>
              </a:pathLst>
            </a:custGeom>
            <a:noFill/>
            <a:ln w="6350" cap="flat">
              <a:solidFill>
                <a:srgbClr val="4F74C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57" name="Freeform 799">
              <a:extLst>
                <a:ext uri="{FF2B5EF4-FFF2-40B4-BE49-F238E27FC236}">
                  <a16:creationId xmlns:a16="http://schemas.microsoft.com/office/drawing/2014/main" id="{60A190CC-DF54-4DEE-9E1A-51A4DED826ED}"/>
                </a:ext>
              </a:extLst>
            </p:cNvPr>
            <p:cNvSpPr/>
            <p:nvPr/>
          </p:nvSpPr>
          <p:spPr>
            <a:xfrm>
              <a:off x="6923363" y="3831788"/>
              <a:ext cx="26952" cy="27023"/>
            </a:xfrm>
            <a:custGeom>
              <a:avLst/>
              <a:gdLst>
                <a:gd name="connsiteX0" fmla="*/ 26952 w 26952"/>
                <a:gd name="connsiteY0" fmla="*/ 13512 h 27023"/>
                <a:gd name="connsiteX1" fmla="*/ 13476 w 26952"/>
                <a:gd name="connsiteY1" fmla="*/ 27023 h 27023"/>
                <a:gd name="connsiteX2" fmla="*/ 0 w 26952"/>
                <a:gd name="connsiteY2" fmla="*/ 13512 h 27023"/>
                <a:gd name="connsiteX3" fmla="*/ 13476 w 26952"/>
                <a:gd name="connsiteY3" fmla="*/ 0 h 27023"/>
                <a:gd name="connsiteX4" fmla="*/ 26952 w 26952"/>
                <a:gd name="connsiteY4" fmla="*/ 13512 h 27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52" h="27023">
                  <a:moveTo>
                    <a:pt x="26952" y="13512"/>
                  </a:moveTo>
                  <a:cubicBezTo>
                    <a:pt x="26952" y="20974"/>
                    <a:pt x="20919" y="27023"/>
                    <a:pt x="13476" y="27023"/>
                  </a:cubicBezTo>
                  <a:cubicBezTo>
                    <a:pt x="6033" y="27023"/>
                    <a:pt x="0" y="20974"/>
                    <a:pt x="0" y="13512"/>
                  </a:cubicBezTo>
                  <a:cubicBezTo>
                    <a:pt x="0" y="6049"/>
                    <a:pt x="6033" y="0"/>
                    <a:pt x="13476" y="0"/>
                  </a:cubicBezTo>
                  <a:cubicBezTo>
                    <a:pt x="20919" y="0"/>
                    <a:pt x="26952" y="6049"/>
                    <a:pt x="26952" y="13512"/>
                  </a:cubicBezTo>
                  <a:close/>
                </a:path>
              </a:pathLst>
            </a:custGeom>
            <a:noFill/>
            <a:ln w="6350" cap="flat">
              <a:solidFill>
                <a:srgbClr val="4F74C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58" name="Freeform 800">
              <a:extLst>
                <a:ext uri="{FF2B5EF4-FFF2-40B4-BE49-F238E27FC236}">
                  <a16:creationId xmlns:a16="http://schemas.microsoft.com/office/drawing/2014/main" id="{52702660-8A35-4704-976B-4F9D6460D73E}"/>
                </a:ext>
              </a:extLst>
            </p:cNvPr>
            <p:cNvSpPr/>
            <p:nvPr/>
          </p:nvSpPr>
          <p:spPr>
            <a:xfrm>
              <a:off x="6916342" y="3831788"/>
              <a:ext cx="26952" cy="27023"/>
            </a:xfrm>
            <a:custGeom>
              <a:avLst/>
              <a:gdLst>
                <a:gd name="connsiteX0" fmla="*/ 26952 w 26952"/>
                <a:gd name="connsiteY0" fmla="*/ 13512 h 27023"/>
                <a:gd name="connsiteX1" fmla="*/ 13476 w 26952"/>
                <a:gd name="connsiteY1" fmla="*/ 27023 h 27023"/>
                <a:gd name="connsiteX2" fmla="*/ 0 w 26952"/>
                <a:gd name="connsiteY2" fmla="*/ 13512 h 27023"/>
                <a:gd name="connsiteX3" fmla="*/ 13476 w 26952"/>
                <a:gd name="connsiteY3" fmla="*/ 0 h 27023"/>
                <a:gd name="connsiteX4" fmla="*/ 26952 w 26952"/>
                <a:gd name="connsiteY4" fmla="*/ 13512 h 27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52" h="27023">
                  <a:moveTo>
                    <a:pt x="26952" y="13512"/>
                  </a:moveTo>
                  <a:cubicBezTo>
                    <a:pt x="26952" y="20974"/>
                    <a:pt x="20919" y="27023"/>
                    <a:pt x="13476" y="27023"/>
                  </a:cubicBezTo>
                  <a:cubicBezTo>
                    <a:pt x="6033" y="27023"/>
                    <a:pt x="0" y="20974"/>
                    <a:pt x="0" y="13512"/>
                  </a:cubicBezTo>
                  <a:cubicBezTo>
                    <a:pt x="0" y="6049"/>
                    <a:pt x="6033" y="0"/>
                    <a:pt x="13476" y="0"/>
                  </a:cubicBezTo>
                  <a:cubicBezTo>
                    <a:pt x="20919" y="0"/>
                    <a:pt x="26952" y="6049"/>
                    <a:pt x="26952" y="13512"/>
                  </a:cubicBezTo>
                  <a:close/>
                </a:path>
              </a:pathLst>
            </a:custGeom>
            <a:noFill/>
            <a:ln w="6350" cap="flat">
              <a:solidFill>
                <a:srgbClr val="4F74C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59" name="Freeform 801">
              <a:extLst>
                <a:ext uri="{FF2B5EF4-FFF2-40B4-BE49-F238E27FC236}">
                  <a16:creationId xmlns:a16="http://schemas.microsoft.com/office/drawing/2014/main" id="{9D38DAE6-262E-43E6-910B-A881C6B192BF}"/>
                </a:ext>
              </a:extLst>
            </p:cNvPr>
            <p:cNvSpPr/>
            <p:nvPr/>
          </p:nvSpPr>
          <p:spPr>
            <a:xfrm>
              <a:off x="6906943" y="3831788"/>
              <a:ext cx="26952" cy="27023"/>
            </a:xfrm>
            <a:custGeom>
              <a:avLst/>
              <a:gdLst>
                <a:gd name="connsiteX0" fmla="*/ 26952 w 26952"/>
                <a:gd name="connsiteY0" fmla="*/ 13512 h 27023"/>
                <a:gd name="connsiteX1" fmla="*/ 13476 w 26952"/>
                <a:gd name="connsiteY1" fmla="*/ 27023 h 27023"/>
                <a:gd name="connsiteX2" fmla="*/ 0 w 26952"/>
                <a:gd name="connsiteY2" fmla="*/ 13512 h 27023"/>
                <a:gd name="connsiteX3" fmla="*/ 13476 w 26952"/>
                <a:gd name="connsiteY3" fmla="*/ 0 h 27023"/>
                <a:gd name="connsiteX4" fmla="*/ 26952 w 26952"/>
                <a:gd name="connsiteY4" fmla="*/ 13512 h 27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52" h="27023">
                  <a:moveTo>
                    <a:pt x="26952" y="13512"/>
                  </a:moveTo>
                  <a:cubicBezTo>
                    <a:pt x="26952" y="20974"/>
                    <a:pt x="20919" y="27023"/>
                    <a:pt x="13476" y="27023"/>
                  </a:cubicBezTo>
                  <a:cubicBezTo>
                    <a:pt x="6033" y="27023"/>
                    <a:pt x="0" y="20974"/>
                    <a:pt x="0" y="13512"/>
                  </a:cubicBezTo>
                  <a:cubicBezTo>
                    <a:pt x="0" y="6049"/>
                    <a:pt x="6033" y="0"/>
                    <a:pt x="13476" y="0"/>
                  </a:cubicBezTo>
                  <a:cubicBezTo>
                    <a:pt x="20919" y="0"/>
                    <a:pt x="26952" y="6049"/>
                    <a:pt x="26952" y="13512"/>
                  </a:cubicBezTo>
                  <a:close/>
                </a:path>
              </a:pathLst>
            </a:custGeom>
            <a:noFill/>
            <a:ln w="6350" cap="flat">
              <a:solidFill>
                <a:srgbClr val="4F74C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60" name="Freeform 802">
              <a:extLst>
                <a:ext uri="{FF2B5EF4-FFF2-40B4-BE49-F238E27FC236}">
                  <a16:creationId xmlns:a16="http://schemas.microsoft.com/office/drawing/2014/main" id="{C78F28C8-1D3D-4DF8-895A-EE185CDD1C12}"/>
                </a:ext>
              </a:extLst>
            </p:cNvPr>
            <p:cNvSpPr/>
            <p:nvPr/>
          </p:nvSpPr>
          <p:spPr>
            <a:xfrm>
              <a:off x="6897544" y="3831788"/>
              <a:ext cx="26952" cy="27023"/>
            </a:xfrm>
            <a:custGeom>
              <a:avLst/>
              <a:gdLst>
                <a:gd name="connsiteX0" fmla="*/ 26952 w 26952"/>
                <a:gd name="connsiteY0" fmla="*/ 13512 h 27023"/>
                <a:gd name="connsiteX1" fmla="*/ 13476 w 26952"/>
                <a:gd name="connsiteY1" fmla="*/ 27023 h 27023"/>
                <a:gd name="connsiteX2" fmla="*/ 0 w 26952"/>
                <a:gd name="connsiteY2" fmla="*/ 13512 h 27023"/>
                <a:gd name="connsiteX3" fmla="*/ 13476 w 26952"/>
                <a:gd name="connsiteY3" fmla="*/ 0 h 27023"/>
                <a:gd name="connsiteX4" fmla="*/ 26952 w 26952"/>
                <a:gd name="connsiteY4" fmla="*/ 13512 h 27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52" h="27023">
                  <a:moveTo>
                    <a:pt x="26952" y="13512"/>
                  </a:moveTo>
                  <a:cubicBezTo>
                    <a:pt x="26952" y="20974"/>
                    <a:pt x="20919" y="27023"/>
                    <a:pt x="13476" y="27023"/>
                  </a:cubicBezTo>
                  <a:cubicBezTo>
                    <a:pt x="6033" y="27023"/>
                    <a:pt x="0" y="20974"/>
                    <a:pt x="0" y="13512"/>
                  </a:cubicBezTo>
                  <a:cubicBezTo>
                    <a:pt x="0" y="6049"/>
                    <a:pt x="6033" y="0"/>
                    <a:pt x="13476" y="0"/>
                  </a:cubicBezTo>
                  <a:cubicBezTo>
                    <a:pt x="20919" y="0"/>
                    <a:pt x="26952" y="6049"/>
                    <a:pt x="26952" y="13512"/>
                  </a:cubicBezTo>
                  <a:close/>
                </a:path>
              </a:pathLst>
            </a:custGeom>
            <a:noFill/>
            <a:ln w="6350" cap="flat">
              <a:solidFill>
                <a:srgbClr val="4F74C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61" name="Freeform 803">
              <a:extLst>
                <a:ext uri="{FF2B5EF4-FFF2-40B4-BE49-F238E27FC236}">
                  <a16:creationId xmlns:a16="http://schemas.microsoft.com/office/drawing/2014/main" id="{0766B6F7-06B9-4FFA-A647-506DB737AB47}"/>
                </a:ext>
              </a:extLst>
            </p:cNvPr>
            <p:cNvSpPr/>
            <p:nvPr/>
          </p:nvSpPr>
          <p:spPr>
            <a:xfrm>
              <a:off x="6839110" y="3812486"/>
              <a:ext cx="26952" cy="27023"/>
            </a:xfrm>
            <a:custGeom>
              <a:avLst/>
              <a:gdLst>
                <a:gd name="connsiteX0" fmla="*/ 26952 w 26952"/>
                <a:gd name="connsiteY0" fmla="*/ 13512 h 27023"/>
                <a:gd name="connsiteX1" fmla="*/ 13476 w 26952"/>
                <a:gd name="connsiteY1" fmla="*/ 27023 h 27023"/>
                <a:gd name="connsiteX2" fmla="*/ 0 w 26952"/>
                <a:gd name="connsiteY2" fmla="*/ 13512 h 27023"/>
                <a:gd name="connsiteX3" fmla="*/ 13476 w 26952"/>
                <a:gd name="connsiteY3" fmla="*/ 0 h 27023"/>
                <a:gd name="connsiteX4" fmla="*/ 26952 w 26952"/>
                <a:gd name="connsiteY4" fmla="*/ 13512 h 27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52" h="27023">
                  <a:moveTo>
                    <a:pt x="26952" y="13512"/>
                  </a:moveTo>
                  <a:cubicBezTo>
                    <a:pt x="26952" y="20974"/>
                    <a:pt x="20919" y="27023"/>
                    <a:pt x="13476" y="27023"/>
                  </a:cubicBezTo>
                  <a:cubicBezTo>
                    <a:pt x="6033" y="27023"/>
                    <a:pt x="0" y="20974"/>
                    <a:pt x="0" y="13512"/>
                  </a:cubicBezTo>
                  <a:cubicBezTo>
                    <a:pt x="0" y="6049"/>
                    <a:pt x="6033" y="0"/>
                    <a:pt x="13476" y="0"/>
                  </a:cubicBezTo>
                  <a:cubicBezTo>
                    <a:pt x="20918" y="0"/>
                    <a:pt x="26952" y="6049"/>
                    <a:pt x="26952" y="13512"/>
                  </a:cubicBezTo>
                  <a:close/>
                </a:path>
              </a:pathLst>
            </a:custGeom>
            <a:noFill/>
            <a:ln w="6350" cap="flat">
              <a:solidFill>
                <a:srgbClr val="4F74C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62" name="Freeform 804">
              <a:extLst>
                <a:ext uri="{FF2B5EF4-FFF2-40B4-BE49-F238E27FC236}">
                  <a16:creationId xmlns:a16="http://schemas.microsoft.com/office/drawing/2014/main" id="{73A55FEF-BC94-47A0-AFF0-4B85B5AB0310}"/>
                </a:ext>
              </a:extLst>
            </p:cNvPr>
            <p:cNvSpPr/>
            <p:nvPr/>
          </p:nvSpPr>
          <p:spPr>
            <a:xfrm>
              <a:off x="6833561" y="3812486"/>
              <a:ext cx="26952" cy="27023"/>
            </a:xfrm>
            <a:custGeom>
              <a:avLst/>
              <a:gdLst>
                <a:gd name="connsiteX0" fmla="*/ 26952 w 26952"/>
                <a:gd name="connsiteY0" fmla="*/ 13512 h 27023"/>
                <a:gd name="connsiteX1" fmla="*/ 13476 w 26952"/>
                <a:gd name="connsiteY1" fmla="*/ 27023 h 27023"/>
                <a:gd name="connsiteX2" fmla="*/ 0 w 26952"/>
                <a:gd name="connsiteY2" fmla="*/ 13512 h 27023"/>
                <a:gd name="connsiteX3" fmla="*/ 13476 w 26952"/>
                <a:gd name="connsiteY3" fmla="*/ 0 h 27023"/>
                <a:gd name="connsiteX4" fmla="*/ 26952 w 26952"/>
                <a:gd name="connsiteY4" fmla="*/ 13512 h 27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52" h="27023">
                  <a:moveTo>
                    <a:pt x="26952" y="13512"/>
                  </a:moveTo>
                  <a:cubicBezTo>
                    <a:pt x="26952" y="20974"/>
                    <a:pt x="20919" y="27023"/>
                    <a:pt x="13476" y="27023"/>
                  </a:cubicBezTo>
                  <a:cubicBezTo>
                    <a:pt x="6034" y="27023"/>
                    <a:pt x="0" y="20974"/>
                    <a:pt x="0" y="13512"/>
                  </a:cubicBezTo>
                  <a:cubicBezTo>
                    <a:pt x="0" y="6049"/>
                    <a:pt x="6033" y="0"/>
                    <a:pt x="13476" y="0"/>
                  </a:cubicBezTo>
                  <a:cubicBezTo>
                    <a:pt x="20919" y="0"/>
                    <a:pt x="26952" y="6049"/>
                    <a:pt x="26952" y="13512"/>
                  </a:cubicBezTo>
                  <a:close/>
                </a:path>
              </a:pathLst>
            </a:custGeom>
            <a:noFill/>
            <a:ln w="6350" cap="flat">
              <a:solidFill>
                <a:srgbClr val="4F74C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63" name="Freeform 805">
              <a:extLst>
                <a:ext uri="{FF2B5EF4-FFF2-40B4-BE49-F238E27FC236}">
                  <a16:creationId xmlns:a16="http://schemas.microsoft.com/office/drawing/2014/main" id="{19720D9C-B8B1-44D3-B261-B143BBD91615}"/>
                </a:ext>
              </a:extLst>
            </p:cNvPr>
            <p:cNvSpPr/>
            <p:nvPr/>
          </p:nvSpPr>
          <p:spPr>
            <a:xfrm>
              <a:off x="6812724" y="3804652"/>
              <a:ext cx="26952" cy="27023"/>
            </a:xfrm>
            <a:custGeom>
              <a:avLst/>
              <a:gdLst>
                <a:gd name="connsiteX0" fmla="*/ 26952 w 26952"/>
                <a:gd name="connsiteY0" fmla="*/ 13511 h 27023"/>
                <a:gd name="connsiteX1" fmla="*/ 13476 w 26952"/>
                <a:gd name="connsiteY1" fmla="*/ 27023 h 27023"/>
                <a:gd name="connsiteX2" fmla="*/ 0 w 26952"/>
                <a:gd name="connsiteY2" fmla="*/ 13511 h 27023"/>
                <a:gd name="connsiteX3" fmla="*/ 13476 w 26952"/>
                <a:gd name="connsiteY3" fmla="*/ 0 h 27023"/>
                <a:gd name="connsiteX4" fmla="*/ 26952 w 26952"/>
                <a:gd name="connsiteY4" fmla="*/ 13511 h 27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52" h="27023">
                  <a:moveTo>
                    <a:pt x="26952" y="13511"/>
                  </a:moveTo>
                  <a:cubicBezTo>
                    <a:pt x="26952" y="20974"/>
                    <a:pt x="20919" y="27023"/>
                    <a:pt x="13476" y="27023"/>
                  </a:cubicBezTo>
                  <a:cubicBezTo>
                    <a:pt x="6034" y="27023"/>
                    <a:pt x="0" y="20974"/>
                    <a:pt x="0" y="13511"/>
                  </a:cubicBezTo>
                  <a:cubicBezTo>
                    <a:pt x="0" y="6049"/>
                    <a:pt x="6033" y="0"/>
                    <a:pt x="13476" y="0"/>
                  </a:cubicBezTo>
                  <a:cubicBezTo>
                    <a:pt x="20919" y="0"/>
                    <a:pt x="26952" y="6049"/>
                    <a:pt x="26952" y="13511"/>
                  </a:cubicBezTo>
                  <a:close/>
                </a:path>
              </a:pathLst>
            </a:custGeom>
            <a:noFill/>
            <a:ln w="6350" cap="flat">
              <a:solidFill>
                <a:srgbClr val="4F74C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64" name="Freeform 806">
              <a:extLst>
                <a:ext uri="{FF2B5EF4-FFF2-40B4-BE49-F238E27FC236}">
                  <a16:creationId xmlns:a16="http://schemas.microsoft.com/office/drawing/2014/main" id="{F320DF40-32C9-462A-9234-94752A389382}"/>
                </a:ext>
              </a:extLst>
            </p:cNvPr>
            <p:cNvSpPr/>
            <p:nvPr/>
          </p:nvSpPr>
          <p:spPr>
            <a:xfrm>
              <a:off x="6798115" y="3804652"/>
              <a:ext cx="26952" cy="27023"/>
            </a:xfrm>
            <a:custGeom>
              <a:avLst/>
              <a:gdLst>
                <a:gd name="connsiteX0" fmla="*/ 26952 w 26952"/>
                <a:gd name="connsiteY0" fmla="*/ 13511 h 27023"/>
                <a:gd name="connsiteX1" fmla="*/ 13476 w 26952"/>
                <a:gd name="connsiteY1" fmla="*/ 27023 h 27023"/>
                <a:gd name="connsiteX2" fmla="*/ 0 w 26952"/>
                <a:gd name="connsiteY2" fmla="*/ 13511 h 27023"/>
                <a:gd name="connsiteX3" fmla="*/ 13476 w 26952"/>
                <a:gd name="connsiteY3" fmla="*/ 0 h 27023"/>
                <a:gd name="connsiteX4" fmla="*/ 26952 w 26952"/>
                <a:gd name="connsiteY4" fmla="*/ 13511 h 27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52" h="27023">
                  <a:moveTo>
                    <a:pt x="26952" y="13511"/>
                  </a:moveTo>
                  <a:cubicBezTo>
                    <a:pt x="26952" y="20974"/>
                    <a:pt x="20919" y="27023"/>
                    <a:pt x="13476" y="27023"/>
                  </a:cubicBezTo>
                  <a:cubicBezTo>
                    <a:pt x="6033" y="27023"/>
                    <a:pt x="0" y="20974"/>
                    <a:pt x="0" y="13511"/>
                  </a:cubicBezTo>
                  <a:cubicBezTo>
                    <a:pt x="0" y="6049"/>
                    <a:pt x="6033" y="0"/>
                    <a:pt x="13476" y="0"/>
                  </a:cubicBezTo>
                  <a:cubicBezTo>
                    <a:pt x="20919" y="0"/>
                    <a:pt x="26952" y="6049"/>
                    <a:pt x="26952" y="13511"/>
                  </a:cubicBezTo>
                  <a:close/>
                </a:path>
              </a:pathLst>
            </a:custGeom>
            <a:noFill/>
            <a:ln w="6350" cap="flat">
              <a:solidFill>
                <a:srgbClr val="4F74C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65" name="Freeform 807">
              <a:extLst>
                <a:ext uri="{FF2B5EF4-FFF2-40B4-BE49-F238E27FC236}">
                  <a16:creationId xmlns:a16="http://schemas.microsoft.com/office/drawing/2014/main" id="{3720CE1F-4829-439D-A82D-6DB52232E7CC}"/>
                </a:ext>
              </a:extLst>
            </p:cNvPr>
            <p:cNvSpPr/>
            <p:nvPr/>
          </p:nvSpPr>
          <p:spPr>
            <a:xfrm>
              <a:off x="6788829" y="3804652"/>
              <a:ext cx="26952" cy="27023"/>
            </a:xfrm>
            <a:custGeom>
              <a:avLst/>
              <a:gdLst>
                <a:gd name="connsiteX0" fmla="*/ 26952 w 26952"/>
                <a:gd name="connsiteY0" fmla="*/ 13511 h 27023"/>
                <a:gd name="connsiteX1" fmla="*/ 13476 w 26952"/>
                <a:gd name="connsiteY1" fmla="*/ 27023 h 27023"/>
                <a:gd name="connsiteX2" fmla="*/ 0 w 26952"/>
                <a:gd name="connsiteY2" fmla="*/ 13511 h 27023"/>
                <a:gd name="connsiteX3" fmla="*/ 13476 w 26952"/>
                <a:gd name="connsiteY3" fmla="*/ 0 h 27023"/>
                <a:gd name="connsiteX4" fmla="*/ 26952 w 26952"/>
                <a:gd name="connsiteY4" fmla="*/ 13511 h 27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52" h="27023">
                  <a:moveTo>
                    <a:pt x="26952" y="13511"/>
                  </a:moveTo>
                  <a:cubicBezTo>
                    <a:pt x="26952" y="20974"/>
                    <a:pt x="20919" y="27023"/>
                    <a:pt x="13476" y="27023"/>
                  </a:cubicBezTo>
                  <a:cubicBezTo>
                    <a:pt x="6034" y="27023"/>
                    <a:pt x="0" y="20974"/>
                    <a:pt x="0" y="13511"/>
                  </a:cubicBezTo>
                  <a:cubicBezTo>
                    <a:pt x="0" y="6049"/>
                    <a:pt x="6033" y="0"/>
                    <a:pt x="13476" y="0"/>
                  </a:cubicBezTo>
                  <a:cubicBezTo>
                    <a:pt x="20919" y="0"/>
                    <a:pt x="26952" y="6049"/>
                    <a:pt x="26952" y="13511"/>
                  </a:cubicBezTo>
                  <a:close/>
                </a:path>
              </a:pathLst>
            </a:custGeom>
            <a:noFill/>
            <a:ln w="6350" cap="flat">
              <a:solidFill>
                <a:srgbClr val="4F74C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66" name="Freeform 808">
              <a:extLst>
                <a:ext uri="{FF2B5EF4-FFF2-40B4-BE49-F238E27FC236}">
                  <a16:creationId xmlns:a16="http://schemas.microsoft.com/office/drawing/2014/main" id="{6FE54347-C4B9-429E-A0F0-3A4FB7C3427D}"/>
                </a:ext>
              </a:extLst>
            </p:cNvPr>
            <p:cNvSpPr/>
            <p:nvPr/>
          </p:nvSpPr>
          <p:spPr>
            <a:xfrm>
              <a:off x="6782941" y="3804652"/>
              <a:ext cx="26952" cy="27023"/>
            </a:xfrm>
            <a:custGeom>
              <a:avLst/>
              <a:gdLst>
                <a:gd name="connsiteX0" fmla="*/ 26952 w 26952"/>
                <a:gd name="connsiteY0" fmla="*/ 13511 h 27023"/>
                <a:gd name="connsiteX1" fmla="*/ 13476 w 26952"/>
                <a:gd name="connsiteY1" fmla="*/ 27023 h 27023"/>
                <a:gd name="connsiteX2" fmla="*/ 0 w 26952"/>
                <a:gd name="connsiteY2" fmla="*/ 13511 h 27023"/>
                <a:gd name="connsiteX3" fmla="*/ 13476 w 26952"/>
                <a:gd name="connsiteY3" fmla="*/ 0 h 27023"/>
                <a:gd name="connsiteX4" fmla="*/ 26952 w 26952"/>
                <a:gd name="connsiteY4" fmla="*/ 13511 h 27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52" h="27023">
                  <a:moveTo>
                    <a:pt x="26952" y="13511"/>
                  </a:moveTo>
                  <a:cubicBezTo>
                    <a:pt x="26952" y="20974"/>
                    <a:pt x="20919" y="27023"/>
                    <a:pt x="13476" y="27023"/>
                  </a:cubicBezTo>
                  <a:cubicBezTo>
                    <a:pt x="6034" y="27023"/>
                    <a:pt x="0" y="20974"/>
                    <a:pt x="0" y="13511"/>
                  </a:cubicBezTo>
                  <a:cubicBezTo>
                    <a:pt x="0" y="6049"/>
                    <a:pt x="6033" y="0"/>
                    <a:pt x="13476" y="0"/>
                  </a:cubicBezTo>
                  <a:cubicBezTo>
                    <a:pt x="20919" y="0"/>
                    <a:pt x="26952" y="6049"/>
                    <a:pt x="26952" y="13511"/>
                  </a:cubicBezTo>
                  <a:close/>
                </a:path>
              </a:pathLst>
            </a:custGeom>
            <a:noFill/>
            <a:ln w="6350" cap="flat">
              <a:solidFill>
                <a:srgbClr val="4F74C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67" name="Freeform 809">
              <a:extLst>
                <a:ext uri="{FF2B5EF4-FFF2-40B4-BE49-F238E27FC236}">
                  <a16:creationId xmlns:a16="http://schemas.microsoft.com/office/drawing/2014/main" id="{C1C53E2A-A4CE-458D-900F-3D737081AA51}"/>
                </a:ext>
              </a:extLst>
            </p:cNvPr>
            <p:cNvSpPr/>
            <p:nvPr/>
          </p:nvSpPr>
          <p:spPr>
            <a:xfrm>
              <a:off x="6571288" y="3701215"/>
              <a:ext cx="26952" cy="27023"/>
            </a:xfrm>
            <a:custGeom>
              <a:avLst/>
              <a:gdLst>
                <a:gd name="connsiteX0" fmla="*/ 26952 w 26952"/>
                <a:gd name="connsiteY0" fmla="*/ 13512 h 27023"/>
                <a:gd name="connsiteX1" fmla="*/ 13476 w 26952"/>
                <a:gd name="connsiteY1" fmla="*/ 27023 h 27023"/>
                <a:gd name="connsiteX2" fmla="*/ 0 w 26952"/>
                <a:gd name="connsiteY2" fmla="*/ 13512 h 27023"/>
                <a:gd name="connsiteX3" fmla="*/ 13476 w 26952"/>
                <a:gd name="connsiteY3" fmla="*/ 0 h 27023"/>
                <a:gd name="connsiteX4" fmla="*/ 26952 w 26952"/>
                <a:gd name="connsiteY4" fmla="*/ 13512 h 27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52" h="27023">
                  <a:moveTo>
                    <a:pt x="26952" y="13512"/>
                  </a:moveTo>
                  <a:cubicBezTo>
                    <a:pt x="26952" y="20974"/>
                    <a:pt x="20919" y="27023"/>
                    <a:pt x="13476" y="27023"/>
                  </a:cubicBezTo>
                  <a:cubicBezTo>
                    <a:pt x="6033" y="27023"/>
                    <a:pt x="0" y="20974"/>
                    <a:pt x="0" y="13512"/>
                  </a:cubicBezTo>
                  <a:cubicBezTo>
                    <a:pt x="0" y="6049"/>
                    <a:pt x="6033" y="0"/>
                    <a:pt x="13476" y="0"/>
                  </a:cubicBezTo>
                  <a:cubicBezTo>
                    <a:pt x="20919" y="0"/>
                    <a:pt x="26952" y="6049"/>
                    <a:pt x="26952" y="13512"/>
                  </a:cubicBezTo>
                  <a:close/>
                </a:path>
              </a:pathLst>
            </a:custGeom>
            <a:noFill/>
            <a:ln w="6350" cap="flat">
              <a:solidFill>
                <a:srgbClr val="4F74C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468" name="Freeform 810">
              <a:extLst>
                <a:ext uri="{FF2B5EF4-FFF2-40B4-BE49-F238E27FC236}">
                  <a16:creationId xmlns:a16="http://schemas.microsoft.com/office/drawing/2014/main" id="{72C24EB8-2843-486C-9D18-C058AED6A23B}"/>
                </a:ext>
              </a:extLst>
            </p:cNvPr>
            <p:cNvSpPr/>
            <p:nvPr/>
          </p:nvSpPr>
          <p:spPr>
            <a:xfrm>
              <a:off x="6390890" y="3633317"/>
              <a:ext cx="26952" cy="27023"/>
            </a:xfrm>
            <a:custGeom>
              <a:avLst/>
              <a:gdLst>
                <a:gd name="connsiteX0" fmla="*/ 26952 w 26952"/>
                <a:gd name="connsiteY0" fmla="*/ 13512 h 27023"/>
                <a:gd name="connsiteX1" fmla="*/ 13476 w 26952"/>
                <a:gd name="connsiteY1" fmla="*/ 27023 h 27023"/>
                <a:gd name="connsiteX2" fmla="*/ 0 w 26952"/>
                <a:gd name="connsiteY2" fmla="*/ 13512 h 27023"/>
                <a:gd name="connsiteX3" fmla="*/ 13476 w 26952"/>
                <a:gd name="connsiteY3" fmla="*/ 0 h 27023"/>
                <a:gd name="connsiteX4" fmla="*/ 26952 w 26952"/>
                <a:gd name="connsiteY4" fmla="*/ 13512 h 27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52" h="27023">
                  <a:moveTo>
                    <a:pt x="26952" y="13512"/>
                  </a:moveTo>
                  <a:cubicBezTo>
                    <a:pt x="26952" y="20974"/>
                    <a:pt x="20919" y="27023"/>
                    <a:pt x="13476" y="27023"/>
                  </a:cubicBezTo>
                  <a:cubicBezTo>
                    <a:pt x="6034" y="27023"/>
                    <a:pt x="0" y="20974"/>
                    <a:pt x="0" y="13512"/>
                  </a:cubicBezTo>
                  <a:cubicBezTo>
                    <a:pt x="0" y="6049"/>
                    <a:pt x="6033" y="0"/>
                    <a:pt x="13476" y="0"/>
                  </a:cubicBezTo>
                  <a:cubicBezTo>
                    <a:pt x="20919" y="0"/>
                    <a:pt x="26952" y="6049"/>
                    <a:pt x="26952" y="13512"/>
                  </a:cubicBezTo>
                  <a:close/>
                </a:path>
              </a:pathLst>
            </a:custGeom>
            <a:noFill/>
            <a:ln w="6350" cap="flat">
              <a:solidFill>
                <a:srgbClr val="4F74C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69" name="Freeform 811">
              <a:extLst>
                <a:ext uri="{FF2B5EF4-FFF2-40B4-BE49-F238E27FC236}">
                  <a16:creationId xmlns:a16="http://schemas.microsoft.com/office/drawing/2014/main" id="{B6FD45A9-DC51-4058-843F-8AF1102816F7}"/>
                </a:ext>
              </a:extLst>
            </p:cNvPr>
            <p:cNvSpPr/>
            <p:nvPr/>
          </p:nvSpPr>
          <p:spPr>
            <a:xfrm>
              <a:off x="6371072" y="3621735"/>
              <a:ext cx="26952" cy="27023"/>
            </a:xfrm>
            <a:custGeom>
              <a:avLst/>
              <a:gdLst>
                <a:gd name="connsiteX0" fmla="*/ 26952 w 26952"/>
                <a:gd name="connsiteY0" fmla="*/ 13512 h 27023"/>
                <a:gd name="connsiteX1" fmla="*/ 13476 w 26952"/>
                <a:gd name="connsiteY1" fmla="*/ 27023 h 27023"/>
                <a:gd name="connsiteX2" fmla="*/ 0 w 26952"/>
                <a:gd name="connsiteY2" fmla="*/ 13512 h 27023"/>
                <a:gd name="connsiteX3" fmla="*/ 13476 w 26952"/>
                <a:gd name="connsiteY3" fmla="*/ 0 h 27023"/>
                <a:gd name="connsiteX4" fmla="*/ 26952 w 26952"/>
                <a:gd name="connsiteY4" fmla="*/ 13512 h 27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52" h="27023">
                  <a:moveTo>
                    <a:pt x="26952" y="13512"/>
                  </a:moveTo>
                  <a:cubicBezTo>
                    <a:pt x="26952" y="20974"/>
                    <a:pt x="20919" y="27023"/>
                    <a:pt x="13476" y="27023"/>
                  </a:cubicBezTo>
                  <a:cubicBezTo>
                    <a:pt x="6034" y="27023"/>
                    <a:pt x="0" y="20974"/>
                    <a:pt x="0" y="13512"/>
                  </a:cubicBezTo>
                  <a:cubicBezTo>
                    <a:pt x="0" y="6049"/>
                    <a:pt x="6033" y="0"/>
                    <a:pt x="13476" y="0"/>
                  </a:cubicBezTo>
                  <a:cubicBezTo>
                    <a:pt x="20919" y="0"/>
                    <a:pt x="26952" y="6049"/>
                    <a:pt x="26952" y="13512"/>
                  </a:cubicBezTo>
                  <a:close/>
                </a:path>
              </a:pathLst>
            </a:custGeom>
            <a:noFill/>
            <a:ln w="6350" cap="flat">
              <a:solidFill>
                <a:srgbClr val="4F74C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70" name="Freeform 812">
              <a:extLst>
                <a:ext uri="{FF2B5EF4-FFF2-40B4-BE49-F238E27FC236}">
                  <a16:creationId xmlns:a16="http://schemas.microsoft.com/office/drawing/2014/main" id="{2011191E-7A54-4F3C-A3C9-EEB313832112}"/>
                </a:ext>
              </a:extLst>
            </p:cNvPr>
            <p:cNvSpPr/>
            <p:nvPr/>
          </p:nvSpPr>
          <p:spPr>
            <a:xfrm>
              <a:off x="6169045" y="3447562"/>
              <a:ext cx="26952" cy="27023"/>
            </a:xfrm>
            <a:custGeom>
              <a:avLst/>
              <a:gdLst>
                <a:gd name="connsiteX0" fmla="*/ 26952 w 26952"/>
                <a:gd name="connsiteY0" fmla="*/ 13512 h 27023"/>
                <a:gd name="connsiteX1" fmla="*/ 13476 w 26952"/>
                <a:gd name="connsiteY1" fmla="*/ 27023 h 27023"/>
                <a:gd name="connsiteX2" fmla="*/ 0 w 26952"/>
                <a:gd name="connsiteY2" fmla="*/ 13512 h 27023"/>
                <a:gd name="connsiteX3" fmla="*/ 13476 w 26952"/>
                <a:gd name="connsiteY3" fmla="*/ 0 h 27023"/>
                <a:gd name="connsiteX4" fmla="*/ 26952 w 26952"/>
                <a:gd name="connsiteY4" fmla="*/ 13512 h 27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52" h="27023">
                  <a:moveTo>
                    <a:pt x="26952" y="13512"/>
                  </a:moveTo>
                  <a:cubicBezTo>
                    <a:pt x="26952" y="20974"/>
                    <a:pt x="20919" y="27023"/>
                    <a:pt x="13476" y="27023"/>
                  </a:cubicBezTo>
                  <a:cubicBezTo>
                    <a:pt x="6033" y="27023"/>
                    <a:pt x="0" y="20974"/>
                    <a:pt x="0" y="13512"/>
                  </a:cubicBezTo>
                  <a:cubicBezTo>
                    <a:pt x="0" y="6049"/>
                    <a:pt x="6033" y="0"/>
                    <a:pt x="13476" y="0"/>
                  </a:cubicBezTo>
                  <a:cubicBezTo>
                    <a:pt x="20919" y="0"/>
                    <a:pt x="26952" y="6049"/>
                    <a:pt x="26952" y="13512"/>
                  </a:cubicBezTo>
                  <a:close/>
                </a:path>
              </a:pathLst>
            </a:custGeom>
            <a:noFill/>
            <a:ln w="6350" cap="flat">
              <a:solidFill>
                <a:srgbClr val="4F74C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71" name="Freeform 813">
              <a:extLst>
                <a:ext uri="{FF2B5EF4-FFF2-40B4-BE49-F238E27FC236}">
                  <a16:creationId xmlns:a16="http://schemas.microsoft.com/office/drawing/2014/main" id="{99F7921B-9D53-433C-B515-7C3161F4274F}"/>
                </a:ext>
              </a:extLst>
            </p:cNvPr>
            <p:cNvSpPr/>
            <p:nvPr/>
          </p:nvSpPr>
          <p:spPr>
            <a:xfrm>
              <a:off x="6130995" y="3415202"/>
              <a:ext cx="26952" cy="27023"/>
            </a:xfrm>
            <a:custGeom>
              <a:avLst/>
              <a:gdLst>
                <a:gd name="connsiteX0" fmla="*/ 26952 w 26952"/>
                <a:gd name="connsiteY0" fmla="*/ 13512 h 27023"/>
                <a:gd name="connsiteX1" fmla="*/ 13476 w 26952"/>
                <a:gd name="connsiteY1" fmla="*/ 27023 h 27023"/>
                <a:gd name="connsiteX2" fmla="*/ 0 w 26952"/>
                <a:gd name="connsiteY2" fmla="*/ 13512 h 27023"/>
                <a:gd name="connsiteX3" fmla="*/ 13476 w 26952"/>
                <a:gd name="connsiteY3" fmla="*/ 0 h 27023"/>
                <a:gd name="connsiteX4" fmla="*/ 26952 w 26952"/>
                <a:gd name="connsiteY4" fmla="*/ 13512 h 27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52" h="27023">
                  <a:moveTo>
                    <a:pt x="26952" y="13512"/>
                  </a:moveTo>
                  <a:cubicBezTo>
                    <a:pt x="26952" y="20974"/>
                    <a:pt x="20919" y="27023"/>
                    <a:pt x="13476" y="27023"/>
                  </a:cubicBezTo>
                  <a:cubicBezTo>
                    <a:pt x="6033" y="27023"/>
                    <a:pt x="0" y="20974"/>
                    <a:pt x="0" y="13512"/>
                  </a:cubicBezTo>
                  <a:cubicBezTo>
                    <a:pt x="0" y="6049"/>
                    <a:pt x="6033" y="0"/>
                    <a:pt x="13476" y="0"/>
                  </a:cubicBezTo>
                  <a:cubicBezTo>
                    <a:pt x="20919" y="0"/>
                    <a:pt x="26952" y="6049"/>
                    <a:pt x="26952" y="13512"/>
                  </a:cubicBezTo>
                  <a:close/>
                </a:path>
              </a:pathLst>
            </a:custGeom>
            <a:noFill/>
            <a:ln w="6350" cap="flat">
              <a:solidFill>
                <a:srgbClr val="4F74C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72" name="Freeform 814">
              <a:extLst>
                <a:ext uri="{FF2B5EF4-FFF2-40B4-BE49-F238E27FC236}">
                  <a16:creationId xmlns:a16="http://schemas.microsoft.com/office/drawing/2014/main" id="{8D713612-72AB-4DAF-A958-3D61A3CAA385}"/>
                </a:ext>
              </a:extLst>
            </p:cNvPr>
            <p:cNvSpPr/>
            <p:nvPr/>
          </p:nvSpPr>
          <p:spPr>
            <a:xfrm>
              <a:off x="5829312" y="3095468"/>
              <a:ext cx="26952" cy="27023"/>
            </a:xfrm>
            <a:custGeom>
              <a:avLst/>
              <a:gdLst>
                <a:gd name="connsiteX0" fmla="*/ 26952 w 26952"/>
                <a:gd name="connsiteY0" fmla="*/ 13512 h 27023"/>
                <a:gd name="connsiteX1" fmla="*/ 13476 w 26952"/>
                <a:gd name="connsiteY1" fmla="*/ 27023 h 27023"/>
                <a:gd name="connsiteX2" fmla="*/ 0 w 26952"/>
                <a:gd name="connsiteY2" fmla="*/ 13512 h 27023"/>
                <a:gd name="connsiteX3" fmla="*/ 13476 w 26952"/>
                <a:gd name="connsiteY3" fmla="*/ 0 h 27023"/>
                <a:gd name="connsiteX4" fmla="*/ 26952 w 26952"/>
                <a:gd name="connsiteY4" fmla="*/ 13512 h 27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52" h="27023">
                  <a:moveTo>
                    <a:pt x="26952" y="13512"/>
                  </a:moveTo>
                  <a:cubicBezTo>
                    <a:pt x="26952" y="20974"/>
                    <a:pt x="20919" y="27023"/>
                    <a:pt x="13476" y="27023"/>
                  </a:cubicBezTo>
                  <a:cubicBezTo>
                    <a:pt x="6033" y="27023"/>
                    <a:pt x="0" y="20974"/>
                    <a:pt x="0" y="13512"/>
                  </a:cubicBezTo>
                  <a:cubicBezTo>
                    <a:pt x="0" y="6049"/>
                    <a:pt x="6033" y="0"/>
                    <a:pt x="13476" y="0"/>
                  </a:cubicBezTo>
                  <a:cubicBezTo>
                    <a:pt x="20919" y="0"/>
                    <a:pt x="26952" y="6049"/>
                    <a:pt x="26952" y="13512"/>
                  </a:cubicBezTo>
                  <a:close/>
                </a:path>
              </a:pathLst>
            </a:custGeom>
            <a:noFill/>
            <a:ln w="6350" cap="flat">
              <a:solidFill>
                <a:srgbClr val="4F74C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73" name="Freeform 815">
              <a:extLst>
                <a:ext uri="{FF2B5EF4-FFF2-40B4-BE49-F238E27FC236}">
                  <a16:creationId xmlns:a16="http://schemas.microsoft.com/office/drawing/2014/main" id="{EFD2109D-6F92-4EF6-A104-E6C06A7C2720}"/>
                </a:ext>
              </a:extLst>
            </p:cNvPr>
            <p:cNvSpPr/>
            <p:nvPr/>
          </p:nvSpPr>
          <p:spPr>
            <a:xfrm>
              <a:off x="5552883" y="2669685"/>
              <a:ext cx="26952" cy="27023"/>
            </a:xfrm>
            <a:custGeom>
              <a:avLst/>
              <a:gdLst>
                <a:gd name="connsiteX0" fmla="*/ 26952 w 26952"/>
                <a:gd name="connsiteY0" fmla="*/ 13512 h 27023"/>
                <a:gd name="connsiteX1" fmla="*/ 13476 w 26952"/>
                <a:gd name="connsiteY1" fmla="*/ 27023 h 27023"/>
                <a:gd name="connsiteX2" fmla="*/ 0 w 26952"/>
                <a:gd name="connsiteY2" fmla="*/ 13512 h 27023"/>
                <a:gd name="connsiteX3" fmla="*/ 13476 w 26952"/>
                <a:gd name="connsiteY3" fmla="*/ 0 h 27023"/>
                <a:gd name="connsiteX4" fmla="*/ 26952 w 26952"/>
                <a:gd name="connsiteY4" fmla="*/ 13512 h 27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52" h="27023">
                  <a:moveTo>
                    <a:pt x="26952" y="13512"/>
                  </a:moveTo>
                  <a:cubicBezTo>
                    <a:pt x="26952" y="20974"/>
                    <a:pt x="20919" y="27023"/>
                    <a:pt x="13476" y="27023"/>
                  </a:cubicBezTo>
                  <a:cubicBezTo>
                    <a:pt x="6033" y="27023"/>
                    <a:pt x="0" y="20974"/>
                    <a:pt x="0" y="13512"/>
                  </a:cubicBezTo>
                  <a:cubicBezTo>
                    <a:pt x="0" y="6049"/>
                    <a:pt x="6033" y="0"/>
                    <a:pt x="13476" y="0"/>
                  </a:cubicBezTo>
                  <a:cubicBezTo>
                    <a:pt x="20919" y="0"/>
                    <a:pt x="26952" y="6049"/>
                    <a:pt x="26952" y="13512"/>
                  </a:cubicBezTo>
                  <a:close/>
                </a:path>
              </a:pathLst>
            </a:custGeom>
            <a:noFill/>
            <a:ln w="6350" cap="flat">
              <a:solidFill>
                <a:srgbClr val="4F74C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74" name="Freeform 816">
              <a:extLst>
                <a:ext uri="{FF2B5EF4-FFF2-40B4-BE49-F238E27FC236}">
                  <a16:creationId xmlns:a16="http://schemas.microsoft.com/office/drawing/2014/main" id="{AF9B25DE-BBE6-4DBE-9B33-246D4BCE6258}"/>
                </a:ext>
              </a:extLst>
            </p:cNvPr>
            <p:cNvSpPr/>
            <p:nvPr/>
          </p:nvSpPr>
          <p:spPr>
            <a:xfrm>
              <a:off x="5548580" y="2657422"/>
              <a:ext cx="26952" cy="27023"/>
            </a:xfrm>
            <a:custGeom>
              <a:avLst/>
              <a:gdLst>
                <a:gd name="connsiteX0" fmla="*/ 26952 w 26952"/>
                <a:gd name="connsiteY0" fmla="*/ 13512 h 27023"/>
                <a:gd name="connsiteX1" fmla="*/ 13476 w 26952"/>
                <a:gd name="connsiteY1" fmla="*/ 27023 h 27023"/>
                <a:gd name="connsiteX2" fmla="*/ 0 w 26952"/>
                <a:gd name="connsiteY2" fmla="*/ 13512 h 27023"/>
                <a:gd name="connsiteX3" fmla="*/ 13476 w 26952"/>
                <a:gd name="connsiteY3" fmla="*/ 0 h 27023"/>
                <a:gd name="connsiteX4" fmla="*/ 26952 w 26952"/>
                <a:gd name="connsiteY4" fmla="*/ 13512 h 27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52" h="27023">
                  <a:moveTo>
                    <a:pt x="26952" y="13512"/>
                  </a:moveTo>
                  <a:cubicBezTo>
                    <a:pt x="26952" y="20974"/>
                    <a:pt x="20919" y="27023"/>
                    <a:pt x="13476" y="27023"/>
                  </a:cubicBezTo>
                  <a:cubicBezTo>
                    <a:pt x="6033" y="27023"/>
                    <a:pt x="0" y="20974"/>
                    <a:pt x="0" y="13512"/>
                  </a:cubicBezTo>
                  <a:cubicBezTo>
                    <a:pt x="0" y="6049"/>
                    <a:pt x="6033" y="0"/>
                    <a:pt x="13476" y="0"/>
                  </a:cubicBezTo>
                  <a:cubicBezTo>
                    <a:pt x="20919" y="0"/>
                    <a:pt x="26952" y="6049"/>
                    <a:pt x="26952" y="13512"/>
                  </a:cubicBezTo>
                  <a:close/>
                </a:path>
              </a:pathLst>
            </a:custGeom>
            <a:noFill/>
            <a:ln w="6350" cap="flat">
              <a:solidFill>
                <a:srgbClr val="4F74C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75" name="Freeform 817">
              <a:extLst>
                <a:ext uri="{FF2B5EF4-FFF2-40B4-BE49-F238E27FC236}">
                  <a16:creationId xmlns:a16="http://schemas.microsoft.com/office/drawing/2014/main" id="{55EC0D41-3371-4FD0-9AFC-3369710EF21B}"/>
                </a:ext>
              </a:extLst>
            </p:cNvPr>
            <p:cNvSpPr/>
            <p:nvPr/>
          </p:nvSpPr>
          <p:spPr>
            <a:xfrm>
              <a:off x="5512002" y="2571584"/>
              <a:ext cx="26952" cy="27023"/>
            </a:xfrm>
            <a:custGeom>
              <a:avLst/>
              <a:gdLst>
                <a:gd name="connsiteX0" fmla="*/ 26952 w 26952"/>
                <a:gd name="connsiteY0" fmla="*/ 13512 h 27023"/>
                <a:gd name="connsiteX1" fmla="*/ 13476 w 26952"/>
                <a:gd name="connsiteY1" fmla="*/ 27023 h 27023"/>
                <a:gd name="connsiteX2" fmla="*/ 0 w 26952"/>
                <a:gd name="connsiteY2" fmla="*/ 13512 h 27023"/>
                <a:gd name="connsiteX3" fmla="*/ 13476 w 26952"/>
                <a:gd name="connsiteY3" fmla="*/ 0 h 27023"/>
                <a:gd name="connsiteX4" fmla="*/ 26952 w 26952"/>
                <a:gd name="connsiteY4" fmla="*/ 13512 h 27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52" h="27023">
                  <a:moveTo>
                    <a:pt x="26952" y="13512"/>
                  </a:moveTo>
                  <a:cubicBezTo>
                    <a:pt x="26952" y="20974"/>
                    <a:pt x="20919" y="27023"/>
                    <a:pt x="13476" y="27023"/>
                  </a:cubicBezTo>
                  <a:cubicBezTo>
                    <a:pt x="6033" y="27023"/>
                    <a:pt x="0" y="20974"/>
                    <a:pt x="0" y="13512"/>
                  </a:cubicBezTo>
                  <a:cubicBezTo>
                    <a:pt x="0" y="6049"/>
                    <a:pt x="6033" y="0"/>
                    <a:pt x="13476" y="0"/>
                  </a:cubicBezTo>
                  <a:cubicBezTo>
                    <a:pt x="20919" y="0"/>
                    <a:pt x="26952" y="6049"/>
                    <a:pt x="26952" y="13512"/>
                  </a:cubicBezTo>
                  <a:close/>
                </a:path>
              </a:pathLst>
            </a:custGeom>
            <a:noFill/>
            <a:ln w="6350" cap="flat">
              <a:solidFill>
                <a:srgbClr val="4F74C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76" name="Freeform 818">
              <a:extLst>
                <a:ext uri="{FF2B5EF4-FFF2-40B4-BE49-F238E27FC236}">
                  <a16:creationId xmlns:a16="http://schemas.microsoft.com/office/drawing/2014/main" id="{690544D0-8C97-4380-8752-EEBFBDBC242E}"/>
                </a:ext>
              </a:extLst>
            </p:cNvPr>
            <p:cNvSpPr/>
            <p:nvPr/>
          </p:nvSpPr>
          <p:spPr>
            <a:xfrm>
              <a:off x="5486183" y="2523443"/>
              <a:ext cx="26952" cy="27023"/>
            </a:xfrm>
            <a:custGeom>
              <a:avLst/>
              <a:gdLst>
                <a:gd name="connsiteX0" fmla="*/ 26952 w 26952"/>
                <a:gd name="connsiteY0" fmla="*/ 13512 h 27023"/>
                <a:gd name="connsiteX1" fmla="*/ 13476 w 26952"/>
                <a:gd name="connsiteY1" fmla="*/ 27023 h 27023"/>
                <a:gd name="connsiteX2" fmla="*/ 0 w 26952"/>
                <a:gd name="connsiteY2" fmla="*/ 13512 h 27023"/>
                <a:gd name="connsiteX3" fmla="*/ 13476 w 26952"/>
                <a:gd name="connsiteY3" fmla="*/ 0 h 27023"/>
                <a:gd name="connsiteX4" fmla="*/ 26952 w 26952"/>
                <a:gd name="connsiteY4" fmla="*/ 13512 h 27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52" h="27023">
                  <a:moveTo>
                    <a:pt x="26952" y="13512"/>
                  </a:moveTo>
                  <a:cubicBezTo>
                    <a:pt x="26952" y="20974"/>
                    <a:pt x="20919" y="27023"/>
                    <a:pt x="13476" y="27023"/>
                  </a:cubicBezTo>
                  <a:cubicBezTo>
                    <a:pt x="6033" y="27023"/>
                    <a:pt x="0" y="20974"/>
                    <a:pt x="0" y="13512"/>
                  </a:cubicBezTo>
                  <a:cubicBezTo>
                    <a:pt x="0" y="6049"/>
                    <a:pt x="6033" y="0"/>
                    <a:pt x="13476" y="0"/>
                  </a:cubicBezTo>
                  <a:cubicBezTo>
                    <a:pt x="20919" y="0"/>
                    <a:pt x="26952" y="6049"/>
                    <a:pt x="26952" y="13512"/>
                  </a:cubicBezTo>
                  <a:close/>
                </a:path>
              </a:pathLst>
            </a:custGeom>
            <a:noFill/>
            <a:ln w="6350" cap="flat">
              <a:solidFill>
                <a:srgbClr val="4F74C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77" name="Freeform 819">
              <a:extLst>
                <a:ext uri="{FF2B5EF4-FFF2-40B4-BE49-F238E27FC236}">
                  <a16:creationId xmlns:a16="http://schemas.microsoft.com/office/drawing/2014/main" id="{450D54CE-4DF7-4CB6-B021-46A9CB82813A}"/>
                </a:ext>
              </a:extLst>
            </p:cNvPr>
            <p:cNvSpPr/>
            <p:nvPr/>
          </p:nvSpPr>
          <p:spPr>
            <a:xfrm>
              <a:off x="5477803" y="2509363"/>
              <a:ext cx="26952" cy="27023"/>
            </a:xfrm>
            <a:custGeom>
              <a:avLst/>
              <a:gdLst>
                <a:gd name="connsiteX0" fmla="*/ 26952 w 26952"/>
                <a:gd name="connsiteY0" fmla="*/ 13512 h 27023"/>
                <a:gd name="connsiteX1" fmla="*/ 13476 w 26952"/>
                <a:gd name="connsiteY1" fmla="*/ 27023 h 27023"/>
                <a:gd name="connsiteX2" fmla="*/ 0 w 26952"/>
                <a:gd name="connsiteY2" fmla="*/ 13512 h 27023"/>
                <a:gd name="connsiteX3" fmla="*/ 13476 w 26952"/>
                <a:gd name="connsiteY3" fmla="*/ 0 h 27023"/>
                <a:gd name="connsiteX4" fmla="*/ 26952 w 26952"/>
                <a:gd name="connsiteY4" fmla="*/ 13512 h 27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52" h="27023">
                  <a:moveTo>
                    <a:pt x="26952" y="13512"/>
                  </a:moveTo>
                  <a:cubicBezTo>
                    <a:pt x="26952" y="20974"/>
                    <a:pt x="20919" y="27023"/>
                    <a:pt x="13476" y="27023"/>
                  </a:cubicBezTo>
                  <a:cubicBezTo>
                    <a:pt x="6033" y="27023"/>
                    <a:pt x="0" y="20974"/>
                    <a:pt x="0" y="13512"/>
                  </a:cubicBezTo>
                  <a:cubicBezTo>
                    <a:pt x="0" y="6049"/>
                    <a:pt x="6033" y="0"/>
                    <a:pt x="13476" y="0"/>
                  </a:cubicBezTo>
                  <a:cubicBezTo>
                    <a:pt x="20919" y="0"/>
                    <a:pt x="26952" y="6049"/>
                    <a:pt x="26952" y="13512"/>
                  </a:cubicBezTo>
                  <a:close/>
                </a:path>
              </a:pathLst>
            </a:custGeom>
            <a:noFill/>
            <a:ln w="6350" cap="flat">
              <a:solidFill>
                <a:srgbClr val="4F74C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78" name="Freeform 820">
              <a:extLst>
                <a:ext uri="{FF2B5EF4-FFF2-40B4-BE49-F238E27FC236}">
                  <a16:creationId xmlns:a16="http://schemas.microsoft.com/office/drawing/2014/main" id="{C8847A3C-FE59-4DE9-BB9A-B68AE5D733F7}"/>
                </a:ext>
              </a:extLst>
            </p:cNvPr>
            <p:cNvSpPr/>
            <p:nvPr/>
          </p:nvSpPr>
          <p:spPr>
            <a:xfrm>
              <a:off x="5437941" y="2467693"/>
              <a:ext cx="26952" cy="27023"/>
            </a:xfrm>
            <a:custGeom>
              <a:avLst/>
              <a:gdLst>
                <a:gd name="connsiteX0" fmla="*/ 26952 w 26952"/>
                <a:gd name="connsiteY0" fmla="*/ 13512 h 27023"/>
                <a:gd name="connsiteX1" fmla="*/ 13476 w 26952"/>
                <a:gd name="connsiteY1" fmla="*/ 27023 h 27023"/>
                <a:gd name="connsiteX2" fmla="*/ 0 w 26952"/>
                <a:gd name="connsiteY2" fmla="*/ 13512 h 27023"/>
                <a:gd name="connsiteX3" fmla="*/ 13476 w 26952"/>
                <a:gd name="connsiteY3" fmla="*/ 0 h 27023"/>
                <a:gd name="connsiteX4" fmla="*/ 26952 w 26952"/>
                <a:gd name="connsiteY4" fmla="*/ 13512 h 27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52" h="27023">
                  <a:moveTo>
                    <a:pt x="26952" y="13512"/>
                  </a:moveTo>
                  <a:cubicBezTo>
                    <a:pt x="26952" y="20974"/>
                    <a:pt x="20919" y="27023"/>
                    <a:pt x="13476" y="27023"/>
                  </a:cubicBezTo>
                  <a:cubicBezTo>
                    <a:pt x="6033" y="27023"/>
                    <a:pt x="0" y="20974"/>
                    <a:pt x="0" y="13512"/>
                  </a:cubicBezTo>
                  <a:cubicBezTo>
                    <a:pt x="0" y="6049"/>
                    <a:pt x="6033" y="0"/>
                    <a:pt x="13476" y="0"/>
                  </a:cubicBezTo>
                  <a:cubicBezTo>
                    <a:pt x="20919" y="0"/>
                    <a:pt x="26952" y="6049"/>
                    <a:pt x="26952" y="13512"/>
                  </a:cubicBezTo>
                  <a:close/>
                </a:path>
              </a:pathLst>
            </a:custGeom>
            <a:noFill/>
            <a:ln w="6350" cap="flat">
              <a:solidFill>
                <a:srgbClr val="4F74C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79" name="Freeform 821">
              <a:extLst>
                <a:ext uri="{FF2B5EF4-FFF2-40B4-BE49-F238E27FC236}">
                  <a16:creationId xmlns:a16="http://schemas.microsoft.com/office/drawing/2014/main" id="{33D3B8C5-61F9-490F-96C4-98CAD75B8B4F}"/>
                </a:ext>
              </a:extLst>
            </p:cNvPr>
            <p:cNvSpPr/>
            <p:nvPr/>
          </p:nvSpPr>
          <p:spPr>
            <a:xfrm>
              <a:off x="5432958" y="2462016"/>
              <a:ext cx="26952" cy="27023"/>
            </a:xfrm>
            <a:custGeom>
              <a:avLst/>
              <a:gdLst>
                <a:gd name="connsiteX0" fmla="*/ 26952 w 26952"/>
                <a:gd name="connsiteY0" fmla="*/ 13512 h 27023"/>
                <a:gd name="connsiteX1" fmla="*/ 13476 w 26952"/>
                <a:gd name="connsiteY1" fmla="*/ 27023 h 27023"/>
                <a:gd name="connsiteX2" fmla="*/ 0 w 26952"/>
                <a:gd name="connsiteY2" fmla="*/ 13512 h 27023"/>
                <a:gd name="connsiteX3" fmla="*/ 13476 w 26952"/>
                <a:gd name="connsiteY3" fmla="*/ 0 h 27023"/>
                <a:gd name="connsiteX4" fmla="*/ 26952 w 26952"/>
                <a:gd name="connsiteY4" fmla="*/ 13512 h 27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52" h="27023">
                  <a:moveTo>
                    <a:pt x="26952" y="13512"/>
                  </a:moveTo>
                  <a:cubicBezTo>
                    <a:pt x="26952" y="20974"/>
                    <a:pt x="20919" y="27023"/>
                    <a:pt x="13476" y="27023"/>
                  </a:cubicBezTo>
                  <a:cubicBezTo>
                    <a:pt x="6033" y="27023"/>
                    <a:pt x="0" y="20974"/>
                    <a:pt x="0" y="13512"/>
                  </a:cubicBezTo>
                  <a:cubicBezTo>
                    <a:pt x="0" y="6049"/>
                    <a:pt x="6033" y="0"/>
                    <a:pt x="13476" y="0"/>
                  </a:cubicBezTo>
                  <a:cubicBezTo>
                    <a:pt x="20919" y="0"/>
                    <a:pt x="26952" y="6049"/>
                    <a:pt x="26952" y="13512"/>
                  </a:cubicBezTo>
                  <a:close/>
                </a:path>
              </a:pathLst>
            </a:custGeom>
            <a:noFill/>
            <a:ln w="6350" cap="flat">
              <a:solidFill>
                <a:srgbClr val="4F74C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80" name="Freeform 822">
              <a:extLst>
                <a:ext uri="{FF2B5EF4-FFF2-40B4-BE49-F238E27FC236}">
                  <a16:creationId xmlns:a16="http://schemas.microsoft.com/office/drawing/2014/main" id="{62F737D4-7DA8-412A-AE67-C087E01F8DA0}"/>
                </a:ext>
              </a:extLst>
            </p:cNvPr>
            <p:cNvSpPr/>
            <p:nvPr/>
          </p:nvSpPr>
          <p:spPr>
            <a:xfrm>
              <a:off x="5421860" y="2462016"/>
              <a:ext cx="26952" cy="27023"/>
            </a:xfrm>
            <a:custGeom>
              <a:avLst/>
              <a:gdLst>
                <a:gd name="connsiteX0" fmla="*/ 26952 w 26952"/>
                <a:gd name="connsiteY0" fmla="*/ 13512 h 27023"/>
                <a:gd name="connsiteX1" fmla="*/ 13476 w 26952"/>
                <a:gd name="connsiteY1" fmla="*/ 27023 h 27023"/>
                <a:gd name="connsiteX2" fmla="*/ 0 w 26952"/>
                <a:gd name="connsiteY2" fmla="*/ 13512 h 27023"/>
                <a:gd name="connsiteX3" fmla="*/ 13476 w 26952"/>
                <a:gd name="connsiteY3" fmla="*/ 0 h 27023"/>
                <a:gd name="connsiteX4" fmla="*/ 26952 w 26952"/>
                <a:gd name="connsiteY4" fmla="*/ 13512 h 27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52" h="27023">
                  <a:moveTo>
                    <a:pt x="26952" y="13512"/>
                  </a:moveTo>
                  <a:cubicBezTo>
                    <a:pt x="26952" y="20974"/>
                    <a:pt x="20919" y="27023"/>
                    <a:pt x="13476" y="27023"/>
                  </a:cubicBezTo>
                  <a:cubicBezTo>
                    <a:pt x="6033" y="27023"/>
                    <a:pt x="0" y="20974"/>
                    <a:pt x="0" y="13512"/>
                  </a:cubicBezTo>
                  <a:cubicBezTo>
                    <a:pt x="0" y="6049"/>
                    <a:pt x="6033" y="0"/>
                    <a:pt x="13476" y="0"/>
                  </a:cubicBezTo>
                  <a:cubicBezTo>
                    <a:pt x="20919" y="0"/>
                    <a:pt x="26952" y="6049"/>
                    <a:pt x="26952" y="13512"/>
                  </a:cubicBezTo>
                  <a:close/>
                </a:path>
              </a:pathLst>
            </a:custGeom>
            <a:noFill/>
            <a:ln w="6350" cap="flat">
              <a:solidFill>
                <a:srgbClr val="4F74C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81" name="Freeform 823">
              <a:extLst>
                <a:ext uri="{FF2B5EF4-FFF2-40B4-BE49-F238E27FC236}">
                  <a16:creationId xmlns:a16="http://schemas.microsoft.com/office/drawing/2014/main" id="{37A5D0DB-C2F9-4A21-9BCD-35B978F37D0F}"/>
                </a:ext>
              </a:extLst>
            </p:cNvPr>
            <p:cNvSpPr/>
            <p:nvPr/>
          </p:nvSpPr>
          <p:spPr>
            <a:xfrm>
              <a:off x="5407365" y="2463038"/>
              <a:ext cx="26952" cy="27023"/>
            </a:xfrm>
            <a:custGeom>
              <a:avLst/>
              <a:gdLst>
                <a:gd name="connsiteX0" fmla="*/ 26952 w 26952"/>
                <a:gd name="connsiteY0" fmla="*/ 13512 h 27023"/>
                <a:gd name="connsiteX1" fmla="*/ 13476 w 26952"/>
                <a:gd name="connsiteY1" fmla="*/ 27023 h 27023"/>
                <a:gd name="connsiteX2" fmla="*/ 0 w 26952"/>
                <a:gd name="connsiteY2" fmla="*/ 13512 h 27023"/>
                <a:gd name="connsiteX3" fmla="*/ 13476 w 26952"/>
                <a:gd name="connsiteY3" fmla="*/ 0 h 27023"/>
                <a:gd name="connsiteX4" fmla="*/ 26952 w 26952"/>
                <a:gd name="connsiteY4" fmla="*/ 13512 h 27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52" h="27023">
                  <a:moveTo>
                    <a:pt x="26952" y="13512"/>
                  </a:moveTo>
                  <a:cubicBezTo>
                    <a:pt x="26952" y="20974"/>
                    <a:pt x="20919" y="27023"/>
                    <a:pt x="13476" y="27023"/>
                  </a:cubicBezTo>
                  <a:cubicBezTo>
                    <a:pt x="6033" y="27023"/>
                    <a:pt x="0" y="20974"/>
                    <a:pt x="0" y="13512"/>
                  </a:cubicBezTo>
                  <a:cubicBezTo>
                    <a:pt x="0" y="6049"/>
                    <a:pt x="6033" y="0"/>
                    <a:pt x="13476" y="0"/>
                  </a:cubicBezTo>
                  <a:cubicBezTo>
                    <a:pt x="20919" y="0"/>
                    <a:pt x="26952" y="6049"/>
                    <a:pt x="26952" y="13512"/>
                  </a:cubicBezTo>
                  <a:close/>
                </a:path>
              </a:pathLst>
            </a:custGeom>
            <a:noFill/>
            <a:ln w="6350" cap="flat">
              <a:solidFill>
                <a:srgbClr val="4F74C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82" name="Freeform 824">
              <a:extLst>
                <a:ext uri="{FF2B5EF4-FFF2-40B4-BE49-F238E27FC236}">
                  <a16:creationId xmlns:a16="http://schemas.microsoft.com/office/drawing/2014/main" id="{60B090B4-1A66-4A93-B03F-A8CD4FB5A645}"/>
                </a:ext>
              </a:extLst>
            </p:cNvPr>
            <p:cNvSpPr/>
            <p:nvPr/>
          </p:nvSpPr>
          <p:spPr>
            <a:xfrm>
              <a:off x="5397965" y="2457929"/>
              <a:ext cx="26952" cy="27023"/>
            </a:xfrm>
            <a:custGeom>
              <a:avLst/>
              <a:gdLst>
                <a:gd name="connsiteX0" fmla="*/ 26952 w 26952"/>
                <a:gd name="connsiteY0" fmla="*/ 13512 h 27023"/>
                <a:gd name="connsiteX1" fmla="*/ 13476 w 26952"/>
                <a:gd name="connsiteY1" fmla="*/ 27023 h 27023"/>
                <a:gd name="connsiteX2" fmla="*/ 0 w 26952"/>
                <a:gd name="connsiteY2" fmla="*/ 13512 h 27023"/>
                <a:gd name="connsiteX3" fmla="*/ 13476 w 26952"/>
                <a:gd name="connsiteY3" fmla="*/ 0 h 27023"/>
                <a:gd name="connsiteX4" fmla="*/ 26952 w 26952"/>
                <a:gd name="connsiteY4" fmla="*/ 13512 h 27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52" h="27023">
                  <a:moveTo>
                    <a:pt x="26952" y="13512"/>
                  </a:moveTo>
                  <a:cubicBezTo>
                    <a:pt x="26952" y="20974"/>
                    <a:pt x="20919" y="27023"/>
                    <a:pt x="13476" y="27023"/>
                  </a:cubicBezTo>
                  <a:cubicBezTo>
                    <a:pt x="6033" y="27023"/>
                    <a:pt x="0" y="20974"/>
                    <a:pt x="0" y="13512"/>
                  </a:cubicBezTo>
                  <a:cubicBezTo>
                    <a:pt x="0" y="6049"/>
                    <a:pt x="6033" y="0"/>
                    <a:pt x="13476" y="0"/>
                  </a:cubicBezTo>
                  <a:cubicBezTo>
                    <a:pt x="20919" y="0"/>
                    <a:pt x="26952" y="6049"/>
                    <a:pt x="26952" y="13512"/>
                  </a:cubicBezTo>
                  <a:close/>
                </a:path>
              </a:pathLst>
            </a:custGeom>
            <a:noFill/>
            <a:ln w="6350" cap="flat">
              <a:solidFill>
                <a:srgbClr val="4F74C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2" name="Subtitle 1"/>
          <p:cNvSpPr>
            <a:spLocks noGrp="1"/>
          </p:cNvSpPr>
          <p:nvPr>
            <p:ph type="subTitle" idx="2"/>
          </p:nvPr>
        </p:nvSpPr>
        <p:spPr>
          <a:xfrm>
            <a:off x="479997" y="1113160"/>
            <a:ext cx="11213200" cy="600000"/>
          </a:xfrm>
        </p:spPr>
        <p:txBody>
          <a:bodyPr/>
          <a:lstStyle/>
          <a:p>
            <a:r>
              <a:rPr lang="en-GB" sz="2133" dirty="0"/>
              <a:t>Tislelizumab demonstrated OS </a:t>
            </a:r>
            <a:r>
              <a:rPr lang="en-GB" sz="2133" dirty="0" err="1"/>
              <a:t>noninferiority</a:t>
            </a:r>
            <a:r>
              <a:rPr lang="en-GB" sz="2133" baseline="30000" dirty="0" err="1"/>
              <a:t>a</a:t>
            </a:r>
            <a:r>
              <a:rPr lang="en-GB" sz="2133" dirty="0"/>
              <a:t> vs sorafenib; OS superiority vs sorafenib was not met</a:t>
            </a:r>
          </a:p>
        </p:txBody>
      </p:sp>
      <p:sp>
        <p:nvSpPr>
          <p:cNvPr id="3" name="Title 2"/>
          <p:cNvSpPr>
            <a:spLocks noGrp="1"/>
          </p:cNvSpPr>
          <p:nvPr>
            <p:ph type="ctrTitle"/>
          </p:nvPr>
        </p:nvSpPr>
        <p:spPr>
          <a:xfrm>
            <a:off x="479999" y="485933"/>
            <a:ext cx="11213020" cy="576000"/>
          </a:xfrm>
        </p:spPr>
        <p:txBody>
          <a:bodyPr/>
          <a:lstStyle/>
          <a:p>
            <a:r>
              <a:rPr lang="en-GB" dirty="0"/>
              <a:t>RATIONALE-301: Overall Survival</a:t>
            </a:r>
          </a:p>
        </p:txBody>
      </p:sp>
      <p:sp>
        <p:nvSpPr>
          <p:cNvPr id="5" name="Text Placeholder 4"/>
          <p:cNvSpPr>
            <a:spLocks noGrp="1"/>
          </p:cNvSpPr>
          <p:nvPr>
            <p:ph type="body" idx="12"/>
          </p:nvPr>
        </p:nvSpPr>
        <p:spPr>
          <a:xfrm>
            <a:off x="2360388" y="6185036"/>
            <a:ext cx="3201037" cy="235962"/>
          </a:xfrm>
        </p:spPr>
        <p:txBody>
          <a:bodyPr/>
          <a:lstStyle/>
          <a:p>
            <a:r>
              <a:rPr lang="en-GB" dirty="0"/>
              <a:t>Masatoshi Kudo</a:t>
            </a:r>
          </a:p>
        </p:txBody>
      </p:sp>
      <p:sp>
        <p:nvSpPr>
          <p:cNvPr id="7" name="TextBox 6"/>
          <p:cNvSpPr txBox="1"/>
          <p:nvPr/>
        </p:nvSpPr>
        <p:spPr>
          <a:xfrm>
            <a:off x="489095" y="5363804"/>
            <a:ext cx="11348035" cy="66659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33" b="0" i="0" u="none" strike="noStrike" kern="1200" cap="none" spc="0" normalizeH="0" baseline="0" noProof="0" dirty="0">
                <a:ln>
                  <a:noFill/>
                </a:ln>
                <a:solidFill>
                  <a:srgbClr val="4472C4"/>
                </a:solidFill>
                <a:effectLst/>
                <a:uLnTx/>
                <a:uFillTx/>
                <a:latin typeface="Arial" panose="020B0604020202020204"/>
                <a:ea typeface="+mn-ea"/>
                <a:cs typeface="+mn-cs"/>
              </a:rPr>
              <a:t>Data </a:t>
            </a:r>
            <a:r>
              <a:rPr kumimoji="0" lang="en-GB" sz="933" b="0" i="0" u="none" strike="noStrike" kern="1200" cap="none" spc="0" normalizeH="0" baseline="0" noProof="0" dirty="0" err="1">
                <a:ln>
                  <a:noFill/>
                </a:ln>
                <a:solidFill>
                  <a:srgbClr val="4472C4"/>
                </a:solidFill>
                <a:effectLst/>
                <a:uLnTx/>
                <a:uFillTx/>
                <a:latin typeface="Arial" panose="020B0604020202020204"/>
                <a:ea typeface="+mn-ea"/>
                <a:cs typeface="+mn-cs"/>
              </a:rPr>
              <a:t>cutoff</a:t>
            </a:r>
            <a:r>
              <a:rPr kumimoji="0" lang="en-GB" sz="933" b="0" i="0" u="none" strike="noStrike" kern="1200" cap="none" spc="0" normalizeH="0" baseline="0" noProof="0" dirty="0">
                <a:ln>
                  <a:noFill/>
                </a:ln>
                <a:solidFill>
                  <a:srgbClr val="4472C4"/>
                </a:solidFill>
                <a:effectLst/>
                <a:uLnTx/>
                <a:uFillTx/>
                <a:latin typeface="Arial" panose="020B0604020202020204"/>
                <a:ea typeface="+mn-ea"/>
                <a:cs typeface="+mn-cs"/>
              </a:rPr>
              <a:t>: July 11, 2022. OS was assessed in the ITT population. </a:t>
            </a:r>
            <a:r>
              <a:rPr kumimoji="0" lang="en-GB" sz="933" b="0" i="0" u="none" strike="noStrike" kern="1200" cap="none" spc="0" normalizeH="0" baseline="30000" noProof="0" dirty="0" err="1">
                <a:ln>
                  <a:noFill/>
                </a:ln>
                <a:solidFill>
                  <a:srgbClr val="4472C4"/>
                </a:solidFill>
                <a:effectLst/>
                <a:uLnTx/>
                <a:uFillTx/>
                <a:latin typeface="Arial" panose="020B0604020202020204"/>
                <a:ea typeface="+mn-ea"/>
                <a:cs typeface="+mn-cs"/>
              </a:rPr>
              <a:t>a</a:t>
            </a:r>
            <a:r>
              <a:rPr kumimoji="0" lang="en-GB" sz="933" b="0" i="0" u="none" strike="noStrike" kern="1200" cap="none" spc="0" normalizeH="0" baseline="0" noProof="0" dirty="0" err="1">
                <a:ln>
                  <a:noFill/>
                </a:ln>
                <a:solidFill>
                  <a:srgbClr val="4472C4"/>
                </a:solidFill>
                <a:effectLst/>
                <a:uLnTx/>
                <a:uFillTx/>
                <a:latin typeface="Arial" panose="020B0604020202020204"/>
                <a:ea typeface="+mn-ea"/>
                <a:cs typeface="+mn-cs"/>
              </a:rPr>
              <a:t>Prespecified</a:t>
            </a:r>
            <a:r>
              <a:rPr kumimoji="0" lang="en-GB" sz="933" b="0" i="0" u="none" strike="noStrike" kern="1200" cap="none" spc="0" normalizeH="0" baseline="0" noProof="0" dirty="0">
                <a:ln>
                  <a:noFill/>
                </a:ln>
                <a:solidFill>
                  <a:srgbClr val="4472C4"/>
                </a:solidFill>
                <a:effectLst/>
                <a:uLnTx/>
                <a:uFillTx/>
                <a:latin typeface="Arial" panose="020B0604020202020204"/>
                <a:ea typeface="+mn-ea"/>
                <a:cs typeface="+mn-cs"/>
              </a:rPr>
              <a:t> boundary of NI: upper bound of</a:t>
            </a:r>
            <a:r>
              <a:rPr kumimoji="0" lang="en-GB" sz="933" b="0" i="0"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n-GB" sz="933" b="0" i="0" u="none" strike="noStrike" kern="1200" cap="none" spc="0" normalizeH="0" baseline="0" noProof="0" dirty="0">
                <a:ln>
                  <a:noFill/>
                </a:ln>
                <a:solidFill>
                  <a:srgbClr val="4472C4"/>
                </a:solidFill>
                <a:effectLst/>
                <a:uLnTx/>
                <a:uFillTx/>
                <a:latin typeface="Arial" panose="020B0604020202020204"/>
                <a:ea typeface="+mn-ea"/>
                <a:cs typeface="+mn-cs"/>
              </a:rPr>
              <a:t>95.003% CI of stratified HR &lt;1.08; pre-specified boundary of superiority: one-sided </a:t>
            </a:r>
            <a:r>
              <a:rPr kumimoji="0" lang="en-GB" sz="933" b="0" i="1" u="none" strike="noStrike" kern="1200" cap="none" spc="0" normalizeH="0" baseline="0" noProof="0" dirty="0">
                <a:ln>
                  <a:noFill/>
                </a:ln>
                <a:solidFill>
                  <a:srgbClr val="4472C4"/>
                </a:solidFill>
                <a:effectLst/>
                <a:uLnTx/>
                <a:uFillTx/>
                <a:latin typeface="Arial" panose="020B0604020202020204"/>
                <a:ea typeface="+mn-ea"/>
                <a:cs typeface="+mn-cs"/>
              </a:rPr>
              <a:t>P</a:t>
            </a:r>
            <a:r>
              <a:rPr kumimoji="0" lang="en-GB" sz="933" b="0" i="0" u="none" strike="noStrike" kern="1200" cap="none" spc="0" normalizeH="0" baseline="0" noProof="0" dirty="0">
                <a:ln>
                  <a:noFill/>
                </a:ln>
                <a:solidFill>
                  <a:srgbClr val="4472C4"/>
                </a:solidFill>
                <a:effectLst/>
                <a:uLnTx/>
                <a:uFillTx/>
                <a:latin typeface="Arial" panose="020B0604020202020204"/>
                <a:ea typeface="+mn-ea"/>
                <a:cs typeface="+mn-cs"/>
              </a:rPr>
              <a:t> value &lt;0.0223 (approximate HR &lt;0.8352). </a:t>
            </a:r>
            <a:r>
              <a:rPr kumimoji="0" lang="en-GB" sz="933" b="0" i="0" u="none" strike="noStrike" kern="1200" cap="none" spc="0" normalizeH="0" baseline="30000" noProof="0" dirty="0" err="1">
                <a:ln>
                  <a:noFill/>
                </a:ln>
                <a:solidFill>
                  <a:srgbClr val="4472C4"/>
                </a:solidFill>
                <a:effectLst/>
                <a:uLnTx/>
                <a:uFillTx/>
                <a:latin typeface="Arial" panose="020B0604020202020204"/>
                <a:ea typeface="+mn-ea"/>
                <a:cs typeface="+mn-cs"/>
              </a:rPr>
              <a:t>b</a:t>
            </a:r>
            <a:r>
              <a:rPr kumimoji="0" lang="en-GB" sz="933" b="0" i="0" u="none" strike="noStrike" kern="1200" cap="none" spc="0" normalizeH="0" baseline="0" noProof="0" dirty="0" err="1">
                <a:ln>
                  <a:noFill/>
                </a:ln>
                <a:solidFill>
                  <a:srgbClr val="4472C4"/>
                </a:solidFill>
                <a:effectLst/>
                <a:uLnTx/>
                <a:uFillTx/>
                <a:latin typeface="Arial" panose="020B0604020202020204"/>
                <a:ea typeface="+mn-ea"/>
                <a:cs typeface="+mn-cs"/>
              </a:rPr>
              <a:t>HR</a:t>
            </a:r>
            <a:r>
              <a:rPr kumimoji="0" lang="en-GB" sz="933" b="0" i="0" u="none" strike="noStrike" kern="1200" cap="none" spc="0" normalizeH="0" baseline="0" noProof="0" dirty="0">
                <a:ln>
                  <a:noFill/>
                </a:ln>
                <a:solidFill>
                  <a:srgbClr val="4472C4"/>
                </a:solidFill>
                <a:effectLst/>
                <a:uLnTx/>
                <a:uFillTx/>
                <a:latin typeface="Arial" panose="020B0604020202020204"/>
                <a:ea typeface="+mn-ea"/>
                <a:cs typeface="+mn-cs"/>
              </a:rPr>
              <a:t> was based on a Cox proportional hazard model including treatment as a covariate, geography (Asia [including Japan] vs rest of world [EU/US]), macrovascular invasion and/or extrahepatic spread (present vs absent), </a:t>
            </a:r>
            <a:r>
              <a:rPr kumimoji="0" lang="en-GB" sz="933" b="0" i="0" u="none" strike="noStrike" kern="1200" cap="none" spc="0" normalizeH="0" baseline="0" noProof="0" dirty="0" err="1">
                <a:ln>
                  <a:noFill/>
                </a:ln>
                <a:solidFill>
                  <a:srgbClr val="4472C4"/>
                </a:solidFill>
                <a:effectLst/>
                <a:uLnTx/>
                <a:uFillTx/>
                <a:latin typeface="Arial" panose="020B0604020202020204"/>
                <a:ea typeface="+mn-ea"/>
                <a:cs typeface="+mn-cs"/>
              </a:rPr>
              <a:t>etiology</a:t>
            </a:r>
            <a:r>
              <a:rPr kumimoji="0" lang="en-GB" sz="933" b="0" i="0" u="none" strike="noStrike" kern="1200" cap="none" spc="0" normalizeH="0" baseline="0" noProof="0" dirty="0">
                <a:ln>
                  <a:noFill/>
                </a:ln>
                <a:solidFill>
                  <a:srgbClr val="4472C4"/>
                </a:solidFill>
                <a:effectLst/>
                <a:uLnTx/>
                <a:uFillTx/>
                <a:latin typeface="Arial" panose="020B0604020202020204"/>
                <a:ea typeface="+mn-ea"/>
                <a:cs typeface="+mn-cs"/>
              </a:rPr>
              <a:t> (HCV vs other), and ECOG PS (0 vs 1) as stratification factors. </a:t>
            </a:r>
            <a:r>
              <a:rPr kumimoji="0" lang="en-GB" sz="933" b="0" i="0" u="none" strike="noStrike" kern="1200" cap="none" spc="0" normalizeH="0" baseline="30000" noProof="0" dirty="0" err="1">
                <a:ln>
                  <a:noFill/>
                </a:ln>
                <a:solidFill>
                  <a:srgbClr val="4472C4"/>
                </a:solidFill>
                <a:effectLst/>
                <a:uLnTx/>
                <a:uFillTx/>
                <a:latin typeface="Arial" panose="020B0604020202020204"/>
                <a:ea typeface="+mn-ea"/>
                <a:cs typeface="+mn-cs"/>
              </a:rPr>
              <a:t>c</a:t>
            </a:r>
            <a:r>
              <a:rPr kumimoji="0" lang="en-GB" sz="933" b="0" i="0" u="none" strike="noStrike" kern="1200" cap="none" spc="0" normalizeH="0" baseline="0" noProof="0" dirty="0" err="1">
                <a:ln>
                  <a:noFill/>
                </a:ln>
                <a:solidFill>
                  <a:srgbClr val="4472C4"/>
                </a:solidFill>
                <a:effectLst/>
                <a:uLnTx/>
                <a:uFillTx/>
                <a:latin typeface="Arial" panose="020B0604020202020204"/>
                <a:ea typeface="+mn-ea"/>
                <a:cs typeface="+mn-cs"/>
              </a:rPr>
              <a:t>One</a:t>
            </a:r>
            <a:r>
              <a:rPr kumimoji="0" lang="en-GB" sz="933" b="0" i="0" u="none" strike="noStrike" kern="1200" cap="none" spc="0" normalizeH="0" baseline="0" noProof="0" dirty="0">
                <a:ln>
                  <a:noFill/>
                </a:ln>
                <a:solidFill>
                  <a:srgbClr val="4472C4"/>
                </a:solidFill>
                <a:effectLst/>
                <a:uLnTx/>
                <a:uFillTx/>
                <a:latin typeface="Arial" panose="020B0604020202020204"/>
                <a:ea typeface="+mn-ea"/>
                <a:cs typeface="+mn-cs"/>
              </a:rPr>
              <a:t>-sided stratified log-rank test. Abbreviations: CI, confidence interval; ECOG PS, European Cooperative Oncology Group performance status; HCV, hepatitis C virus; HR, hazard ratio; ITT, intent-to-treat; NI, non-inferiority; OS, overall survival.</a:t>
            </a:r>
          </a:p>
        </p:txBody>
      </p:sp>
      <p:graphicFrame>
        <p:nvGraphicFramePr>
          <p:cNvPr id="10" name="Table 3">
            <a:extLst>
              <a:ext uri="{FF2B5EF4-FFF2-40B4-BE49-F238E27FC236}">
                <a16:creationId xmlns:a16="http://schemas.microsoft.com/office/drawing/2014/main" id="{A76CE386-F373-44A3-A1EB-C6FC9BFAE125}"/>
              </a:ext>
            </a:extLst>
          </p:cNvPr>
          <p:cNvGraphicFramePr>
            <a:graphicFrameLocks noGrp="1"/>
          </p:cNvGraphicFramePr>
          <p:nvPr/>
        </p:nvGraphicFramePr>
        <p:xfrm>
          <a:off x="6988941" y="1811846"/>
          <a:ext cx="4589528" cy="1577280"/>
        </p:xfrm>
        <a:graphic>
          <a:graphicData uri="http://schemas.openxmlformats.org/drawingml/2006/table">
            <a:tbl>
              <a:tblPr firstRow="1" bandRow="1">
                <a:tableStyleId>{7E9639D4-E3E2-4D34-9284-5A2195B3D0D7}</a:tableStyleId>
              </a:tblPr>
              <a:tblGrid>
                <a:gridCol w="1908932">
                  <a:extLst>
                    <a:ext uri="{9D8B030D-6E8A-4147-A177-3AD203B41FA5}">
                      <a16:colId xmlns:a16="http://schemas.microsoft.com/office/drawing/2014/main" val="2936321272"/>
                    </a:ext>
                  </a:extLst>
                </a:gridCol>
                <a:gridCol w="1317525">
                  <a:extLst>
                    <a:ext uri="{9D8B030D-6E8A-4147-A177-3AD203B41FA5}">
                      <a16:colId xmlns:a16="http://schemas.microsoft.com/office/drawing/2014/main" val="3977820761"/>
                    </a:ext>
                  </a:extLst>
                </a:gridCol>
                <a:gridCol w="1363071">
                  <a:extLst>
                    <a:ext uri="{9D8B030D-6E8A-4147-A177-3AD203B41FA5}">
                      <a16:colId xmlns:a16="http://schemas.microsoft.com/office/drawing/2014/main" val="2527792267"/>
                    </a:ext>
                  </a:extLst>
                </a:gridCol>
              </a:tblGrid>
              <a:tr h="461760">
                <a:tc>
                  <a:txBody>
                    <a:bodyPr/>
                    <a:lstStyle/>
                    <a:p>
                      <a:endParaRPr lang="en-US" sz="1200" dirty="0">
                        <a:latin typeface="Arial Narrow" panose="020B0606020202030204" pitchFamily="34" charset="0"/>
                        <a:cs typeface="Helvetica" panose="020B0604020202020204" pitchFamily="34" charset="0"/>
                      </a:endParaRPr>
                    </a:p>
                  </a:txBody>
                  <a:tcPr marL="64000" marR="64000" marT="48000" marB="48000">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dirty="0" err="1">
                          <a:latin typeface="Arial Narrow" panose="020B0606020202030204" pitchFamily="34" charset="0"/>
                          <a:cs typeface="Helvetica" panose="020B0604020202020204" pitchFamily="34" charset="0"/>
                        </a:rPr>
                        <a:t>Tislelizumab</a:t>
                      </a:r>
                      <a:endParaRPr lang="en-US" sz="1200" dirty="0">
                        <a:latin typeface="Arial Narrow" panose="020B0606020202030204" pitchFamily="34" charset="0"/>
                        <a:cs typeface="Helvetica" panose="020B0604020202020204" pitchFamily="34" charset="0"/>
                      </a:endParaRPr>
                    </a:p>
                    <a:p>
                      <a:pPr algn="ctr"/>
                      <a:r>
                        <a:rPr lang="en-US" sz="1200" dirty="0">
                          <a:latin typeface="Arial Narrow" panose="020B0606020202030204" pitchFamily="34" charset="0"/>
                          <a:cs typeface="Helvetica" panose="020B0604020202020204" pitchFamily="34" charset="0"/>
                        </a:rPr>
                        <a:t>(n</a:t>
                      </a:r>
                      <a:r>
                        <a:rPr lang="en-US" altLang="zh-CN" sz="1200" dirty="0">
                          <a:latin typeface="Arial Narrow" panose="020B0606020202030204" pitchFamily="34" charset="0"/>
                          <a:cs typeface="Helvetica" panose="020B0604020202020204" pitchFamily="34" charset="0"/>
                        </a:rPr>
                        <a:t>=342)</a:t>
                      </a:r>
                      <a:endParaRPr lang="en-US" sz="1200" dirty="0">
                        <a:latin typeface="Arial Narrow" panose="020B0606020202030204" pitchFamily="34" charset="0"/>
                        <a:cs typeface="Helvetica" panose="020B0604020202020204" pitchFamily="34" charset="0"/>
                      </a:endParaRPr>
                    </a:p>
                  </a:txBody>
                  <a:tcPr marL="64000" marR="64000" marT="48000" marB="48000">
                    <a:lnL>
                      <a:noFill/>
                    </a:lnL>
                    <a:lnR>
                      <a:noFill/>
                    </a:lnR>
                    <a:lnT w="9525" cap="flat" cmpd="sng" algn="ctr">
                      <a:noFill/>
                      <a:prstDash val="soli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8261C"/>
                    </a:solidFill>
                  </a:tcPr>
                </a:tc>
                <a:tc>
                  <a:txBody>
                    <a:bodyPr/>
                    <a:lstStyle/>
                    <a:p>
                      <a:pPr algn="ctr"/>
                      <a:r>
                        <a:rPr lang="en-US" sz="1200" dirty="0" err="1">
                          <a:latin typeface="Arial Narrow" panose="020B0606020202030204" pitchFamily="34" charset="0"/>
                          <a:cs typeface="Helvetica" panose="020B0604020202020204" pitchFamily="34" charset="0"/>
                        </a:rPr>
                        <a:t>Sorafenib</a:t>
                      </a:r>
                      <a:endParaRPr lang="en-US" sz="1200" dirty="0">
                        <a:latin typeface="Arial Narrow" panose="020B0606020202030204" pitchFamily="34" charset="0"/>
                        <a:cs typeface="Helvetica" panose="020B0604020202020204" pitchFamily="34" charset="0"/>
                      </a:endParaRPr>
                    </a:p>
                    <a:p>
                      <a:pPr algn="ctr"/>
                      <a:r>
                        <a:rPr lang="en-US" sz="1200" dirty="0">
                          <a:latin typeface="Arial Narrow" panose="020B0606020202030204" pitchFamily="34" charset="0"/>
                          <a:cs typeface="Helvetica" panose="020B0604020202020204" pitchFamily="34" charset="0"/>
                        </a:rPr>
                        <a:t>(n=332)</a:t>
                      </a:r>
                    </a:p>
                  </a:txBody>
                  <a:tcPr marL="64000" marR="64000" marT="48000" marB="48000">
                    <a:lnL>
                      <a:noFill/>
                    </a:lnL>
                    <a:lnR w="12700" cap="flat" cmpd="sng" algn="ctr">
                      <a:noFill/>
                      <a:prstDash val="solid"/>
                      <a:round/>
                      <a:headEnd type="none" w="med" len="med"/>
                      <a:tailEnd type="none" w="med" len="med"/>
                    </a:lnR>
                    <a:lnT w="9525" cap="flat" cmpd="sng" algn="ctr">
                      <a:noFill/>
                      <a:prstDash val="soli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4F74C8"/>
                    </a:solidFill>
                  </a:tcPr>
                </a:tc>
                <a:extLst>
                  <a:ext uri="{0D108BD9-81ED-4DB2-BD59-A6C34878D82A}">
                    <a16:rowId xmlns:a16="http://schemas.microsoft.com/office/drawing/2014/main" val="2860162417"/>
                  </a:ext>
                </a:extLst>
              </a:tr>
              <a:tr h="278880">
                <a:tc>
                  <a:txBody>
                    <a:bodyPr/>
                    <a:lstStyle/>
                    <a:p>
                      <a:r>
                        <a:rPr lang="en-US" sz="1200" dirty="0">
                          <a:latin typeface="Arial Narrow" panose="020B0606020202030204" pitchFamily="34" charset="0"/>
                          <a:cs typeface="Helvetica" panose="020B0604020202020204" pitchFamily="34" charset="0"/>
                        </a:rPr>
                        <a:t>Events, n (%)</a:t>
                      </a:r>
                    </a:p>
                  </a:txBody>
                  <a:tcPr marL="64000" marR="64000" marT="48000" marB="48000">
                    <a:lnL w="12700" cap="flat" cmpd="sng" algn="ctr">
                      <a:noFill/>
                      <a:prstDash val="solid"/>
                      <a:round/>
                      <a:headEnd type="none" w="med" len="med"/>
                      <a:tailEnd type="none" w="med" len="med"/>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defTabSz="914377" rtl="0" eaLnBrk="1" latinLnBrk="0" hangingPunct="1">
                        <a:lnSpc>
                          <a:spcPts val="1265"/>
                        </a:lnSpc>
                        <a:spcBef>
                          <a:spcPts val="0"/>
                        </a:spcBef>
                        <a:spcAft>
                          <a:spcPts val="0"/>
                        </a:spcAft>
                      </a:pPr>
                      <a:r>
                        <a:rPr lang="en-US" sz="1200" b="0" i="0" u="none" strike="noStrike" cap="none" dirty="0">
                          <a:solidFill>
                            <a:schemeClr val="tx1"/>
                          </a:solidFill>
                          <a:latin typeface="Arial Narrow" panose="020B0606020202030204" pitchFamily="34" charset="0"/>
                          <a:ea typeface="+mn-ea"/>
                          <a:cs typeface="Helvetica" panose="020B0604020202020204" pitchFamily="34" charset="0"/>
                          <a:sym typeface="Arial"/>
                        </a:rPr>
                        <a:t>242 (70.8)</a:t>
                      </a:r>
                    </a:p>
                  </a:txBody>
                  <a:tcPr marL="0" marR="0" marT="0" marB="0">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defTabSz="914377" rtl="0" eaLnBrk="1" latinLnBrk="0" hangingPunct="1">
                        <a:lnSpc>
                          <a:spcPts val="1265"/>
                        </a:lnSpc>
                        <a:spcBef>
                          <a:spcPts val="0"/>
                        </a:spcBef>
                        <a:spcAft>
                          <a:spcPts val="0"/>
                        </a:spcAft>
                      </a:pPr>
                      <a:r>
                        <a:rPr lang="en-US" sz="1200" b="0" i="0" u="none" strike="noStrike" cap="none" dirty="0">
                          <a:solidFill>
                            <a:schemeClr val="tx1"/>
                          </a:solidFill>
                          <a:latin typeface="Arial Narrow" panose="020B0606020202030204" pitchFamily="34" charset="0"/>
                          <a:ea typeface="+mn-ea"/>
                          <a:cs typeface="Helvetica" panose="020B0604020202020204" pitchFamily="34" charset="0"/>
                          <a:sym typeface="Arial"/>
                        </a:rPr>
                        <a:t>255 (76.8)</a:t>
                      </a:r>
                    </a:p>
                  </a:txBody>
                  <a:tcPr marL="0" marR="0" marT="0" marB="0">
                    <a:lnL>
                      <a:noFill/>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64606734"/>
                  </a:ext>
                </a:extLst>
              </a:tr>
              <a:tr h="278880">
                <a:tc>
                  <a:txBody>
                    <a:bodyPr/>
                    <a:lstStyle/>
                    <a:p>
                      <a:r>
                        <a:rPr lang="en-US" sz="1200" b="1" dirty="0">
                          <a:latin typeface="Arial Narrow" panose="020B0606020202030204" pitchFamily="34" charset="0"/>
                          <a:cs typeface="Helvetica" panose="020B0604020202020204" pitchFamily="34" charset="0"/>
                        </a:rPr>
                        <a:t>Median OS, </a:t>
                      </a:r>
                      <a:r>
                        <a:rPr lang="en-US" sz="1200" dirty="0">
                          <a:latin typeface="Arial Narrow" panose="020B0606020202030204" pitchFamily="34" charset="0"/>
                          <a:cs typeface="Helvetica" panose="020B0604020202020204" pitchFamily="34" charset="0"/>
                        </a:rPr>
                        <a:t>months (95% CI)</a:t>
                      </a:r>
                    </a:p>
                  </a:txBody>
                  <a:tcPr marL="64000" marR="64000" marT="48000" marB="48000">
                    <a:lnL w="12700" cap="flat" cmpd="sng" algn="ctr">
                      <a:noFill/>
                      <a:prstDash val="solid"/>
                      <a:round/>
                      <a:headEnd type="none" w="med" len="med"/>
                      <a:tailEnd type="none" w="med" len="med"/>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defTabSz="914377" rtl="0" eaLnBrk="1" latinLnBrk="0" hangingPunct="1">
                        <a:lnSpc>
                          <a:spcPts val="1265"/>
                        </a:lnSpc>
                        <a:spcBef>
                          <a:spcPts val="0"/>
                        </a:spcBef>
                        <a:spcAft>
                          <a:spcPts val="0"/>
                        </a:spcAft>
                      </a:pPr>
                      <a:r>
                        <a:rPr lang="en-US" sz="1200" b="1" i="0" u="none" strike="noStrike" cap="none" dirty="0">
                          <a:solidFill>
                            <a:schemeClr val="tx1"/>
                          </a:solidFill>
                          <a:latin typeface="Arial Narrow" panose="020B0606020202030204" pitchFamily="34" charset="0"/>
                          <a:ea typeface="+mn-ea"/>
                          <a:cs typeface="Helvetica" panose="020B0604020202020204" pitchFamily="34" charset="0"/>
                          <a:sym typeface="Arial"/>
                        </a:rPr>
                        <a:t>15.9</a:t>
                      </a:r>
                      <a:r>
                        <a:rPr lang="en-US" sz="1200" b="0" i="0" u="none" strike="noStrike" cap="none" dirty="0">
                          <a:solidFill>
                            <a:schemeClr val="tx1"/>
                          </a:solidFill>
                          <a:latin typeface="Arial Narrow" panose="020B0606020202030204" pitchFamily="34" charset="0"/>
                          <a:ea typeface="+mn-ea"/>
                          <a:cs typeface="Helvetica" panose="020B0604020202020204" pitchFamily="34" charset="0"/>
                          <a:sym typeface="Arial"/>
                        </a:rPr>
                        <a:t> (13.2, 19.7)</a:t>
                      </a:r>
                    </a:p>
                  </a:txBody>
                  <a:tcPr marL="0" marR="0" marT="0" marB="0">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defTabSz="914377" rtl="0" eaLnBrk="1" latinLnBrk="0" hangingPunct="1">
                        <a:lnSpc>
                          <a:spcPts val="1265"/>
                        </a:lnSpc>
                        <a:spcBef>
                          <a:spcPts val="0"/>
                        </a:spcBef>
                        <a:spcAft>
                          <a:spcPts val="0"/>
                        </a:spcAft>
                      </a:pPr>
                      <a:r>
                        <a:rPr lang="en-US" sz="1200" b="1" i="0" u="none" strike="noStrike" cap="none" dirty="0">
                          <a:solidFill>
                            <a:schemeClr val="tx1"/>
                          </a:solidFill>
                          <a:latin typeface="Arial Narrow" panose="020B0606020202030204" pitchFamily="34" charset="0"/>
                          <a:ea typeface="+mn-ea"/>
                          <a:cs typeface="Helvetica" panose="020B0604020202020204" pitchFamily="34" charset="0"/>
                          <a:sym typeface="Arial"/>
                        </a:rPr>
                        <a:t>14.1</a:t>
                      </a:r>
                      <a:r>
                        <a:rPr lang="en-US" sz="1200" b="0" i="0" u="none" strike="noStrike" cap="none" dirty="0">
                          <a:solidFill>
                            <a:schemeClr val="tx1"/>
                          </a:solidFill>
                          <a:latin typeface="Arial Narrow" panose="020B0606020202030204" pitchFamily="34" charset="0"/>
                          <a:ea typeface="+mn-ea"/>
                          <a:cs typeface="Helvetica" panose="020B0604020202020204" pitchFamily="34" charset="0"/>
                          <a:sym typeface="Arial"/>
                        </a:rPr>
                        <a:t> (12.6, 17.4)</a:t>
                      </a:r>
                    </a:p>
                  </a:txBody>
                  <a:tcPr marL="0" marR="0" marT="0" marB="0">
                    <a:lnL>
                      <a:noFill/>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94352809"/>
                  </a:ext>
                </a:extLst>
              </a:tr>
              <a:tr h="278880">
                <a:tc>
                  <a:txBody>
                    <a:bodyPr/>
                    <a:lstStyle/>
                    <a:p>
                      <a:r>
                        <a:rPr lang="en-US" sz="1200" b="1" dirty="0">
                          <a:latin typeface="Arial Narrow" panose="020B0606020202030204" pitchFamily="34" charset="0"/>
                          <a:cs typeface="Helvetica" panose="020B0604020202020204" pitchFamily="34" charset="0"/>
                        </a:rPr>
                        <a:t>Stratified HR </a:t>
                      </a:r>
                      <a:r>
                        <a:rPr lang="en-US" sz="1200" dirty="0">
                          <a:latin typeface="Arial Narrow" panose="020B0606020202030204" pitchFamily="34" charset="0"/>
                          <a:cs typeface="Helvetica" panose="020B0604020202020204" pitchFamily="34" charset="0"/>
                        </a:rPr>
                        <a:t>(95.003% CI)</a:t>
                      </a:r>
                      <a:r>
                        <a:rPr lang="en-US" sz="1200" baseline="30000" dirty="0">
                          <a:latin typeface="Arial Narrow" panose="020B0606020202030204" pitchFamily="34" charset="0"/>
                          <a:cs typeface="Helvetica" panose="020B0604020202020204" pitchFamily="34" charset="0"/>
                        </a:rPr>
                        <a:t>b</a:t>
                      </a:r>
                      <a:endParaRPr lang="en-US" sz="1200" strike="noStrike" baseline="30000" dirty="0">
                        <a:latin typeface="Arial Narrow" panose="020B0606020202030204" pitchFamily="34" charset="0"/>
                        <a:cs typeface="Helvetica" panose="020B0604020202020204" pitchFamily="34" charset="0"/>
                      </a:endParaRPr>
                    </a:p>
                  </a:txBody>
                  <a:tcPr marL="64000" marR="64000" marT="48000" marB="48000">
                    <a:lnL w="12700" cap="flat" cmpd="sng" algn="ctr">
                      <a:noFill/>
                      <a:prstDash val="solid"/>
                      <a:round/>
                      <a:headEnd type="none" w="med" len="med"/>
                      <a:tailEnd type="none" w="med" len="med"/>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ctr" defTabSz="914378" rtl="0" eaLnBrk="1" fontAlgn="auto" latinLnBrk="0" hangingPunct="1">
                        <a:lnSpc>
                          <a:spcPct val="100000"/>
                        </a:lnSpc>
                        <a:spcBef>
                          <a:spcPts val="0"/>
                        </a:spcBef>
                        <a:spcAft>
                          <a:spcPts val="0"/>
                        </a:spcAft>
                        <a:buClrTx/>
                        <a:buSzTx/>
                        <a:buFontTx/>
                        <a:buNone/>
                        <a:tabLst/>
                        <a:defRPr/>
                      </a:pPr>
                      <a:r>
                        <a:rPr lang="en-US" altLang="zh-CN" sz="1200" b="1" kern="1200" dirty="0">
                          <a:solidFill>
                            <a:schemeClr val="tx1"/>
                          </a:solidFill>
                          <a:effectLst/>
                          <a:latin typeface="Arial Narrow" panose="020B0606020202030204" pitchFamily="34" charset="0"/>
                          <a:ea typeface="+mn-ea"/>
                          <a:cs typeface="Helvetica" panose="020B0604020202020204" pitchFamily="34" charset="0"/>
                        </a:rPr>
                        <a:t>0.85</a:t>
                      </a:r>
                      <a:r>
                        <a:rPr lang="en-US" altLang="zh-CN" sz="1200" kern="1200" dirty="0">
                          <a:solidFill>
                            <a:schemeClr val="tx1"/>
                          </a:solidFill>
                          <a:effectLst/>
                          <a:latin typeface="Arial Narrow" panose="020B0606020202030204" pitchFamily="34" charset="0"/>
                          <a:ea typeface="+mn-ea"/>
                          <a:cs typeface="Helvetica" panose="020B0604020202020204" pitchFamily="34" charset="0"/>
                        </a:rPr>
                        <a:t> (0.712, 1.019)</a:t>
                      </a:r>
                    </a:p>
                  </a:txBody>
                  <a:tcPr marL="64000" marR="64000" marT="48000" marB="48000">
                    <a:lnL>
                      <a:noFill/>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a:endParaRPr lang="en-US" sz="1100"/>
                    </a:p>
                  </a:txBody>
                  <a:tcPr>
                    <a:lnR w="12700" cap="flat" cmpd="sng" algn="ctr">
                      <a:noFill/>
                      <a:prstDash val="solid"/>
                      <a:round/>
                      <a:headEnd type="none" w="med" len="med"/>
                      <a:tailEnd type="none" w="med" len="med"/>
                    </a:lnR>
                  </a:tcPr>
                </a:tc>
                <a:extLst>
                  <a:ext uri="{0D108BD9-81ED-4DB2-BD59-A6C34878D82A}">
                    <a16:rowId xmlns:a16="http://schemas.microsoft.com/office/drawing/2014/main" val="1567654780"/>
                  </a:ext>
                </a:extLst>
              </a:tr>
              <a:tr h="278880">
                <a:tc>
                  <a:txBody>
                    <a:bodyPr/>
                    <a:lstStyle/>
                    <a:p>
                      <a:r>
                        <a:rPr lang="en-US" sz="1200" b="1" i="1" dirty="0">
                          <a:latin typeface="Arial Narrow" panose="020B0606020202030204" pitchFamily="34" charset="0"/>
                          <a:cs typeface="Helvetica" panose="020B0604020202020204" pitchFamily="34" charset="0"/>
                        </a:rPr>
                        <a:t>P </a:t>
                      </a:r>
                      <a:r>
                        <a:rPr lang="en-US" sz="1200" b="1" dirty="0" err="1">
                          <a:latin typeface="Arial Narrow" panose="020B0606020202030204" pitchFamily="34" charset="0"/>
                          <a:cs typeface="Helvetica" panose="020B0604020202020204" pitchFamily="34" charset="0"/>
                        </a:rPr>
                        <a:t>value</a:t>
                      </a:r>
                      <a:r>
                        <a:rPr lang="en-US" sz="1200" b="1" baseline="30000" dirty="0" err="1">
                          <a:latin typeface="Arial Narrow" panose="020B0606020202030204" pitchFamily="34" charset="0"/>
                          <a:cs typeface="Helvetica" panose="020B0604020202020204" pitchFamily="34" charset="0"/>
                        </a:rPr>
                        <a:t>c</a:t>
                      </a:r>
                      <a:endParaRPr lang="en-US" sz="1200" strike="noStrike" kern="1200" baseline="30000" dirty="0">
                        <a:solidFill>
                          <a:schemeClr val="tx1"/>
                        </a:solidFill>
                        <a:latin typeface="Arial Narrow" panose="020B0606020202030204" pitchFamily="34" charset="0"/>
                        <a:ea typeface="+mn-ea"/>
                        <a:cs typeface="Helvetica" panose="020B0604020202020204" pitchFamily="34" charset="0"/>
                      </a:endParaRPr>
                    </a:p>
                  </a:txBody>
                  <a:tcPr marL="64000" marR="64000" marT="48000" marB="48000">
                    <a:lnL w="12700" cap="flat" cmpd="sng" algn="ctr">
                      <a:noFill/>
                      <a:prstDash val="solid"/>
                      <a:round/>
                      <a:headEnd type="none" w="med" len="med"/>
                      <a:tailEnd type="none" w="med" len="med"/>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ctr" defTabSz="914378" rtl="0" eaLnBrk="1" fontAlgn="auto" latinLnBrk="0" hangingPunct="1">
                        <a:lnSpc>
                          <a:spcPct val="100000"/>
                        </a:lnSpc>
                        <a:spcBef>
                          <a:spcPts val="0"/>
                        </a:spcBef>
                        <a:spcAft>
                          <a:spcPts val="0"/>
                        </a:spcAft>
                        <a:buClrTx/>
                        <a:buSzTx/>
                        <a:buFontTx/>
                        <a:buNone/>
                        <a:tabLst/>
                        <a:defRPr/>
                      </a:pPr>
                      <a:r>
                        <a:rPr lang="en-US" altLang="zh-CN" sz="1200" b="1" kern="1200" dirty="0">
                          <a:solidFill>
                            <a:schemeClr val="tx1"/>
                          </a:solidFill>
                          <a:effectLst/>
                          <a:latin typeface="Arial Narrow" panose="020B0606020202030204" pitchFamily="34" charset="0"/>
                          <a:ea typeface="+mn-ea"/>
                          <a:cs typeface="Helvetica" panose="020B0604020202020204" pitchFamily="34" charset="0"/>
                        </a:rPr>
                        <a:t>0.0398</a:t>
                      </a:r>
                    </a:p>
                  </a:txBody>
                  <a:tcPr marL="64000" marR="64000" marT="48000" marB="48000">
                    <a:lnL>
                      <a:noFill/>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a:endParaRPr lang="en-US" sz="1100"/>
                    </a:p>
                  </a:txBody>
                  <a:tcPr>
                    <a:lnR w="12700" cap="flat" cmpd="sng" algn="ctr">
                      <a:noFill/>
                      <a:prstDash val="solid"/>
                      <a:round/>
                      <a:headEnd type="none" w="med" len="med"/>
                      <a:tailEnd type="none" w="med" len="med"/>
                    </a:lnR>
                  </a:tcPr>
                </a:tc>
                <a:extLst>
                  <a:ext uri="{0D108BD9-81ED-4DB2-BD59-A6C34878D82A}">
                    <a16:rowId xmlns:a16="http://schemas.microsoft.com/office/drawing/2014/main" val="1898936930"/>
                  </a:ext>
                </a:extLst>
              </a:tr>
            </a:tbl>
          </a:graphicData>
        </a:graphic>
      </p:graphicFrame>
      <p:grpSp>
        <p:nvGrpSpPr>
          <p:cNvPr id="1767" name="Graphic 2">
            <a:extLst>
              <a:ext uri="{FF2B5EF4-FFF2-40B4-BE49-F238E27FC236}">
                <a16:creationId xmlns:a16="http://schemas.microsoft.com/office/drawing/2014/main" id="{3E5CC143-CCB6-4E56-81E0-23DA9AEBAB1B}"/>
              </a:ext>
            </a:extLst>
          </p:cNvPr>
          <p:cNvGrpSpPr/>
          <p:nvPr/>
        </p:nvGrpSpPr>
        <p:grpSpPr>
          <a:xfrm>
            <a:off x="3125574" y="1828608"/>
            <a:ext cx="434451" cy="2616454"/>
            <a:chOff x="5060962" y="2400262"/>
            <a:chExt cx="185627" cy="1897999"/>
          </a:xfrm>
          <a:solidFill>
            <a:srgbClr val="000000"/>
          </a:solidFill>
        </p:grpSpPr>
        <p:sp>
          <p:nvSpPr>
            <p:cNvPr id="1768" name="TextBox 1767">
              <a:extLst>
                <a:ext uri="{FF2B5EF4-FFF2-40B4-BE49-F238E27FC236}">
                  <a16:creationId xmlns:a16="http://schemas.microsoft.com/office/drawing/2014/main" id="{EBBAFBCD-8A59-4A2D-A882-5E1BA77B7C10}"/>
                </a:ext>
              </a:extLst>
            </p:cNvPr>
            <p:cNvSpPr txBox="1"/>
            <p:nvPr/>
          </p:nvSpPr>
          <p:spPr>
            <a:xfrm>
              <a:off x="5135496" y="4112161"/>
              <a:ext cx="111093" cy="18610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solidFill>
                    <a:srgbClr val="000000"/>
                  </a:solidFill>
                  <a:effectLst/>
                  <a:uLnTx/>
                  <a:uFillTx/>
                  <a:latin typeface="Arial"/>
                  <a:ea typeface="+mn-ea"/>
                  <a:cs typeface="Arial"/>
                  <a:sym typeface="Arial"/>
                  <a:rtl val="0"/>
                </a:rPr>
                <a:t>0</a:t>
              </a:r>
            </a:p>
          </p:txBody>
        </p:sp>
        <p:sp>
          <p:nvSpPr>
            <p:cNvPr id="1769" name="TextBox 1768">
              <a:extLst>
                <a:ext uri="{FF2B5EF4-FFF2-40B4-BE49-F238E27FC236}">
                  <a16:creationId xmlns:a16="http://schemas.microsoft.com/office/drawing/2014/main" id="{B6F95615-DA45-4D62-877A-E9EE56132107}"/>
                </a:ext>
              </a:extLst>
            </p:cNvPr>
            <p:cNvSpPr txBox="1"/>
            <p:nvPr/>
          </p:nvSpPr>
          <p:spPr>
            <a:xfrm>
              <a:off x="5097024" y="2566512"/>
              <a:ext cx="143284" cy="18610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solidFill>
                    <a:srgbClr val="000000"/>
                  </a:solidFill>
                  <a:effectLst/>
                  <a:uLnTx/>
                  <a:uFillTx/>
                  <a:latin typeface="Arial"/>
                  <a:ea typeface="+mn-ea"/>
                  <a:cs typeface="Arial"/>
                  <a:sym typeface="Arial"/>
                  <a:rtl val="0"/>
                </a:rPr>
                <a:t>90</a:t>
              </a:r>
            </a:p>
          </p:txBody>
        </p:sp>
        <p:sp>
          <p:nvSpPr>
            <p:cNvPr id="1770" name="TextBox 1769">
              <a:extLst>
                <a:ext uri="{FF2B5EF4-FFF2-40B4-BE49-F238E27FC236}">
                  <a16:creationId xmlns:a16="http://schemas.microsoft.com/office/drawing/2014/main" id="{0DF35DE3-E239-4F1E-9440-D4B603A1D587}"/>
                </a:ext>
              </a:extLst>
            </p:cNvPr>
            <p:cNvSpPr txBox="1"/>
            <p:nvPr/>
          </p:nvSpPr>
          <p:spPr>
            <a:xfrm>
              <a:off x="5097024" y="2738302"/>
              <a:ext cx="143284" cy="18610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solidFill>
                    <a:srgbClr val="000000"/>
                  </a:solidFill>
                  <a:effectLst/>
                  <a:uLnTx/>
                  <a:uFillTx/>
                  <a:latin typeface="Arial"/>
                  <a:ea typeface="+mn-ea"/>
                  <a:cs typeface="Arial"/>
                  <a:sym typeface="Arial"/>
                  <a:rtl val="0"/>
                </a:rPr>
                <a:t>80</a:t>
              </a:r>
            </a:p>
          </p:txBody>
        </p:sp>
        <p:sp>
          <p:nvSpPr>
            <p:cNvPr id="1771" name="TextBox 1770">
              <a:extLst>
                <a:ext uri="{FF2B5EF4-FFF2-40B4-BE49-F238E27FC236}">
                  <a16:creationId xmlns:a16="http://schemas.microsoft.com/office/drawing/2014/main" id="{9AE8CFEF-E380-43A7-9F06-F5D6185F0370}"/>
                </a:ext>
              </a:extLst>
            </p:cNvPr>
            <p:cNvSpPr txBox="1"/>
            <p:nvPr/>
          </p:nvSpPr>
          <p:spPr>
            <a:xfrm>
              <a:off x="5097024" y="2909977"/>
              <a:ext cx="143284" cy="18610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solidFill>
                    <a:srgbClr val="000000"/>
                  </a:solidFill>
                  <a:effectLst/>
                  <a:uLnTx/>
                  <a:uFillTx/>
                  <a:latin typeface="Arial"/>
                  <a:ea typeface="+mn-ea"/>
                  <a:cs typeface="Arial"/>
                  <a:sym typeface="Arial"/>
                  <a:rtl val="0"/>
                </a:rPr>
                <a:t>70</a:t>
              </a:r>
            </a:p>
          </p:txBody>
        </p:sp>
        <p:sp>
          <p:nvSpPr>
            <p:cNvPr id="1772" name="TextBox 1771">
              <a:extLst>
                <a:ext uri="{FF2B5EF4-FFF2-40B4-BE49-F238E27FC236}">
                  <a16:creationId xmlns:a16="http://schemas.microsoft.com/office/drawing/2014/main" id="{D57ADA17-5382-4580-93C5-B60E1643FB39}"/>
                </a:ext>
              </a:extLst>
            </p:cNvPr>
            <p:cNvSpPr txBox="1"/>
            <p:nvPr/>
          </p:nvSpPr>
          <p:spPr>
            <a:xfrm>
              <a:off x="5097024" y="3081767"/>
              <a:ext cx="143284" cy="18610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solidFill>
                    <a:srgbClr val="000000"/>
                  </a:solidFill>
                  <a:effectLst/>
                  <a:uLnTx/>
                  <a:uFillTx/>
                  <a:latin typeface="Arial"/>
                  <a:ea typeface="+mn-ea"/>
                  <a:cs typeface="Arial"/>
                  <a:sym typeface="Arial"/>
                  <a:rtl val="0"/>
                </a:rPr>
                <a:t>60</a:t>
              </a:r>
            </a:p>
          </p:txBody>
        </p:sp>
        <p:sp>
          <p:nvSpPr>
            <p:cNvPr id="1773" name="TextBox 1772">
              <a:extLst>
                <a:ext uri="{FF2B5EF4-FFF2-40B4-BE49-F238E27FC236}">
                  <a16:creationId xmlns:a16="http://schemas.microsoft.com/office/drawing/2014/main" id="{D3F5815C-865C-4F48-A725-614E9230B283}"/>
                </a:ext>
              </a:extLst>
            </p:cNvPr>
            <p:cNvSpPr txBox="1"/>
            <p:nvPr/>
          </p:nvSpPr>
          <p:spPr>
            <a:xfrm>
              <a:off x="5097024" y="3253442"/>
              <a:ext cx="143284" cy="18610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solidFill>
                    <a:srgbClr val="000000"/>
                  </a:solidFill>
                  <a:effectLst/>
                  <a:uLnTx/>
                  <a:uFillTx/>
                  <a:latin typeface="Arial"/>
                  <a:ea typeface="+mn-ea"/>
                  <a:cs typeface="Arial"/>
                  <a:sym typeface="Arial"/>
                  <a:rtl val="0"/>
                </a:rPr>
                <a:t>50</a:t>
              </a:r>
            </a:p>
          </p:txBody>
        </p:sp>
        <p:sp>
          <p:nvSpPr>
            <p:cNvPr id="1774" name="TextBox 1773">
              <a:extLst>
                <a:ext uri="{FF2B5EF4-FFF2-40B4-BE49-F238E27FC236}">
                  <a16:creationId xmlns:a16="http://schemas.microsoft.com/office/drawing/2014/main" id="{5D7CC9B1-3478-4017-9AFD-22646B5A0CD0}"/>
                </a:ext>
              </a:extLst>
            </p:cNvPr>
            <p:cNvSpPr txBox="1"/>
            <p:nvPr/>
          </p:nvSpPr>
          <p:spPr>
            <a:xfrm>
              <a:off x="5097024" y="3425231"/>
              <a:ext cx="143284" cy="18610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solidFill>
                    <a:srgbClr val="000000"/>
                  </a:solidFill>
                  <a:effectLst/>
                  <a:uLnTx/>
                  <a:uFillTx/>
                  <a:latin typeface="Arial"/>
                  <a:ea typeface="+mn-ea"/>
                  <a:cs typeface="Arial"/>
                  <a:sym typeface="Arial"/>
                  <a:rtl val="0"/>
                </a:rPr>
                <a:t>40</a:t>
              </a:r>
            </a:p>
          </p:txBody>
        </p:sp>
        <p:sp>
          <p:nvSpPr>
            <p:cNvPr id="1775" name="TextBox 1774">
              <a:extLst>
                <a:ext uri="{FF2B5EF4-FFF2-40B4-BE49-F238E27FC236}">
                  <a16:creationId xmlns:a16="http://schemas.microsoft.com/office/drawing/2014/main" id="{02B1CBA6-4847-4728-B3F9-EB0C6BF07297}"/>
                </a:ext>
              </a:extLst>
            </p:cNvPr>
            <p:cNvSpPr txBox="1"/>
            <p:nvPr/>
          </p:nvSpPr>
          <p:spPr>
            <a:xfrm>
              <a:off x="5097024" y="3597021"/>
              <a:ext cx="143284" cy="18610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solidFill>
                    <a:srgbClr val="000000"/>
                  </a:solidFill>
                  <a:effectLst/>
                  <a:uLnTx/>
                  <a:uFillTx/>
                  <a:latin typeface="Arial"/>
                  <a:ea typeface="+mn-ea"/>
                  <a:cs typeface="Arial"/>
                  <a:sym typeface="Arial"/>
                  <a:rtl val="0"/>
                </a:rPr>
                <a:t>30</a:t>
              </a:r>
            </a:p>
          </p:txBody>
        </p:sp>
        <p:sp>
          <p:nvSpPr>
            <p:cNvPr id="1776" name="TextBox 1775">
              <a:extLst>
                <a:ext uri="{FF2B5EF4-FFF2-40B4-BE49-F238E27FC236}">
                  <a16:creationId xmlns:a16="http://schemas.microsoft.com/office/drawing/2014/main" id="{7B83355E-1E06-4CAA-B424-7EBE1B7162D5}"/>
                </a:ext>
              </a:extLst>
            </p:cNvPr>
            <p:cNvSpPr txBox="1"/>
            <p:nvPr/>
          </p:nvSpPr>
          <p:spPr>
            <a:xfrm>
              <a:off x="5097024" y="3768696"/>
              <a:ext cx="143284" cy="18610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solidFill>
                    <a:srgbClr val="000000"/>
                  </a:solidFill>
                  <a:effectLst/>
                  <a:uLnTx/>
                  <a:uFillTx/>
                  <a:latin typeface="Arial"/>
                  <a:ea typeface="+mn-ea"/>
                  <a:cs typeface="Arial"/>
                  <a:sym typeface="Arial"/>
                  <a:rtl val="0"/>
                </a:rPr>
                <a:t>20</a:t>
              </a:r>
            </a:p>
          </p:txBody>
        </p:sp>
        <p:sp>
          <p:nvSpPr>
            <p:cNvPr id="1777" name="TextBox 1776">
              <a:extLst>
                <a:ext uri="{FF2B5EF4-FFF2-40B4-BE49-F238E27FC236}">
                  <a16:creationId xmlns:a16="http://schemas.microsoft.com/office/drawing/2014/main" id="{98DB59BA-9D3D-4DDB-80E2-7E3A4CFEC9DD}"/>
                </a:ext>
              </a:extLst>
            </p:cNvPr>
            <p:cNvSpPr txBox="1"/>
            <p:nvPr/>
          </p:nvSpPr>
          <p:spPr>
            <a:xfrm>
              <a:off x="5097024" y="3940486"/>
              <a:ext cx="143284" cy="18610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solidFill>
                    <a:srgbClr val="000000"/>
                  </a:solidFill>
                  <a:effectLst/>
                  <a:uLnTx/>
                  <a:uFillTx/>
                  <a:latin typeface="Arial"/>
                  <a:ea typeface="+mn-ea"/>
                  <a:cs typeface="Arial"/>
                  <a:sym typeface="Arial"/>
                  <a:rtl val="0"/>
                </a:rPr>
                <a:t>10</a:t>
              </a:r>
            </a:p>
          </p:txBody>
        </p:sp>
        <p:sp>
          <p:nvSpPr>
            <p:cNvPr id="1778" name="TextBox 1777">
              <a:extLst>
                <a:ext uri="{FF2B5EF4-FFF2-40B4-BE49-F238E27FC236}">
                  <a16:creationId xmlns:a16="http://schemas.microsoft.com/office/drawing/2014/main" id="{9AE6653B-5B07-4D90-804E-ECF06B2DF27A}"/>
                </a:ext>
              </a:extLst>
            </p:cNvPr>
            <p:cNvSpPr txBox="1"/>
            <p:nvPr/>
          </p:nvSpPr>
          <p:spPr>
            <a:xfrm>
              <a:off x="5060962" y="2400262"/>
              <a:ext cx="175475" cy="18610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solidFill>
                    <a:srgbClr val="000000"/>
                  </a:solidFill>
                  <a:effectLst/>
                  <a:uLnTx/>
                  <a:uFillTx/>
                  <a:latin typeface="Arial"/>
                  <a:ea typeface="+mn-ea"/>
                  <a:cs typeface="Arial"/>
                  <a:sym typeface="Arial"/>
                  <a:rtl val="0"/>
                </a:rPr>
                <a:t>100</a:t>
              </a:r>
            </a:p>
          </p:txBody>
        </p:sp>
      </p:grpSp>
      <p:sp>
        <p:nvSpPr>
          <p:cNvPr id="1779" name="TextBox 1778">
            <a:extLst>
              <a:ext uri="{FF2B5EF4-FFF2-40B4-BE49-F238E27FC236}">
                <a16:creationId xmlns:a16="http://schemas.microsoft.com/office/drawing/2014/main" id="{C32F9AD9-C155-4870-B45F-9A857A51D3E4}"/>
              </a:ext>
            </a:extLst>
          </p:cNvPr>
          <p:cNvSpPr txBox="1"/>
          <p:nvPr/>
        </p:nvSpPr>
        <p:spPr>
          <a:xfrm>
            <a:off x="5688549" y="4537615"/>
            <a:ext cx="1122102" cy="25654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15" normalizeH="0" baseline="0" noProof="0" dirty="0">
                <a:ln/>
                <a:solidFill>
                  <a:srgbClr val="000000"/>
                </a:solidFill>
                <a:effectLst/>
                <a:uLnTx/>
                <a:uFillTx/>
                <a:latin typeface="Arial"/>
                <a:ea typeface="+mn-ea"/>
                <a:cs typeface="Arial"/>
                <a:sym typeface="Arial"/>
                <a:rtl val="0"/>
              </a:rPr>
              <a:t>T</a:t>
            </a:r>
            <a:r>
              <a:rPr kumimoji="0" lang="en-US" sz="1067" b="1" i="0" u="none" strike="noStrike" kern="1200" cap="none" spc="0" normalizeH="0" baseline="0" noProof="0" dirty="0">
                <a:ln/>
                <a:solidFill>
                  <a:srgbClr val="000000"/>
                </a:solidFill>
                <a:effectLst/>
                <a:uLnTx/>
                <a:uFillTx/>
                <a:latin typeface="Arial"/>
                <a:ea typeface="+mn-ea"/>
                <a:cs typeface="Arial"/>
                <a:sym typeface="Arial"/>
                <a:rtl val="0"/>
              </a:rPr>
              <a:t>ime (months)</a:t>
            </a:r>
          </a:p>
        </p:txBody>
      </p:sp>
      <p:sp>
        <p:nvSpPr>
          <p:cNvPr id="1780" name="TextBox 1779">
            <a:extLst>
              <a:ext uri="{FF2B5EF4-FFF2-40B4-BE49-F238E27FC236}">
                <a16:creationId xmlns:a16="http://schemas.microsoft.com/office/drawing/2014/main" id="{8CA447C6-4AF8-425F-A51E-CE30B71D83BB}"/>
              </a:ext>
            </a:extLst>
          </p:cNvPr>
          <p:cNvSpPr txBox="1"/>
          <p:nvPr/>
        </p:nvSpPr>
        <p:spPr>
          <a:xfrm rot="16200000">
            <a:off x="1923646" y="2936831"/>
            <a:ext cx="2201244" cy="25654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dirty="0">
                <a:ln/>
                <a:solidFill>
                  <a:srgbClr val="000000"/>
                </a:solidFill>
                <a:effectLst/>
                <a:uLnTx/>
                <a:uFillTx/>
                <a:latin typeface="Arial"/>
                <a:ea typeface="+mn-ea"/>
                <a:cs typeface="Arial"/>
                <a:sym typeface="Arial"/>
                <a:rtl val="0"/>
              </a:rPr>
              <a:t>Overall Survival probability (%)</a:t>
            </a:r>
          </a:p>
        </p:txBody>
      </p:sp>
      <p:grpSp>
        <p:nvGrpSpPr>
          <p:cNvPr id="1781" name="Graphic 2">
            <a:extLst>
              <a:ext uri="{FF2B5EF4-FFF2-40B4-BE49-F238E27FC236}">
                <a16:creationId xmlns:a16="http://schemas.microsoft.com/office/drawing/2014/main" id="{7E2A2993-12EB-4A12-914A-BA06F0E99582}"/>
              </a:ext>
            </a:extLst>
          </p:cNvPr>
          <p:cNvGrpSpPr/>
          <p:nvPr/>
        </p:nvGrpSpPr>
        <p:grpSpPr>
          <a:xfrm>
            <a:off x="3623179" y="4357980"/>
            <a:ext cx="5576826" cy="256545"/>
            <a:chOff x="5300410" y="4243757"/>
            <a:chExt cx="2382799" cy="186100"/>
          </a:xfrm>
          <a:solidFill>
            <a:srgbClr val="000000"/>
          </a:solidFill>
        </p:grpSpPr>
        <p:sp>
          <p:nvSpPr>
            <p:cNvPr id="1782" name="TextBox 1781">
              <a:extLst>
                <a:ext uri="{FF2B5EF4-FFF2-40B4-BE49-F238E27FC236}">
                  <a16:creationId xmlns:a16="http://schemas.microsoft.com/office/drawing/2014/main" id="{01C25000-6C35-48F0-8ED1-18B1388F78FE}"/>
                </a:ext>
              </a:extLst>
            </p:cNvPr>
            <p:cNvSpPr txBox="1"/>
            <p:nvPr/>
          </p:nvSpPr>
          <p:spPr>
            <a:xfrm>
              <a:off x="5300410" y="4243757"/>
              <a:ext cx="111093" cy="18610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solidFill>
                    <a:srgbClr val="000000"/>
                  </a:solidFill>
                  <a:effectLst/>
                  <a:uLnTx/>
                  <a:uFillTx/>
                  <a:latin typeface="Arial"/>
                  <a:ea typeface="+mn-ea"/>
                  <a:cs typeface="Arial"/>
                  <a:sym typeface="Arial"/>
                  <a:rtl val="0"/>
                </a:rPr>
                <a:t>0</a:t>
              </a:r>
            </a:p>
          </p:txBody>
        </p:sp>
        <p:sp>
          <p:nvSpPr>
            <p:cNvPr id="1783" name="TextBox 1782">
              <a:extLst>
                <a:ext uri="{FF2B5EF4-FFF2-40B4-BE49-F238E27FC236}">
                  <a16:creationId xmlns:a16="http://schemas.microsoft.com/office/drawing/2014/main" id="{37391C9A-EC40-4448-BEDF-EE4E64E107CB}"/>
                </a:ext>
              </a:extLst>
            </p:cNvPr>
            <p:cNvSpPr txBox="1"/>
            <p:nvPr/>
          </p:nvSpPr>
          <p:spPr>
            <a:xfrm>
              <a:off x="7414451" y="4243757"/>
              <a:ext cx="143283" cy="18610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solidFill>
                    <a:srgbClr val="000000"/>
                  </a:solidFill>
                  <a:effectLst/>
                  <a:uLnTx/>
                  <a:uFillTx/>
                  <a:latin typeface="Arial"/>
                  <a:ea typeface="+mn-ea"/>
                  <a:cs typeface="Arial"/>
                  <a:sym typeface="Arial"/>
                  <a:rtl val="0"/>
                </a:rPr>
                <a:t>51</a:t>
              </a:r>
            </a:p>
          </p:txBody>
        </p:sp>
        <p:sp>
          <p:nvSpPr>
            <p:cNvPr id="1784" name="TextBox 1783">
              <a:extLst>
                <a:ext uri="{FF2B5EF4-FFF2-40B4-BE49-F238E27FC236}">
                  <a16:creationId xmlns:a16="http://schemas.microsoft.com/office/drawing/2014/main" id="{79EC67EF-0C20-4A4F-BEE4-A3BAB03AC281}"/>
                </a:ext>
              </a:extLst>
            </p:cNvPr>
            <p:cNvSpPr txBox="1"/>
            <p:nvPr/>
          </p:nvSpPr>
          <p:spPr>
            <a:xfrm>
              <a:off x="7288977" y="4243757"/>
              <a:ext cx="143283" cy="18610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solidFill>
                    <a:srgbClr val="000000"/>
                  </a:solidFill>
                  <a:effectLst/>
                  <a:uLnTx/>
                  <a:uFillTx/>
                  <a:latin typeface="Arial"/>
                  <a:ea typeface="+mn-ea"/>
                  <a:cs typeface="Arial"/>
                  <a:sym typeface="Arial"/>
                  <a:rtl val="0"/>
                </a:rPr>
                <a:t>48</a:t>
              </a:r>
            </a:p>
          </p:txBody>
        </p:sp>
        <p:sp>
          <p:nvSpPr>
            <p:cNvPr id="1785" name="TextBox 1784">
              <a:extLst>
                <a:ext uri="{FF2B5EF4-FFF2-40B4-BE49-F238E27FC236}">
                  <a16:creationId xmlns:a16="http://schemas.microsoft.com/office/drawing/2014/main" id="{03D584A6-5FA0-445A-B781-0B21EF18CB09}"/>
                </a:ext>
              </a:extLst>
            </p:cNvPr>
            <p:cNvSpPr txBox="1"/>
            <p:nvPr/>
          </p:nvSpPr>
          <p:spPr>
            <a:xfrm>
              <a:off x="7163502" y="4243757"/>
              <a:ext cx="143283" cy="18610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solidFill>
                    <a:srgbClr val="000000"/>
                  </a:solidFill>
                  <a:effectLst/>
                  <a:uLnTx/>
                  <a:uFillTx/>
                  <a:latin typeface="Arial"/>
                  <a:ea typeface="+mn-ea"/>
                  <a:cs typeface="Arial"/>
                  <a:sym typeface="Arial"/>
                  <a:rtl val="0"/>
                </a:rPr>
                <a:t>45</a:t>
              </a:r>
            </a:p>
          </p:txBody>
        </p:sp>
        <p:sp>
          <p:nvSpPr>
            <p:cNvPr id="1786" name="TextBox 1785">
              <a:extLst>
                <a:ext uri="{FF2B5EF4-FFF2-40B4-BE49-F238E27FC236}">
                  <a16:creationId xmlns:a16="http://schemas.microsoft.com/office/drawing/2014/main" id="{D1380AEA-B401-48C4-BE1E-8B55020DAF0A}"/>
                </a:ext>
              </a:extLst>
            </p:cNvPr>
            <p:cNvSpPr txBox="1"/>
            <p:nvPr/>
          </p:nvSpPr>
          <p:spPr>
            <a:xfrm>
              <a:off x="7038028" y="4243757"/>
              <a:ext cx="143283" cy="18610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solidFill>
                    <a:srgbClr val="000000"/>
                  </a:solidFill>
                  <a:effectLst/>
                  <a:uLnTx/>
                  <a:uFillTx/>
                  <a:latin typeface="Arial"/>
                  <a:ea typeface="+mn-ea"/>
                  <a:cs typeface="Arial"/>
                  <a:sym typeface="Arial"/>
                  <a:rtl val="0"/>
                </a:rPr>
                <a:t>42</a:t>
              </a:r>
            </a:p>
          </p:txBody>
        </p:sp>
        <p:sp>
          <p:nvSpPr>
            <p:cNvPr id="1787" name="TextBox 1786">
              <a:extLst>
                <a:ext uri="{FF2B5EF4-FFF2-40B4-BE49-F238E27FC236}">
                  <a16:creationId xmlns:a16="http://schemas.microsoft.com/office/drawing/2014/main" id="{E3766912-71E0-46A4-AB0F-C1B7E7BEEA6F}"/>
                </a:ext>
              </a:extLst>
            </p:cNvPr>
            <p:cNvSpPr txBox="1"/>
            <p:nvPr/>
          </p:nvSpPr>
          <p:spPr>
            <a:xfrm>
              <a:off x="6912553" y="4243757"/>
              <a:ext cx="143283" cy="18610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solidFill>
                    <a:srgbClr val="000000"/>
                  </a:solidFill>
                  <a:effectLst/>
                  <a:uLnTx/>
                  <a:uFillTx/>
                  <a:latin typeface="Arial"/>
                  <a:ea typeface="+mn-ea"/>
                  <a:cs typeface="Arial"/>
                  <a:sym typeface="Arial"/>
                  <a:rtl val="0"/>
                </a:rPr>
                <a:t>39</a:t>
              </a:r>
            </a:p>
          </p:txBody>
        </p:sp>
        <p:sp>
          <p:nvSpPr>
            <p:cNvPr id="1788" name="TextBox 1787">
              <a:extLst>
                <a:ext uri="{FF2B5EF4-FFF2-40B4-BE49-F238E27FC236}">
                  <a16:creationId xmlns:a16="http://schemas.microsoft.com/office/drawing/2014/main" id="{B7D30AD9-75DB-4C2A-BDF6-452C539AB4FA}"/>
                </a:ext>
              </a:extLst>
            </p:cNvPr>
            <p:cNvSpPr txBox="1"/>
            <p:nvPr/>
          </p:nvSpPr>
          <p:spPr>
            <a:xfrm>
              <a:off x="6787079" y="4243757"/>
              <a:ext cx="143283" cy="18610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solidFill>
                    <a:srgbClr val="000000"/>
                  </a:solidFill>
                  <a:effectLst/>
                  <a:uLnTx/>
                  <a:uFillTx/>
                  <a:latin typeface="Arial"/>
                  <a:ea typeface="+mn-ea"/>
                  <a:cs typeface="Arial"/>
                  <a:sym typeface="Arial"/>
                  <a:rtl val="0"/>
                </a:rPr>
                <a:t>36</a:t>
              </a:r>
            </a:p>
          </p:txBody>
        </p:sp>
        <p:sp>
          <p:nvSpPr>
            <p:cNvPr id="1789" name="TextBox 1788">
              <a:extLst>
                <a:ext uri="{FF2B5EF4-FFF2-40B4-BE49-F238E27FC236}">
                  <a16:creationId xmlns:a16="http://schemas.microsoft.com/office/drawing/2014/main" id="{C24D3B44-0508-43EB-93A3-C6F525313B83}"/>
                </a:ext>
              </a:extLst>
            </p:cNvPr>
            <p:cNvSpPr txBox="1"/>
            <p:nvPr/>
          </p:nvSpPr>
          <p:spPr>
            <a:xfrm>
              <a:off x="6661604" y="4243757"/>
              <a:ext cx="143283" cy="18610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solidFill>
                    <a:srgbClr val="000000"/>
                  </a:solidFill>
                  <a:effectLst/>
                  <a:uLnTx/>
                  <a:uFillTx/>
                  <a:latin typeface="Arial"/>
                  <a:ea typeface="+mn-ea"/>
                  <a:cs typeface="Arial"/>
                  <a:sym typeface="Arial"/>
                  <a:rtl val="0"/>
                </a:rPr>
                <a:t>33</a:t>
              </a:r>
            </a:p>
          </p:txBody>
        </p:sp>
        <p:sp>
          <p:nvSpPr>
            <p:cNvPr id="1790" name="TextBox 1789">
              <a:extLst>
                <a:ext uri="{FF2B5EF4-FFF2-40B4-BE49-F238E27FC236}">
                  <a16:creationId xmlns:a16="http://schemas.microsoft.com/office/drawing/2014/main" id="{162A080C-4152-41D6-93BC-15BDCF4A225A}"/>
                </a:ext>
              </a:extLst>
            </p:cNvPr>
            <p:cNvSpPr txBox="1"/>
            <p:nvPr/>
          </p:nvSpPr>
          <p:spPr>
            <a:xfrm>
              <a:off x="6536130" y="4243757"/>
              <a:ext cx="143283" cy="18610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solidFill>
                    <a:srgbClr val="000000"/>
                  </a:solidFill>
                  <a:effectLst/>
                  <a:uLnTx/>
                  <a:uFillTx/>
                  <a:latin typeface="Arial"/>
                  <a:ea typeface="+mn-ea"/>
                  <a:cs typeface="Arial"/>
                  <a:sym typeface="Arial"/>
                  <a:rtl val="0"/>
                </a:rPr>
                <a:t>30</a:t>
              </a:r>
            </a:p>
          </p:txBody>
        </p:sp>
        <p:sp>
          <p:nvSpPr>
            <p:cNvPr id="1791" name="TextBox 1790">
              <a:extLst>
                <a:ext uri="{FF2B5EF4-FFF2-40B4-BE49-F238E27FC236}">
                  <a16:creationId xmlns:a16="http://schemas.microsoft.com/office/drawing/2014/main" id="{26CC0AED-BA10-458D-9078-1336934A2CEC}"/>
                </a:ext>
              </a:extLst>
            </p:cNvPr>
            <p:cNvSpPr txBox="1"/>
            <p:nvPr/>
          </p:nvSpPr>
          <p:spPr>
            <a:xfrm>
              <a:off x="6410655" y="4243757"/>
              <a:ext cx="143283" cy="18610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solidFill>
                    <a:srgbClr val="000000"/>
                  </a:solidFill>
                  <a:effectLst/>
                  <a:uLnTx/>
                  <a:uFillTx/>
                  <a:latin typeface="Arial"/>
                  <a:ea typeface="+mn-ea"/>
                  <a:cs typeface="Arial"/>
                  <a:sym typeface="Arial"/>
                  <a:rtl val="0"/>
                </a:rPr>
                <a:t>27</a:t>
              </a:r>
            </a:p>
          </p:txBody>
        </p:sp>
        <p:sp>
          <p:nvSpPr>
            <p:cNvPr id="1792" name="TextBox 1791">
              <a:extLst>
                <a:ext uri="{FF2B5EF4-FFF2-40B4-BE49-F238E27FC236}">
                  <a16:creationId xmlns:a16="http://schemas.microsoft.com/office/drawing/2014/main" id="{D344C61F-B70E-48DC-853C-46978E5CF54A}"/>
                </a:ext>
              </a:extLst>
            </p:cNvPr>
            <p:cNvSpPr txBox="1"/>
            <p:nvPr/>
          </p:nvSpPr>
          <p:spPr>
            <a:xfrm>
              <a:off x="6285181" y="4243757"/>
              <a:ext cx="143283" cy="18610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solidFill>
                    <a:srgbClr val="000000"/>
                  </a:solidFill>
                  <a:effectLst/>
                  <a:uLnTx/>
                  <a:uFillTx/>
                  <a:latin typeface="Arial"/>
                  <a:ea typeface="+mn-ea"/>
                  <a:cs typeface="Arial"/>
                  <a:sym typeface="Arial"/>
                  <a:rtl val="0"/>
                </a:rPr>
                <a:t>24</a:t>
              </a:r>
            </a:p>
          </p:txBody>
        </p:sp>
        <p:sp>
          <p:nvSpPr>
            <p:cNvPr id="1793" name="TextBox 1792">
              <a:extLst>
                <a:ext uri="{FF2B5EF4-FFF2-40B4-BE49-F238E27FC236}">
                  <a16:creationId xmlns:a16="http://schemas.microsoft.com/office/drawing/2014/main" id="{422E0321-C398-4584-8D69-8569E00B5FDB}"/>
                </a:ext>
              </a:extLst>
            </p:cNvPr>
            <p:cNvSpPr txBox="1"/>
            <p:nvPr/>
          </p:nvSpPr>
          <p:spPr>
            <a:xfrm>
              <a:off x="6159820" y="4243757"/>
              <a:ext cx="143283" cy="18610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solidFill>
                    <a:srgbClr val="000000"/>
                  </a:solidFill>
                  <a:effectLst/>
                  <a:uLnTx/>
                  <a:uFillTx/>
                  <a:latin typeface="Arial"/>
                  <a:ea typeface="+mn-ea"/>
                  <a:cs typeface="Arial"/>
                  <a:sym typeface="Arial"/>
                  <a:rtl val="0"/>
                </a:rPr>
                <a:t>21</a:t>
              </a:r>
            </a:p>
          </p:txBody>
        </p:sp>
        <p:sp>
          <p:nvSpPr>
            <p:cNvPr id="1794" name="TextBox 1793">
              <a:extLst>
                <a:ext uri="{FF2B5EF4-FFF2-40B4-BE49-F238E27FC236}">
                  <a16:creationId xmlns:a16="http://schemas.microsoft.com/office/drawing/2014/main" id="{6A3D4253-D31D-443A-83F4-FF0F0DE8A44F}"/>
                </a:ext>
              </a:extLst>
            </p:cNvPr>
            <p:cNvSpPr txBox="1"/>
            <p:nvPr/>
          </p:nvSpPr>
          <p:spPr>
            <a:xfrm>
              <a:off x="6034345" y="4243757"/>
              <a:ext cx="143283" cy="18610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solidFill>
                    <a:srgbClr val="000000"/>
                  </a:solidFill>
                  <a:effectLst/>
                  <a:uLnTx/>
                  <a:uFillTx/>
                  <a:latin typeface="Arial"/>
                  <a:ea typeface="+mn-ea"/>
                  <a:cs typeface="Arial"/>
                  <a:sym typeface="Arial"/>
                  <a:rtl val="0"/>
                </a:rPr>
                <a:t>18</a:t>
              </a:r>
            </a:p>
          </p:txBody>
        </p:sp>
        <p:sp>
          <p:nvSpPr>
            <p:cNvPr id="1795" name="TextBox 1794">
              <a:extLst>
                <a:ext uri="{FF2B5EF4-FFF2-40B4-BE49-F238E27FC236}">
                  <a16:creationId xmlns:a16="http://schemas.microsoft.com/office/drawing/2014/main" id="{01981A19-5F1C-419B-BC09-E85E2C31F62E}"/>
                </a:ext>
              </a:extLst>
            </p:cNvPr>
            <p:cNvSpPr txBox="1"/>
            <p:nvPr/>
          </p:nvSpPr>
          <p:spPr>
            <a:xfrm>
              <a:off x="5908871" y="4243757"/>
              <a:ext cx="143283" cy="18610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solidFill>
                    <a:srgbClr val="000000"/>
                  </a:solidFill>
                  <a:effectLst/>
                  <a:uLnTx/>
                  <a:uFillTx/>
                  <a:latin typeface="Arial"/>
                  <a:ea typeface="+mn-ea"/>
                  <a:cs typeface="Arial"/>
                  <a:sym typeface="Arial"/>
                  <a:rtl val="0"/>
                </a:rPr>
                <a:t>15</a:t>
              </a:r>
            </a:p>
          </p:txBody>
        </p:sp>
        <p:sp>
          <p:nvSpPr>
            <p:cNvPr id="1796" name="TextBox 1795">
              <a:extLst>
                <a:ext uri="{FF2B5EF4-FFF2-40B4-BE49-F238E27FC236}">
                  <a16:creationId xmlns:a16="http://schemas.microsoft.com/office/drawing/2014/main" id="{C4CC9206-A9B7-4BE3-835B-BA7352703EFD}"/>
                </a:ext>
              </a:extLst>
            </p:cNvPr>
            <p:cNvSpPr txBox="1"/>
            <p:nvPr/>
          </p:nvSpPr>
          <p:spPr>
            <a:xfrm>
              <a:off x="5783396" y="4243757"/>
              <a:ext cx="143283" cy="18610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solidFill>
                    <a:srgbClr val="000000"/>
                  </a:solidFill>
                  <a:effectLst/>
                  <a:uLnTx/>
                  <a:uFillTx/>
                  <a:latin typeface="Arial"/>
                  <a:ea typeface="+mn-ea"/>
                  <a:cs typeface="Arial"/>
                  <a:sym typeface="Arial"/>
                  <a:rtl val="0"/>
                </a:rPr>
                <a:t>12</a:t>
              </a:r>
            </a:p>
          </p:txBody>
        </p:sp>
        <p:sp>
          <p:nvSpPr>
            <p:cNvPr id="1797" name="TextBox 1796">
              <a:extLst>
                <a:ext uri="{FF2B5EF4-FFF2-40B4-BE49-F238E27FC236}">
                  <a16:creationId xmlns:a16="http://schemas.microsoft.com/office/drawing/2014/main" id="{4C201F34-F80E-44B7-86F8-0EC0AE304261}"/>
                </a:ext>
              </a:extLst>
            </p:cNvPr>
            <p:cNvSpPr txBox="1"/>
            <p:nvPr/>
          </p:nvSpPr>
          <p:spPr>
            <a:xfrm>
              <a:off x="5676834" y="4243757"/>
              <a:ext cx="111093" cy="18610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solidFill>
                    <a:srgbClr val="000000"/>
                  </a:solidFill>
                  <a:effectLst/>
                  <a:uLnTx/>
                  <a:uFillTx/>
                  <a:latin typeface="Arial"/>
                  <a:ea typeface="+mn-ea"/>
                  <a:cs typeface="Arial"/>
                  <a:sym typeface="Arial"/>
                  <a:rtl val="0"/>
                </a:rPr>
                <a:t>9</a:t>
              </a:r>
            </a:p>
          </p:txBody>
        </p:sp>
        <p:sp>
          <p:nvSpPr>
            <p:cNvPr id="1798" name="TextBox 1797">
              <a:extLst>
                <a:ext uri="{FF2B5EF4-FFF2-40B4-BE49-F238E27FC236}">
                  <a16:creationId xmlns:a16="http://schemas.microsoft.com/office/drawing/2014/main" id="{7D144137-842F-42DC-8395-01524748FABE}"/>
                </a:ext>
              </a:extLst>
            </p:cNvPr>
            <p:cNvSpPr txBox="1"/>
            <p:nvPr/>
          </p:nvSpPr>
          <p:spPr>
            <a:xfrm>
              <a:off x="5551359" y="4243757"/>
              <a:ext cx="111093" cy="18610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solidFill>
                    <a:srgbClr val="000000"/>
                  </a:solidFill>
                  <a:effectLst/>
                  <a:uLnTx/>
                  <a:uFillTx/>
                  <a:latin typeface="Arial"/>
                  <a:ea typeface="+mn-ea"/>
                  <a:cs typeface="Arial"/>
                  <a:sym typeface="Arial"/>
                  <a:rtl val="0"/>
                </a:rPr>
                <a:t>6</a:t>
              </a:r>
            </a:p>
          </p:txBody>
        </p:sp>
        <p:sp>
          <p:nvSpPr>
            <p:cNvPr id="1799" name="TextBox 1798">
              <a:extLst>
                <a:ext uri="{FF2B5EF4-FFF2-40B4-BE49-F238E27FC236}">
                  <a16:creationId xmlns:a16="http://schemas.microsoft.com/office/drawing/2014/main" id="{3AB44444-40B8-4268-A020-E9384989F6C9}"/>
                </a:ext>
              </a:extLst>
            </p:cNvPr>
            <p:cNvSpPr txBox="1"/>
            <p:nvPr/>
          </p:nvSpPr>
          <p:spPr>
            <a:xfrm>
              <a:off x="5425885" y="4243757"/>
              <a:ext cx="111093" cy="18610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solidFill>
                    <a:srgbClr val="000000"/>
                  </a:solidFill>
                  <a:effectLst/>
                  <a:uLnTx/>
                  <a:uFillTx/>
                  <a:latin typeface="Arial"/>
                  <a:ea typeface="+mn-ea"/>
                  <a:cs typeface="Arial"/>
                  <a:sym typeface="Arial"/>
                  <a:rtl val="0"/>
                </a:rPr>
                <a:t>3</a:t>
              </a:r>
            </a:p>
          </p:txBody>
        </p:sp>
        <p:sp>
          <p:nvSpPr>
            <p:cNvPr id="1800" name="TextBox 1799">
              <a:extLst>
                <a:ext uri="{FF2B5EF4-FFF2-40B4-BE49-F238E27FC236}">
                  <a16:creationId xmlns:a16="http://schemas.microsoft.com/office/drawing/2014/main" id="{14497240-408E-4FBB-B634-7A67F641D5E9}"/>
                </a:ext>
              </a:extLst>
            </p:cNvPr>
            <p:cNvSpPr txBox="1"/>
            <p:nvPr/>
          </p:nvSpPr>
          <p:spPr>
            <a:xfrm>
              <a:off x="7539926" y="4243757"/>
              <a:ext cx="143283" cy="18610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solidFill>
                    <a:srgbClr val="000000"/>
                  </a:solidFill>
                  <a:effectLst/>
                  <a:uLnTx/>
                  <a:uFillTx/>
                  <a:latin typeface="Arial"/>
                  <a:ea typeface="+mn-ea"/>
                  <a:cs typeface="Arial"/>
                  <a:sym typeface="Arial"/>
                  <a:rtl val="0"/>
                </a:rPr>
                <a:t>54</a:t>
              </a:r>
            </a:p>
          </p:txBody>
        </p:sp>
      </p:grpSp>
      <p:grpSp>
        <p:nvGrpSpPr>
          <p:cNvPr id="1801" name="Graphic 2">
            <a:extLst>
              <a:ext uri="{FF2B5EF4-FFF2-40B4-BE49-F238E27FC236}">
                <a16:creationId xmlns:a16="http://schemas.microsoft.com/office/drawing/2014/main" id="{4C820DD9-929C-41D9-A1FD-AE6FCB60AA3C}"/>
              </a:ext>
            </a:extLst>
          </p:cNvPr>
          <p:cNvGrpSpPr/>
          <p:nvPr/>
        </p:nvGrpSpPr>
        <p:grpSpPr>
          <a:xfrm>
            <a:off x="2580503" y="4846692"/>
            <a:ext cx="6592134" cy="256545"/>
            <a:chOff x="4854908" y="4581431"/>
            <a:chExt cx="2816608" cy="186100"/>
          </a:xfrm>
          <a:solidFill>
            <a:srgbClr val="000000"/>
          </a:solidFill>
        </p:grpSpPr>
        <p:sp>
          <p:nvSpPr>
            <p:cNvPr id="1802" name="TextBox 1801">
              <a:extLst>
                <a:ext uri="{FF2B5EF4-FFF2-40B4-BE49-F238E27FC236}">
                  <a16:creationId xmlns:a16="http://schemas.microsoft.com/office/drawing/2014/main" id="{B5F9CBB9-5E97-4404-929B-5ECC6877C9EF}"/>
                </a:ext>
              </a:extLst>
            </p:cNvPr>
            <p:cNvSpPr txBox="1"/>
            <p:nvPr/>
          </p:nvSpPr>
          <p:spPr>
            <a:xfrm>
              <a:off x="5267343" y="4581431"/>
              <a:ext cx="175475" cy="18610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solidFill>
                    <a:srgbClr val="000000"/>
                  </a:solidFill>
                  <a:effectLst/>
                  <a:uLnTx/>
                  <a:uFillTx/>
                  <a:latin typeface="Arial"/>
                  <a:ea typeface="+mn-ea"/>
                  <a:cs typeface="Arial"/>
                  <a:sym typeface="Arial"/>
                  <a:rtl val="0"/>
                </a:rPr>
                <a:t>342</a:t>
              </a:r>
            </a:p>
          </p:txBody>
        </p:sp>
        <p:sp>
          <p:nvSpPr>
            <p:cNvPr id="1803" name="TextBox 1802">
              <a:extLst>
                <a:ext uri="{FF2B5EF4-FFF2-40B4-BE49-F238E27FC236}">
                  <a16:creationId xmlns:a16="http://schemas.microsoft.com/office/drawing/2014/main" id="{BFF291A8-0F62-45EA-B41F-B4A8EFC59D11}"/>
                </a:ext>
              </a:extLst>
            </p:cNvPr>
            <p:cNvSpPr txBox="1"/>
            <p:nvPr/>
          </p:nvSpPr>
          <p:spPr>
            <a:xfrm>
              <a:off x="7434948" y="4581431"/>
              <a:ext cx="111093" cy="18610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solidFill>
                    <a:srgbClr val="000000"/>
                  </a:solidFill>
                  <a:effectLst/>
                  <a:uLnTx/>
                  <a:uFillTx/>
                  <a:latin typeface="Arial"/>
                  <a:ea typeface="+mn-ea"/>
                  <a:cs typeface="Arial"/>
                  <a:sym typeface="Arial"/>
                  <a:rtl val="0"/>
                </a:rPr>
                <a:t>0</a:t>
              </a:r>
            </a:p>
          </p:txBody>
        </p:sp>
        <p:sp>
          <p:nvSpPr>
            <p:cNvPr id="1804" name="TextBox 1803">
              <a:extLst>
                <a:ext uri="{FF2B5EF4-FFF2-40B4-BE49-F238E27FC236}">
                  <a16:creationId xmlns:a16="http://schemas.microsoft.com/office/drawing/2014/main" id="{D9CB25EF-FCDD-4256-8132-80D61A9CD08E}"/>
                </a:ext>
              </a:extLst>
            </p:cNvPr>
            <p:cNvSpPr txBox="1"/>
            <p:nvPr/>
          </p:nvSpPr>
          <p:spPr>
            <a:xfrm>
              <a:off x="7309474" y="4581431"/>
              <a:ext cx="111093" cy="18610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solidFill>
                    <a:srgbClr val="000000"/>
                  </a:solidFill>
                  <a:effectLst/>
                  <a:uLnTx/>
                  <a:uFillTx/>
                  <a:latin typeface="Arial"/>
                  <a:ea typeface="+mn-ea"/>
                  <a:cs typeface="Arial"/>
                  <a:sym typeface="Arial"/>
                  <a:rtl val="0"/>
                </a:rPr>
                <a:t>4</a:t>
              </a:r>
            </a:p>
          </p:txBody>
        </p:sp>
        <p:sp>
          <p:nvSpPr>
            <p:cNvPr id="1805" name="TextBox 1804">
              <a:extLst>
                <a:ext uri="{FF2B5EF4-FFF2-40B4-BE49-F238E27FC236}">
                  <a16:creationId xmlns:a16="http://schemas.microsoft.com/office/drawing/2014/main" id="{2FFD8810-E774-4714-A195-319E32059F79}"/>
                </a:ext>
              </a:extLst>
            </p:cNvPr>
            <p:cNvSpPr txBox="1"/>
            <p:nvPr/>
          </p:nvSpPr>
          <p:spPr>
            <a:xfrm>
              <a:off x="7166673" y="4581431"/>
              <a:ext cx="143283" cy="18610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solidFill>
                    <a:srgbClr val="000000"/>
                  </a:solidFill>
                  <a:effectLst/>
                  <a:uLnTx/>
                  <a:uFillTx/>
                  <a:latin typeface="Arial"/>
                  <a:ea typeface="+mn-ea"/>
                  <a:cs typeface="Arial"/>
                  <a:sym typeface="Arial"/>
                  <a:rtl val="0"/>
                </a:rPr>
                <a:t>18</a:t>
              </a:r>
            </a:p>
          </p:txBody>
        </p:sp>
        <p:sp>
          <p:nvSpPr>
            <p:cNvPr id="1806" name="TextBox 1805">
              <a:extLst>
                <a:ext uri="{FF2B5EF4-FFF2-40B4-BE49-F238E27FC236}">
                  <a16:creationId xmlns:a16="http://schemas.microsoft.com/office/drawing/2014/main" id="{44115A2D-CAF4-4B69-BDC8-6F154B29FB0F}"/>
                </a:ext>
              </a:extLst>
            </p:cNvPr>
            <p:cNvSpPr txBox="1"/>
            <p:nvPr/>
          </p:nvSpPr>
          <p:spPr>
            <a:xfrm>
              <a:off x="7041199" y="4581431"/>
              <a:ext cx="143283" cy="18610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solidFill>
                    <a:srgbClr val="000000"/>
                  </a:solidFill>
                  <a:effectLst/>
                  <a:uLnTx/>
                  <a:uFillTx/>
                  <a:latin typeface="Arial"/>
                  <a:ea typeface="+mn-ea"/>
                  <a:cs typeface="Arial"/>
                  <a:sym typeface="Arial"/>
                  <a:rtl val="0"/>
                </a:rPr>
                <a:t>33</a:t>
              </a:r>
            </a:p>
          </p:txBody>
        </p:sp>
        <p:sp>
          <p:nvSpPr>
            <p:cNvPr id="1807" name="TextBox 1806">
              <a:extLst>
                <a:ext uri="{FF2B5EF4-FFF2-40B4-BE49-F238E27FC236}">
                  <a16:creationId xmlns:a16="http://schemas.microsoft.com/office/drawing/2014/main" id="{F51CD76B-468E-485A-9420-4438106393D8}"/>
                </a:ext>
              </a:extLst>
            </p:cNvPr>
            <p:cNvSpPr txBox="1"/>
            <p:nvPr/>
          </p:nvSpPr>
          <p:spPr>
            <a:xfrm>
              <a:off x="6915724" y="4581431"/>
              <a:ext cx="143283" cy="18610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solidFill>
                    <a:srgbClr val="000000"/>
                  </a:solidFill>
                  <a:effectLst/>
                  <a:uLnTx/>
                  <a:uFillTx/>
                  <a:latin typeface="Arial"/>
                  <a:ea typeface="+mn-ea"/>
                  <a:cs typeface="Arial"/>
                  <a:sym typeface="Arial"/>
                  <a:rtl val="0"/>
                </a:rPr>
                <a:t>53</a:t>
              </a:r>
            </a:p>
          </p:txBody>
        </p:sp>
        <p:sp>
          <p:nvSpPr>
            <p:cNvPr id="1808" name="TextBox 1807">
              <a:extLst>
                <a:ext uri="{FF2B5EF4-FFF2-40B4-BE49-F238E27FC236}">
                  <a16:creationId xmlns:a16="http://schemas.microsoft.com/office/drawing/2014/main" id="{74192683-84D6-4283-8B68-EC9D44F4F5B7}"/>
                </a:ext>
              </a:extLst>
            </p:cNvPr>
            <p:cNvSpPr txBox="1"/>
            <p:nvPr/>
          </p:nvSpPr>
          <p:spPr>
            <a:xfrm>
              <a:off x="6790250" y="4581431"/>
              <a:ext cx="143283" cy="18610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solidFill>
                    <a:srgbClr val="000000"/>
                  </a:solidFill>
                  <a:effectLst/>
                  <a:uLnTx/>
                  <a:uFillTx/>
                  <a:latin typeface="Arial"/>
                  <a:ea typeface="+mn-ea"/>
                  <a:cs typeface="Arial"/>
                  <a:sym typeface="Arial"/>
                  <a:rtl val="0"/>
                </a:rPr>
                <a:t>77</a:t>
              </a:r>
            </a:p>
          </p:txBody>
        </p:sp>
        <p:sp>
          <p:nvSpPr>
            <p:cNvPr id="1809" name="TextBox 1808">
              <a:extLst>
                <a:ext uri="{FF2B5EF4-FFF2-40B4-BE49-F238E27FC236}">
                  <a16:creationId xmlns:a16="http://schemas.microsoft.com/office/drawing/2014/main" id="{3C1A2FD0-E395-499E-B0A0-C2C3CAC1A375}"/>
                </a:ext>
              </a:extLst>
            </p:cNvPr>
            <p:cNvSpPr txBox="1"/>
            <p:nvPr/>
          </p:nvSpPr>
          <p:spPr>
            <a:xfrm>
              <a:off x="6664775" y="4581431"/>
              <a:ext cx="143283" cy="18610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solidFill>
                    <a:srgbClr val="000000"/>
                  </a:solidFill>
                  <a:effectLst/>
                  <a:uLnTx/>
                  <a:uFillTx/>
                  <a:latin typeface="Arial"/>
                  <a:ea typeface="+mn-ea"/>
                  <a:cs typeface="Arial"/>
                  <a:sym typeface="Arial"/>
                  <a:rtl val="0"/>
                </a:rPr>
                <a:t>98</a:t>
              </a:r>
            </a:p>
          </p:txBody>
        </p:sp>
        <p:sp>
          <p:nvSpPr>
            <p:cNvPr id="1810" name="TextBox 1809">
              <a:extLst>
                <a:ext uri="{FF2B5EF4-FFF2-40B4-BE49-F238E27FC236}">
                  <a16:creationId xmlns:a16="http://schemas.microsoft.com/office/drawing/2014/main" id="{4CC76F09-062B-437C-A59B-F9FEF04056CE}"/>
                </a:ext>
              </a:extLst>
            </p:cNvPr>
            <p:cNvSpPr txBox="1"/>
            <p:nvPr/>
          </p:nvSpPr>
          <p:spPr>
            <a:xfrm>
              <a:off x="6521974" y="4581431"/>
              <a:ext cx="175475" cy="18610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solidFill>
                    <a:srgbClr val="000000"/>
                  </a:solidFill>
                  <a:effectLst/>
                  <a:uLnTx/>
                  <a:uFillTx/>
                  <a:latin typeface="Arial"/>
                  <a:ea typeface="+mn-ea"/>
                  <a:cs typeface="Arial"/>
                  <a:sym typeface="Arial"/>
                  <a:rtl val="0"/>
                </a:rPr>
                <a:t>101</a:t>
              </a:r>
            </a:p>
          </p:txBody>
        </p:sp>
        <p:sp>
          <p:nvSpPr>
            <p:cNvPr id="1811" name="TextBox 1810">
              <a:extLst>
                <a:ext uri="{FF2B5EF4-FFF2-40B4-BE49-F238E27FC236}">
                  <a16:creationId xmlns:a16="http://schemas.microsoft.com/office/drawing/2014/main" id="{29FDB1BF-5AC3-4674-94F6-71C0F28CFD43}"/>
                </a:ext>
              </a:extLst>
            </p:cNvPr>
            <p:cNvSpPr txBox="1"/>
            <p:nvPr/>
          </p:nvSpPr>
          <p:spPr>
            <a:xfrm>
              <a:off x="6401143" y="4581431"/>
              <a:ext cx="138352" cy="18610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45" normalizeH="0" baseline="0" noProof="0">
                  <a:ln/>
                  <a:solidFill>
                    <a:srgbClr val="000000"/>
                  </a:solidFill>
                  <a:effectLst/>
                  <a:uLnTx/>
                  <a:uFillTx/>
                  <a:latin typeface="Arial"/>
                  <a:ea typeface="+mn-ea"/>
                  <a:cs typeface="Arial"/>
                  <a:sym typeface="Arial"/>
                  <a:rtl val="0"/>
                </a:rPr>
                <a:t>11</a:t>
              </a:r>
            </a:p>
          </p:txBody>
        </p:sp>
        <p:sp>
          <p:nvSpPr>
            <p:cNvPr id="1812" name="TextBox 1811">
              <a:extLst>
                <a:ext uri="{FF2B5EF4-FFF2-40B4-BE49-F238E27FC236}">
                  <a16:creationId xmlns:a16="http://schemas.microsoft.com/office/drawing/2014/main" id="{0D03DCAD-B050-4F2D-9E8D-BABFF4945D66}"/>
                </a:ext>
              </a:extLst>
            </p:cNvPr>
            <p:cNvSpPr txBox="1"/>
            <p:nvPr/>
          </p:nvSpPr>
          <p:spPr>
            <a:xfrm>
              <a:off x="6461162" y="4581431"/>
              <a:ext cx="111093" cy="18610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solidFill>
                    <a:srgbClr val="000000"/>
                  </a:solidFill>
                  <a:effectLst/>
                  <a:uLnTx/>
                  <a:uFillTx/>
                  <a:latin typeface="Arial"/>
                  <a:ea typeface="+mn-ea"/>
                  <a:cs typeface="Arial"/>
                  <a:sym typeface="Arial"/>
                  <a:rtl val="0"/>
                </a:rPr>
                <a:t>1</a:t>
              </a:r>
            </a:p>
          </p:txBody>
        </p:sp>
        <p:sp>
          <p:nvSpPr>
            <p:cNvPr id="1813" name="TextBox 1812">
              <a:extLst>
                <a:ext uri="{FF2B5EF4-FFF2-40B4-BE49-F238E27FC236}">
                  <a16:creationId xmlns:a16="http://schemas.microsoft.com/office/drawing/2014/main" id="{FB7A32C5-5650-45F7-BB3E-13C9B45FE906}"/>
                </a:ext>
              </a:extLst>
            </p:cNvPr>
            <p:cNvSpPr txBox="1"/>
            <p:nvPr/>
          </p:nvSpPr>
          <p:spPr>
            <a:xfrm>
              <a:off x="6271025" y="4581431"/>
              <a:ext cx="175475" cy="18610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solidFill>
                    <a:srgbClr val="000000"/>
                  </a:solidFill>
                  <a:effectLst/>
                  <a:uLnTx/>
                  <a:uFillTx/>
                  <a:latin typeface="Arial"/>
                  <a:ea typeface="+mn-ea"/>
                  <a:cs typeface="Arial"/>
                  <a:sym typeface="Arial"/>
                  <a:rtl val="0"/>
                </a:rPr>
                <a:t>126</a:t>
              </a:r>
            </a:p>
          </p:txBody>
        </p:sp>
        <p:sp>
          <p:nvSpPr>
            <p:cNvPr id="1814" name="TextBox 1813">
              <a:extLst>
                <a:ext uri="{FF2B5EF4-FFF2-40B4-BE49-F238E27FC236}">
                  <a16:creationId xmlns:a16="http://schemas.microsoft.com/office/drawing/2014/main" id="{A2D613BC-FE5B-412F-8FFA-D7034D4B6CE2}"/>
                </a:ext>
              </a:extLst>
            </p:cNvPr>
            <p:cNvSpPr txBox="1"/>
            <p:nvPr/>
          </p:nvSpPr>
          <p:spPr>
            <a:xfrm>
              <a:off x="6145551" y="4581431"/>
              <a:ext cx="175475" cy="18610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solidFill>
                    <a:srgbClr val="000000"/>
                  </a:solidFill>
                  <a:effectLst/>
                  <a:uLnTx/>
                  <a:uFillTx/>
                  <a:latin typeface="Arial"/>
                  <a:ea typeface="+mn-ea"/>
                  <a:cs typeface="Arial"/>
                  <a:sym typeface="Arial"/>
                  <a:rtl val="0"/>
                </a:rPr>
                <a:t>137</a:t>
              </a:r>
            </a:p>
          </p:txBody>
        </p:sp>
        <p:sp>
          <p:nvSpPr>
            <p:cNvPr id="1815" name="TextBox 1814">
              <a:extLst>
                <a:ext uri="{FF2B5EF4-FFF2-40B4-BE49-F238E27FC236}">
                  <a16:creationId xmlns:a16="http://schemas.microsoft.com/office/drawing/2014/main" id="{850FE1F8-FBE4-4E0D-97BF-CF7F30EFE8F9}"/>
                </a:ext>
              </a:extLst>
            </p:cNvPr>
            <p:cNvSpPr txBox="1"/>
            <p:nvPr/>
          </p:nvSpPr>
          <p:spPr>
            <a:xfrm>
              <a:off x="6020077" y="4581431"/>
              <a:ext cx="175475" cy="18610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solidFill>
                    <a:srgbClr val="000000"/>
                  </a:solidFill>
                  <a:effectLst/>
                  <a:uLnTx/>
                  <a:uFillTx/>
                  <a:latin typeface="Arial"/>
                  <a:ea typeface="+mn-ea"/>
                  <a:cs typeface="Arial"/>
                  <a:sym typeface="Arial"/>
                  <a:rtl val="0"/>
                </a:rPr>
                <a:t>155</a:t>
              </a:r>
            </a:p>
          </p:txBody>
        </p:sp>
        <p:sp>
          <p:nvSpPr>
            <p:cNvPr id="1816" name="TextBox 1815">
              <a:extLst>
                <a:ext uri="{FF2B5EF4-FFF2-40B4-BE49-F238E27FC236}">
                  <a16:creationId xmlns:a16="http://schemas.microsoft.com/office/drawing/2014/main" id="{59B0332C-E3E9-455D-A6C0-68CDDB5B1522}"/>
                </a:ext>
              </a:extLst>
            </p:cNvPr>
            <p:cNvSpPr txBox="1"/>
            <p:nvPr/>
          </p:nvSpPr>
          <p:spPr>
            <a:xfrm>
              <a:off x="5894715" y="4581431"/>
              <a:ext cx="175475" cy="18610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solidFill>
                    <a:srgbClr val="000000"/>
                  </a:solidFill>
                  <a:effectLst/>
                  <a:uLnTx/>
                  <a:uFillTx/>
                  <a:latin typeface="Arial"/>
                  <a:ea typeface="+mn-ea"/>
                  <a:cs typeface="Arial"/>
                  <a:sym typeface="Arial"/>
                  <a:rtl val="0"/>
                </a:rPr>
                <a:t>170</a:t>
              </a:r>
            </a:p>
          </p:txBody>
        </p:sp>
        <p:sp>
          <p:nvSpPr>
            <p:cNvPr id="1817" name="TextBox 1816">
              <a:extLst>
                <a:ext uri="{FF2B5EF4-FFF2-40B4-BE49-F238E27FC236}">
                  <a16:creationId xmlns:a16="http://schemas.microsoft.com/office/drawing/2014/main" id="{E42BBDC1-A803-456F-AD27-0457B3AF7536}"/>
                </a:ext>
              </a:extLst>
            </p:cNvPr>
            <p:cNvSpPr txBox="1"/>
            <p:nvPr/>
          </p:nvSpPr>
          <p:spPr>
            <a:xfrm>
              <a:off x="5769241" y="4581431"/>
              <a:ext cx="175475" cy="18610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solidFill>
                    <a:srgbClr val="000000"/>
                  </a:solidFill>
                  <a:effectLst/>
                  <a:uLnTx/>
                  <a:uFillTx/>
                  <a:latin typeface="Arial"/>
                  <a:ea typeface="+mn-ea"/>
                  <a:cs typeface="Arial"/>
                  <a:sym typeface="Arial"/>
                  <a:rtl val="0"/>
                </a:rPr>
                <a:t>191</a:t>
              </a:r>
            </a:p>
          </p:txBody>
        </p:sp>
        <p:sp>
          <p:nvSpPr>
            <p:cNvPr id="1818" name="TextBox 1817">
              <a:extLst>
                <a:ext uri="{FF2B5EF4-FFF2-40B4-BE49-F238E27FC236}">
                  <a16:creationId xmlns:a16="http://schemas.microsoft.com/office/drawing/2014/main" id="{2C03348C-DB01-4530-BE9C-294A2F497565}"/>
                </a:ext>
              </a:extLst>
            </p:cNvPr>
            <p:cNvSpPr txBox="1"/>
            <p:nvPr/>
          </p:nvSpPr>
          <p:spPr>
            <a:xfrm>
              <a:off x="5643766" y="4581431"/>
              <a:ext cx="175475" cy="18610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solidFill>
                    <a:srgbClr val="000000"/>
                  </a:solidFill>
                  <a:effectLst/>
                  <a:uLnTx/>
                  <a:uFillTx/>
                  <a:latin typeface="Arial"/>
                  <a:ea typeface="+mn-ea"/>
                  <a:cs typeface="Arial"/>
                  <a:sym typeface="Arial"/>
                  <a:rtl val="0"/>
                </a:rPr>
                <a:t>228</a:t>
              </a:r>
            </a:p>
          </p:txBody>
        </p:sp>
        <p:sp>
          <p:nvSpPr>
            <p:cNvPr id="1819" name="TextBox 1818">
              <a:extLst>
                <a:ext uri="{FF2B5EF4-FFF2-40B4-BE49-F238E27FC236}">
                  <a16:creationId xmlns:a16="http://schemas.microsoft.com/office/drawing/2014/main" id="{706A8A19-9DDB-4BEE-B698-33B3AE6525F8}"/>
                </a:ext>
              </a:extLst>
            </p:cNvPr>
            <p:cNvSpPr txBox="1"/>
            <p:nvPr/>
          </p:nvSpPr>
          <p:spPr>
            <a:xfrm>
              <a:off x="5518292" y="4581431"/>
              <a:ext cx="175475" cy="18610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solidFill>
                    <a:srgbClr val="000000"/>
                  </a:solidFill>
                  <a:effectLst/>
                  <a:uLnTx/>
                  <a:uFillTx/>
                  <a:latin typeface="Arial"/>
                  <a:ea typeface="+mn-ea"/>
                  <a:cs typeface="Arial"/>
                  <a:sym typeface="Arial"/>
                  <a:rtl val="0"/>
                </a:rPr>
                <a:t>259</a:t>
              </a:r>
            </a:p>
          </p:txBody>
        </p:sp>
        <p:sp>
          <p:nvSpPr>
            <p:cNvPr id="1820" name="TextBox 1819">
              <a:extLst>
                <a:ext uri="{FF2B5EF4-FFF2-40B4-BE49-F238E27FC236}">
                  <a16:creationId xmlns:a16="http://schemas.microsoft.com/office/drawing/2014/main" id="{7794C238-AD16-496B-93B6-1AA6944DA420}"/>
                </a:ext>
              </a:extLst>
            </p:cNvPr>
            <p:cNvSpPr txBox="1"/>
            <p:nvPr/>
          </p:nvSpPr>
          <p:spPr>
            <a:xfrm>
              <a:off x="5392817" y="4581431"/>
              <a:ext cx="175475" cy="18610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solidFill>
                    <a:srgbClr val="000000"/>
                  </a:solidFill>
                  <a:effectLst/>
                  <a:uLnTx/>
                  <a:uFillTx/>
                  <a:latin typeface="Arial"/>
                  <a:ea typeface="+mn-ea"/>
                  <a:cs typeface="Arial"/>
                  <a:sym typeface="Arial"/>
                  <a:rtl val="0"/>
                </a:rPr>
                <a:t>307</a:t>
              </a:r>
            </a:p>
          </p:txBody>
        </p:sp>
        <p:sp>
          <p:nvSpPr>
            <p:cNvPr id="1821" name="TextBox 1820">
              <a:extLst>
                <a:ext uri="{FF2B5EF4-FFF2-40B4-BE49-F238E27FC236}">
                  <a16:creationId xmlns:a16="http://schemas.microsoft.com/office/drawing/2014/main" id="{A83E7F52-2BD8-4E5F-8EE8-869AAA6C3B33}"/>
                </a:ext>
              </a:extLst>
            </p:cNvPr>
            <p:cNvSpPr txBox="1"/>
            <p:nvPr/>
          </p:nvSpPr>
          <p:spPr>
            <a:xfrm>
              <a:off x="7560423" y="4581431"/>
              <a:ext cx="111093" cy="18610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solidFill>
                    <a:srgbClr val="000000"/>
                  </a:solidFill>
                  <a:effectLst/>
                  <a:uLnTx/>
                  <a:uFillTx/>
                  <a:latin typeface="Arial"/>
                  <a:ea typeface="+mn-ea"/>
                  <a:cs typeface="Arial"/>
                  <a:sym typeface="Arial"/>
                  <a:rtl val="0"/>
                </a:rPr>
                <a:t>0</a:t>
              </a:r>
            </a:p>
          </p:txBody>
        </p:sp>
        <p:sp>
          <p:nvSpPr>
            <p:cNvPr id="1822" name="TextBox 1821">
              <a:extLst>
                <a:ext uri="{FF2B5EF4-FFF2-40B4-BE49-F238E27FC236}">
                  <a16:creationId xmlns:a16="http://schemas.microsoft.com/office/drawing/2014/main" id="{B770B7BC-7823-4495-9335-AE1B53F75597}"/>
                </a:ext>
              </a:extLst>
            </p:cNvPr>
            <p:cNvSpPr txBox="1"/>
            <p:nvPr/>
          </p:nvSpPr>
          <p:spPr>
            <a:xfrm>
              <a:off x="4854908" y="4581431"/>
              <a:ext cx="113038" cy="18610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27" normalizeH="0" baseline="0" noProof="0">
                  <a:ln/>
                  <a:solidFill>
                    <a:srgbClr val="000000"/>
                  </a:solidFill>
                  <a:effectLst/>
                  <a:uLnTx/>
                  <a:uFillTx/>
                  <a:latin typeface="Arial"/>
                  <a:ea typeface="+mn-ea"/>
                  <a:cs typeface="Arial"/>
                  <a:sym typeface="Arial"/>
                  <a:rtl val="0"/>
                </a:rPr>
                <a:t>T</a:t>
              </a:r>
            </a:p>
          </p:txBody>
        </p:sp>
        <p:sp>
          <p:nvSpPr>
            <p:cNvPr id="1823" name="TextBox 1822">
              <a:extLst>
                <a:ext uri="{FF2B5EF4-FFF2-40B4-BE49-F238E27FC236}">
                  <a16:creationId xmlns:a16="http://schemas.microsoft.com/office/drawing/2014/main" id="{E5C4C5E9-93F1-47C9-99FB-8A3AA5FEC482}"/>
                </a:ext>
              </a:extLst>
            </p:cNvPr>
            <p:cNvSpPr txBox="1"/>
            <p:nvPr/>
          </p:nvSpPr>
          <p:spPr>
            <a:xfrm>
              <a:off x="4890693" y="4581431"/>
              <a:ext cx="367250" cy="18610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solidFill>
                    <a:srgbClr val="000000"/>
                  </a:solidFill>
                  <a:effectLst/>
                  <a:uLnTx/>
                  <a:uFillTx/>
                  <a:latin typeface="Arial"/>
                  <a:ea typeface="+mn-ea"/>
                  <a:cs typeface="Arial"/>
                  <a:sym typeface="Arial"/>
                  <a:rtl val="0"/>
                </a:rPr>
                <a:t>islelizumab</a:t>
              </a:r>
            </a:p>
          </p:txBody>
        </p:sp>
      </p:grpSp>
      <p:sp>
        <p:nvSpPr>
          <p:cNvPr id="1846" name="TextBox 1845">
            <a:extLst>
              <a:ext uri="{FF2B5EF4-FFF2-40B4-BE49-F238E27FC236}">
                <a16:creationId xmlns:a16="http://schemas.microsoft.com/office/drawing/2014/main" id="{948F0DA4-197F-4BD2-8A8D-1EAF48809F85}"/>
              </a:ext>
            </a:extLst>
          </p:cNvPr>
          <p:cNvSpPr txBox="1"/>
          <p:nvPr/>
        </p:nvSpPr>
        <p:spPr>
          <a:xfrm>
            <a:off x="2345838" y="4566884"/>
            <a:ext cx="1911101" cy="25654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dirty="0">
                <a:ln/>
                <a:solidFill>
                  <a:srgbClr val="000000"/>
                </a:solidFill>
                <a:effectLst/>
                <a:uLnTx/>
                <a:uFillTx/>
                <a:latin typeface="Arial"/>
                <a:ea typeface="+mn-ea"/>
                <a:cs typeface="Arial"/>
                <a:sym typeface="Arial"/>
                <a:rtl val="0"/>
              </a:rPr>
              <a:t>Number of patients at risk:</a:t>
            </a:r>
          </a:p>
        </p:txBody>
      </p:sp>
      <p:grpSp>
        <p:nvGrpSpPr>
          <p:cNvPr id="1847" name="Graphic 2">
            <a:extLst>
              <a:ext uri="{FF2B5EF4-FFF2-40B4-BE49-F238E27FC236}">
                <a16:creationId xmlns:a16="http://schemas.microsoft.com/office/drawing/2014/main" id="{3B2249E7-4252-494E-BAAF-5B7368A3A240}"/>
              </a:ext>
            </a:extLst>
          </p:cNvPr>
          <p:cNvGrpSpPr/>
          <p:nvPr/>
        </p:nvGrpSpPr>
        <p:grpSpPr>
          <a:xfrm>
            <a:off x="3553492" y="1893133"/>
            <a:ext cx="5730213" cy="2509353"/>
            <a:chOff x="5314052" y="2438400"/>
            <a:chExt cx="2448337" cy="1820307"/>
          </a:xfrm>
          <a:noFill/>
        </p:grpSpPr>
        <p:sp>
          <p:nvSpPr>
            <p:cNvPr id="1848" name="Freeform 1056">
              <a:extLst>
                <a:ext uri="{FF2B5EF4-FFF2-40B4-BE49-F238E27FC236}">
                  <a16:creationId xmlns:a16="http://schemas.microsoft.com/office/drawing/2014/main" id="{7BEEC13C-9560-46D8-A68A-9D1E69D5BEDC}"/>
                </a:ext>
              </a:extLst>
            </p:cNvPr>
            <p:cNvSpPr/>
            <p:nvPr/>
          </p:nvSpPr>
          <p:spPr>
            <a:xfrm>
              <a:off x="5339758" y="2438400"/>
              <a:ext cx="2422630" cy="1794419"/>
            </a:xfrm>
            <a:custGeom>
              <a:avLst/>
              <a:gdLst>
                <a:gd name="connsiteX0" fmla="*/ 2422631 w 2422630"/>
                <a:gd name="connsiteY0" fmla="*/ 1794420 h 1794419"/>
                <a:gd name="connsiteX1" fmla="*/ 0 w 2422630"/>
                <a:gd name="connsiteY1" fmla="*/ 1794420 h 1794419"/>
                <a:gd name="connsiteX2" fmla="*/ 0 w 2422630"/>
                <a:gd name="connsiteY2" fmla="*/ 0 h 1794419"/>
              </a:gdLst>
              <a:ahLst/>
              <a:cxnLst>
                <a:cxn ang="0">
                  <a:pos x="connsiteX0" y="connsiteY0"/>
                </a:cxn>
                <a:cxn ang="0">
                  <a:pos x="connsiteX1" y="connsiteY1"/>
                </a:cxn>
                <a:cxn ang="0">
                  <a:pos x="connsiteX2" y="connsiteY2"/>
                </a:cxn>
              </a:cxnLst>
              <a:rect l="l" t="t" r="r" b="b"/>
              <a:pathLst>
                <a:path w="2422630" h="1794419">
                  <a:moveTo>
                    <a:pt x="2422631" y="1794420"/>
                  </a:moveTo>
                  <a:lnTo>
                    <a:pt x="0" y="1794420"/>
                  </a:lnTo>
                  <a:lnTo>
                    <a:pt x="0" y="0"/>
                  </a:lnTo>
                </a:path>
              </a:pathLst>
            </a:custGeom>
            <a:noFill/>
            <a:ln w="63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49" name="Freeform 1057">
              <a:extLst>
                <a:ext uri="{FF2B5EF4-FFF2-40B4-BE49-F238E27FC236}">
                  <a16:creationId xmlns:a16="http://schemas.microsoft.com/office/drawing/2014/main" id="{E6640C5E-AE6B-413E-9D6A-92D274C754D2}"/>
                </a:ext>
              </a:extLst>
            </p:cNvPr>
            <p:cNvSpPr/>
            <p:nvPr/>
          </p:nvSpPr>
          <p:spPr>
            <a:xfrm>
              <a:off x="5410762" y="4232819"/>
              <a:ext cx="11324" cy="25887"/>
            </a:xfrm>
            <a:custGeom>
              <a:avLst/>
              <a:gdLst>
                <a:gd name="connsiteX0" fmla="*/ 0 w 11324"/>
                <a:gd name="connsiteY0" fmla="*/ 0 h 25887"/>
                <a:gd name="connsiteX1" fmla="*/ 0 w 11324"/>
                <a:gd name="connsiteY1" fmla="*/ 25888 h 25887"/>
              </a:gdLst>
              <a:ahLst/>
              <a:cxnLst>
                <a:cxn ang="0">
                  <a:pos x="connsiteX0" y="connsiteY0"/>
                </a:cxn>
                <a:cxn ang="0">
                  <a:pos x="connsiteX1" y="connsiteY1"/>
                </a:cxn>
              </a:cxnLst>
              <a:rect l="l" t="t" r="r" b="b"/>
              <a:pathLst>
                <a:path w="11324" h="25887">
                  <a:moveTo>
                    <a:pt x="0" y="0"/>
                  </a:moveTo>
                  <a:lnTo>
                    <a:pt x="0" y="25888"/>
                  </a:lnTo>
                </a:path>
              </a:pathLst>
            </a:custGeom>
            <a:ln w="63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50" name="Freeform 1058">
              <a:extLst>
                <a:ext uri="{FF2B5EF4-FFF2-40B4-BE49-F238E27FC236}">
                  <a16:creationId xmlns:a16="http://schemas.microsoft.com/office/drawing/2014/main" id="{3BA9CB4D-2071-475A-8162-86552372FF2C}"/>
                </a:ext>
              </a:extLst>
            </p:cNvPr>
            <p:cNvSpPr/>
            <p:nvPr/>
          </p:nvSpPr>
          <p:spPr>
            <a:xfrm>
              <a:off x="5314052" y="4191376"/>
              <a:ext cx="25706" cy="11354"/>
            </a:xfrm>
            <a:custGeom>
              <a:avLst/>
              <a:gdLst>
                <a:gd name="connsiteX0" fmla="*/ 25706 w 25706"/>
                <a:gd name="connsiteY0" fmla="*/ 0 h 11354"/>
                <a:gd name="connsiteX1" fmla="*/ 0 w 25706"/>
                <a:gd name="connsiteY1" fmla="*/ 0 h 11354"/>
              </a:gdLst>
              <a:ahLst/>
              <a:cxnLst>
                <a:cxn ang="0">
                  <a:pos x="connsiteX0" y="connsiteY0"/>
                </a:cxn>
                <a:cxn ang="0">
                  <a:pos x="connsiteX1" y="connsiteY1"/>
                </a:cxn>
              </a:cxnLst>
              <a:rect l="l" t="t" r="r" b="b"/>
              <a:pathLst>
                <a:path w="25706" h="11354">
                  <a:moveTo>
                    <a:pt x="25706" y="0"/>
                  </a:moveTo>
                  <a:lnTo>
                    <a:pt x="0" y="0"/>
                  </a:lnTo>
                </a:path>
              </a:pathLst>
            </a:custGeom>
            <a:ln w="63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51" name="Freeform 1059">
              <a:extLst>
                <a:ext uri="{FF2B5EF4-FFF2-40B4-BE49-F238E27FC236}">
                  <a16:creationId xmlns:a16="http://schemas.microsoft.com/office/drawing/2014/main" id="{7A35DC4C-0C8E-4B2E-932B-B79640F7C63F}"/>
                </a:ext>
              </a:extLst>
            </p:cNvPr>
            <p:cNvSpPr/>
            <p:nvPr/>
          </p:nvSpPr>
          <p:spPr>
            <a:xfrm>
              <a:off x="5314052" y="2645727"/>
              <a:ext cx="25706" cy="11354"/>
            </a:xfrm>
            <a:custGeom>
              <a:avLst/>
              <a:gdLst>
                <a:gd name="connsiteX0" fmla="*/ 25706 w 25706"/>
                <a:gd name="connsiteY0" fmla="*/ 0 h 11354"/>
                <a:gd name="connsiteX1" fmla="*/ 0 w 25706"/>
                <a:gd name="connsiteY1" fmla="*/ 0 h 11354"/>
              </a:gdLst>
              <a:ahLst/>
              <a:cxnLst>
                <a:cxn ang="0">
                  <a:pos x="connsiteX0" y="connsiteY0"/>
                </a:cxn>
                <a:cxn ang="0">
                  <a:pos x="connsiteX1" y="connsiteY1"/>
                </a:cxn>
              </a:cxnLst>
              <a:rect l="l" t="t" r="r" b="b"/>
              <a:pathLst>
                <a:path w="25706" h="11354">
                  <a:moveTo>
                    <a:pt x="25706" y="0"/>
                  </a:moveTo>
                  <a:lnTo>
                    <a:pt x="0" y="0"/>
                  </a:lnTo>
                </a:path>
              </a:pathLst>
            </a:custGeom>
            <a:ln w="63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52" name="Freeform 1060">
              <a:extLst>
                <a:ext uri="{FF2B5EF4-FFF2-40B4-BE49-F238E27FC236}">
                  <a16:creationId xmlns:a16="http://schemas.microsoft.com/office/drawing/2014/main" id="{3A8F4C15-5540-4E33-B4C9-9B29D8D46CAF}"/>
                </a:ext>
              </a:extLst>
            </p:cNvPr>
            <p:cNvSpPr/>
            <p:nvPr/>
          </p:nvSpPr>
          <p:spPr>
            <a:xfrm>
              <a:off x="5314052" y="2817403"/>
              <a:ext cx="25706" cy="11354"/>
            </a:xfrm>
            <a:custGeom>
              <a:avLst/>
              <a:gdLst>
                <a:gd name="connsiteX0" fmla="*/ 25706 w 25706"/>
                <a:gd name="connsiteY0" fmla="*/ 0 h 11354"/>
                <a:gd name="connsiteX1" fmla="*/ 0 w 25706"/>
                <a:gd name="connsiteY1" fmla="*/ 0 h 11354"/>
              </a:gdLst>
              <a:ahLst/>
              <a:cxnLst>
                <a:cxn ang="0">
                  <a:pos x="connsiteX0" y="connsiteY0"/>
                </a:cxn>
                <a:cxn ang="0">
                  <a:pos x="connsiteX1" y="connsiteY1"/>
                </a:cxn>
              </a:cxnLst>
              <a:rect l="l" t="t" r="r" b="b"/>
              <a:pathLst>
                <a:path w="25706" h="11354">
                  <a:moveTo>
                    <a:pt x="25706" y="0"/>
                  </a:moveTo>
                  <a:lnTo>
                    <a:pt x="0" y="0"/>
                  </a:lnTo>
                </a:path>
              </a:pathLst>
            </a:custGeom>
            <a:ln w="63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53" name="Freeform 1061">
              <a:extLst>
                <a:ext uri="{FF2B5EF4-FFF2-40B4-BE49-F238E27FC236}">
                  <a16:creationId xmlns:a16="http://schemas.microsoft.com/office/drawing/2014/main" id="{0983CFF3-91C9-4320-9041-DD87B8FA62A4}"/>
                </a:ext>
              </a:extLst>
            </p:cNvPr>
            <p:cNvSpPr/>
            <p:nvPr/>
          </p:nvSpPr>
          <p:spPr>
            <a:xfrm>
              <a:off x="5314052" y="2989192"/>
              <a:ext cx="25706" cy="11354"/>
            </a:xfrm>
            <a:custGeom>
              <a:avLst/>
              <a:gdLst>
                <a:gd name="connsiteX0" fmla="*/ 25706 w 25706"/>
                <a:gd name="connsiteY0" fmla="*/ 0 h 11354"/>
                <a:gd name="connsiteX1" fmla="*/ 0 w 25706"/>
                <a:gd name="connsiteY1" fmla="*/ 0 h 11354"/>
              </a:gdLst>
              <a:ahLst/>
              <a:cxnLst>
                <a:cxn ang="0">
                  <a:pos x="connsiteX0" y="connsiteY0"/>
                </a:cxn>
                <a:cxn ang="0">
                  <a:pos x="connsiteX1" y="connsiteY1"/>
                </a:cxn>
              </a:cxnLst>
              <a:rect l="l" t="t" r="r" b="b"/>
              <a:pathLst>
                <a:path w="25706" h="11354">
                  <a:moveTo>
                    <a:pt x="25706" y="0"/>
                  </a:moveTo>
                  <a:lnTo>
                    <a:pt x="0" y="0"/>
                  </a:lnTo>
                </a:path>
              </a:pathLst>
            </a:custGeom>
            <a:ln w="63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54" name="Freeform 1062">
              <a:extLst>
                <a:ext uri="{FF2B5EF4-FFF2-40B4-BE49-F238E27FC236}">
                  <a16:creationId xmlns:a16="http://schemas.microsoft.com/office/drawing/2014/main" id="{2841FC24-A5B8-4581-A68B-0AD074896607}"/>
                </a:ext>
              </a:extLst>
            </p:cNvPr>
            <p:cNvSpPr/>
            <p:nvPr/>
          </p:nvSpPr>
          <p:spPr>
            <a:xfrm>
              <a:off x="5314052" y="3160982"/>
              <a:ext cx="25706" cy="11354"/>
            </a:xfrm>
            <a:custGeom>
              <a:avLst/>
              <a:gdLst>
                <a:gd name="connsiteX0" fmla="*/ 25706 w 25706"/>
                <a:gd name="connsiteY0" fmla="*/ 0 h 11354"/>
                <a:gd name="connsiteX1" fmla="*/ 0 w 25706"/>
                <a:gd name="connsiteY1" fmla="*/ 0 h 11354"/>
              </a:gdLst>
              <a:ahLst/>
              <a:cxnLst>
                <a:cxn ang="0">
                  <a:pos x="connsiteX0" y="connsiteY0"/>
                </a:cxn>
                <a:cxn ang="0">
                  <a:pos x="connsiteX1" y="connsiteY1"/>
                </a:cxn>
              </a:cxnLst>
              <a:rect l="l" t="t" r="r" b="b"/>
              <a:pathLst>
                <a:path w="25706" h="11354">
                  <a:moveTo>
                    <a:pt x="25706" y="0"/>
                  </a:moveTo>
                  <a:lnTo>
                    <a:pt x="0" y="0"/>
                  </a:lnTo>
                </a:path>
              </a:pathLst>
            </a:custGeom>
            <a:ln w="63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55" name="Freeform 1063">
              <a:extLst>
                <a:ext uri="{FF2B5EF4-FFF2-40B4-BE49-F238E27FC236}">
                  <a16:creationId xmlns:a16="http://schemas.microsoft.com/office/drawing/2014/main" id="{02296AA6-CDA7-4674-B330-0D7AC4493A05}"/>
                </a:ext>
              </a:extLst>
            </p:cNvPr>
            <p:cNvSpPr/>
            <p:nvPr/>
          </p:nvSpPr>
          <p:spPr>
            <a:xfrm>
              <a:off x="5314052" y="3332657"/>
              <a:ext cx="25706" cy="11354"/>
            </a:xfrm>
            <a:custGeom>
              <a:avLst/>
              <a:gdLst>
                <a:gd name="connsiteX0" fmla="*/ 25706 w 25706"/>
                <a:gd name="connsiteY0" fmla="*/ 0 h 11354"/>
                <a:gd name="connsiteX1" fmla="*/ 0 w 25706"/>
                <a:gd name="connsiteY1" fmla="*/ 0 h 11354"/>
              </a:gdLst>
              <a:ahLst/>
              <a:cxnLst>
                <a:cxn ang="0">
                  <a:pos x="connsiteX0" y="connsiteY0"/>
                </a:cxn>
                <a:cxn ang="0">
                  <a:pos x="connsiteX1" y="connsiteY1"/>
                </a:cxn>
              </a:cxnLst>
              <a:rect l="l" t="t" r="r" b="b"/>
              <a:pathLst>
                <a:path w="25706" h="11354">
                  <a:moveTo>
                    <a:pt x="25706" y="0"/>
                  </a:moveTo>
                  <a:lnTo>
                    <a:pt x="0" y="0"/>
                  </a:lnTo>
                </a:path>
              </a:pathLst>
            </a:custGeom>
            <a:ln w="63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56" name="Freeform 1064">
              <a:extLst>
                <a:ext uri="{FF2B5EF4-FFF2-40B4-BE49-F238E27FC236}">
                  <a16:creationId xmlns:a16="http://schemas.microsoft.com/office/drawing/2014/main" id="{82BAE3CC-2A92-4A20-89B1-085DA5946760}"/>
                </a:ext>
              </a:extLst>
            </p:cNvPr>
            <p:cNvSpPr/>
            <p:nvPr/>
          </p:nvSpPr>
          <p:spPr>
            <a:xfrm>
              <a:off x="5314052" y="3504446"/>
              <a:ext cx="25706" cy="11354"/>
            </a:xfrm>
            <a:custGeom>
              <a:avLst/>
              <a:gdLst>
                <a:gd name="connsiteX0" fmla="*/ 25706 w 25706"/>
                <a:gd name="connsiteY0" fmla="*/ 0 h 11354"/>
                <a:gd name="connsiteX1" fmla="*/ 0 w 25706"/>
                <a:gd name="connsiteY1" fmla="*/ 0 h 11354"/>
              </a:gdLst>
              <a:ahLst/>
              <a:cxnLst>
                <a:cxn ang="0">
                  <a:pos x="connsiteX0" y="connsiteY0"/>
                </a:cxn>
                <a:cxn ang="0">
                  <a:pos x="connsiteX1" y="connsiteY1"/>
                </a:cxn>
              </a:cxnLst>
              <a:rect l="l" t="t" r="r" b="b"/>
              <a:pathLst>
                <a:path w="25706" h="11354">
                  <a:moveTo>
                    <a:pt x="25706" y="0"/>
                  </a:moveTo>
                  <a:lnTo>
                    <a:pt x="0" y="0"/>
                  </a:lnTo>
                </a:path>
              </a:pathLst>
            </a:custGeom>
            <a:ln w="63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57" name="Freeform 1065">
              <a:extLst>
                <a:ext uri="{FF2B5EF4-FFF2-40B4-BE49-F238E27FC236}">
                  <a16:creationId xmlns:a16="http://schemas.microsoft.com/office/drawing/2014/main" id="{5A2A1860-F987-45AC-9325-9FA52D12EB84}"/>
                </a:ext>
              </a:extLst>
            </p:cNvPr>
            <p:cNvSpPr/>
            <p:nvPr/>
          </p:nvSpPr>
          <p:spPr>
            <a:xfrm>
              <a:off x="5314052" y="3676122"/>
              <a:ext cx="25706" cy="11354"/>
            </a:xfrm>
            <a:custGeom>
              <a:avLst/>
              <a:gdLst>
                <a:gd name="connsiteX0" fmla="*/ 25706 w 25706"/>
                <a:gd name="connsiteY0" fmla="*/ 0 h 11354"/>
                <a:gd name="connsiteX1" fmla="*/ 0 w 25706"/>
                <a:gd name="connsiteY1" fmla="*/ 0 h 11354"/>
              </a:gdLst>
              <a:ahLst/>
              <a:cxnLst>
                <a:cxn ang="0">
                  <a:pos x="connsiteX0" y="connsiteY0"/>
                </a:cxn>
                <a:cxn ang="0">
                  <a:pos x="connsiteX1" y="connsiteY1"/>
                </a:cxn>
              </a:cxnLst>
              <a:rect l="l" t="t" r="r" b="b"/>
              <a:pathLst>
                <a:path w="25706" h="11354">
                  <a:moveTo>
                    <a:pt x="25706" y="0"/>
                  </a:moveTo>
                  <a:lnTo>
                    <a:pt x="0" y="0"/>
                  </a:lnTo>
                </a:path>
              </a:pathLst>
            </a:custGeom>
            <a:ln w="63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58" name="Freeform 1066">
              <a:extLst>
                <a:ext uri="{FF2B5EF4-FFF2-40B4-BE49-F238E27FC236}">
                  <a16:creationId xmlns:a16="http://schemas.microsoft.com/office/drawing/2014/main" id="{EE5AEBCD-E2FC-4ECB-BB56-9A4A35D0C16A}"/>
                </a:ext>
              </a:extLst>
            </p:cNvPr>
            <p:cNvSpPr/>
            <p:nvPr/>
          </p:nvSpPr>
          <p:spPr>
            <a:xfrm>
              <a:off x="5314052" y="3847911"/>
              <a:ext cx="25706" cy="11354"/>
            </a:xfrm>
            <a:custGeom>
              <a:avLst/>
              <a:gdLst>
                <a:gd name="connsiteX0" fmla="*/ 25706 w 25706"/>
                <a:gd name="connsiteY0" fmla="*/ 0 h 11354"/>
                <a:gd name="connsiteX1" fmla="*/ 0 w 25706"/>
                <a:gd name="connsiteY1" fmla="*/ 0 h 11354"/>
              </a:gdLst>
              <a:ahLst/>
              <a:cxnLst>
                <a:cxn ang="0">
                  <a:pos x="connsiteX0" y="connsiteY0"/>
                </a:cxn>
                <a:cxn ang="0">
                  <a:pos x="connsiteX1" y="connsiteY1"/>
                </a:cxn>
              </a:cxnLst>
              <a:rect l="l" t="t" r="r" b="b"/>
              <a:pathLst>
                <a:path w="25706" h="11354">
                  <a:moveTo>
                    <a:pt x="25706" y="0"/>
                  </a:moveTo>
                  <a:lnTo>
                    <a:pt x="0" y="0"/>
                  </a:lnTo>
                </a:path>
              </a:pathLst>
            </a:custGeom>
            <a:ln w="63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59" name="Freeform 1067">
              <a:extLst>
                <a:ext uri="{FF2B5EF4-FFF2-40B4-BE49-F238E27FC236}">
                  <a16:creationId xmlns:a16="http://schemas.microsoft.com/office/drawing/2014/main" id="{66CBD449-9BEE-4AD6-AA6A-0563C6A75A78}"/>
                </a:ext>
              </a:extLst>
            </p:cNvPr>
            <p:cNvSpPr/>
            <p:nvPr/>
          </p:nvSpPr>
          <p:spPr>
            <a:xfrm>
              <a:off x="5314052" y="4019701"/>
              <a:ext cx="25706" cy="11354"/>
            </a:xfrm>
            <a:custGeom>
              <a:avLst/>
              <a:gdLst>
                <a:gd name="connsiteX0" fmla="*/ 25706 w 25706"/>
                <a:gd name="connsiteY0" fmla="*/ 0 h 11354"/>
                <a:gd name="connsiteX1" fmla="*/ 0 w 25706"/>
                <a:gd name="connsiteY1" fmla="*/ 0 h 11354"/>
              </a:gdLst>
              <a:ahLst/>
              <a:cxnLst>
                <a:cxn ang="0">
                  <a:pos x="connsiteX0" y="connsiteY0"/>
                </a:cxn>
                <a:cxn ang="0">
                  <a:pos x="connsiteX1" y="connsiteY1"/>
                </a:cxn>
              </a:cxnLst>
              <a:rect l="l" t="t" r="r" b="b"/>
              <a:pathLst>
                <a:path w="25706" h="11354">
                  <a:moveTo>
                    <a:pt x="25706" y="0"/>
                  </a:moveTo>
                  <a:lnTo>
                    <a:pt x="0" y="0"/>
                  </a:lnTo>
                </a:path>
              </a:pathLst>
            </a:custGeom>
            <a:ln w="63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60" name="Freeform 1068">
              <a:extLst>
                <a:ext uri="{FF2B5EF4-FFF2-40B4-BE49-F238E27FC236}">
                  <a16:creationId xmlns:a16="http://schemas.microsoft.com/office/drawing/2014/main" id="{A9B1A41B-453A-44BA-B88F-0D3E64A6BEB4}"/>
                </a:ext>
              </a:extLst>
            </p:cNvPr>
            <p:cNvSpPr/>
            <p:nvPr/>
          </p:nvSpPr>
          <p:spPr>
            <a:xfrm>
              <a:off x="5314052" y="2473938"/>
              <a:ext cx="25706" cy="11354"/>
            </a:xfrm>
            <a:custGeom>
              <a:avLst/>
              <a:gdLst>
                <a:gd name="connsiteX0" fmla="*/ 25706 w 25706"/>
                <a:gd name="connsiteY0" fmla="*/ 0 h 11354"/>
                <a:gd name="connsiteX1" fmla="*/ 0 w 25706"/>
                <a:gd name="connsiteY1" fmla="*/ 0 h 11354"/>
              </a:gdLst>
              <a:ahLst/>
              <a:cxnLst>
                <a:cxn ang="0">
                  <a:pos x="connsiteX0" y="connsiteY0"/>
                </a:cxn>
                <a:cxn ang="0">
                  <a:pos x="connsiteX1" y="connsiteY1"/>
                </a:cxn>
              </a:cxnLst>
              <a:rect l="l" t="t" r="r" b="b"/>
              <a:pathLst>
                <a:path w="25706" h="11354">
                  <a:moveTo>
                    <a:pt x="25706" y="0"/>
                  </a:moveTo>
                  <a:lnTo>
                    <a:pt x="0" y="0"/>
                  </a:lnTo>
                </a:path>
              </a:pathLst>
            </a:custGeom>
            <a:ln w="63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61" name="Freeform 1069">
              <a:extLst>
                <a:ext uri="{FF2B5EF4-FFF2-40B4-BE49-F238E27FC236}">
                  <a16:creationId xmlns:a16="http://schemas.microsoft.com/office/drawing/2014/main" id="{1CE822D1-AF9B-4D4D-9364-010B4C06946C}"/>
                </a:ext>
              </a:extLst>
            </p:cNvPr>
            <p:cNvSpPr/>
            <p:nvPr/>
          </p:nvSpPr>
          <p:spPr>
            <a:xfrm>
              <a:off x="7543715" y="4232819"/>
              <a:ext cx="11324" cy="25887"/>
            </a:xfrm>
            <a:custGeom>
              <a:avLst/>
              <a:gdLst>
                <a:gd name="connsiteX0" fmla="*/ 0 w 11324"/>
                <a:gd name="connsiteY0" fmla="*/ 0 h 25887"/>
                <a:gd name="connsiteX1" fmla="*/ 0 w 11324"/>
                <a:gd name="connsiteY1" fmla="*/ 25888 h 25887"/>
              </a:gdLst>
              <a:ahLst/>
              <a:cxnLst>
                <a:cxn ang="0">
                  <a:pos x="connsiteX0" y="connsiteY0"/>
                </a:cxn>
                <a:cxn ang="0">
                  <a:pos x="connsiteX1" y="connsiteY1"/>
                </a:cxn>
              </a:cxnLst>
              <a:rect l="l" t="t" r="r" b="b"/>
              <a:pathLst>
                <a:path w="11324" h="25887">
                  <a:moveTo>
                    <a:pt x="0" y="0"/>
                  </a:moveTo>
                  <a:lnTo>
                    <a:pt x="0" y="25888"/>
                  </a:lnTo>
                </a:path>
              </a:pathLst>
            </a:custGeom>
            <a:ln w="63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62" name="Freeform 1070">
              <a:extLst>
                <a:ext uri="{FF2B5EF4-FFF2-40B4-BE49-F238E27FC236}">
                  <a16:creationId xmlns:a16="http://schemas.microsoft.com/office/drawing/2014/main" id="{2F9A7229-FB1A-4FF6-A067-E33C52727B2D}"/>
                </a:ext>
              </a:extLst>
            </p:cNvPr>
            <p:cNvSpPr/>
            <p:nvPr/>
          </p:nvSpPr>
          <p:spPr>
            <a:xfrm>
              <a:off x="7418240" y="4232819"/>
              <a:ext cx="11324" cy="25887"/>
            </a:xfrm>
            <a:custGeom>
              <a:avLst/>
              <a:gdLst>
                <a:gd name="connsiteX0" fmla="*/ 0 w 11324"/>
                <a:gd name="connsiteY0" fmla="*/ 0 h 25887"/>
                <a:gd name="connsiteX1" fmla="*/ 0 w 11324"/>
                <a:gd name="connsiteY1" fmla="*/ 25888 h 25887"/>
              </a:gdLst>
              <a:ahLst/>
              <a:cxnLst>
                <a:cxn ang="0">
                  <a:pos x="connsiteX0" y="connsiteY0"/>
                </a:cxn>
                <a:cxn ang="0">
                  <a:pos x="connsiteX1" y="connsiteY1"/>
                </a:cxn>
              </a:cxnLst>
              <a:rect l="l" t="t" r="r" b="b"/>
              <a:pathLst>
                <a:path w="11324" h="25887">
                  <a:moveTo>
                    <a:pt x="0" y="0"/>
                  </a:moveTo>
                  <a:lnTo>
                    <a:pt x="0" y="25888"/>
                  </a:lnTo>
                </a:path>
              </a:pathLst>
            </a:custGeom>
            <a:ln w="63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63" name="Freeform 1071">
              <a:extLst>
                <a:ext uri="{FF2B5EF4-FFF2-40B4-BE49-F238E27FC236}">
                  <a16:creationId xmlns:a16="http://schemas.microsoft.com/office/drawing/2014/main" id="{5D74EAF4-1897-4216-A8A6-5C219BAC5158}"/>
                </a:ext>
              </a:extLst>
            </p:cNvPr>
            <p:cNvSpPr/>
            <p:nvPr/>
          </p:nvSpPr>
          <p:spPr>
            <a:xfrm>
              <a:off x="7292766" y="4232819"/>
              <a:ext cx="11324" cy="25887"/>
            </a:xfrm>
            <a:custGeom>
              <a:avLst/>
              <a:gdLst>
                <a:gd name="connsiteX0" fmla="*/ 0 w 11324"/>
                <a:gd name="connsiteY0" fmla="*/ 0 h 25887"/>
                <a:gd name="connsiteX1" fmla="*/ 0 w 11324"/>
                <a:gd name="connsiteY1" fmla="*/ 25888 h 25887"/>
              </a:gdLst>
              <a:ahLst/>
              <a:cxnLst>
                <a:cxn ang="0">
                  <a:pos x="connsiteX0" y="connsiteY0"/>
                </a:cxn>
                <a:cxn ang="0">
                  <a:pos x="connsiteX1" y="connsiteY1"/>
                </a:cxn>
              </a:cxnLst>
              <a:rect l="l" t="t" r="r" b="b"/>
              <a:pathLst>
                <a:path w="11324" h="25887">
                  <a:moveTo>
                    <a:pt x="0" y="0"/>
                  </a:moveTo>
                  <a:lnTo>
                    <a:pt x="0" y="25888"/>
                  </a:lnTo>
                </a:path>
              </a:pathLst>
            </a:custGeom>
            <a:ln w="63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64" name="Freeform 1072">
              <a:extLst>
                <a:ext uri="{FF2B5EF4-FFF2-40B4-BE49-F238E27FC236}">
                  <a16:creationId xmlns:a16="http://schemas.microsoft.com/office/drawing/2014/main" id="{880A3915-B769-454A-85BB-C929A60CF990}"/>
                </a:ext>
              </a:extLst>
            </p:cNvPr>
            <p:cNvSpPr/>
            <p:nvPr/>
          </p:nvSpPr>
          <p:spPr>
            <a:xfrm>
              <a:off x="7167291" y="4232819"/>
              <a:ext cx="11324" cy="25887"/>
            </a:xfrm>
            <a:custGeom>
              <a:avLst/>
              <a:gdLst>
                <a:gd name="connsiteX0" fmla="*/ 0 w 11324"/>
                <a:gd name="connsiteY0" fmla="*/ 0 h 25887"/>
                <a:gd name="connsiteX1" fmla="*/ 0 w 11324"/>
                <a:gd name="connsiteY1" fmla="*/ 25888 h 25887"/>
              </a:gdLst>
              <a:ahLst/>
              <a:cxnLst>
                <a:cxn ang="0">
                  <a:pos x="connsiteX0" y="connsiteY0"/>
                </a:cxn>
                <a:cxn ang="0">
                  <a:pos x="connsiteX1" y="connsiteY1"/>
                </a:cxn>
              </a:cxnLst>
              <a:rect l="l" t="t" r="r" b="b"/>
              <a:pathLst>
                <a:path w="11324" h="25887">
                  <a:moveTo>
                    <a:pt x="0" y="0"/>
                  </a:moveTo>
                  <a:lnTo>
                    <a:pt x="0" y="25888"/>
                  </a:lnTo>
                </a:path>
              </a:pathLst>
            </a:custGeom>
            <a:ln w="63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65" name="Freeform 1073">
              <a:extLst>
                <a:ext uri="{FF2B5EF4-FFF2-40B4-BE49-F238E27FC236}">
                  <a16:creationId xmlns:a16="http://schemas.microsoft.com/office/drawing/2014/main" id="{A0C0B36B-76E3-40BD-865E-DBC53441FFB7}"/>
                </a:ext>
              </a:extLst>
            </p:cNvPr>
            <p:cNvSpPr/>
            <p:nvPr/>
          </p:nvSpPr>
          <p:spPr>
            <a:xfrm>
              <a:off x="7041817" y="4232819"/>
              <a:ext cx="11324" cy="25887"/>
            </a:xfrm>
            <a:custGeom>
              <a:avLst/>
              <a:gdLst>
                <a:gd name="connsiteX0" fmla="*/ 0 w 11324"/>
                <a:gd name="connsiteY0" fmla="*/ 0 h 25887"/>
                <a:gd name="connsiteX1" fmla="*/ 0 w 11324"/>
                <a:gd name="connsiteY1" fmla="*/ 25888 h 25887"/>
              </a:gdLst>
              <a:ahLst/>
              <a:cxnLst>
                <a:cxn ang="0">
                  <a:pos x="connsiteX0" y="connsiteY0"/>
                </a:cxn>
                <a:cxn ang="0">
                  <a:pos x="connsiteX1" y="connsiteY1"/>
                </a:cxn>
              </a:cxnLst>
              <a:rect l="l" t="t" r="r" b="b"/>
              <a:pathLst>
                <a:path w="11324" h="25887">
                  <a:moveTo>
                    <a:pt x="0" y="0"/>
                  </a:moveTo>
                  <a:lnTo>
                    <a:pt x="0" y="25888"/>
                  </a:lnTo>
                </a:path>
              </a:pathLst>
            </a:custGeom>
            <a:ln w="63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66" name="Freeform 1074">
              <a:extLst>
                <a:ext uri="{FF2B5EF4-FFF2-40B4-BE49-F238E27FC236}">
                  <a16:creationId xmlns:a16="http://schemas.microsoft.com/office/drawing/2014/main" id="{3D37B29F-F2BB-42E4-A7C4-1A28280D5CF0}"/>
                </a:ext>
              </a:extLst>
            </p:cNvPr>
            <p:cNvSpPr/>
            <p:nvPr/>
          </p:nvSpPr>
          <p:spPr>
            <a:xfrm>
              <a:off x="6916342" y="4232819"/>
              <a:ext cx="11324" cy="25887"/>
            </a:xfrm>
            <a:custGeom>
              <a:avLst/>
              <a:gdLst>
                <a:gd name="connsiteX0" fmla="*/ 0 w 11324"/>
                <a:gd name="connsiteY0" fmla="*/ 0 h 25887"/>
                <a:gd name="connsiteX1" fmla="*/ 0 w 11324"/>
                <a:gd name="connsiteY1" fmla="*/ 25888 h 25887"/>
              </a:gdLst>
              <a:ahLst/>
              <a:cxnLst>
                <a:cxn ang="0">
                  <a:pos x="connsiteX0" y="connsiteY0"/>
                </a:cxn>
                <a:cxn ang="0">
                  <a:pos x="connsiteX1" y="connsiteY1"/>
                </a:cxn>
              </a:cxnLst>
              <a:rect l="l" t="t" r="r" b="b"/>
              <a:pathLst>
                <a:path w="11324" h="25887">
                  <a:moveTo>
                    <a:pt x="0" y="0"/>
                  </a:moveTo>
                  <a:lnTo>
                    <a:pt x="0" y="25888"/>
                  </a:lnTo>
                </a:path>
              </a:pathLst>
            </a:custGeom>
            <a:ln w="63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67" name="Freeform 1075">
              <a:extLst>
                <a:ext uri="{FF2B5EF4-FFF2-40B4-BE49-F238E27FC236}">
                  <a16:creationId xmlns:a16="http://schemas.microsoft.com/office/drawing/2014/main" id="{16CB2F95-B445-43E4-9751-D15C15DE00A6}"/>
                </a:ext>
              </a:extLst>
            </p:cNvPr>
            <p:cNvSpPr/>
            <p:nvPr/>
          </p:nvSpPr>
          <p:spPr>
            <a:xfrm>
              <a:off x="6790868" y="4232819"/>
              <a:ext cx="11324" cy="25887"/>
            </a:xfrm>
            <a:custGeom>
              <a:avLst/>
              <a:gdLst>
                <a:gd name="connsiteX0" fmla="*/ 0 w 11324"/>
                <a:gd name="connsiteY0" fmla="*/ 0 h 25887"/>
                <a:gd name="connsiteX1" fmla="*/ 0 w 11324"/>
                <a:gd name="connsiteY1" fmla="*/ 25888 h 25887"/>
              </a:gdLst>
              <a:ahLst/>
              <a:cxnLst>
                <a:cxn ang="0">
                  <a:pos x="connsiteX0" y="connsiteY0"/>
                </a:cxn>
                <a:cxn ang="0">
                  <a:pos x="connsiteX1" y="connsiteY1"/>
                </a:cxn>
              </a:cxnLst>
              <a:rect l="l" t="t" r="r" b="b"/>
              <a:pathLst>
                <a:path w="11324" h="25887">
                  <a:moveTo>
                    <a:pt x="0" y="0"/>
                  </a:moveTo>
                  <a:lnTo>
                    <a:pt x="0" y="25888"/>
                  </a:lnTo>
                </a:path>
              </a:pathLst>
            </a:custGeom>
            <a:ln w="63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68" name="Freeform 1076">
              <a:extLst>
                <a:ext uri="{FF2B5EF4-FFF2-40B4-BE49-F238E27FC236}">
                  <a16:creationId xmlns:a16="http://schemas.microsoft.com/office/drawing/2014/main" id="{F2C38049-1D65-4958-8003-E352520B5478}"/>
                </a:ext>
              </a:extLst>
            </p:cNvPr>
            <p:cNvSpPr/>
            <p:nvPr/>
          </p:nvSpPr>
          <p:spPr>
            <a:xfrm>
              <a:off x="6665393" y="4232819"/>
              <a:ext cx="11324" cy="25887"/>
            </a:xfrm>
            <a:custGeom>
              <a:avLst/>
              <a:gdLst>
                <a:gd name="connsiteX0" fmla="*/ 0 w 11324"/>
                <a:gd name="connsiteY0" fmla="*/ 0 h 25887"/>
                <a:gd name="connsiteX1" fmla="*/ 0 w 11324"/>
                <a:gd name="connsiteY1" fmla="*/ 25888 h 25887"/>
              </a:gdLst>
              <a:ahLst/>
              <a:cxnLst>
                <a:cxn ang="0">
                  <a:pos x="connsiteX0" y="connsiteY0"/>
                </a:cxn>
                <a:cxn ang="0">
                  <a:pos x="connsiteX1" y="connsiteY1"/>
                </a:cxn>
              </a:cxnLst>
              <a:rect l="l" t="t" r="r" b="b"/>
              <a:pathLst>
                <a:path w="11324" h="25887">
                  <a:moveTo>
                    <a:pt x="0" y="0"/>
                  </a:moveTo>
                  <a:lnTo>
                    <a:pt x="0" y="25888"/>
                  </a:lnTo>
                </a:path>
              </a:pathLst>
            </a:custGeom>
            <a:ln w="63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69" name="Freeform 1077">
              <a:extLst>
                <a:ext uri="{FF2B5EF4-FFF2-40B4-BE49-F238E27FC236}">
                  <a16:creationId xmlns:a16="http://schemas.microsoft.com/office/drawing/2014/main" id="{E94B9BCB-9C61-43A5-A493-E8A5D9D9B584}"/>
                </a:ext>
              </a:extLst>
            </p:cNvPr>
            <p:cNvSpPr/>
            <p:nvPr/>
          </p:nvSpPr>
          <p:spPr>
            <a:xfrm>
              <a:off x="6539919" y="4232819"/>
              <a:ext cx="11324" cy="25887"/>
            </a:xfrm>
            <a:custGeom>
              <a:avLst/>
              <a:gdLst>
                <a:gd name="connsiteX0" fmla="*/ 0 w 11324"/>
                <a:gd name="connsiteY0" fmla="*/ 0 h 25887"/>
                <a:gd name="connsiteX1" fmla="*/ 0 w 11324"/>
                <a:gd name="connsiteY1" fmla="*/ 25888 h 25887"/>
              </a:gdLst>
              <a:ahLst/>
              <a:cxnLst>
                <a:cxn ang="0">
                  <a:pos x="connsiteX0" y="connsiteY0"/>
                </a:cxn>
                <a:cxn ang="0">
                  <a:pos x="connsiteX1" y="connsiteY1"/>
                </a:cxn>
              </a:cxnLst>
              <a:rect l="l" t="t" r="r" b="b"/>
              <a:pathLst>
                <a:path w="11324" h="25887">
                  <a:moveTo>
                    <a:pt x="0" y="0"/>
                  </a:moveTo>
                  <a:lnTo>
                    <a:pt x="0" y="25888"/>
                  </a:lnTo>
                </a:path>
              </a:pathLst>
            </a:custGeom>
            <a:ln w="63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70" name="Freeform 1078">
              <a:extLst>
                <a:ext uri="{FF2B5EF4-FFF2-40B4-BE49-F238E27FC236}">
                  <a16:creationId xmlns:a16="http://schemas.microsoft.com/office/drawing/2014/main" id="{1FAE4F96-1A7B-404B-AE50-1BD8669277E7}"/>
                </a:ext>
              </a:extLst>
            </p:cNvPr>
            <p:cNvSpPr/>
            <p:nvPr/>
          </p:nvSpPr>
          <p:spPr>
            <a:xfrm>
              <a:off x="6414444" y="4232819"/>
              <a:ext cx="11324" cy="25887"/>
            </a:xfrm>
            <a:custGeom>
              <a:avLst/>
              <a:gdLst>
                <a:gd name="connsiteX0" fmla="*/ 0 w 11324"/>
                <a:gd name="connsiteY0" fmla="*/ 0 h 25887"/>
                <a:gd name="connsiteX1" fmla="*/ 0 w 11324"/>
                <a:gd name="connsiteY1" fmla="*/ 25888 h 25887"/>
              </a:gdLst>
              <a:ahLst/>
              <a:cxnLst>
                <a:cxn ang="0">
                  <a:pos x="connsiteX0" y="connsiteY0"/>
                </a:cxn>
                <a:cxn ang="0">
                  <a:pos x="connsiteX1" y="connsiteY1"/>
                </a:cxn>
              </a:cxnLst>
              <a:rect l="l" t="t" r="r" b="b"/>
              <a:pathLst>
                <a:path w="11324" h="25887">
                  <a:moveTo>
                    <a:pt x="0" y="0"/>
                  </a:moveTo>
                  <a:lnTo>
                    <a:pt x="0" y="25888"/>
                  </a:lnTo>
                </a:path>
              </a:pathLst>
            </a:custGeom>
            <a:ln w="63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71" name="Freeform 1079">
              <a:extLst>
                <a:ext uri="{FF2B5EF4-FFF2-40B4-BE49-F238E27FC236}">
                  <a16:creationId xmlns:a16="http://schemas.microsoft.com/office/drawing/2014/main" id="{6A06B8DC-9EEC-4377-BDF5-0F57C457DF45}"/>
                </a:ext>
              </a:extLst>
            </p:cNvPr>
            <p:cNvSpPr/>
            <p:nvPr/>
          </p:nvSpPr>
          <p:spPr>
            <a:xfrm>
              <a:off x="6288970" y="4232819"/>
              <a:ext cx="11324" cy="25887"/>
            </a:xfrm>
            <a:custGeom>
              <a:avLst/>
              <a:gdLst>
                <a:gd name="connsiteX0" fmla="*/ 0 w 11324"/>
                <a:gd name="connsiteY0" fmla="*/ 0 h 25887"/>
                <a:gd name="connsiteX1" fmla="*/ 0 w 11324"/>
                <a:gd name="connsiteY1" fmla="*/ 25888 h 25887"/>
              </a:gdLst>
              <a:ahLst/>
              <a:cxnLst>
                <a:cxn ang="0">
                  <a:pos x="connsiteX0" y="connsiteY0"/>
                </a:cxn>
                <a:cxn ang="0">
                  <a:pos x="connsiteX1" y="connsiteY1"/>
                </a:cxn>
              </a:cxnLst>
              <a:rect l="l" t="t" r="r" b="b"/>
              <a:pathLst>
                <a:path w="11324" h="25887">
                  <a:moveTo>
                    <a:pt x="0" y="0"/>
                  </a:moveTo>
                  <a:lnTo>
                    <a:pt x="0" y="25888"/>
                  </a:lnTo>
                </a:path>
              </a:pathLst>
            </a:custGeom>
            <a:ln w="63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72" name="Freeform 1080">
              <a:extLst>
                <a:ext uri="{FF2B5EF4-FFF2-40B4-BE49-F238E27FC236}">
                  <a16:creationId xmlns:a16="http://schemas.microsoft.com/office/drawing/2014/main" id="{E5F1463D-DF7B-4632-A572-679F908C93D9}"/>
                </a:ext>
              </a:extLst>
            </p:cNvPr>
            <p:cNvSpPr/>
            <p:nvPr/>
          </p:nvSpPr>
          <p:spPr>
            <a:xfrm>
              <a:off x="6163496" y="4232819"/>
              <a:ext cx="11324" cy="25887"/>
            </a:xfrm>
            <a:custGeom>
              <a:avLst/>
              <a:gdLst>
                <a:gd name="connsiteX0" fmla="*/ 0 w 11324"/>
                <a:gd name="connsiteY0" fmla="*/ 0 h 25887"/>
                <a:gd name="connsiteX1" fmla="*/ 0 w 11324"/>
                <a:gd name="connsiteY1" fmla="*/ 25888 h 25887"/>
              </a:gdLst>
              <a:ahLst/>
              <a:cxnLst>
                <a:cxn ang="0">
                  <a:pos x="connsiteX0" y="connsiteY0"/>
                </a:cxn>
                <a:cxn ang="0">
                  <a:pos x="connsiteX1" y="connsiteY1"/>
                </a:cxn>
              </a:cxnLst>
              <a:rect l="l" t="t" r="r" b="b"/>
              <a:pathLst>
                <a:path w="11324" h="25887">
                  <a:moveTo>
                    <a:pt x="0" y="0"/>
                  </a:moveTo>
                  <a:lnTo>
                    <a:pt x="0" y="25888"/>
                  </a:lnTo>
                </a:path>
              </a:pathLst>
            </a:custGeom>
            <a:ln w="63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73" name="Freeform 1081">
              <a:extLst>
                <a:ext uri="{FF2B5EF4-FFF2-40B4-BE49-F238E27FC236}">
                  <a16:creationId xmlns:a16="http://schemas.microsoft.com/office/drawing/2014/main" id="{BD519235-F70C-4517-B333-981D5AC42DD3}"/>
                </a:ext>
              </a:extLst>
            </p:cNvPr>
            <p:cNvSpPr/>
            <p:nvPr/>
          </p:nvSpPr>
          <p:spPr>
            <a:xfrm>
              <a:off x="6038021" y="4232819"/>
              <a:ext cx="11324" cy="25887"/>
            </a:xfrm>
            <a:custGeom>
              <a:avLst/>
              <a:gdLst>
                <a:gd name="connsiteX0" fmla="*/ 0 w 11324"/>
                <a:gd name="connsiteY0" fmla="*/ 0 h 25887"/>
                <a:gd name="connsiteX1" fmla="*/ 0 w 11324"/>
                <a:gd name="connsiteY1" fmla="*/ 25888 h 25887"/>
              </a:gdLst>
              <a:ahLst/>
              <a:cxnLst>
                <a:cxn ang="0">
                  <a:pos x="connsiteX0" y="connsiteY0"/>
                </a:cxn>
                <a:cxn ang="0">
                  <a:pos x="connsiteX1" y="connsiteY1"/>
                </a:cxn>
              </a:cxnLst>
              <a:rect l="l" t="t" r="r" b="b"/>
              <a:pathLst>
                <a:path w="11324" h="25887">
                  <a:moveTo>
                    <a:pt x="0" y="0"/>
                  </a:moveTo>
                  <a:lnTo>
                    <a:pt x="0" y="25888"/>
                  </a:lnTo>
                </a:path>
              </a:pathLst>
            </a:custGeom>
            <a:ln w="63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74" name="Freeform 1082">
              <a:extLst>
                <a:ext uri="{FF2B5EF4-FFF2-40B4-BE49-F238E27FC236}">
                  <a16:creationId xmlns:a16="http://schemas.microsoft.com/office/drawing/2014/main" id="{FDFB09B7-0912-4BAB-9ADC-BBED21D3102A}"/>
                </a:ext>
              </a:extLst>
            </p:cNvPr>
            <p:cNvSpPr/>
            <p:nvPr/>
          </p:nvSpPr>
          <p:spPr>
            <a:xfrm>
              <a:off x="5912547" y="4232819"/>
              <a:ext cx="11324" cy="25887"/>
            </a:xfrm>
            <a:custGeom>
              <a:avLst/>
              <a:gdLst>
                <a:gd name="connsiteX0" fmla="*/ 0 w 11324"/>
                <a:gd name="connsiteY0" fmla="*/ 0 h 25887"/>
                <a:gd name="connsiteX1" fmla="*/ 0 w 11324"/>
                <a:gd name="connsiteY1" fmla="*/ 25888 h 25887"/>
              </a:gdLst>
              <a:ahLst/>
              <a:cxnLst>
                <a:cxn ang="0">
                  <a:pos x="connsiteX0" y="connsiteY0"/>
                </a:cxn>
                <a:cxn ang="0">
                  <a:pos x="connsiteX1" y="connsiteY1"/>
                </a:cxn>
              </a:cxnLst>
              <a:rect l="l" t="t" r="r" b="b"/>
              <a:pathLst>
                <a:path w="11324" h="25887">
                  <a:moveTo>
                    <a:pt x="0" y="0"/>
                  </a:moveTo>
                  <a:lnTo>
                    <a:pt x="0" y="25888"/>
                  </a:lnTo>
                </a:path>
              </a:pathLst>
            </a:custGeom>
            <a:ln w="63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75" name="Freeform 1083">
              <a:extLst>
                <a:ext uri="{FF2B5EF4-FFF2-40B4-BE49-F238E27FC236}">
                  <a16:creationId xmlns:a16="http://schemas.microsoft.com/office/drawing/2014/main" id="{D97DCAD2-D494-461C-999C-D945EF1166B9}"/>
                </a:ext>
              </a:extLst>
            </p:cNvPr>
            <p:cNvSpPr/>
            <p:nvPr/>
          </p:nvSpPr>
          <p:spPr>
            <a:xfrm>
              <a:off x="5787185" y="4232819"/>
              <a:ext cx="11324" cy="25887"/>
            </a:xfrm>
            <a:custGeom>
              <a:avLst/>
              <a:gdLst>
                <a:gd name="connsiteX0" fmla="*/ 0 w 11324"/>
                <a:gd name="connsiteY0" fmla="*/ 0 h 25887"/>
                <a:gd name="connsiteX1" fmla="*/ 0 w 11324"/>
                <a:gd name="connsiteY1" fmla="*/ 25888 h 25887"/>
              </a:gdLst>
              <a:ahLst/>
              <a:cxnLst>
                <a:cxn ang="0">
                  <a:pos x="connsiteX0" y="connsiteY0"/>
                </a:cxn>
                <a:cxn ang="0">
                  <a:pos x="connsiteX1" y="connsiteY1"/>
                </a:cxn>
              </a:cxnLst>
              <a:rect l="l" t="t" r="r" b="b"/>
              <a:pathLst>
                <a:path w="11324" h="25887">
                  <a:moveTo>
                    <a:pt x="0" y="0"/>
                  </a:moveTo>
                  <a:lnTo>
                    <a:pt x="0" y="25888"/>
                  </a:lnTo>
                </a:path>
              </a:pathLst>
            </a:custGeom>
            <a:ln w="63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76" name="Freeform 1084">
              <a:extLst>
                <a:ext uri="{FF2B5EF4-FFF2-40B4-BE49-F238E27FC236}">
                  <a16:creationId xmlns:a16="http://schemas.microsoft.com/office/drawing/2014/main" id="{329F399C-C529-4D68-B7B1-0E7523A7B430}"/>
                </a:ext>
              </a:extLst>
            </p:cNvPr>
            <p:cNvSpPr/>
            <p:nvPr/>
          </p:nvSpPr>
          <p:spPr>
            <a:xfrm>
              <a:off x="5661711" y="4232819"/>
              <a:ext cx="11324" cy="25887"/>
            </a:xfrm>
            <a:custGeom>
              <a:avLst/>
              <a:gdLst>
                <a:gd name="connsiteX0" fmla="*/ 0 w 11324"/>
                <a:gd name="connsiteY0" fmla="*/ 0 h 25887"/>
                <a:gd name="connsiteX1" fmla="*/ 0 w 11324"/>
                <a:gd name="connsiteY1" fmla="*/ 25888 h 25887"/>
              </a:gdLst>
              <a:ahLst/>
              <a:cxnLst>
                <a:cxn ang="0">
                  <a:pos x="connsiteX0" y="connsiteY0"/>
                </a:cxn>
                <a:cxn ang="0">
                  <a:pos x="connsiteX1" y="connsiteY1"/>
                </a:cxn>
              </a:cxnLst>
              <a:rect l="l" t="t" r="r" b="b"/>
              <a:pathLst>
                <a:path w="11324" h="25887">
                  <a:moveTo>
                    <a:pt x="0" y="0"/>
                  </a:moveTo>
                  <a:lnTo>
                    <a:pt x="0" y="25888"/>
                  </a:lnTo>
                </a:path>
              </a:pathLst>
            </a:custGeom>
            <a:ln w="63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77" name="Freeform 1085">
              <a:extLst>
                <a:ext uri="{FF2B5EF4-FFF2-40B4-BE49-F238E27FC236}">
                  <a16:creationId xmlns:a16="http://schemas.microsoft.com/office/drawing/2014/main" id="{9AA2DB91-A046-43A1-9EA3-88DB3408C3DB}"/>
                </a:ext>
              </a:extLst>
            </p:cNvPr>
            <p:cNvSpPr/>
            <p:nvPr/>
          </p:nvSpPr>
          <p:spPr>
            <a:xfrm>
              <a:off x="5536237" y="4232819"/>
              <a:ext cx="11324" cy="25887"/>
            </a:xfrm>
            <a:custGeom>
              <a:avLst/>
              <a:gdLst>
                <a:gd name="connsiteX0" fmla="*/ 0 w 11324"/>
                <a:gd name="connsiteY0" fmla="*/ 0 h 25887"/>
                <a:gd name="connsiteX1" fmla="*/ 0 w 11324"/>
                <a:gd name="connsiteY1" fmla="*/ 25888 h 25887"/>
              </a:gdLst>
              <a:ahLst/>
              <a:cxnLst>
                <a:cxn ang="0">
                  <a:pos x="connsiteX0" y="connsiteY0"/>
                </a:cxn>
                <a:cxn ang="0">
                  <a:pos x="connsiteX1" y="connsiteY1"/>
                </a:cxn>
              </a:cxnLst>
              <a:rect l="l" t="t" r="r" b="b"/>
              <a:pathLst>
                <a:path w="11324" h="25887">
                  <a:moveTo>
                    <a:pt x="0" y="0"/>
                  </a:moveTo>
                  <a:lnTo>
                    <a:pt x="0" y="25888"/>
                  </a:lnTo>
                </a:path>
              </a:pathLst>
            </a:custGeom>
            <a:ln w="63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78" name="Freeform 1086">
              <a:extLst>
                <a:ext uri="{FF2B5EF4-FFF2-40B4-BE49-F238E27FC236}">
                  <a16:creationId xmlns:a16="http://schemas.microsoft.com/office/drawing/2014/main" id="{0F33D1AF-2AEF-4A87-8130-D4E9EE616E0B}"/>
                </a:ext>
              </a:extLst>
            </p:cNvPr>
            <p:cNvSpPr/>
            <p:nvPr/>
          </p:nvSpPr>
          <p:spPr>
            <a:xfrm>
              <a:off x="7669189" y="4232819"/>
              <a:ext cx="11324" cy="25887"/>
            </a:xfrm>
            <a:custGeom>
              <a:avLst/>
              <a:gdLst>
                <a:gd name="connsiteX0" fmla="*/ 0 w 11324"/>
                <a:gd name="connsiteY0" fmla="*/ 0 h 25887"/>
                <a:gd name="connsiteX1" fmla="*/ 0 w 11324"/>
                <a:gd name="connsiteY1" fmla="*/ 25888 h 25887"/>
              </a:gdLst>
              <a:ahLst/>
              <a:cxnLst>
                <a:cxn ang="0">
                  <a:pos x="connsiteX0" y="connsiteY0"/>
                </a:cxn>
                <a:cxn ang="0">
                  <a:pos x="connsiteX1" y="connsiteY1"/>
                </a:cxn>
              </a:cxnLst>
              <a:rect l="l" t="t" r="r" b="b"/>
              <a:pathLst>
                <a:path w="11324" h="25887">
                  <a:moveTo>
                    <a:pt x="0" y="0"/>
                  </a:moveTo>
                  <a:lnTo>
                    <a:pt x="0" y="25888"/>
                  </a:lnTo>
                </a:path>
              </a:pathLst>
            </a:custGeom>
            <a:ln w="63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879" name="Graphic 2">
            <a:extLst>
              <a:ext uri="{FF2B5EF4-FFF2-40B4-BE49-F238E27FC236}">
                <a16:creationId xmlns:a16="http://schemas.microsoft.com/office/drawing/2014/main" id="{C122C459-2DD6-423D-B240-6D7BDDD98797}"/>
              </a:ext>
            </a:extLst>
          </p:cNvPr>
          <p:cNvGrpSpPr/>
          <p:nvPr/>
        </p:nvGrpSpPr>
        <p:grpSpPr>
          <a:xfrm>
            <a:off x="3749622" y="1938679"/>
            <a:ext cx="5036069" cy="1828485"/>
            <a:chOff x="5397852" y="2471440"/>
            <a:chExt cx="2151751" cy="1326399"/>
          </a:xfrm>
          <a:noFill/>
        </p:grpSpPr>
        <p:sp>
          <p:nvSpPr>
            <p:cNvPr id="1880" name="Freeform 829">
              <a:extLst>
                <a:ext uri="{FF2B5EF4-FFF2-40B4-BE49-F238E27FC236}">
                  <a16:creationId xmlns:a16="http://schemas.microsoft.com/office/drawing/2014/main" id="{ABFF2B44-C479-46ED-BBAB-CB761B9BD5FA}"/>
                </a:ext>
              </a:extLst>
            </p:cNvPr>
            <p:cNvSpPr/>
            <p:nvPr/>
          </p:nvSpPr>
          <p:spPr>
            <a:xfrm>
              <a:off x="5397852" y="2471440"/>
              <a:ext cx="2137708" cy="1311752"/>
            </a:xfrm>
            <a:custGeom>
              <a:avLst/>
              <a:gdLst>
                <a:gd name="connsiteX0" fmla="*/ 0 w 2137708"/>
                <a:gd name="connsiteY0" fmla="*/ 0 h 1311752"/>
                <a:gd name="connsiteX1" fmla="*/ 35559 w 2137708"/>
                <a:gd name="connsiteY1" fmla="*/ 0 h 1311752"/>
                <a:gd name="connsiteX2" fmla="*/ 35559 w 2137708"/>
                <a:gd name="connsiteY2" fmla="*/ 5109 h 1311752"/>
                <a:gd name="connsiteX3" fmla="*/ 50960 w 2137708"/>
                <a:gd name="connsiteY3" fmla="*/ 5109 h 1311752"/>
                <a:gd name="connsiteX4" fmla="*/ 50960 w 2137708"/>
                <a:gd name="connsiteY4" fmla="*/ 15328 h 1311752"/>
                <a:gd name="connsiteX5" fmla="*/ 57415 w 2137708"/>
                <a:gd name="connsiteY5" fmla="*/ 15328 h 1311752"/>
                <a:gd name="connsiteX6" fmla="*/ 57415 w 2137708"/>
                <a:gd name="connsiteY6" fmla="*/ 24979 h 1311752"/>
                <a:gd name="connsiteX7" fmla="*/ 61378 w 2137708"/>
                <a:gd name="connsiteY7" fmla="*/ 24979 h 1311752"/>
                <a:gd name="connsiteX8" fmla="*/ 61378 w 2137708"/>
                <a:gd name="connsiteY8" fmla="*/ 26682 h 1311752"/>
                <a:gd name="connsiteX9" fmla="*/ 65682 w 2137708"/>
                <a:gd name="connsiteY9" fmla="*/ 26682 h 1311752"/>
                <a:gd name="connsiteX10" fmla="*/ 65682 w 2137708"/>
                <a:gd name="connsiteY10" fmla="*/ 35879 h 1311752"/>
                <a:gd name="connsiteX11" fmla="*/ 70891 w 2137708"/>
                <a:gd name="connsiteY11" fmla="*/ 35879 h 1311752"/>
                <a:gd name="connsiteX12" fmla="*/ 70891 w 2137708"/>
                <a:gd name="connsiteY12" fmla="*/ 40762 h 1311752"/>
                <a:gd name="connsiteX13" fmla="*/ 73835 w 2137708"/>
                <a:gd name="connsiteY13" fmla="*/ 40762 h 1311752"/>
                <a:gd name="connsiteX14" fmla="*/ 73835 w 2137708"/>
                <a:gd name="connsiteY14" fmla="*/ 45530 h 1311752"/>
                <a:gd name="connsiteX15" fmla="*/ 79044 w 2137708"/>
                <a:gd name="connsiteY15" fmla="*/ 45530 h 1311752"/>
                <a:gd name="connsiteX16" fmla="*/ 79044 w 2137708"/>
                <a:gd name="connsiteY16" fmla="*/ 55522 h 1311752"/>
                <a:gd name="connsiteX17" fmla="*/ 82328 w 2137708"/>
                <a:gd name="connsiteY17" fmla="*/ 55522 h 1311752"/>
                <a:gd name="connsiteX18" fmla="*/ 82328 w 2137708"/>
                <a:gd name="connsiteY18" fmla="*/ 59383 h 1311752"/>
                <a:gd name="connsiteX19" fmla="*/ 86292 w 2137708"/>
                <a:gd name="connsiteY19" fmla="*/ 59383 h 1311752"/>
                <a:gd name="connsiteX20" fmla="*/ 86292 w 2137708"/>
                <a:gd name="connsiteY20" fmla="*/ 66309 h 1311752"/>
                <a:gd name="connsiteX21" fmla="*/ 101806 w 2137708"/>
                <a:gd name="connsiteY21" fmla="*/ 66309 h 1311752"/>
                <a:gd name="connsiteX22" fmla="*/ 101806 w 2137708"/>
                <a:gd name="connsiteY22" fmla="*/ 75733 h 1311752"/>
                <a:gd name="connsiteX23" fmla="*/ 105883 w 2137708"/>
                <a:gd name="connsiteY23" fmla="*/ 75733 h 1311752"/>
                <a:gd name="connsiteX24" fmla="*/ 105883 w 2137708"/>
                <a:gd name="connsiteY24" fmla="*/ 85951 h 1311752"/>
                <a:gd name="connsiteX25" fmla="*/ 109281 w 2137708"/>
                <a:gd name="connsiteY25" fmla="*/ 85951 h 1311752"/>
                <a:gd name="connsiteX26" fmla="*/ 109281 w 2137708"/>
                <a:gd name="connsiteY26" fmla="*/ 89698 h 1311752"/>
                <a:gd name="connsiteX27" fmla="*/ 111545 w 2137708"/>
                <a:gd name="connsiteY27" fmla="*/ 89698 h 1311752"/>
                <a:gd name="connsiteX28" fmla="*/ 111545 w 2137708"/>
                <a:gd name="connsiteY28" fmla="*/ 107411 h 1311752"/>
                <a:gd name="connsiteX29" fmla="*/ 116075 w 2137708"/>
                <a:gd name="connsiteY29" fmla="*/ 107411 h 1311752"/>
                <a:gd name="connsiteX30" fmla="*/ 116075 w 2137708"/>
                <a:gd name="connsiteY30" fmla="*/ 111725 h 1311752"/>
                <a:gd name="connsiteX31" fmla="*/ 123096 w 2137708"/>
                <a:gd name="connsiteY31" fmla="*/ 111725 h 1311752"/>
                <a:gd name="connsiteX32" fmla="*/ 123096 w 2137708"/>
                <a:gd name="connsiteY32" fmla="*/ 117289 h 1311752"/>
                <a:gd name="connsiteX33" fmla="*/ 125135 w 2137708"/>
                <a:gd name="connsiteY33" fmla="*/ 117289 h 1311752"/>
                <a:gd name="connsiteX34" fmla="*/ 125135 w 2137708"/>
                <a:gd name="connsiteY34" fmla="*/ 120922 h 1311752"/>
                <a:gd name="connsiteX35" fmla="*/ 129098 w 2137708"/>
                <a:gd name="connsiteY35" fmla="*/ 120922 h 1311752"/>
                <a:gd name="connsiteX36" fmla="*/ 129098 w 2137708"/>
                <a:gd name="connsiteY36" fmla="*/ 126713 h 1311752"/>
                <a:gd name="connsiteX37" fmla="*/ 130344 w 2137708"/>
                <a:gd name="connsiteY37" fmla="*/ 126713 h 1311752"/>
                <a:gd name="connsiteX38" fmla="*/ 130344 w 2137708"/>
                <a:gd name="connsiteY38" fmla="*/ 129552 h 1311752"/>
                <a:gd name="connsiteX39" fmla="*/ 131590 w 2137708"/>
                <a:gd name="connsiteY39" fmla="*/ 129552 h 1311752"/>
                <a:gd name="connsiteX40" fmla="*/ 131590 w 2137708"/>
                <a:gd name="connsiteY40" fmla="*/ 131709 h 1311752"/>
                <a:gd name="connsiteX41" fmla="*/ 133741 w 2137708"/>
                <a:gd name="connsiteY41" fmla="*/ 131709 h 1311752"/>
                <a:gd name="connsiteX42" fmla="*/ 133741 w 2137708"/>
                <a:gd name="connsiteY42" fmla="*/ 138408 h 1311752"/>
                <a:gd name="connsiteX43" fmla="*/ 137252 w 2137708"/>
                <a:gd name="connsiteY43" fmla="*/ 138408 h 1311752"/>
                <a:gd name="connsiteX44" fmla="*/ 137252 w 2137708"/>
                <a:gd name="connsiteY44" fmla="*/ 141473 h 1311752"/>
                <a:gd name="connsiteX45" fmla="*/ 139517 w 2137708"/>
                <a:gd name="connsiteY45" fmla="*/ 141473 h 1311752"/>
                <a:gd name="connsiteX46" fmla="*/ 139517 w 2137708"/>
                <a:gd name="connsiteY46" fmla="*/ 157029 h 1311752"/>
                <a:gd name="connsiteX47" fmla="*/ 142235 w 2137708"/>
                <a:gd name="connsiteY47" fmla="*/ 157029 h 1311752"/>
                <a:gd name="connsiteX48" fmla="*/ 142235 w 2137708"/>
                <a:gd name="connsiteY48" fmla="*/ 163728 h 1311752"/>
                <a:gd name="connsiteX49" fmla="*/ 149935 w 2137708"/>
                <a:gd name="connsiteY49" fmla="*/ 163728 h 1311752"/>
                <a:gd name="connsiteX50" fmla="*/ 149935 w 2137708"/>
                <a:gd name="connsiteY50" fmla="*/ 172243 h 1311752"/>
                <a:gd name="connsiteX51" fmla="*/ 152087 w 2137708"/>
                <a:gd name="connsiteY51" fmla="*/ 172243 h 1311752"/>
                <a:gd name="connsiteX52" fmla="*/ 152087 w 2137708"/>
                <a:gd name="connsiteY52" fmla="*/ 178034 h 1311752"/>
                <a:gd name="connsiteX53" fmla="*/ 154805 w 2137708"/>
                <a:gd name="connsiteY53" fmla="*/ 178034 h 1311752"/>
                <a:gd name="connsiteX54" fmla="*/ 154805 w 2137708"/>
                <a:gd name="connsiteY54" fmla="*/ 179851 h 1311752"/>
                <a:gd name="connsiteX55" fmla="*/ 156956 w 2137708"/>
                <a:gd name="connsiteY55" fmla="*/ 179851 h 1311752"/>
                <a:gd name="connsiteX56" fmla="*/ 156956 w 2137708"/>
                <a:gd name="connsiteY56" fmla="*/ 184619 h 1311752"/>
                <a:gd name="connsiteX57" fmla="*/ 160014 w 2137708"/>
                <a:gd name="connsiteY57" fmla="*/ 184619 h 1311752"/>
                <a:gd name="connsiteX58" fmla="*/ 160014 w 2137708"/>
                <a:gd name="connsiteY58" fmla="*/ 188934 h 1311752"/>
                <a:gd name="connsiteX59" fmla="*/ 162732 w 2137708"/>
                <a:gd name="connsiteY59" fmla="*/ 188934 h 1311752"/>
                <a:gd name="connsiteX60" fmla="*/ 162732 w 2137708"/>
                <a:gd name="connsiteY60" fmla="*/ 194838 h 1311752"/>
                <a:gd name="connsiteX61" fmla="*/ 166242 w 2137708"/>
                <a:gd name="connsiteY61" fmla="*/ 194838 h 1311752"/>
                <a:gd name="connsiteX62" fmla="*/ 166242 w 2137708"/>
                <a:gd name="connsiteY62" fmla="*/ 199266 h 1311752"/>
                <a:gd name="connsiteX63" fmla="*/ 167262 w 2137708"/>
                <a:gd name="connsiteY63" fmla="*/ 199266 h 1311752"/>
                <a:gd name="connsiteX64" fmla="*/ 167262 w 2137708"/>
                <a:gd name="connsiteY64" fmla="*/ 202219 h 1311752"/>
                <a:gd name="connsiteX65" fmla="*/ 169300 w 2137708"/>
                <a:gd name="connsiteY65" fmla="*/ 202219 h 1311752"/>
                <a:gd name="connsiteX66" fmla="*/ 169300 w 2137708"/>
                <a:gd name="connsiteY66" fmla="*/ 205171 h 1311752"/>
                <a:gd name="connsiteX67" fmla="*/ 178473 w 2137708"/>
                <a:gd name="connsiteY67" fmla="*/ 205171 h 1311752"/>
                <a:gd name="connsiteX68" fmla="*/ 178473 w 2137708"/>
                <a:gd name="connsiteY68" fmla="*/ 231626 h 1311752"/>
                <a:gd name="connsiteX69" fmla="*/ 180738 w 2137708"/>
                <a:gd name="connsiteY69" fmla="*/ 231626 h 1311752"/>
                <a:gd name="connsiteX70" fmla="*/ 180738 w 2137708"/>
                <a:gd name="connsiteY70" fmla="*/ 244910 h 1311752"/>
                <a:gd name="connsiteX71" fmla="*/ 188778 w 2137708"/>
                <a:gd name="connsiteY71" fmla="*/ 244910 h 1311752"/>
                <a:gd name="connsiteX72" fmla="*/ 188778 w 2137708"/>
                <a:gd name="connsiteY72" fmla="*/ 246727 h 1311752"/>
                <a:gd name="connsiteX73" fmla="*/ 190477 w 2137708"/>
                <a:gd name="connsiteY73" fmla="*/ 246727 h 1311752"/>
                <a:gd name="connsiteX74" fmla="*/ 190477 w 2137708"/>
                <a:gd name="connsiteY74" fmla="*/ 251723 h 1311752"/>
                <a:gd name="connsiteX75" fmla="*/ 193421 w 2137708"/>
                <a:gd name="connsiteY75" fmla="*/ 251723 h 1311752"/>
                <a:gd name="connsiteX76" fmla="*/ 193421 w 2137708"/>
                <a:gd name="connsiteY76" fmla="*/ 256037 h 1311752"/>
                <a:gd name="connsiteX77" fmla="*/ 196931 w 2137708"/>
                <a:gd name="connsiteY77" fmla="*/ 256037 h 1311752"/>
                <a:gd name="connsiteX78" fmla="*/ 196931 w 2137708"/>
                <a:gd name="connsiteY78" fmla="*/ 259103 h 1311752"/>
                <a:gd name="connsiteX79" fmla="*/ 198630 w 2137708"/>
                <a:gd name="connsiteY79" fmla="*/ 259103 h 1311752"/>
                <a:gd name="connsiteX80" fmla="*/ 198630 w 2137708"/>
                <a:gd name="connsiteY80" fmla="*/ 262169 h 1311752"/>
                <a:gd name="connsiteX81" fmla="*/ 201008 w 2137708"/>
                <a:gd name="connsiteY81" fmla="*/ 262169 h 1311752"/>
                <a:gd name="connsiteX82" fmla="*/ 201008 w 2137708"/>
                <a:gd name="connsiteY82" fmla="*/ 266938 h 1311752"/>
                <a:gd name="connsiteX83" fmla="*/ 203613 w 2137708"/>
                <a:gd name="connsiteY83" fmla="*/ 266938 h 1311752"/>
                <a:gd name="connsiteX84" fmla="*/ 203613 w 2137708"/>
                <a:gd name="connsiteY84" fmla="*/ 271252 h 1311752"/>
                <a:gd name="connsiteX85" fmla="*/ 206444 w 2137708"/>
                <a:gd name="connsiteY85" fmla="*/ 271252 h 1311752"/>
                <a:gd name="connsiteX86" fmla="*/ 206444 w 2137708"/>
                <a:gd name="connsiteY86" fmla="*/ 277043 h 1311752"/>
                <a:gd name="connsiteX87" fmla="*/ 209388 w 2137708"/>
                <a:gd name="connsiteY87" fmla="*/ 277043 h 1311752"/>
                <a:gd name="connsiteX88" fmla="*/ 209388 w 2137708"/>
                <a:gd name="connsiteY88" fmla="*/ 282493 h 1311752"/>
                <a:gd name="connsiteX89" fmla="*/ 214937 w 2137708"/>
                <a:gd name="connsiteY89" fmla="*/ 282493 h 1311752"/>
                <a:gd name="connsiteX90" fmla="*/ 214937 w 2137708"/>
                <a:gd name="connsiteY90" fmla="*/ 287034 h 1311752"/>
                <a:gd name="connsiteX91" fmla="*/ 216183 w 2137708"/>
                <a:gd name="connsiteY91" fmla="*/ 287034 h 1311752"/>
                <a:gd name="connsiteX92" fmla="*/ 216183 w 2137708"/>
                <a:gd name="connsiteY92" fmla="*/ 292598 h 1311752"/>
                <a:gd name="connsiteX93" fmla="*/ 222751 w 2137708"/>
                <a:gd name="connsiteY93" fmla="*/ 292598 h 1311752"/>
                <a:gd name="connsiteX94" fmla="*/ 222751 w 2137708"/>
                <a:gd name="connsiteY94" fmla="*/ 297480 h 1311752"/>
                <a:gd name="connsiteX95" fmla="*/ 227168 w 2137708"/>
                <a:gd name="connsiteY95" fmla="*/ 297480 h 1311752"/>
                <a:gd name="connsiteX96" fmla="*/ 227168 w 2137708"/>
                <a:gd name="connsiteY96" fmla="*/ 299524 h 1311752"/>
                <a:gd name="connsiteX97" fmla="*/ 228413 w 2137708"/>
                <a:gd name="connsiteY97" fmla="*/ 299524 h 1311752"/>
                <a:gd name="connsiteX98" fmla="*/ 228413 w 2137708"/>
                <a:gd name="connsiteY98" fmla="*/ 308153 h 1311752"/>
                <a:gd name="connsiteX99" fmla="*/ 233849 w 2137708"/>
                <a:gd name="connsiteY99" fmla="*/ 308153 h 1311752"/>
                <a:gd name="connsiteX100" fmla="*/ 233849 w 2137708"/>
                <a:gd name="connsiteY100" fmla="*/ 328477 h 1311752"/>
                <a:gd name="connsiteX101" fmla="*/ 240191 w 2137708"/>
                <a:gd name="connsiteY101" fmla="*/ 328477 h 1311752"/>
                <a:gd name="connsiteX102" fmla="*/ 240191 w 2137708"/>
                <a:gd name="connsiteY102" fmla="*/ 335744 h 1311752"/>
                <a:gd name="connsiteX103" fmla="*/ 241550 w 2137708"/>
                <a:gd name="connsiteY103" fmla="*/ 335744 h 1311752"/>
                <a:gd name="connsiteX104" fmla="*/ 241550 w 2137708"/>
                <a:gd name="connsiteY104" fmla="*/ 348801 h 1311752"/>
                <a:gd name="connsiteX105" fmla="*/ 249024 w 2137708"/>
                <a:gd name="connsiteY105" fmla="*/ 348801 h 1311752"/>
                <a:gd name="connsiteX106" fmla="*/ 249024 w 2137708"/>
                <a:gd name="connsiteY106" fmla="*/ 354251 h 1311752"/>
                <a:gd name="connsiteX107" fmla="*/ 251855 w 2137708"/>
                <a:gd name="connsiteY107" fmla="*/ 354251 h 1311752"/>
                <a:gd name="connsiteX108" fmla="*/ 251855 w 2137708"/>
                <a:gd name="connsiteY108" fmla="*/ 359361 h 1311752"/>
                <a:gd name="connsiteX109" fmla="*/ 254346 w 2137708"/>
                <a:gd name="connsiteY109" fmla="*/ 359361 h 1311752"/>
                <a:gd name="connsiteX110" fmla="*/ 254346 w 2137708"/>
                <a:gd name="connsiteY110" fmla="*/ 364243 h 1311752"/>
                <a:gd name="connsiteX111" fmla="*/ 256838 w 2137708"/>
                <a:gd name="connsiteY111" fmla="*/ 364243 h 1311752"/>
                <a:gd name="connsiteX112" fmla="*/ 256838 w 2137708"/>
                <a:gd name="connsiteY112" fmla="*/ 374121 h 1311752"/>
                <a:gd name="connsiteX113" fmla="*/ 259669 w 2137708"/>
                <a:gd name="connsiteY113" fmla="*/ 374121 h 1311752"/>
                <a:gd name="connsiteX114" fmla="*/ 259669 w 2137708"/>
                <a:gd name="connsiteY114" fmla="*/ 379685 h 1311752"/>
                <a:gd name="connsiteX115" fmla="*/ 267256 w 2137708"/>
                <a:gd name="connsiteY115" fmla="*/ 379685 h 1311752"/>
                <a:gd name="connsiteX116" fmla="*/ 267256 w 2137708"/>
                <a:gd name="connsiteY116" fmla="*/ 385135 h 1311752"/>
                <a:gd name="connsiteX117" fmla="*/ 274051 w 2137708"/>
                <a:gd name="connsiteY117" fmla="*/ 385135 h 1311752"/>
                <a:gd name="connsiteX118" fmla="*/ 274051 w 2137708"/>
                <a:gd name="connsiteY118" fmla="*/ 390017 h 1311752"/>
                <a:gd name="connsiteX119" fmla="*/ 283337 w 2137708"/>
                <a:gd name="connsiteY119" fmla="*/ 390017 h 1311752"/>
                <a:gd name="connsiteX120" fmla="*/ 283337 w 2137708"/>
                <a:gd name="connsiteY120" fmla="*/ 396943 h 1311752"/>
                <a:gd name="connsiteX121" fmla="*/ 284922 w 2137708"/>
                <a:gd name="connsiteY121" fmla="*/ 396943 h 1311752"/>
                <a:gd name="connsiteX122" fmla="*/ 284922 w 2137708"/>
                <a:gd name="connsiteY122" fmla="*/ 401144 h 1311752"/>
                <a:gd name="connsiteX123" fmla="*/ 288206 w 2137708"/>
                <a:gd name="connsiteY123" fmla="*/ 401144 h 1311752"/>
                <a:gd name="connsiteX124" fmla="*/ 288206 w 2137708"/>
                <a:gd name="connsiteY124" fmla="*/ 405459 h 1311752"/>
                <a:gd name="connsiteX125" fmla="*/ 299531 w 2137708"/>
                <a:gd name="connsiteY125" fmla="*/ 405459 h 1311752"/>
                <a:gd name="connsiteX126" fmla="*/ 299531 w 2137708"/>
                <a:gd name="connsiteY126" fmla="*/ 411817 h 1311752"/>
                <a:gd name="connsiteX127" fmla="*/ 301229 w 2137708"/>
                <a:gd name="connsiteY127" fmla="*/ 411817 h 1311752"/>
                <a:gd name="connsiteX128" fmla="*/ 301229 w 2137708"/>
                <a:gd name="connsiteY128" fmla="*/ 416132 h 1311752"/>
                <a:gd name="connsiteX129" fmla="*/ 312101 w 2137708"/>
                <a:gd name="connsiteY129" fmla="*/ 416132 h 1311752"/>
                <a:gd name="connsiteX130" fmla="*/ 312101 w 2137708"/>
                <a:gd name="connsiteY130" fmla="*/ 426464 h 1311752"/>
                <a:gd name="connsiteX131" fmla="*/ 317423 w 2137708"/>
                <a:gd name="connsiteY131" fmla="*/ 426464 h 1311752"/>
                <a:gd name="connsiteX132" fmla="*/ 317423 w 2137708"/>
                <a:gd name="connsiteY132" fmla="*/ 431347 h 1311752"/>
                <a:gd name="connsiteX133" fmla="*/ 320368 w 2137708"/>
                <a:gd name="connsiteY133" fmla="*/ 431347 h 1311752"/>
                <a:gd name="connsiteX134" fmla="*/ 320368 w 2137708"/>
                <a:gd name="connsiteY134" fmla="*/ 436456 h 1311752"/>
                <a:gd name="connsiteX135" fmla="*/ 322179 w 2137708"/>
                <a:gd name="connsiteY135" fmla="*/ 436456 h 1311752"/>
                <a:gd name="connsiteX136" fmla="*/ 322179 w 2137708"/>
                <a:gd name="connsiteY136" fmla="*/ 451671 h 1311752"/>
                <a:gd name="connsiteX137" fmla="*/ 326143 w 2137708"/>
                <a:gd name="connsiteY137" fmla="*/ 451671 h 1311752"/>
                <a:gd name="connsiteX138" fmla="*/ 326143 w 2137708"/>
                <a:gd name="connsiteY138" fmla="*/ 454509 h 1311752"/>
                <a:gd name="connsiteX139" fmla="*/ 328181 w 2137708"/>
                <a:gd name="connsiteY139" fmla="*/ 454509 h 1311752"/>
                <a:gd name="connsiteX140" fmla="*/ 328181 w 2137708"/>
                <a:gd name="connsiteY140" fmla="*/ 457234 h 1311752"/>
                <a:gd name="connsiteX141" fmla="*/ 330673 w 2137708"/>
                <a:gd name="connsiteY141" fmla="*/ 457234 h 1311752"/>
                <a:gd name="connsiteX142" fmla="*/ 330673 w 2137708"/>
                <a:gd name="connsiteY142" fmla="*/ 468702 h 1311752"/>
                <a:gd name="connsiteX143" fmla="*/ 333051 w 2137708"/>
                <a:gd name="connsiteY143" fmla="*/ 468702 h 1311752"/>
                <a:gd name="connsiteX144" fmla="*/ 333051 w 2137708"/>
                <a:gd name="connsiteY144" fmla="*/ 473016 h 1311752"/>
                <a:gd name="connsiteX145" fmla="*/ 335882 w 2137708"/>
                <a:gd name="connsiteY145" fmla="*/ 473016 h 1311752"/>
                <a:gd name="connsiteX146" fmla="*/ 335882 w 2137708"/>
                <a:gd name="connsiteY146" fmla="*/ 478921 h 1311752"/>
                <a:gd name="connsiteX147" fmla="*/ 337014 w 2137708"/>
                <a:gd name="connsiteY147" fmla="*/ 478921 h 1311752"/>
                <a:gd name="connsiteX148" fmla="*/ 337014 w 2137708"/>
                <a:gd name="connsiteY148" fmla="*/ 483689 h 1311752"/>
                <a:gd name="connsiteX149" fmla="*/ 339619 w 2137708"/>
                <a:gd name="connsiteY149" fmla="*/ 483689 h 1311752"/>
                <a:gd name="connsiteX150" fmla="*/ 339619 w 2137708"/>
                <a:gd name="connsiteY150" fmla="*/ 485960 h 1311752"/>
                <a:gd name="connsiteX151" fmla="*/ 340978 w 2137708"/>
                <a:gd name="connsiteY151" fmla="*/ 485960 h 1311752"/>
                <a:gd name="connsiteX152" fmla="*/ 340978 w 2137708"/>
                <a:gd name="connsiteY152" fmla="*/ 487890 h 1311752"/>
                <a:gd name="connsiteX153" fmla="*/ 343016 w 2137708"/>
                <a:gd name="connsiteY153" fmla="*/ 487890 h 1311752"/>
                <a:gd name="connsiteX154" fmla="*/ 343016 w 2137708"/>
                <a:gd name="connsiteY154" fmla="*/ 489934 h 1311752"/>
                <a:gd name="connsiteX155" fmla="*/ 345961 w 2137708"/>
                <a:gd name="connsiteY155" fmla="*/ 489934 h 1311752"/>
                <a:gd name="connsiteX156" fmla="*/ 345961 w 2137708"/>
                <a:gd name="connsiteY156" fmla="*/ 492886 h 1311752"/>
                <a:gd name="connsiteX157" fmla="*/ 350038 w 2137708"/>
                <a:gd name="connsiteY157" fmla="*/ 492886 h 1311752"/>
                <a:gd name="connsiteX158" fmla="*/ 350038 w 2137708"/>
                <a:gd name="connsiteY158" fmla="*/ 494930 h 1311752"/>
                <a:gd name="connsiteX159" fmla="*/ 352642 w 2137708"/>
                <a:gd name="connsiteY159" fmla="*/ 494930 h 1311752"/>
                <a:gd name="connsiteX160" fmla="*/ 352642 w 2137708"/>
                <a:gd name="connsiteY160" fmla="*/ 501402 h 1311752"/>
                <a:gd name="connsiteX161" fmla="*/ 354794 w 2137708"/>
                <a:gd name="connsiteY161" fmla="*/ 501402 h 1311752"/>
                <a:gd name="connsiteX162" fmla="*/ 354794 w 2137708"/>
                <a:gd name="connsiteY162" fmla="*/ 505490 h 1311752"/>
                <a:gd name="connsiteX163" fmla="*/ 358418 w 2137708"/>
                <a:gd name="connsiteY163" fmla="*/ 505490 h 1311752"/>
                <a:gd name="connsiteX164" fmla="*/ 358418 w 2137708"/>
                <a:gd name="connsiteY164" fmla="*/ 510485 h 1311752"/>
                <a:gd name="connsiteX165" fmla="*/ 370308 w 2137708"/>
                <a:gd name="connsiteY165" fmla="*/ 510485 h 1311752"/>
                <a:gd name="connsiteX166" fmla="*/ 370308 w 2137708"/>
                <a:gd name="connsiteY166" fmla="*/ 513665 h 1311752"/>
                <a:gd name="connsiteX167" fmla="*/ 372573 w 2137708"/>
                <a:gd name="connsiteY167" fmla="*/ 513665 h 1311752"/>
                <a:gd name="connsiteX168" fmla="*/ 372573 w 2137708"/>
                <a:gd name="connsiteY168" fmla="*/ 517979 h 1311752"/>
                <a:gd name="connsiteX169" fmla="*/ 375178 w 2137708"/>
                <a:gd name="connsiteY169" fmla="*/ 517979 h 1311752"/>
                <a:gd name="connsiteX170" fmla="*/ 375178 w 2137708"/>
                <a:gd name="connsiteY170" fmla="*/ 522521 h 1311752"/>
                <a:gd name="connsiteX171" fmla="*/ 377443 w 2137708"/>
                <a:gd name="connsiteY171" fmla="*/ 522521 h 1311752"/>
                <a:gd name="connsiteX172" fmla="*/ 377443 w 2137708"/>
                <a:gd name="connsiteY172" fmla="*/ 527517 h 1311752"/>
                <a:gd name="connsiteX173" fmla="*/ 380953 w 2137708"/>
                <a:gd name="connsiteY173" fmla="*/ 527517 h 1311752"/>
                <a:gd name="connsiteX174" fmla="*/ 380953 w 2137708"/>
                <a:gd name="connsiteY174" fmla="*/ 536259 h 1311752"/>
                <a:gd name="connsiteX175" fmla="*/ 392957 w 2137708"/>
                <a:gd name="connsiteY175" fmla="*/ 536259 h 1311752"/>
                <a:gd name="connsiteX176" fmla="*/ 392957 w 2137708"/>
                <a:gd name="connsiteY176" fmla="*/ 540006 h 1311752"/>
                <a:gd name="connsiteX177" fmla="*/ 395901 w 2137708"/>
                <a:gd name="connsiteY177" fmla="*/ 540006 h 1311752"/>
                <a:gd name="connsiteX178" fmla="*/ 395901 w 2137708"/>
                <a:gd name="connsiteY178" fmla="*/ 550679 h 1311752"/>
                <a:gd name="connsiteX179" fmla="*/ 398959 w 2137708"/>
                <a:gd name="connsiteY179" fmla="*/ 550679 h 1311752"/>
                <a:gd name="connsiteX180" fmla="*/ 398959 w 2137708"/>
                <a:gd name="connsiteY180" fmla="*/ 552837 h 1311752"/>
                <a:gd name="connsiteX181" fmla="*/ 401564 w 2137708"/>
                <a:gd name="connsiteY181" fmla="*/ 552837 h 1311752"/>
                <a:gd name="connsiteX182" fmla="*/ 401564 w 2137708"/>
                <a:gd name="connsiteY182" fmla="*/ 557151 h 1311752"/>
                <a:gd name="connsiteX183" fmla="*/ 409604 w 2137708"/>
                <a:gd name="connsiteY183" fmla="*/ 557151 h 1311752"/>
                <a:gd name="connsiteX184" fmla="*/ 409604 w 2137708"/>
                <a:gd name="connsiteY184" fmla="*/ 563055 h 1311752"/>
                <a:gd name="connsiteX185" fmla="*/ 410850 w 2137708"/>
                <a:gd name="connsiteY185" fmla="*/ 563055 h 1311752"/>
                <a:gd name="connsiteX186" fmla="*/ 410850 w 2137708"/>
                <a:gd name="connsiteY186" fmla="*/ 567824 h 1311752"/>
                <a:gd name="connsiteX187" fmla="*/ 412209 w 2137708"/>
                <a:gd name="connsiteY187" fmla="*/ 567824 h 1311752"/>
                <a:gd name="connsiteX188" fmla="*/ 412209 w 2137708"/>
                <a:gd name="connsiteY188" fmla="*/ 576794 h 1311752"/>
                <a:gd name="connsiteX189" fmla="*/ 413794 w 2137708"/>
                <a:gd name="connsiteY189" fmla="*/ 576794 h 1311752"/>
                <a:gd name="connsiteX190" fmla="*/ 413794 w 2137708"/>
                <a:gd name="connsiteY190" fmla="*/ 582812 h 1311752"/>
                <a:gd name="connsiteX191" fmla="*/ 418777 w 2137708"/>
                <a:gd name="connsiteY191" fmla="*/ 582812 h 1311752"/>
                <a:gd name="connsiteX192" fmla="*/ 418777 w 2137708"/>
                <a:gd name="connsiteY192" fmla="*/ 587013 h 1311752"/>
                <a:gd name="connsiteX193" fmla="*/ 419909 w 2137708"/>
                <a:gd name="connsiteY193" fmla="*/ 587013 h 1311752"/>
                <a:gd name="connsiteX194" fmla="*/ 419909 w 2137708"/>
                <a:gd name="connsiteY194" fmla="*/ 588602 h 1311752"/>
                <a:gd name="connsiteX195" fmla="*/ 423420 w 2137708"/>
                <a:gd name="connsiteY195" fmla="*/ 588602 h 1311752"/>
                <a:gd name="connsiteX196" fmla="*/ 423420 w 2137708"/>
                <a:gd name="connsiteY196" fmla="*/ 603022 h 1311752"/>
                <a:gd name="connsiteX197" fmla="*/ 425911 w 2137708"/>
                <a:gd name="connsiteY197" fmla="*/ 603022 h 1311752"/>
                <a:gd name="connsiteX198" fmla="*/ 425911 w 2137708"/>
                <a:gd name="connsiteY198" fmla="*/ 605974 h 1311752"/>
                <a:gd name="connsiteX199" fmla="*/ 428176 w 2137708"/>
                <a:gd name="connsiteY199" fmla="*/ 605974 h 1311752"/>
                <a:gd name="connsiteX200" fmla="*/ 428176 w 2137708"/>
                <a:gd name="connsiteY200" fmla="*/ 609381 h 1311752"/>
                <a:gd name="connsiteX201" fmla="*/ 438934 w 2137708"/>
                <a:gd name="connsiteY201" fmla="*/ 609381 h 1311752"/>
                <a:gd name="connsiteX202" fmla="*/ 438934 w 2137708"/>
                <a:gd name="connsiteY202" fmla="*/ 627434 h 1311752"/>
                <a:gd name="connsiteX203" fmla="*/ 442331 w 2137708"/>
                <a:gd name="connsiteY203" fmla="*/ 627434 h 1311752"/>
                <a:gd name="connsiteX204" fmla="*/ 442331 w 2137708"/>
                <a:gd name="connsiteY204" fmla="*/ 632430 h 1311752"/>
                <a:gd name="connsiteX205" fmla="*/ 444483 w 2137708"/>
                <a:gd name="connsiteY205" fmla="*/ 632430 h 1311752"/>
                <a:gd name="connsiteX206" fmla="*/ 444483 w 2137708"/>
                <a:gd name="connsiteY206" fmla="*/ 638447 h 1311752"/>
                <a:gd name="connsiteX207" fmla="*/ 446748 w 2137708"/>
                <a:gd name="connsiteY207" fmla="*/ 638447 h 1311752"/>
                <a:gd name="connsiteX208" fmla="*/ 446748 w 2137708"/>
                <a:gd name="connsiteY208" fmla="*/ 644238 h 1311752"/>
                <a:gd name="connsiteX209" fmla="*/ 449126 w 2137708"/>
                <a:gd name="connsiteY209" fmla="*/ 644238 h 1311752"/>
                <a:gd name="connsiteX210" fmla="*/ 449126 w 2137708"/>
                <a:gd name="connsiteY210" fmla="*/ 655138 h 1311752"/>
                <a:gd name="connsiteX211" fmla="*/ 453090 w 2137708"/>
                <a:gd name="connsiteY211" fmla="*/ 655138 h 1311752"/>
                <a:gd name="connsiteX212" fmla="*/ 453090 w 2137708"/>
                <a:gd name="connsiteY212" fmla="*/ 656955 h 1311752"/>
                <a:gd name="connsiteX213" fmla="*/ 459318 w 2137708"/>
                <a:gd name="connsiteY213" fmla="*/ 656955 h 1311752"/>
                <a:gd name="connsiteX214" fmla="*/ 459318 w 2137708"/>
                <a:gd name="connsiteY214" fmla="*/ 662291 h 1311752"/>
                <a:gd name="connsiteX215" fmla="*/ 464301 w 2137708"/>
                <a:gd name="connsiteY215" fmla="*/ 662291 h 1311752"/>
                <a:gd name="connsiteX216" fmla="*/ 464301 w 2137708"/>
                <a:gd name="connsiteY216" fmla="*/ 672510 h 1311752"/>
                <a:gd name="connsiteX217" fmla="*/ 467358 w 2137708"/>
                <a:gd name="connsiteY217" fmla="*/ 672510 h 1311752"/>
                <a:gd name="connsiteX218" fmla="*/ 467358 w 2137708"/>
                <a:gd name="connsiteY218" fmla="*/ 687725 h 1311752"/>
                <a:gd name="connsiteX219" fmla="*/ 473927 w 2137708"/>
                <a:gd name="connsiteY219" fmla="*/ 687725 h 1311752"/>
                <a:gd name="connsiteX220" fmla="*/ 473927 w 2137708"/>
                <a:gd name="connsiteY220" fmla="*/ 695105 h 1311752"/>
                <a:gd name="connsiteX221" fmla="*/ 475738 w 2137708"/>
                <a:gd name="connsiteY221" fmla="*/ 695105 h 1311752"/>
                <a:gd name="connsiteX222" fmla="*/ 475738 w 2137708"/>
                <a:gd name="connsiteY222" fmla="*/ 699079 h 1311752"/>
                <a:gd name="connsiteX223" fmla="*/ 477097 w 2137708"/>
                <a:gd name="connsiteY223" fmla="*/ 699079 h 1311752"/>
                <a:gd name="connsiteX224" fmla="*/ 477097 w 2137708"/>
                <a:gd name="connsiteY224" fmla="*/ 703393 h 1311752"/>
                <a:gd name="connsiteX225" fmla="*/ 481401 w 2137708"/>
                <a:gd name="connsiteY225" fmla="*/ 703393 h 1311752"/>
                <a:gd name="connsiteX226" fmla="*/ 481401 w 2137708"/>
                <a:gd name="connsiteY226" fmla="*/ 708389 h 1311752"/>
                <a:gd name="connsiteX227" fmla="*/ 490347 w 2137708"/>
                <a:gd name="connsiteY227" fmla="*/ 708389 h 1311752"/>
                <a:gd name="connsiteX228" fmla="*/ 490347 w 2137708"/>
                <a:gd name="connsiteY228" fmla="*/ 714407 h 1311752"/>
                <a:gd name="connsiteX229" fmla="*/ 496802 w 2137708"/>
                <a:gd name="connsiteY229" fmla="*/ 714407 h 1311752"/>
                <a:gd name="connsiteX230" fmla="*/ 496802 w 2137708"/>
                <a:gd name="connsiteY230" fmla="*/ 719289 h 1311752"/>
                <a:gd name="connsiteX231" fmla="*/ 518545 w 2137708"/>
                <a:gd name="connsiteY231" fmla="*/ 719289 h 1311752"/>
                <a:gd name="connsiteX232" fmla="*/ 518545 w 2137708"/>
                <a:gd name="connsiteY232" fmla="*/ 724172 h 1311752"/>
                <a:gd name="connsiteX233" fmla="*/ 528057 w 2137708"/>
                <a:gd name="connsiteY233" fmla="*/ 724172 h 1311752"/>
                <a:gd name="connsiteX234" fmla="*/ 528057 w 2137708"/>
                <a:gd name="connsiteY234" fmla="*/ 728827 h 1311752"/>
                <a:gd name="connsiteX235" fmla="*/ 539155 w 2137708"/>
                <a:gd name="connsiteY235" fmla="*/ 728827 h 1311752"/>
                <a:gd name="connsiteX236" fmla="*/ 539155 w 2137708"/>
                <a:gd name="connsiteY236" fmla="*/ 733482 h 1311752"/>
                <a:gd name="connsiteX237" fmla="*/ 540741 w 2137708"/>
                <a:gd name="connsiteY237" fmla="*/ 733482 h 1311752"/>
                <a:gd name="connsiteX238" fmla="*/ 540741 w 2137708"/>
                <a:gd name="connsiteY238" fmla="*/ 735412 h 1311752"/>
                <a:gd name="connsiteX239" fmla="*/ 541760 w 2137708"/>
                <a:gd name="connsiteY239" fmla="*/ 735412 h 1311752"/>
                <a:gd name="connsiteX240" fmla="*/ 541760 w 2137708"/>
                <a:gd name="connsiteY240" fmla="*/ 744382 h 1311752"/>
                <a:gd name="connsiteX241" fmla="*/ 545610 w 2137708"/>
                <a:gd name="connsiteY241" fmla="*/ 744382 h 1311752"/>
                <a:gd name="connsiteX242" fmla="*/ 545610 w 2137708"/>
                <a:gd name="connsiteY242" fmla="*/ 749264 h 1311752"/>
                <a:gd name="connsiteX243" fmla="*/ 552744 w 2137708"/>
                <a:gd name="connsiteY243" fmla="*/ 749264 h 1311752"/>
                <a:gd name="connsiteX244" fmla="*/ 552744 w 2137708"/>
                <a:gd name="connsiteY244" fmla="*/ 755623 h 1311752"/>
                <a:gd name="connsiteX245" fmla="*/ 555576 w 2137708"/>
                <a:gd name="connsiteY245" fmla="*/ 755623 h 1311752"/>
                <a:gd name="connsiteX246" fmla="*/ 555576 w 2137708"/>
                <a:gd name="connsiteY246" fmla="*/ 760392 h 1311752"/>
                <a:gd name="connsiteX247" fmla="*/ 559879 w 2137708"/>
                <a:gd name="connsiteY247" fmla="*/ 760392 h 1311752"/>
                <a:gd name="connsiteX248" fmla="*/ 559879 w 2137708"/>
                <a:gd name="connsiteY248" fmla="*/ 765614 h 1311752"/>
                <a:gd name="connsiteX249" fmla="*/ 562030 w 2137708"/>
                <a:gd name="connsiteY249" fmla="*/ 765614 h 1311752"/>
                <a:gd name="connsiteX250" fmla="*/ 562030 w 2137708"/>
                <a:gd name="connsiteY250" fmla="*/ 770383 h 1311752"/>
                <a:gd name="connsiteX251" fmla="*/ 564522 w 2137708"/>
                <a:gd name="connsiteY251" fmla="*/ 770383 h 1311752"/>
                <a:gd name="connsiteX252" fmla="*/ 564522 w 2137708"/>
                <a:gd name="connsiteY252" fmla="*/ 772086 h 1311752"/>
                <a:gd name="connsiteX253" fmla="*/ 570864 w 2137708"/>
                <a:gd name="connsiteY253" fmla="*/ 772086 h 1311752"/>
                <a:gd name="connsiteX254" fmla="*/ 570864 w 2137708"/>
                <a:gd name="connsiteY254" fmla="*/ 776174 h 1311752"/>
                <a:gd name="connsiteX255" fmla="*/ 571996 w 2137708"/>
                <a:gd name="connsiteY255" fmla="*/ 776174 h 1311752"/>
                <a:gd name="connsiteX256" fmla="*/ 571996 w 2137708"/>
                <a:gd name="connsiteY256" fmla="*/ 782873 h 1311752"/>
                <a:gd name="connsiteX257" fmla="*/ 575733 w 2137708"/>
                <a:gd name="connsiteY257" fmla="*/ 782873 h 1311752"/>
                <a:gd name="connsiteX258" fmla="*/ 575733 w 2137708"/>
                <a:gd name="connsiteY258" fmla="*/ 787755 h 1311752"/>
                <a:gd name="connsiteX259" fmla="*/ 588643 w 2137708"/>
                <a:gd name="connsiteY259" fmla="*/ 787755 h 1311752"/>
                <a:gd name="connsiteX260" fmla="*/ 588643 w 2137708"/>
                <a:gd name="connsiteY260" fmla="*/ 803651 h 1311752"/>
                <a:gd name="connsiteX261" fmla="*/ 605516 w 2137708"/>
                <a:gd name="connsiteY261" fmla="*/ 803651 h 1311752"/>
                <a:gd name="connsiteX262" fmla="*/ 605516 w 2137708"/>
                <a:gd name="connsiteY262" fmla="*/ 807057 h 1311752"/>
                <a:gd name="connsiteX263" fmla="*/ 607668 w 2137708"/>
                <a:gd name="connsiteY263" fmla="*/ 807057 h 1311752"/>
                <a:gd name="connsiteX264" fmla="*/ 607668 w 2137708"/>
                <a:gd name="connsiteY264" fmla="*/ 808533 h 1311752"/>
                <a:gd name="connsiteX265" fmla="*/ 609819 w 2137708"/>
                <a:gd name="connsiteY265" fmla="*/ 808533 h 1311752"/>
                <a:gd name="connsiteX266" fmla="*/ 609819 w 2137708"/>
                <a:gd name="connsiteY266" fmla="*/ 813302 h 1311752"/>
                <a:gd name="connsiteX267" fmla="*/ 622956 w 2137708"/>
                <a:gd name="connsiteY267" fmla="*/ 813302 h 1311752"/>
                <a:gd name="connsiteX268" fmla="*/ 622956 w 2137708"/>
                <a:gd name="connsiteY268" fmla="*/ 814778 h 1311752"/>
                <a:gd name="connsiteX269" fmla="*/ 624202 w 2137708"/>
                <a:gd name="connsiteY269" fmla="*/ 814778 h 1311752"/>
                <a:gd name="connsiteX270" fmla="*/ 624202 w 2137708"/>
                <a:gd name="connsiteY270" fmla="*/ 818979 h 1311752"/>
                <a:gd name="connsiteX271" fmla="*/ 630883 w 2137708"/>
                <a:gd name="connsiteY271" fmla="*/ 818979 h 1311752"/>
                <a:gd name="connsiteX272" fmla="*/ 630883 w 2137708"/>
                <a:gd name="connsiteY272" fmla="*/ 823407 h 1311752"/>
                <a:gd name="connsiteX273" fmla="*/ 636319 w 2137708"/>
                <a:gd name="connsiteY273" fmla="*/ 823407 h 1311752"/>
                <a:gd name="connsiteX274" fmla="*/ 636319 w 2137708"/>
                <a:gd name="connsiteY274" fmla="*/ 828630 h 1311752"/>
                <a:gd name="connsiteX275" fmla="*/ 642321 w 2137708"/>
                <a:gd name="connsiteY275" fmla="*/ 828630 h 1311752"/>
                <a:gd name="connsiteX276" fmla="*/ 642321 w 2137708"/>
                <a:gd name="connsiteY276" fmla="*/ 833172 h 1311752"/>
                <a:gd name="connsiteX277" fmla="*/ 645265 w 2137708"/>
                <a:gd name="connsiteY277" fmla="*/ 833172 h 1311752"/>
                <a:gd name="connsiteX278" fmla="*/ 645265 w 2137708"/>
                <a:gd name="connsiteY278" fmla="*/ 839417 h 1311752"/>
                <a:gd name="connsiteX279" fmla="*/ 648096 w 2137708"/>
                <a:gd name="connsiteY279" fmla="*/ 839417 h 1311752"/>
                <a:gd name="connsiteX280" fmla="*/ 648096 w 2137708"/>
                <a:gd name="connsiteY280" fmla="*/ 840552 h 1311752"/>
                <a:gd name="connsiteX281" fmla="*/ 650474 w 2137708"/>
                <a:gd name="connsiteY281" fmla="*/ 840552 h 1311752"/>
                <a:gd name="connsiteX282" fmla="*/ 650474 w 2137708"/>
                <a:gd name="connsiteY282" fmla="*/ 843959 h 1311752"/>
                <a:gd name="connsiteX283" fmla="*/ 656363 w 2137708"/>
                <a:gd name="connsiteY283" fmla="*/ 843959 h 1311752"/>
                <a:gd name="connsiteX284" fmla="*/ 656363 w 2137708"/>
                <a:gd name="connsiteY284" fmla="*/ 849522 h 1311752"/>
                <a:gd name="connsiteX285" fmla="*/ 664516 w 2137708"/>
                <a:gd name="connsiteY285" fmla="*/ 849522 h 1311752"/>
                <a:gd name="connsiteX286" fmla="*/ 664516 w 2137708"/>
                <a:gd name="connsiteY286" fmla="*/ 854518 h 1311752"/>
                <a:gd name="connsiteX287" fmla="*/ 671198 w 2137708"/>
                <a:gd name="connsiteY287" fmla="*/ 854518 h 1311752"/>
                <a:gd name="connsiteX288" fmla="*/ 671198 w 2137708"/>
                <a:gd name="connsiteY288" fmla="*/ 859400 h 1311752"/>
                <a:gd name="connsiteX289" fmla="*/ 676633 w 2137708"/>
                <a:gd name="connsiteY289" fmla="*/ 859400 h 1311752"/>
                <a:gd name="connsiteX290" fmla="*/ 676633 w 2137708"/>
                <a:gd name="connsiteY290" fmla="*/ 861103 h 1311752"/>
                <a:gd name="connsiteX291" fmla="*/ 677653 w 2137708"/>
                <a:gd name="connsiteY291" fmla="*/ 861103 h 1311752"/>
                <a:gd name="connsiteX292" fmla="*/ 677653 w 2137708"/>
                <a:gd name="connsiteY292" fmla="*/ 865418 h 1311752"/>
                <a:gd name="connsiteX293" fmla="*/ 692601 w 2137708"/>
                <a:gd name="connsiteY293" fmla="*/ 865418 h 1311752"/>
                <a:gd name="connsiteX294" fmla="*/ 692601 w 2137708"/>
                <a:gd name="connsiteY294" fmla="*/ 870527 h 1311752"/>
                <a:gd name="connsiteX295" fmla="*/ 693847 w 2137708"/>
                <a:gd name="connsiteY295" fmla="*/ 870527 h 1311752"/>
                <a:gd name="connsiteX296" fmla="*/ 693847 w 2137708"/>
                <a:gd name="connsiteY296" fmla="*/ 872798 h 1311752"/>
                <a:gd name="connsiteX297" fmla="*/ 696791 w 2137708"/>
                <a:gd name="connsiteY297" fmla="*/ 872798 h 1311752"/>
                <a:gd name="connsiteX298" fmla="*/ 696791 w 2137708"/>
                <a:gd name="connsiteY298" fmla="*/ 880973 h 1311752"/>
                <a:gd name="connsiteX299" fmla="*/ 701547 w 2137708"/>
                <a:gd name="connsiteY299" fmla="*/ 880973 h 1311752"/>
                <a:gd name="connsiteX300" fmla="*/ 701547 w 2137708"/>
                <a:gd name="connsiteY300" fmla="*/ 884720 h 1311752"/>
                <a:gd name="connsiteX301" fmla="*/ 703133 w 2137708"/>
                <a:gd name="connsiteY301" fmla="*/ 884720 h 1311752"/>
                <a:gd name="connsiteX302" fmla="*/ 703133 w 2137708"/>
                <a:gd name="connsiteY302" fmla="*/ 886991 h 1311752"/>
                <a:gd name="connsiteX303" fmla="*/ 705058 w 2137708"/>
                <a:gd name="connsiteY303" fmla="*/ 886991 h 1311752"/>
                <a:gd name="connsiteX304" fmla="*/ 705058 w 2137708"/>
                <a:gd name="connsiteY304" fmla="*/ 889035 h 1311752"/>
                <a:gd name="connsiteX305" fmla="*/ 707323 w 2137708"/>
                <a:gd name="connsiteY305" fmla="*/ 889035 h 1311752"/>
                <a:gd name="connsiteX306" fmla="*/ 707323 w 2137708"/>
                <a:gd name="connsiteY306" fmla="*/ 892100 h 1311752"/>
                <a:gd name="connsiteX307" fmla="*/ 743334 w 2137708"/>
                <a:gd name="connsiteY307" fmla="*/ 892100 h 1311752"/>
                <a:gd name="connsiteX308" fmla="*/ 743334 w 2137708"/>
                <a:gd name="connsiteY308" fmla="*/ 897664 h 1311752"/>
                <a:gd name="connsiteX309" fmla="*/ 758962 w 2137708"/>
                <a:gd name="connsiteY309" fmla="*/ 897664 h 1311752"/>
                <a:gd name="connsiteX310" fmla="*/ 758962 w 2137708"/>
                <a:gd name="connsiteY310" fmla="*/ 899254 h 1311752"/>
                <a:gd name="connsiteX311" fmla="*/ 760887 w 2137708"/>
                <a:gd name="connsiteY311" fmla="*/ 899254 h 1311752"/>
                <a:gd name="connsiteX312" fmla="*/ 760887 w 2137708"/>
                <a:gd name="connsiteY312" fmla="*/ 902660 h 1311752"/>
                <a:gd name="connsiteX313" fmla="*/ 767455 w 2137708"/>
                <a:gd name="connsiteY313" fmla="*/ 902660 h 1311752"/>
                <a:gd name="connsiteX314" fmla="*/ 767455 w 2137708"/>
                <a:gd name="connsiteY314" fmla="*/ 907088 h 1311752"/>
                <a:gd name="connsiteX315" fmla="*/ 770286 w 2137708"/>
                <a:gd name="connsiteY315" fmla="*/ 907088 h 1311752"/>
                <a:gd name="connsiteX316" fmla="*/ 770286 w 2137708"/>
                <a:gd name="connsiteY316" fmla="*/ 912084 h 1311752"/>
                <a:gd name="connsiteX317" fmla="*/ 772212 w 2137708"/>
                <a:gd name="connsiteY317" fmla="*/ 912084 h 1311752"/>
                <a:gd name="connsiteX318" fmla="*/ 772212 w 2137708"/>
                <a:gd name="connsiteY318" fmla="*/ 915036 h 1311752"/>
                <a:gd name="connsiteX319" fmla="*/ 773457 w 2137708"/>
                <a:gd name="connsiteY319" fmla="*/ 915036 h 1311752"/>
                <a:gd name="connsiteX320" fmla="*/ 773457 w 2137708"/>
                <a:gd name="connsiteY320" fmla="*/ 918896 h 1311752"/>
                <a:gd name="connsiteX321" fmla="*/ 776402 w 2137708"/>
                <a:gd name="connsiteY321" fmla="*/ 918896 h 1311752"/>
                <a:gd name="connsiteX322" fmla="*/ 776402 w 2137708"/>
                <a:gd name="connsiteY322" fmla="*/ 923552 h 1311752"/>
                <a:gd name="connsiteX323" fmla="*/ 789085 w 2137708"/>
                <a:gd name="connsiteY323" fmla="*/ 923552 h 1311752"/>
                <a:gd name="connsiteX324" fmla="*/ 789085 w 2137708"/>
                <a:gd name="connsiteY324" fmla="*/ 928547 h 1311752"/>
                <a:gd name="connsiteX325" fmla="*/ 812413 w 2137708"/>
                <a:gd name="connsiteY325" fmla="*/ 928547 h 1311752"/>
                <a:gd name="connsiteX326" fmla="*/ 812413 w 2137708"/>
                <a:gd name="connsiteY326" fmla="*/ 934452 h 1311752"/>
                <a:gd name="connsiteX327" fmla="*/ 819208 w 2137708"/>
                <a:gd name="connsiteY327" fmla="*/ 934452 h 1311752"/>
                <a:gd name="connsiteX328" fmla="*/ 819208 w 2137708"/>
                <a:gd name="connsiteY328" fmla="*/ 939448 h 1311752"/>
                <a:gd name="connsiteX329" fmla="*/ 823964 w 2137708"/>
                <a:gd name="connsiteY329" fmla="*/ 939448 h 1311752"/>
                <a:gd name="connsiteX330" fmla="*/ 823964 w 2137708"/>
                <a:gd name="connsiteY330" fmla="*/ 944897 h 1311752"/>
                <a:gd name="connsiteX331" fmla="*/ 829740 w 2137708"/>
                <a:gd name="connsiteY331" fmla="*/ 944897 h 1311752"/>
                <a:gd name="connsiteX332" fmla="*/ 829740 w 2137708"/>
                <a:gd name="connsiteY332" fmla="*/ 949212 h 1311752"/>
                <a:gd name="connsiteX333" fmla="*/ 834269 w 2137708"/>
                <a:gd name="connsiteY333" fmla="*/ 949212 h 1311752"/>
                <a:gd name="connsiteX334" fmla="*/ 834269 w 2137708"/>
                <a:gd name="connsiteY334" fmla="*/ 953867 h 1311752"/>
                <a:gd name="connsiteX335" fmla="*/ 839365 w 2137708"/>
                <a:gd name="connsiteY335" fmla="*/ 953867 h 1311752"/>
                <a:gd name="connsiteX336" fmla="*/ 839365 w 2137708"/>
                <a:gd name="connsiteY336" fmla="*/ 959658 h 1311752"/>
                <a:gd name="connsiteX337" fmla="*/ 841290 w 2137708"/>
                <a:gd name="connsiteY337" fmla="*/ 959658 h 1311752"/>
                <a:gd name="connsiteX338" fmla="*/ 841290 w 2137708"/>
                <a:gd name="connsiteY338" fmla="*/ 965676 h 1311752"/>
                <a:gd name="connsiteX339" fmla="*/ 843895 w 2137708"/>
                <a:gd name="connsiteY339" fmla="*/ 965676 h 1311752"/>
                <a:gd name="connsiteX340" fmla="*/ 843895 w 2137708"/>
                <a:gd name="connsiteY340" fmla="*/ 974305 h 1311752"/>
                <a:gd name="connsiteX341" fmla="*/ 847292 w 2137708"/>
                <a:gd name="connsiteY341" fmla="*/ 974305 h 1311752"/>
                <a:gd name="connsiteX342" fmla="*/ 847292 w 2137708"/>
                <a:gd name="connsiteY342" fmla="*/ 976349 h 1311752"/>
                <a:gd name="connsiteX343" fmla="*/ 852162 w 2137708"/>
                <a:gd name="connsiteY343" fmla="*/ 976349 h 1311752"/>
                <a:gd name="connsiteX344" fmla="*/ 852162 w 2137708"/>
                <a:gd name="connsiteY344" fmla="*/ 980663 h 1311752"/>
                <a:gd name="connsiteX345" fmla="*/ 877302 w 2137708"/>
                <a:gd name="connsiteY345" fmla="*/ 980663 h 1311752"/>
                <a:gd name="connsiteX346" fmla="*/ 877302 w 2137708"/>
                <a:gd name="connsiteY346" fmla="*/ 987476 h 1311752"/>
                <a:gd name="connsiteX347" fmla="*/ 882511 w 2137708"/>
                <a:gd name="connsiteY347" fmla="*/ 987476 h 1311752"/>
                <a:gd name="connsiteX348" fmla="*/ 882511 w 2137708"/>
                <a:gd name="connsiteY348" fmla="*/ 991790 h 1311752"/>
                <a:gd name="connsiteX349" fmla="*/ 885682 w 2137708"/>
                <a:gd name="connsiteY349" fmla="*/ 991790 h 1311752"/>
                <a:gd name="connsiteX350" fmla="*/ 885682 w 2137708"/>
                <a:gd name="connsiteY350" fmla="*/ 997013 h 1311752"/>
                <a:gd name="connsiteX351" fmla="*/ 907878 w 2137708"/>
                <a:gd name="connsiteY351" fmla="*/ 997013 h 1311752"/>
                <a:gd name="connsiteX352" fmla="*/ 907878 w 2137708"/>
                <a:gd name="connsiteY352" fmla="*/ 1002804 h 1311752"/>
                <a:gd name="connsiteX353" fmla="*/ 959631 w 2137708"/>
                <a:gd name="connsiteY353" fmla="*/ 1002804 h 1311752"/>
                <a:gd name="connsiteX354" fmla="*/ 959631 w 2137708"/>
                <a:gd name="connsiteY354" fmla="*/ 1008935 h 1311752"/>
                <a:gd name="connsiteX355" fmla="*/ 963481 w 2137708"/>
                <a:gd name="connsiteY355" fmla="*/ 1008935 h 1311752"/>
                <a:gd name="connsiteX356" fmla="*/ 963481 w 2137708"/>
                <a:gd name="connsiteY356" fmla="*/ 1013590 h 1311752"/>
                <a:gd name="connsiteX357" fmla="*/ 972087 w 2137708"/>
                <a:gd name="connsiteY357" fmla="*/ 1013590 h 1311752"/>
                <a:gd name="connsiteX358" fmla="*/ 972087 w 2137708"/>
                <a:gd name="connsiteY358" fmla="*/ 1018586 h 1311752"/>
                <a:gd name="connsiteX359" fmla="*/ 983185 w 2137708"/>
                <a:gd name="connsiteY359" fmla="*/ 1018586 h 1311752"/>
                <a:gd name="connsiteX360" fmla="*/ 983185 w 2137708"/>
                <a:gd name="connsiteY360" fmla="*/ 1023582 h 1311752"/>
                <a:gd name="connsiteX361" fmla="*/ 990773 w 2137708"/>
                <a:gd name="connsiteY361" fmla="*/ 1023582 h 1311752"/>
                <a:gd name="connsiteX362" fmla="*/ 990773 w 2137708"/>
                <a:gd name="connsiteY362" fmla="*/ 1028010 h 1311752"/>
                <a:gd name="connsiteX363" fmla="*/ 992358 w 2137708"/>
                <a:gd name="connsiteY363" fmla="*/ 1028010 h 1311752"/>
                <a:gd name="connsiteX364" fmla="*/ 992358 w 2137708"/>
                <a:gd name="connsiteY364" fmla="*/ 1034936 h 1311752"/>
                <a:gd name="connsiteX365" fmla="*/ 994736 w 2137708"/>
                <a:gd name="connsiteY365" fmla="*/ 1034936 h 1311752"/>
                <a:gd name="connsiteX366" fmla="*/ 994736 w 2137708"/>
                <a:gd name="connsiteY366" fmla="*/ 1047085 h 1311752"/>
                <a:gd name="connsiteX367" fmla="*/ 996548 w 2137708"/>
                <a:gd name="connsiteY367" fmla="*/ 1047085 h 1311752"/>
                <a:gd name="connsiteX368" fmla="*/ 996548 w 2137708"/>
                <a:gd name="connsiteY368" fmla="*/ 1050719 h 1311752"/>
                <a:gd name="connsiteX369" fmla="*/ 1016026 w 2137708"/>
                <a:gd name="connsiteY369" fmla="*/ 1050719 h 1311752"/>
                <a:gd name="connsiteX370" fmla="*/ 1016026 w 2137708"/>
                <a:gd name="connsiteY370" fmla="*/ 1053217 h 1311752"/>
                <a:gd name="connsiteX371" fmla="*/ 1018970 w 2137708"/>
                <a:gd name="connsiteY371" fmla="*/ 1053217 h 1311752"/>
                <a:gd name="connsiteX372" fmla="*/ 1018970 w 2137708"/>
                <a:gd name="connsiteY372" fmla="*/ 1055942 h 1311752"/>
                <a:gd name="connsiteX373" fmla="*/ 1024972 w 2137708"/>
                <a:gd name="connsiteY373" fmla="*/ 1055942 h 1311752"/>
                <a:gd name="connsiteX374" fmla="*/ 1024972 w 2137708"/>
                <a:gd name="connsiteY374" fmla="*/ 1059802 h 1311752"/>
                <a:gd name="connsiteX375" fmla="*/ 1054756 w 2137708"/>
                <a:gd name="connsiteY375" fmla="*/ 1059802 h 1311752"/>
                <a:gd name="connsiteX376" fmla="*/ 1054756 w 2137708"/>
                <a:gd name="connsiteY376" fmla="*/ 1063776 h 1311752"/>
                <a:gd name="connsiteX377" fmla="*/ 1057020 w 2137708"/>
                <a:gd name="connsiteY377" fmla="*/ 1063776 h 1311752"/>
                <a:gd name="connsiteX378" fmla="*/ 1057020 w 2137708"/>
                <a:gd name="connsiteY378" fmla="*/ 1067637 h 1311752"/>
                <a:gd name="connsiteX379" fmla="*/ 1059965 w 2137708"/>
                <a:gd name="connsiteY379" fmla="*/ 1067637 h 1311752"/>
                <a:gd name="connsiteX380" fmla="*/ 1059965 w 2137708"/>
                <a:gd name="connsiteY380" fmla="*/ 1072178 h 1311752"/>
                <a:gd name="connsiteX381" fmla="*/ 1065967 w 2137708"/>
                <a:gd name="connsiteY381" fmla="*/ 1072178 h 1311752"/>
                <a:gd name="connsiteX382" fmla="*/ 1065967 w 2137708"/>
                <a:gd name="connsiteY382" fmla="*/ 1082056 h 1311752"/>
                <a:gd name="connsiteX383" fmla="*/ 1069930 w 2137708"/>
                <a:gd name="connsiteY383" fmla="*/ 1082056 h 1311752"/>
                <a:gd name="connsiteX384" fmla="*/ 1069930 w 2137708"/>
                <a:gd name="connsiteY384" fmla="*/ 1088074 h 1311752"/>
                <a:gd name="connsiteX385" fmla="*/ 1080802 w 2137708"/>
                <a:gd name="connsiteY385" fmla="*/ 1088074 h 1311752"/>
                <a:gd name="connsiteX386" fmla="*/ 1080802 w 2137708"/>
                <a:gd name="connsiteY386" fmla="*/ 1093751 h 1311752"/>
                <a:gd name="connsiteX387" fmla="*/ 1084086 w 2137708"/>
                <a:gd name="connsiteY387" fmla="*/ 1093751 h 1311752"/>
                <a:gd name="connsiteX388" fmla="*/ 1084086 w 2137708"/>
                <a:gd name="connsiteY388" fmla="*/ 1098066 h 1311752"/>
                <a:gd name="connsiteX389" fmla="*/ 1094051 w 2137708"/>
                <a:gd name="connsiteY389" fmla="*/ 1098066 h 1311752"/>
                <a:gd name="connsiteX390" fmla="*/ 1094051 w 2137708"/>
                <a:gd name="connsiteY390" fmla="*/ 1103289 h 1311752"/>
                <a:gd name="connsiteX391" fmla="*/ 1104696 w 2137708"/>
                <a:gd name="connsiteY391" fmla="*/ 1103289 h 1311752"/>
                <a:gd name="connsiteX392" fmla="*/ 1104696 w 2137708"/>
                <a:gd name="connsiteY392" fmla="*/ 1107603 h 1311752"/>
                <a:gd name="connsiteX393" fmla="*/ 1109226 w 2137708"/>
                <a:gd name="connsiteY393" fmla="*/ 1107603 h 1311752"/>
                <a:gd name="connsiteX394" fmla="*/ 1109226 w 2137708"/>
                <a:gd name="connsiteY394" fmla="*/ 1113167 h 1311752"/>
                <a:gd name="connsiteX395" fmla="*/ 1111831 w 2137708"/>
                <a:gd name="connsiteY395" fmla="*/ 1113167 h 1311752"/>
                <a:gd name="connsiteX396" fmla="*/ 1111831 w 2137708"/>
                <a:gd name="connsiteY396" fmla="*/ 1119980 h 1311752"/>
                <a:gd name="connsiteX397" fmla="*/ 1113869 w 2137708"/>
                <a:gd name="connsiteY397" fmla="*/ 1119980 h 1311752"/>
                <a:gd name="connsiteX398" fmla="*/ 1113869 w 2137708"/>
                <a:gd name="connsiteY398" fmla="*/ 1124975 h 1311752"/>
                <a:gd name="connsiteX399" fmla="*/ 1125420 w 2137708"/>
                <a:gd name="connsiteY399" fmla="*/ 1124975 h 1311752"/>
                <a:gd name="connsiteX400" fmla="*/ 1125420 w 2137708"/>
                <a:gd name="connsiteY400" fmla="*/ 1129858 h 1311752"/>
                <a:gd name="connsiteX401" fmla="*/ 1143992 w 2137708"/>
                <a:gd name="connsiteY401" fmla="*/ 1129858 h 1311752"/>
                <a:gd name="connsiteX402" fmla="*/ 1143992 w 2137708"/>
                <a:gd name="connsiteY402" fmla="*/ 1133264 h 1311752"/>
                <a:gd name="connsiteX403" fmla="*/ 1145691 w 2137708"/>
                <a:gd name="connsiteY403" fmla="*/ 1133264 h 1311752"/>
                <a:gd name="connsiteX404" fmla="*/ 1145691 w 2137708"/>
                <a:gd name="connsiteY404" fmla="*/ 1136557 h 1311752"/>
                <a:gd name="connsiteX405" fmla="*/ 1149654 w 2137708"/>
                <a:gd name="connsiteY405" fmla="*/ 1136557 h 1311752"/>
                <a:gd name="connsiteX406" fmla="*/ 1149654 w 2137708"/>
                <a:gd name="connsiteY406" fmla="*/ 1142461 h 1311752"/>
                <a:gd name="connsiteX407" fmla="*/ 1157241 w 2137708"/>
                <a:gd name="connsiteY407" fmla="*/ 1142461 h 1311752"/>
                <a:gd name="connsiteX408" fmla="*/ 1157241 w 2137708"/>
                <a:gd name="connsiteY408" fmla="*/ 1147457 h 1311752"/>
                <a:gd name="connsiteX409" fmla="*/ 1172643 w 2137708"/>
                <a:gd name="connsiteY409" fmla="*/ 1147457 h 1311752"/>
                <a:gd name="connsiteX410" fmla="*/ 1172643 w 2137708"/>
                <a:gd name="connsiteY410" fmla="*/ 1150409 h 1311752"/>
                <a:gd name="connsiteX411" fmla="*/ 1174568 w 2137708"/>
                <a:gd name="connsiteY411" fmla="*/ 1150409 h 1311752"/>
                <a:gd name="connsiteX412" fmla="*/ 1174568 w 2137708"/>
                <a:gd name="connsiteY412" fmla="*/ 1151771 h 1311752"/>
                <a:gd name="connsiteX413" fmla="*/ 1185439 w 2137708"/>
                <a:gd name="connsiteY413" fmla="*/ 1151771 h 1311752"/>
                <a:gd name="connsiteX414" fmla="*/ 1185439 w 2137708"/>
                <a:gd name="connsiteY414" fmla="*/ 1156654 h 1311752"/>
                <a:gd name="connsiteX415" fmla="*/ 1204238 w 2137708"/>
                <a:gd name="connsiteY415" fmla="*/ 1156654 h 1311752"/>
                <a:gd name="connsiteX416" fmla="*/ 1204238 w 2137708"/>
                <a:gd name="connsiteY416" fmla="*/ 1161309 h 1311752"/>
                <a:gd name="connsiteX417" fmla="*/ 1222923 w 2137708"/>
                <a:gd name="connsiteY417" fmla="*/ 1161309 h 1311752"/>
                <a:gd name="connsiteX418" fmla="*/ 1222923 w 2137708"/>
                <a:gd name="connsiteY418" fmla="*/ 1172890 h 1311752"/>
                <a:gd name="connsiteX419" fmla="*/ 1235833 w 2137708"/>
                <a:gd name="connsiteY419" fmla="*/ 1172890 h 1311752"/>
                <a:gd name="connsiteX420" fmla="*/ 1235833 w 2137708"/>
                <a:gd name="connsiteY420" fmla="*/ 1178113 h 1311752"/>
                <a:gd name="connsiteX421" fmla="*/ 1287925 w 2137708"/>
                <a:gd name="connsiteY421" fmla="*/ 1178113 h 1311752"/>
                <a:gd name="connsiteX422" fmla="*/ 1287925 w 2137708"/>
                <a:gd name="connsiteY422" fmla="*/ 1182201 h 1311752"/>
                <a:gd name="connsiteX423" fmla="*/ 1291322 w 2137708"/>
                <a:gd name="connsiteY423" fmla="*/ 1182201 h 1311752"/>
                <a:gd name="connsiteX424" fmla="*/ 1291322 w 2137708"/>
                <a:gd name="connsiteY424" fmla="*/ 1183222 h 1311752"/>
                <a:gd name="connsiteX425" fmla="*/ 1293134 w 2137708"/>
                <a:gd name="connsiteY425" fmla="*/ 1183222 h 1311752"/>
                <a:gd name="connsiteX426" fmla="*/ 1293134 w 2137708"/>
                <a:gd name="connsiteY426" fmla="*/ 1185493 h 1311752"/>
                <a:gd name="connsiteX427" fmla="*/ 1294946 w 2137708"/>
                <a:gd name="connsiteY427" fmla="*/ 1185493 h 1311752"/>
                <a:gd name="connsiteX428" fmla="*/ 1294946 w 2137708"/>
                <a:gd name="connsiteY428" fmla="*/ 1186742 h 1311752"/>
                <a:gd name="connsiteX429" fmla="*/ 1295966 w 2137708"/>
                <a:gd name="connsiteY429" fmla="*/ 1186742 h 1311752"/>
                <a:gd name="connsiteX430" fmla="*/ 1295966 w 2137708"/>
                <a:gd name="connsiteY430" fmla="*/ 1189013 h 1311752"/>
                <a:gd name="connsiteX431" fmla="*/ 1329826 w 2137708"/>
                <a:gd name="connsiteY431" fmla="*/ 1189013 h 1311752"/>
                <a:gd name="connsiteX432" fmla="*/ 1329826 w 2137708"/>
                <a:gd name="connsiteY432" fmla="*/ 1192533 h 1311752"/>
                <a:gd name="connsiteX433" fmla="*/ 1331298 w 2137708"/>
                <a:gd name="connsiteY433" fmla="*/ 1192533 h 1311752"/>
                <a:gd name="connsiteX434" fmla="*/ 1331298 w 2137708"/>
                <a:gd name="connsiteY434" fmla="*/ 1194123 h 1311752"/>
                <a:gd name="connsiteX435" fmla="*/ 1441937 w 2137708"/>
                <a:gd name="connsiteY435" fmla="*/ 1194123 h 1311752"/>
                <a:gd name="connsiteX436" fmla="*/ 1441937 w 2137708"/>
                <a:gd name="connsiteY436" fmla="*/ 1200254 h 1311752"/>
                <a:gd name="connsiteX437" fmla="*/ 1446807 w 2137708"/>
                <a:gd name="connsiteY437" fmla="*/ 1200254 h 1311752"/>
                <a:gd name="connsiteX438" fmla="*/ 1446807 w 2137708"/>
                <a:gd name="connsiteY438" fmla="*/ 1205817 h 1311752"/>
                <a:gd name="connsiteX439" fmla="*/ 1456885 w 2137708"/>
                <a:gd name="connsiteY439" fmla="*/ 1205817 h 1311752"/>
                <a:gd name="connsiteX440" fmla="*/ 1456885 w 2137708"/>
                <a:gd name="connsiteY440" fmla="*/ 1213084 h 1311752"/>
                <a:gd name="connsiteX441" fmla="*/ 1483045 w 2137708"/>
                <a:gd name="connsiteY441" fmla="*/ 1213084 h 1311752"/>
                <a:gd name="connsiteX442" fmla="*/ 1483045 w 2137708"/>
                <a:gd name="connsiteY442" fmla="*/ 1218534 h 1311752"/>
                <a:gd name="connsiteX443" fmla="*/ 1531060 w 2137708"/>
                <a:gd name="connsiteY443" fmla="*/ 1218534 h 1311752"/>
                <a:gd name="connsiteX444" fmla="*/ 1531060 w 2137708"/>
                <a:gd name="connsiteY444" fmla="*/ 1223416 h 1311752"/>
                <a:gd name="connsiteX445" fmla="*/ 1580208 w 2137708"/>
                <a:gd name="connsiteY445" fmla="*/ 1223416 h 1311752"/>
                <a:gd name="connsiteX446" fmla="*/ 1580208 w 2137708"/>
                <a:gd name="connsiteY446" fmla="*/ 1238858 h 1311752"/>
                <a:gd name="connsiteX447" fmla="*/ 1601045 w 2137708"/>
                <a:gd name="connsiteY447" fmla="*/ 1238858 h 1311752"/>
                <a:gd name="connsiteX448" fmla="*/ 1601045 w 2137708"/>
                <a:gd name="connsiteY448" fmla="*/ 1246125 h 1311752"/>
                <a:gd name="connsiteX449" fmla="*/ 1609085 w 2137708"/>
                <a:gd name="connsiteY449" fmla="*/ 1246125 h 1311752"/>
                <a:gd name="connsiteX450" fmla="*/ 1609085 w 2137708"/>
                <a:gd name="connsiteY450" fmla="*/ 1252710 h 1311752"/>
                <a:gd name="connsiteX451" fmla="*/ 1616673 w 2137708"/>
                <a:gd name="connsiteY451" fmla="*/ 1252710 h 1311752"/>
                <a:gd name="connsiteX452" fmla="*/ 1616673 w 2137708"/>
                <a:gd name="connsiteY452" fmla="*/ 1260318 h 1311752"/>
                <a:gd name="connsiteX453" fmla="*/ 1737278 w 2137708"/>
                <a:gd name="connsiteY453" fmla="*/ 1260318 h 1311752"/>
                <a:gd name="connsiteX454" fmla="*/ 1737278 w 2137708"/>
                <a:gd name="connsiteY454" fmla="*/ 1273148 h 1311752"/>
                <a:gd name="connsiteX455" fmla="*/ 1819719 w 2137708"/>
                <a:gd name="connsiteY455" fmla="*/ 1273148 h 1311752"/>
                <a:gd name="connsiteX456" fmla="*/ 1819719 w 2137708"/>
                <a:gd name="connsiteY456" fmla="*/ 1290633 h 1311752"/>
                <a:gd name="connsiteX457" fmla="*/ 1840556 w 2137708"/>
                <a:gd name="connsiteY457" fmla="*/ 1290633 h 1311752"/>
                <a:gd name="connsiteX458" fmla="*/ 1840556 w 2137708"/>
                <a:gd name="connsiteY458" fmla="*/ 1311752 h 1311752"/>
                <a:gd name="connsiteX459" fmla="*/ 2137709 w 2137708"/>
                <a:gd name="connsiteY459" fmla="*/ 1311752 h 1311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Lst>
              <a:rect l="l" t="t" r="r" b="b"/>
              <a:pathLst>
                <a:path w="2137708" h="1311752">
                  <a:moveTo>
                    <a:pt x="0" y="0"/>
                  </a:moveTo>
                  <a:lnTo>
                    <a:pt x="35559" y="0"/>
                  </a:lnTo>
                  <a:lnTo>
                    <a:pt x="35559" y="5109"/>
                  </a:lnTo>
                  <a:lnTo>
                    <a:pt x="50960" y="5109"/>
                  </a:lnTo>
                  <a:lnTo>
                    <a:pt x="50960" y="15328"/>
                  </a:lnTo>
                  <a:lnTo>
                    <a:pt x="57415" y="15328"/>
                  </a:lnTo>
                  <a:lnTo>
                    <a:pt x="57415" y="24979"/>
                  </a:lnTo>
                  <a:lnTo>
                    <a:pt x="61378" y="24979"/>
                  </a:lnTo>
                  <a:lnTo>
                    <a:pt x="61378" y="26682"/>
                  </a:lnTo>
                  <a:lnTo>
                    <a:pt x="65682" y="26682"/>
                  </a:lnTo>
                  <a:lnTo>
                    <a:pt x="65682" y="35879"/>
                  </a:lnTo>
                  <a:lnTo>
                    <a:pt x="70891" y="35879"/>
                  </a:lnTo>
                  <a:lnTo>
                    <a:pt x="70891" y="40762"/>
                  </a:lnTo>
                  <a:lnTo>
                    <a:pt x="73835" y="40762"/>
                  </a:lnTo>
                  <a:lnTo>
                    <a:pt x="73835" y="45530"/>
                  </a:lnTo>
                  <a:lnTo>
                    <a:pt x="79044" y="45530"/>
                  </a:lnTo>
                  <a:lnTo>
                    <a:pt x="79044" y="55522"/>
                  </a:lnTo>
                  <a:lnTo>
                    <a:pt x="82328" y="55522"/>
                  </a:lnTo>
                  <a:lnTo>
                    <a:pt x="82328" y="59383"/>
                  </a:lnTo>
                  <a:lnTo>
                    <a:pt x="86292" y="59383"/>
                  </a:lnTo>
                  <a:lnTo>
                    <a:pt x="86292" y="66309"/>
                  </a:lnTo>
                  <a:lnTo>
                    <a:pt x="101806" y="66309"/>
                  </a:lnTo>
                  <a:lnTo>
                    <a:pt x="101806" y="75733"/>
                  </a:lnTo>
                  <a:lnTo>
                    <a:pt x="105883" y="75733"/>
                  </a:lnTo>
                  <a:lnTo>
                    <a:pt x="105883" y="85951"/>
                  </a:lnTo>
                  <a:lnTo>
                    <a:pt x="109281" y="85951"/>
                  </a:lnTo>
                  <a:lnTo>
                    <a:pt x="109281" y="89698"/>
                  </a:lnTo>
                  <a:lnTo>
                    <a:pt x="111545" y="89698"/>
                  </a:lnTo>
                  <a:lnTo>
                    <a:pt x="111545" y="107411"/>
                  </a:lnTo>
                  <a:lnTo>
                    <a:pt x="116075" y="107411"/>
                  </a:lnTo>
                  <a:cubicBezTo>
                    <a:pt x="116075" y="107411"/>
                    <a:pt x="116075" y="111725"/>
                    <a:pt x="116075" y="111725"/>
                  </a:cubicBezTo>
                  <a:lnTo>
                    <a:pt x="123096" y="111725"/>
                  </a:lnTo>
                  <a:lnTo>
                    <a:pt x="123096" y="117289"/>
                  </a:lnTo>
                  <a:lnTo>
                    <a:pt x="125135" y="117289"/>
                  </a:lnTo>
                  <a:lnTo>
                    <a:pt x="125135" y="120922"/>
                  </a:lnTo>
                  <a:lnTo>
                    <a:pt x="129098" y="120922"/>
                  </a:lnTo>
                  <a:lnTo>
                    <a:pt x="129098" y="126713"/>
                  </a:lnTo>
                  <a:lnTo>
                    <a:pt x="130344" y="126713"/>
                  </a:lnTo>
                  <a:lnTo>
                    <a:pt x="130344" y="129552"/>
                  </a:lnTo>
                  <a:lnTo>
                    <a:pt x="131590" y="129552"/>
                  </a:lnTo>
                  <a:lnTo>
                    <a:pt x="131590" y="131709"/>
                  </a:lnTo>
                  <a:lnTo>
                    <a:pt x="133741" y="131709"/>
                  </a:lnTo>
                  <a:lnTo>
                    <a:pt x="133741" y="138408"/>
                  </a:lnTo>
                  <a:lnTo>
                    <a:pt x="137252" y="138408"/>
                  </a:lnTo>
                  <a:lnTo>
                    <a:pt x="137252" y="141473"/>
                  </a:lnTo>
                  <a:lnTo>
                    <a:pt x="139517" y="141473"/>
                  </a:lnTo>
                  <a:lnTo>
                    <a:pt x="139517" y="157029"/>
                  </a:lnTo>
                  <a:lnTo>
                    <a:pt x="142235" y="157029"/>
                  </a:lnTo>
                  <a:lnTo>
                    <a:pt x="142235" y="163728"/>
                  </a:lnTo>
                  <a:lnTo>
                    <a:pt x="149935" y="163728"/>
                  </a:lnTo>
                  <a:lnTo>
                    <a:pt x="149935" y="172243"/>
                  </a:lnTo>
                  <a:lnTo>
                    <a:pt x="152087" y="172243"/>
                  </a:lnTo>
                  <a:lnTo>
                    <a:pt x="152087" y="178034"/>
                  </a:lnTo>
                  <a:lnTo>
                    <a:pt x="154805" y="178034"/>
                  </a:lnTo>
                  <a:lnTo>
                    <a:pt x="154805" y="179851"/>
                  </a:lnTo>
                  <a:lnTo>
                    <a:pt x="156956" y="179851"/>
                  </a:lnTo>
                  <a:lnTo>
                    <a:pt x="156956" y="184619"/>
                  </a:lnTo>
                  <a:lnTo>
                    <a:pt x="160014" y="184619"/>
                  </a:lnTo>
                  <a:lnTo>
                    <a:pt x="160014" y="188934"/>
                  </a:lnTo>
                  <a:lnTo>
                    <a:pt x="162732" y="188934"/>
                  </a:lnTo>
                  <a:lnTo>
                    <a:pt x="162732" y="194838"/>
                  </a:lnTo>
                  <a:lnTo>
                    <a:pt x="166242" y="194838"/>
                  </a:lnTo>
                  <a:lnTo>
                    <a:pt x="166242" y="199266"/>
                  </a:lnTo>
                  <a:lnTo>
                    <a:pt x="167262" y="199266"/>
                  </a:lnTo>
                  <a:lnTo>
                    <a:pt x="167262" y="202219"/>
                  </a:lnTo>
                  <a:lnTo>
                    <a:pt x="169300" y="202219"/>
                  </a:lnTo>
                  <a:lnTo>
                    <a:pt x="169300" y="205171"/>
                  </a:lnTo>
                  <a:lnTo>
                    <a:pt x="178473" y="205171"/>
                  </a:lnTo>
                  <a:lnTo>
                    <a:pt x="178473" y="231626"/>
                  </a:lnTo>
                  <a:lnTo>
                    <a:pt x="180738" y="231626"/>
                  </a:lnTo>
                  <a:lnTo>
                    <a:pt x="180738" y="244910"/>
                  </a:lnTo>
                  <a:lnTo>
                    <a:pt x="188778" y="244910"/>
                  </a:lnTo>
                  <a:lnTo>
                    <a:pt x="188778" y="246727"/>
                  </a:lnTo>
                  <a:lnTo>
                    <a:pt x="190477" y="246727"/>
                  </a:lnTo>
                  <a:lnTo>
                    <a:pt x="190477" y="251723"/>
                  </a:lnTo>
                  <a:lnTo>
                    <a:pt x="193421" y="251723"/>
                  </a:lnTo>
                  <a:lnTo>
                    <a:pt x="193421" y="256037"/>
                  </a:lnTo>
                  <a:lnTo>
                    <a:pt x="196931" y="256037"/>
                  </a:lnTo>
                  <a:lnTo>
                    <a:pt x="196931" y="259103"/>
                  </a:lnTo>
                  <a:lnTo>
                    <a:pt x="198630" y="259103"/>
                  </a:lnTo>
                  <a:lnTo>
                    <a:pt x="198630" y="262169"/>
                  </a:lnTo>
                  <a:lnTo>
                    <a:pt x="201008" y="262169"/>
                  </a:lnTo>
                  <a:lnTo>
                    <a:pt x="201008" y="266938"/>
                  </a:lnTo>
                  <a:lnTo>
                    <a:pt x="203613" y="266938"/>
                  </a:lnTo>
                  <a:lnTo>
                    <a:pt x="203613" y="271252"/>
                  </a:lnTo>
                  <a:lnTo>
                    <a:pt x="206444" y="271252"/>
                  </a:lnTo>
                  <a:lnTo>
                    <a:pt x="206444" y="277043"/>
                  </a:lnTo>
                  <a:lnTo>
                    <a:pt x="209388" y="277043"/>
                  </a:lnTo>
                  <a:lnTo>
                    <a:pt x="209388" y="282493"/>
                  </a:lnTo>
                  <a:lnTo>
                    <a:pt x="214937" y="282493"/>
                  </a:lnTo>
                  <a:lnTo>
                    <a:pt x="214937" y="287034"/>
                  </a:lnTo>
                  <a:lnTo>
                    <a:pt x="216183" y="287034"/>
                  </a:lnTo>
                  <a:lnTo>
                    <a:pt x="216183" y="292598"/>
                  </a:lnTo>
                  <a:lnTo>
                    <a:pt x="222751" y="292598"/>
                  </a:lnTo>
                  <a:lnTo>
                    <a:pt x="222751" y="297480"/>
                  </a:lnTo>
                  <a:lnTo>
                    <a:pt x="227168" y="297480"/>
                  </a:lnTo>
                  <a:lnTo>
                    <a:pt x="227168" y="299524"/>
                  </a:lnTo>
                  <a:lnTo>
                    <a:pt x="228413" y="299524"/>
                  </a:lnTo>
                  <a:lnTo>
                    <a:pt x="228413" y="308153"/>
                  </a:lnTo>
                  <a:lnTo>
                    <a:pt x="233849" y="308153"/>
                  </a:lnTo>
                  <a:lnTo>
                    <a:pt x="233849" y="328477"/>
                  </a:lnTo>
                  <a:lnTo>
                    <a:pt x="240191" y="328477"/>
                  </a:lnTo>
                  <a:lnTo>
                    <a:pt x="240191" y="335744"/>
                  </a:lnTo>
                  <a:lnTo>
                    <a:pt x="241550" y="335744"/>
                  </a:lnTo>
                  <a:lnTo>
                    <a:pt x="241550" y="348801"/>
                  </a:lnTo>
                  <a:lnTo>
                    <a:pt x="249024" y="348801"/>
                  </a:lnTo>
                  <a:lnTo>
                    <a:pt x="249024" y="354251"/>
                  </a:lnTo>
                  <a:lnTo>
                    <a:pt x="251855" y="354251"/>
                  </a:lnTo>
                  <a:lnTo>
                    <a:pt x="251855" y="359361"/>
                  </a:lnTo>
                  <a:lnTo>
                    <a:pt x="254346" y="359361"/>
                  </a:lnTo>
                  <a:lnTo>
                    <a:pt x="254346" y="364243"/>
                  </a:lnTo>
                  <a:lnTo>
                    <a:pt x="256838" y="364243"/>
                  </a:lnTo>
                  <a:lnTo>
                    <a:pt x="256838" y="374121"/>
                  </a:lnTo>
                  <a:lnTo>
                    <a:pt x="259669" y="374121"/>
                  </a:lnTo>
                  <a:lnTo>
                    <a:pt x="259669" y="379685"/>
                  </a:lnTo>
                  <a:lnTo>
                    <a:pt x="267256" y="379685"/>
                  </a:lnTo>
                  <a:lnTo>
                    <a:pt x="267256" y="385135"/>
                  </a:lnTo>
                  <a:lnTo>
                    <a:pt x="274051" y="385135"/>
                  </a:lnTo>
                  <a:lnTo>
                    <a:pt x="274051" y="390017"/>
                  </a:lnTo>
                  <a:lnTo>
                    <a:pt x="283337" y="390017"/>
                  </a:lnTo>
                  <a:lnTo>
                    <a:pt x="283337" y="396943"/>
                  </a:lnTo>
                  <a:lnTo>
                    <a:pt x="284922" y="396943"/>
                  </a:lnTo>
                  <a:lnTo>
                    <a:pt x="284922" y="401144"/>
                  </a:lnTo>
                  <a:lnTo>
                    <a:pt x="288206" y="401144"/>
                  </a:lnTo>
                  <a:lnTo>
                    <a:pt x="288206" y="405459"/>
                  </a:lnTo>
                  <a:lnTo>
                    <a:pt x="299531" y="405459"/>
                  </a:lnTo>
                  <a:lnTo>
                    <a:pt x="299531" y="411817"/>
                  </a:lnTo>
                  <a:lnTo>
                    <a:pt x="301229" y="411817"/>
                  </a:lnTo>
                  <a:lnTo>
                    <a:pt x="301229" y="416132"/>
                  </a:lnTo>
                  <a:lnTo>
                    <a:pt x="312101" y="416132"/>
                  </a:lnTo>
                  <a:lnTo>
                    <a:pt x="312101" y="426464"/>
                  </a:lnTo>
                  <a:lnTo>
                    <a:pt x="317423" y="426464"/>
                  </a:lnTo>
                  <a:lnTo>
                    <a:pt x="317423" y="431347"/>
                  </a:lnTo>
                  <a:lnTo>
                    <a:pt x="320368" y="431347"/>
                  </a:lnTo>
                  <a:lnTo>
                    <a:pt x="320368" y="436456"/>
                  </a:lnTo>
                  <a:lnTo>
                    <a:pt x="322179" y="436456"/>
                  </a:lnTo>
                  <a:lnTo>
                    <a:pt x="322179" y="451671"/>
                  </a:lnTo>
                  <a:lnTo>
                    <a:pt x="326143" y="451671"/>
                  </a:lnTo>
                  <a:lnTo>
                    <a:pt x="326143" y="454509"/>
                  </a:lnTo>
                  <a:lnTo>
                    <a:pt x="328181" y="454509"/>
                  </a:lnTo>
                  <a:lnTo>
                    <a:pt x="328181" y="457234"/>
                  </a:lnTo>
                  <a:lnTo>
                    <a:pt x="330673" y="457234"/>
                  </a:lnTo>
                  <a:lnTo>
                    <a:pt x="330673" y="468702"/>
                  </a:lnTo>
                  <a:lnTo>
                    <a:pt x="333051" y="468702"/>
                  </a:lnTo>
                  <a:lnTo>
                    <a:pt x="333051" y="473016"/>
                  </a:lnTo>
                  <a:lnTo>
                    <a:pt x="335882" y="473016"/>
                  </a:lnTo>
                  <a:lnTo>
                    <a:pt x="335882" y="478921"/>
                  </a:lnTo>
                  <a:lnTo>
                    <a:pt x="337014" y="478921"/>
                  </a:lnTo>
                  <a:lnTo>
                    <a:pt x="337014" y="483689"/>
                  </a:lnTo>
                  <a:lnTo>
                    <a:pt x="339619" y="483689"/>
                  </a:lnTo>
                  <a:lnTo>
                    <a:pt x="339619" y="485960"/>
                  </a:lnTo>
                  <a:lnTo>
                    <a:pt x="340978" y="485960"/>
                  </a:lnTo>
                  <a:lnTo>
                    <a:pt x="340978" y="487890"/>
                  </a:lnTo>
                  <a:lnTo>
                    <a:pt x="343016" y="487890"/>
                  </a:lnTo>
                  <a:lnTo>
                    <a:pt x="343016" y="489934"/>
                  </a:lnTo>
                  <a:lnTo>
                    <a:pt x="345961" y="489934"/>
                  </a:lnTo>
                  <a:lnTo>
                    <a:pt x="345961" y="492886"/>
                  </a:lnTo>
                  <a:lnTo>
                    <a:pt x="350038" y="492886"/>
                  </a:lnTo>
                  <a:lnTo>
                    <a:pt x="350038" y="494930"/>
                  </a:lnTo>
                  <a:lnTo>
                    <a:pt x="352642" y="494930"/>
                  </a:lnTo>
                  <a:lnTo>
                    <a:pt x="352642" y="501402"/>
                  </a:lnTo>
                  <a:lnTo>
                    <a:pt x="354794" y="501402"/>
                  </a:lnTo>
                  <a:lnTo>
                    <a:pt x="354794" y="505490"/>
                  </a:lnTo>
                  <a:lnTo>
                    <a:pt x="358418" y="505490"/>
                  </a:lnTo>
                  <a:lnTo>
                    <a:pt x="358418" y="510485"/>
                  </a:lnTo>
                  <a:lnTo>
                    <a:pt x="370308" y="510485"/>
                  </a:lnTo>
                  <a:lnTo>
                    <a:pt x="370308" y="513665"/>
                  </a:lnTo>
                  <a:lnTo>
                    <a:pt x="372573" y="513665"/>
                  </a:lnTo>
                  <a:lnTo>
                    <a:pt x="372573" y="517979"/>
                  </a:lnTo>
                  <a:lnTo>
                    <a:pt x="375178" y="517979"/>
                  </a:lnTo>
                  <a:lnTo>
                    <a:pt x="375178" y="522521"/>
                  </a:lnTo>
                  <a:lnTo>
                    <a:pt x="377443" y="522521"/>
                  </a:lnTo>
                  <a:lnTo>
                    <a:pt x="377443" y="527517"/>
                  </a:lnTo>
                  <a:lnTo>
                    <a:pt x="380953" y="527517"/>
                  </a:lnTo>
                  <a:lnTo>
                    <a:pt x="380953" y="536259"/>
                  </a:lnTo>
                  <a:lnTo>
                    <a:pt x="392957" y="536259"/>
                  </a:lnTo>
                  <a:lnTo>
                    <a:pt x="392957" y="540006"/>
                  </a:lnTo>
                  <a:lnTo>
                    <a:pt x="395901" y="540006"/>
                  </a:lnTo>
                  <a:lnTo>
                    <a:pt x="395901" y="550679"/>
                  </a:lnTo>
                  <a:lnTo>
                    <a:pt x="398959" y="550679"/>
                  </a:lnTo>
                  <a:lnTo>
                    <a:pt x="398959" y="552837"/>
                  </a:lnTo>
                  <a:lnTo>
                    <a:pt x="401564" y="552837"/>
                  </a:lnTo>
                  <a:lnTo>
                    <a:pt x="401564" y="557151"/>
                  </a:lnTo>
                  <a:lnTo>
                    <a:pt x="409604" y="557151"/>
                  </a:lnTo>
                  <a:lnTo>
                    <a:pt x="409604" y="563055"/>
                  </a:lnTo>
                  <a:lnTo>
                    <a:pt x="410850" y="563055"/>
                  </a:lnTo>
                  <a:lnTo>
                    <a:pt x="410850" y="567824"/>
                  </a:lnTo>
                  <a:lnTo>
                    <a:pt x="412209" y="567824"/>
                  </a:lnTo>
                  <a:lnTo>
                    <a:pt x="412209" y="576794"/>
                  </a:lnTo>
                  <a:lnTo>
                    <a:pt x="413794" y="576794"/>
                  </a:lnTo>
                  <a:lnTo>
                    <a:pt x="413794" y="582812"/>
                  </a:lnTo>
                  <a:lnTo>
                    <a:pt x="418777" y="582812"/>
                  </a:lnTo>
                  <a:lnTo>
                    <a:pt x="418777" y="587013"/>
                  </a:lnTo>
                  <a:lnTo>
                    <a:pt x="419909" y="587013"/>
                  </a:lnTo>
                  <a:lnTo>
                    <a:pt x="419909" y="588602"/>
                  </a:lnTo>
                  <a:lnTo>
                    <a:pt x="423420" y="588602"/>
                  </a:lnTo>
                  <a:lnTo>
                    <a:pt x="423420" y="603022"/>
                  </a:lnTo>
                  <a:lnTo>
                    <a:pt x="425911" y="603022"/>
                  </a:lnTo>
                  <a:lnTo>
                    <a:pt x="425911" y="605974"/>
                  </a:lnTo>
                  <a:lnTo>
                    <a:pt x="428176" y="605974"/>
                  </a:lnTo>
                  <a:lnTo>
                    <a:pt x="428176" y="609381"/>
                  </a:lnTo>
                  <a:lnTo>
                    <a:pt x="438934" y="609381"/>
                  </a:lnTo>
                  <a:lnTo>
                    <a:pt x="438934" y="627434"/>
                  </a:lnTo>
                  <a:lnTo>
                    <a:pt x="442331" y="627434"/>
                  </a:lnTo>
                  <a:lnTo>
                    <a:pt x="442331" y="632430"/>
                  </a:lnTo>
                  <a:lnTo>
                    <a:pt x="444483" y="632430"/>
                  </a:lnTo>
                  <a:lnTo>
                    <a:pt x="444483" y="638447"/>
                  </a:lnTo>
                  <a:lnTo>
                    <a:pt x="446748" y="638447"/>
                  </a:lnTo>
                  <a:lnTo>
                    <a:pt x="446748" y="644238"/>
                  </a:lnTo>
                  <a:lnTo>
                    <a:pt x="449126" y="644238"/>
                  </a:lnTo>
                  <a:lnTo>
                    <a:pt x="449126" y="655138"/>
                  </a:lnTo>
                  <a:lnTo>
                    <a:pt x="453090" y="655138"/>
                  </a:lnTo>
                  <a:lnTo>
                    <a:pt x="453090" y="656955"/>
                  </a:lnTo>
                  <a:lnTo>
                    <a:pt x="459318" y="656955"/>
                  </a:lnTo>
                  <a:lnTo>
                    <a:pt x="459318" y="662291"/>
                  </a:lnTo>
                  <a:lnTo>
                    <a:pt x="464301" y="662291"/>
                  </a:lnTo>
                  <a:lnTo>
                    <a:pt x="464301" y="672510"/>
                  </a:lnTo>
                  <a:lnTo>
                    <a:pt x="467358" y="672510"/>
                  </a:lnTo>
                  <a:lnTo>
                    <a:pt x="467358" y="687725"/>
                  </a:lnTo>
                  <a:lnTo>
                    <a:pt x="473927" y="687725"/>
                  </a:lnTo>
                  <a:lnTo>
                    <a:pt x="473927" y="695105"/>
                  </a:lnTo>
                  <a:lnTo>
                    <a:pt x="475738" y="695105"/>
                  </a:lnTo>
                  <a:lnTo>
                    <a:pt x="475738" y="699079"/>
                  </a:lnTo>
                  <a:lnTo>
                    <a:pt x="477097" y="699079"/>
                  </a:lnTo>
                  <a:lnTo>
                    <a:pt x="477097" y="703393"/>
                  </a:lnTo>
                  <a:lnTo>
                    <a:pt x="481401" y="703393"/>
                  </a:lnTo>
                  <a:lnTo>
                    <a:pt x="481401" y="708389"/>
                  </a:lnTo>
                  <a:lnTo>
                    <a:pt x="490347" y="708389"/>
                  </a:lnTo>
                  <a:lnTo>
                    <a:pt x="490347" y="714407"/>
                  </a:lnTo>
                  <a:lnTo>
                    <a:pt x="496802" y="714407"/>
                  </a:lnTo>
                  <a:lnTo>
                    <a:pt x="496802" y="719289"/>
                  </a:lnTo>
                  <a:lnTo>
                    <a:pt x="518545" y="719289"/>
                  </a:lnTo>
                  <a:lnTo>
                    <a:pt x="518545" y="724172"/>
                  </a:lnTo>
                  <a:lnTo>
                    <a:pt x="528057" y="724172"/>
                  </a:lnTo>
                  <a:lnTo>
                    <a:pt x="528057" y="728827"/>
                  </a:lnTo>
                  <a:lnTo>
                    <a:pt x="539155" y="728827"/>
                  </a:lnTo>
                  <a:lnTo>
                    <a:pt x="539155" y="733482"/>
                  </a:lnTo>
                  <a:lnTo>
                    <a:pt x="540741" y="733482"/>
                  </a:lnTo>
                  <a:lnTo>
                    <a:pt x="540741" y="735412"/>
                  </a:lnTo>
                  <a:lnTo>
                    <a:pt x="541760" y="735412"/>
                  </a:lnTo>
                  <a:lnTo>
                    <a:pt x="541760" y="744382"/>
                  </a:lnTo>
                  <a:lnTo>
                    <a:pt x="545610" y="744382"/>
                  </a:lnTo>
                  <a:lnTo>
                    <a:pt x="545610" y="749264"/>
                  </a:lnTo>
                  <a:lnTo>
                    <a:pt x="552744" y="749264"/>
                  </a:lnTo>
                  <a:lnTo>
                    <a:pt x="552744" y="755623"/>
                  </a:lnTo>
                  <a:lnTo>
                    <a:pt x="555576" y="755623"/>
                  </a:lnTo>
                  <a:lnTo>
                    <a:pt x="555576" y="760392"/>
                  </a:lnTo>
                  <a:lnTo>
                    <a:pt x="559879" y="760392"/>
                  </a:lnTo>
                  <a:lnTo>
                    <a:pt x="559879" y="765614"/>
                  </a:lnTo>
                  <a:lnTo>
                    <a:pt x="562030" y="765614"/>
                  </a:lnTo>
                  <a:lnTo>
                    <a:pt x="562030" y="770383"/>
                  </a:lnTo>
                  <a:lnTo>
                    <a:pt x="564522" y="770383"/>
                  </a:lnTo>
                  <a:lnTo>
                    <a:pt x="564522" y="772086"/>
                  </a:lnTo>
                  <a:lnTo>
                    <a:pt x="570864" y="772086"/>
                  </a:lnTo>
                  <a:lnTo>
                    <a:pt x="570864" y="776174"/>
                  </a:lnTo>
                  <a:lnTo>
                    <a:pt x="571996" y="776174"/>
                  </a:lnTo>
                  <a:lnTo>
                    <a:pt x="571996" y="782873"/>
                  </a:lnTo>
                  <a:lnTo>
                    <a:pt x="575733" y="782873"/>
                  </a:lnTo>
                  <a:lnTo>
                    <a:pt x="575733" y="787755"/>
                  </a:lnTo>
                  <a:lnTo>
                    <a:pt x="588643" y="787755"/>
                  </a:lnTo>
                  <a:lnTo>
                    <a:pt x="588643" y="803651"/>
                  </a:lnTo>
                  <a:lnTo>
                    <a:pt x="605516" y="803651"/>
                  </a:lnTo>
                  <a:lnTo>
                    <a:pt x="605516" y="807057"/>
                  </a:lnTo>
                  <a:lnTo>
                    <a:pt x="607668" y="807057"/>
                  </a:lnTo>
                  <a:lnTo>
                    <a:pt x="607668" y="808533"/>
                  </a:lnTo>
                  <a:lnTo>
                    <a:pt x="609819" y="808533"/>
                  </a:lnTo>
                  <a:lnTo>
                    <a:pt x="609819" y="813302"/>
                  </a:lnTo>
                  <a:lnTo>
                    <a:pt x="622956" y="813302"/>
                  </a:lnTo>
                  <a:lnTo>
                    <a:pt x="622956" y="814778"/>
                  </a:lnTo>
                  <a:lnTo>
                    <a:pt x="624202" y="814778"/>
                  </a:lnTo>
                  <a:lnTo>
                    <a:pt x="624202" y="818979"/>
                  </a:lnTo>
                  <a:lnTo>
                    <a:pt x="630883" y="818979"/>
                  </a:lnTo>
                  <a:lnTo>
                    <a:pt x="630883" y="823407"/>
                  </a:lnTo>
                  <a:lnTo>
                    <a:pt x="636319" y="823407"/>
                  </a:lnTo>
                  <a:lnTo>
                    <a:pt x="636319" y="828630"/>
                  </a:lnTo>
                  <a:lnTo>
                    <a:pt x="642321" y="828630"/>
                  </a:lnTo>
                  <a:lnTo>
                    <a:pt x="642321" y="833172"/>
                  </a:lnTo>
                  <a:lnTo>
                    <a:pt x="645265" y="833172"/>
                  </a:lnTo>
                  <a:lnTo>
                    <a:pt x="645265" y="839417"/>
                  </a:lnTo>
                  <a:lnTo>
                    <a:pt x="648096" y="839417"/>
                  </a:lnTo>
                  <a:lnTo>
                    <a:pt x="648096" y="840552"/>
                  </a:lnTo>
                  <a:lnTo>
                    <a:pt x="650474" y="840552"/>
                  </a:lnTo>
                  <a:lnTo>
                    <a:pt x="650474" y="843959"/>
                  </a:lnTo>
                  <a:lnTo>
                    <a:pt x="656363" y="843959"/>
                  </a:lnTo>
                  <a:lnTo>
                    <a:pt x="656363" y="849522"/>
                  </a:lnTo>
                  <a:lnTo>
                    <a:pt x="664516" y="849522"/>
                  </a:lnTo>
                  <a:lnTo>
                    <a:pt x="664516" y="854518"/>
                  </a:lnTo>
                  <a:lnTo>
                    <a:pt x="671198" y="854518"/>
                  </a:lnTo>
                  <a:lnTo>
                    <a:pt x="671198" y="859400"/>
                  </a:lnTo>
                  <a:lnTo>
                    <a:pt x="676633" y="859400"/>
                  </a:lnTo>
                  <a:lnTo>
                    <a:pt x="676633" y="861103"/>
                  </a:lnTo>
                  <a:cubicBezTo>
                    <a:pt x="676633" y="861103"/>
                    <a:pt x="677653" y="860876"/>
                    <a:pt x="677653" y="861103"/>
                  </a:cubicBezTo>
                  <a:lnTo>
                    <a:pt x="677653" y="865418"/>
                  </a:lnTo>
                  <a:lnTo>
                    <a:pt x="692601" y="865418"/>
                  </a:lnTo>
                  <a:lnTo>
                    <a:pt x="692601" y="870527"/>
                  </a:lnTo>
                  <a:lnTo>
                    <a:pt x="693847" y="870527"/>
                  </a:lnTo>
                  <a:lnTo>
                    <a:pt x="693847" y="872798"/>
                  </a:lnTo>
                  <a:lnTo>
                    <a:pt x="696791" y="872798"/>
                  </a:lnTo>
                  <a:lnTo>
                    <a:pt x="696791" y="880973"/>
                  </a:lnTo>
                  <a:lnTo>
                    <a:pt x="701547" y="880973"/>
                  </a:lnTo>
                  <a:lnTo>
                    <a:pt x="701547" y="884720"/>
                  </a:lnTo>
                  <a:lnTo>
                    <a:pt x="703133" y="884720"/>
                  </a:lnTo>
                  <a:lnTo>
                    <a:pt x="703133" y="886991"/>
                  </a:lnTo>
                  <a:lnTo>
                    <a:pt x="705058" y="886991"/>
                  </a:lnTo>
                  <a:lnTo>
                    <a:pt x="705058" y="889035"/>
                  </a:lnTo>
                  <a:lnTo>
                    <a:pt x="707323" y="889035"/>
                  </a:lnTo>
                  <a:lnTo>
                    <a:pt x="707323" y="892100"/>
                  </a:lnTo>
                  <a:lnTo>
                    <a:pt x="743334" y="892100"/>
                  </a:lnTo>
                  <a:lnTo>
                    <a:pt x="743334" y="897664"/>
                  </a:lnTo>
                  <a:lnTo>
                    <a:pt x="758962" y="897664"/>
                  </a:lnTo>
                  <a:lnTo>
                    <a:pt x="758962" y="899254"/>
                  </a:lnTo>
                  <a:lnTo>
                    <a:pt x="760887" y="899254"/>
                  </a:lnTo>
                  <a:lnTo>
                    <a:pt x="760887" y="902660"/>
                  </a:lnTo>
                  <a:lnTo>
                    <a:pt x="767455" y="902660"/>
                  </a:lnTo>
                  <a:lnTo>
                    <a:pt x="767455" y="907088"/>
                  </a:lnTo>
                  <a:lnTo>
                    <a:pt x="770286" y="907088"/>
                  </a:lnTo>
                  <a:lnTo>
                    <a:pt x="770286" y="912084"/>
                  </a:lnTo>
                  <a:lnTo>
                    <a:pt x="772212" y="912084"/>
                  </a:lnTo>
                  <a:lnTo>
                    <a:pt x="772212" y="915036"/>
                  </a:lnTo>
                  <a:lnTo>
                    <a:pt x="773457" y="915036"/>
                  </a:lnTo>
                  <a:lnTo>
                    <a:pt x="773457" y="918896"/>
                  </a:lnTo>
                  <a:lnTo>
                    <a:pt x="776402" y="918896"/>
                  </a:lnTo>
                  <a:lnTo>
                    <a:pt x="776402" y="923552"/>
                  </a:lnTo>
                  <a:lnTo>
                    <a:pt x="789085" y="923552"/>
                  </a:lnTo>
                  <a:lnTo>
                    <a:pt x="789085" y="928547"/>
                  </a:lnTo>
                  <a:lnTo>
                    <a:pt x="812413" y="928547"/>
                  </a:lnTo>
                  <a:lnTo>
                    <a:pt x="812413" y="934452"/>
                  </a:lnTo>
                  <a:lnTo>
                    <a:pt x="819208" y="934452"/>
                  </a:lnTo>
                  <a:lnTo>
                    <a:pt x="819208" y="939448"/>
                  </a:lnTo>
                  <a:lnTo>
                    <a:pt x="823964" y="939448"/>
                  </a:lnTo>
                  <a:lnTo>
                    <a:pt x="823964" y="944897"/>
                  </a:lnTo>
                  <a:lnTo>
                    <a:pt x="829740" y="944897"/>
                  </a:lnTo>
                  <a:lnTo>
                    <a:pt x="829740" y="949212"/>
                  </a:lnTo>
                  <a:lnTo>
                    <a:pt x="834269" y="949212"/>
                  </a:lnTo>
                  <a:lnTo>
                    <a:pt x="834269" y="953867"/>
                  </a:lnTo>
                  <a:lnTo>
                    <a:pt x="839365" y="953867"/>
                  </a:lnTo>
                  <a:lnTo>
                    <a:pt x="839365" y="959658"/>
                  </a:lnTo>
                  <a:lnTo>
                    <a:pt x="841290" y="959658"/>
                  </a:lnTo>
                  <a:lnTo>
                    <a:pt x="841290" y="965676"/>
                  </a:lnTo>
                  <a:lnTo>
                    <a:pt x="843895" y="965676"/>
                  </a:lnTo>
                  <a:lnTo>
                    <a:pt x="843895" y="974305"/>
                  </a:lnTo>
                  <a:lnTo>
                    <a:pt x="847292" y="974305"/>
                  </a:lnTo>
                  <a:lnTo>
                    <a:pt x="847292" y="976349"/>
                  </a:lnTo>
                  <a:lnTo>
                    <a:pt x="852162" y="976349"/>
                  </a:lnTo>
                  <a:lnTo>
                    <a:pt x="852162" y="980663"/>
                  </a:lnTo>
                  <a:lnTo>
                    <a:pt x="877302" y="980663"/>
                  </a:lnTo>
                  <a:lnTo>
                    <a:pt x="877302" y="987476"/>
                  </a:lnTo>
                  <a:lnTo>
                    <a:pt x="882511" y="987476"/>
                  </a:lnTo>
                  <a:lnTo>
                    <a:pt x="882511" y="991790"/>
                  </a:lnTo>
                  <a:lnTo>
                    <a:pt x="885682" y="991790"/>
                  </a:lnTo>
                  <a:lnTo>
                    <a:pt x="885682" y="997013"/>
                  </a:lnTo>
                  <a:lnTo>
                    <a:pt x="907878" y="997013"/>
                  </a:lnTo>
                  <a:lnTo>
                    <a:pt x="907878" y="1002804"/>
                  </a:lnTo>
                  <a:lnTo>
                    <a:pt x="959631" y="1002804"/>
                  </a:lnTo>
                  <a:lnTo>
                    <a:pt x="959631" y="1008935"/>
                  </a:lnTo>
                  <a:lnTo>
                    <a:pt x="963481" y="1008935"/>
                  </a:lnTo>
                  <a:lnTo>
                    <a:pt x="963481" y="1013590"/>
                  </a:lnTo>
                  <a:lnTo>
                    <a:pt x="972087" y="1013590"/>
                  </a:lnTo>
                  <a:lnTo>
                    <a:pt x="972087" y="1018586"/>
                  </a:lnTo>
                  <a:lnTo>
                    <a:pt x="983185" y="1018586"/>
                  </a:lnTo>
                  <a:lnTo>
                    <a:pt x="983185" y="1023582"/>
                  </a:lnTo>
                  <a:lnTo>
                    <a:pt x="990773" y="1023582"/>
                  </a:lnTo>
                  <a:lnTo>
                    <a:pt x="990773" y="1028010"/>
                  </a:lnTo>
                  <a:lnTo>
                    <a:pt x="992358" y="1028010"/>
                  </a:lnTo>
                  <a:lnTo>
                    <a:pt x="992358" y="1034936"/>
                  </a:lnTo>
                  <a:lnTo>
                    <a:pt x="994736" y="1034936"/>
                  </a:lnTo>
                  <a:lnTo>
                    <a:pt x="994736" y="1047085"/>
                  </a:lnTo>
                  <a:lnTo>
                    <a:pt x="996548" y="1047085"/>
                  </a:lnTo>
                  <a:lnTo>
                    <a:pt x="996548" y="1050719"/>
                  </a:lnTo>
                  <a:lnTo>
                    <a:pt x="1016026" y="1050719"/>
                  </a:lnTo>
                  <a:lnTo>
                    <a:pt x="1016026" y="1053217"/>
                  </a:lnTo>
                  <a:lnTo>
                    <a:pt x="1018970" y="1053217"/>
                  </a:lnTo>
                  <a:lnTo>
                    <a:pt x="1018970" y="1055942"/>
                  </a:lnTo>
                  <a:lnTo>
                    <a:pt x="1024972" y="1055942"/>
                  </a:lnTo>
                  <a:lnTo>
                    <a:pt x="1024972" y="1059802"/>
                  </a:lnTo>
                  <a:lnTo>
                    <a:pt x="1054756" y="1059802"/>
                  </a:lnTo>
                  <a:lnTo>
                    <a:pt x="1054756" y="1063776"/>
                  </a:lnTo>
                  <a:lnTo>
                    <a:pt x="1057020" y="1063776"/>
                  </a:lnTo>
                  <a:lnTo>
                    <a:pt x="1057020" y="1067637"/>
                  </a:lnTo>
                  <a:lnTo>
                    <a:pt x="1059965" y="1067637"/>
                  </a:lnTo>
                  <a:lnTo>
                    <a:pt x="1059965" y="1072178"/>
                  </a:lnTo>
                  <a:lnTo>
                    <a:pt x="1065967" y="1072178"/>
                  </a:lnTo>
                  <a:lnTo>
                    <a:pt x="1065967" y="1082056"/>
                  </a:lnTo>
                  <a:lnTo>
                    <a:pt x="1069930" y="1082056"/>
                  </a:lnTo>
                  <a:lnTo>
                    <a:pt x="1069930" y="1088074"/>
                  </a:lnTo>
                  <a:lnTo>
                    <a:pt x="1080802" y="1088074"/>
                  </a:lnTo>
                  <a:lnTo>
                    <a:pt x="1080802" y="1093751"/>
                  </a:lnTo>
                  <a:lnTo>
                    <a:pt x="1084086" y="1093751"/>
                  </a:lnTo>
                  <a:lnTo>
                    <a:pt x="1084086" y="1098066"/>
                  </a:lnTo>
                  <a:lnTo>
                    <a:pt x="1094051" y="1098066"/>
                  </a:lnTo>
                  <a:lnTo>
                    <a:pt x="1094051" y="1103289"/>
                  </a:lnTo>
                  <a:lnTo>
                    <a:pt x="1104696" y="1103289"/>
                  </a:lnTo>
                  <a:lnTo>
                    <a:pt x="1104696" y="1107603"/>
                  </a:lnTo>
                  <a:lnTo>
                    <a:pt x="1109226" y="1107603"/>
                  </a:lnTo>
                  <a:lnTo>
                    <a:pt x="1109226" y="1113167"/>
                  </a:lnTo>
                  <a:lnTo>
                    <a:pt x="1111831" y="1113167"/>
                  </a:lnTo>
                  <a:lnTo>
                    <a:pt x="1111831" y="1119980"/>
                  </a:lnTo>
                  <a:lnTo>
                    <a:pt x="1113869" y="1119980"/>
                  </a:lnTo>
                  <a:lnTo>
                    <a:pt x="1113869" y="1124975"/>
                  </a:lnTo>
                  <a:lnTo>
                    <a:pt x="1125420" y="1124975"/>
                  </a:lnTo>
                  <a:lnTo>
                    <a:pt x="1125420" y="1129858"/>
                  </a:lnTo>
                  <a:lnTo>
                    <a:pt x="1143992" y="1129858"/>
                  </a:lnTo>
                  <a:lnTo>
                    <a:pt x="1143992" y="1133264"/>
                  </a:lnTo>
                  <a:lnTo>
                    <a:pt x="1145691" y="1133264"/>
                  </a:lnTo>
                  <a:lnTo>
                    <a:pt x="1145691" y="1136557"/>
                  </a:lnTo>
                  <a:lnTo>
                    <a:pt x="1149654" y="1136557"/>
                  </a:lnTo>
                  <a:lnTo>
                    <a:pt x="1149654" y="1142461"/>
                  </a:lnTo>
                  <a:lnTo>
                    <a:pt x="1157241" y="1142461"/>
                  </a:lnTo>
                  <a:lnTo>
                    <a:pt x="1157241" y="1147457"/>
                  </a:lnTo>
                  <a:lnTo>
                    <a:pt x="1172643" y="1147457"/>
                  </a:lnTo>
                  <a:lnTo>
                    <a:pt x="1172643" y="1150409"/>
                  </a:lnTo>
                  <a:lnTo>
                    <a:pt x="1174568" y="1150409"/>
                  </a:lnTo>
                  <a:lnTo>
                    <a:pt x="1174568" y="1151771"/>
                  </a:lnTo>
                  <a:lnTo>
                    <a:pt x="1185439" y="1151771"/>
                  </a:lnTo>
                  <a:lnTo>
                    <a:pt x="1185439" y="1156654"/>
                  </a:lnTo>
                  <a:lnTo>
                    <a:pt x="1204238" y="1156654"/>
                  </a:lnTo>
                  <a:lnTo>
                    <a:pt x="1204238" y="1161309"/>
                  </a:lnTo>
                  <a:lnTo>
                    <a:pt x="1222923" y="1161309"/>
                  </a:lnTo>
                  <a:lnTo>
                    <a:pt x="1222923" y="1172890"/>
                  </a:lnTo>
                  <a:lnTo>
                    <a:pt x="1235833" y="1172890"/>
                  </a:lnTo>
                  <a:lnTo>
                    <a:pt x="1235833" y="1178113"/>
                  </a:lnTo>
                  <a:lnTo>
                    <a:pt x="1287925" y="1178113"/>
                  </a:lnTo>
                  <a:lnTo>
                    <a:pt x="1287925" y="1182201"/>
                  </a:lnTo>
                  <a:lnTo>
                    <a:pt x="1291322" y="1182201"/>
                  </a:lnTo>
                  <a:lnTo>
                    <a:pt x="1291322" y="1183222"/>
                  </a:lnTo>
                  <a:lnTo>
                    <a:pt x="1293134" y="1183222"/>
                  </a:lnTo>
                  <a:lnTo>
                    <a:pt x="1293134" y="1185493"/>
                  </a:lnTo>
                  <a:lnTo>
                    <a:pt x="1294946" y="1185493"/>
                  </a:lnTo>
                  <a:lnTo>
                    <a:pt x="1294946" y="1186742"/>
                  </a:lnTo>
                  <a:lnTo>
                    <a:pt x="1295966" y="1186742"/>
                  </a:lnTo>
                  <a:lnTo>
                    <a:pt x="1295966" y="1189013"/>
                  </a:lnTo>
                  <a:lnTo>
                    <a:pt x="1329826" y="1189013"/>
                  </a:lnTo>
                  <a:lnTo>
                    <a:pt x="1329826" y="1192533"/>
                  </a:lnTo>
                  <a:lnTo>
                    <a:pt x="1331298" y="1192533"/>
                  </a:lnTo>
                  <a:lnTo>
                    <a:pt x="1331298" y="1194123"/>
                  </a:lnTo>
                  <a:lnTo>
                    <a:pt x="1441937" y="1194123"/>
                  </a:lnTo>
                  <a:lnTo>
                    <a:pt x="1441937" y="1200254"/>
                  </a:lnTo>
                  <a:lnTo>
                    <a:pt x="1446807" y="1200254"/>
                  </a:lnTo>
                  <a:lnTo>
                    <a:pt x="1446807" y="1205817"/>
                  </a:lnTo>
                  <a:lnTo>
                    <a:pt x="1456885" y="1205817"/>
                  </a:lnTo>
                  <a:lnTo>
                    <a:pt x="1456885" y="1213084"/>
                  </a:lnTo>
                  <a:lnTo>
                    <a:pt x="1483045" y="1213084"/>
                  </a:lnTo>
                  <a:lnTo>
                    <a:pt x="1483045" y="1218534"/>
                  </a:lnTo>
                  <a:lnTo>
                    <a:pt x="1531060" y="1218534"/>
                  </a:lnTo>
                  <a:lnTo>
                    <a:pt x="1531060" y="1223416"/>
                  </a:lnTo>
                  <a:lnTo>
                    <a:pt x="1580208" y="1223416"/>
                  </a:lnTo>
                  <a:lnTo>
                    <a:pt x="1580208" y="1238858"/>
                  </a:lnTo>
                  <a:lnTo>
                    <a:pt x="1601045" y="1238858"/>
                  </a:lnTo>
                  <a:lnTo>
                    <a:pt x="1601045" y="1246125"/>
                  </a:lnTo>
                  <a:lnTo>
                    <a:pt x="1609085" y="1246125"/>
                  </a:lnTo>
                  <a:lnTo>
                    <a:pt x="1609085" y="1252710"/>
                  </a:lnTo>
                  <a:lnTo>
                    <a:pt x="1616673" y="1252710"/>
                  </a:lnTo>
                  <a:lnTo>
                    <a:pt x="1616673" y="1260318"/>
                  </a:lnTo>
                  <a:lnTo>
                    <a:pt x="1737278" y="1260318"/>
                  </a:lnTo>
                  <a:lnTo>
                    <a:pt x="1737278" y="1273148"/>
                  </a:lnTo>
                  <a:lnTo>
                    <a:pt x="1819719" y="1273148"/>
                  </a:lnTo>
                  <a:lnTo>
                    <a:pt x="1819719" y="1290633"/>
                  </a:lnTo>
                  <a:lnTo>
                    <a:pt x="1840556" y="1290633"/>
                  </a:lnTo>
                  <a:lnTo>
                    <a:pt x="1840556" y="1311752"/>
                  </a:lnTo>
                  <a:lnTo>
                    <a:pt x="2137709" y="1311752"/>
                  </a:lnTo>
                </a:path>
              </a:pathLst>
            </a:custGeom>
            <a:noFill/>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nvGrpSpPr>
            <p:cNvPr id="1881" name="Graphic 2">
              <a:extLst>
                <a:ext uri="{FF2B5EF4-FFF2-40B4-BE49-F238E27FC236}">
                  <a16:creationId xmlns:a16="http://schemas.microsoft.com/office/drawing/2014/main" id="{003F08D1-EC45-4446-9D30-DB892E3A2441}"/>
                </a:ext>
              </a:extLst>
            </p:cNvPr>
            <p:cNvGrpSpPr/>
            <p:nvPr/>
          </p:nvGrpSpPr>
          <p:grpSpPr>
            <a:xfrm>
              <a:off x="7520953" y="3769000"/>
              <a:ext cx="28650" cy="28839"/>
              <a:chOff x="7520953" y="3769000"/>
              <a:chExt cx="28650" cy="28839"/>
            </a:xfrm>
          </p:grpSpPr>
          <p:sp>
            <p:nvSpPr>
              <p:cNvPr id="2105" name="Freeform 1054">
                <a:extLst>
                  <a:ext uri="{FF2B5EF4-FFF2-40B4-BE49-F238E27FC236}">
                    <a16:creationId xmlns:a16="http://schemas.microsoft.com/office/drawing/2014/main" id="{213B706C-888C-4ECF-B02B-D8C1D667F2FB}"/>
                  </a:ext>
                </a:extLst>
              </p:cNvPr>
              <p:cNvSpPr/>
              <p:nvPr/>
            </p:nvSpPr>
            <p:spPr>
              <a:xfrm>
                <a:off x="7535335" y="3769000"/>
                <a:ext cx="11324" cy="28839"/>
              </a:xfrm>
              <a:custGeom>
                <a:avLst/>
                <a:gdLst>
                  <a:gd name="connsiteX0" fmla="*/ 0 w 11324"/>
                  <a:gd name="connsiteY0" fmla="*/ 0 h 28839"/>
                  <a:gd name="connsiteX1" fmla="*/ 0 w 11324"/>
                  <a:gd name="connsiteY1" fmla="*/ 28840 h 28839"/>
                </a:gdLst>
                <a:ahLst/>
                <a:cxnLst>
                  <a:cxn ang="0">
                    <a:pos x="connsiteX0" y="connsiteY0"/>
                  </a:cxn>
                  <a:cxn ang="0">
                    <a:pos x="connsiteX1" y="connsiteY1"/>
                  </a:cxn>
                </a:cxnLst>
                <a:rect l="l" t="t" r="r" b="b"/>
                <a:pathLst>
                  <a:path w="11324" h="28839">
                    <a:moveTo>
                      <a:pt x="0" y="0"/>
                    </a:moveTo>
                    <a:lnTo>
                      <a:pt x="0" y="2884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06" name="Freeform 1055">
                <a:extLst>
                  <a:ext uri="{FF2B5EF4-FFF2-40B4-BE49-F238E27FC236}">
                    <a16:creationId xmlns:a16="http://schemas.microsoft.com/office/drawing/2014/main" id="{E914AEC5-800B-4110-B360-E9ADDB599A73}"/>
                  </a:ext>
                </a:extLst>
              </p:cNvPr>
              <p:cNvSpPr/>
              <p:nvPr/>
            </p:nvSpPr>
            <p:spPr>
              <a:xfrm>
                <a:off x="7520953" y="3783419"/>
                <a:ext cx="28650" cy="11354"/>
              </a:xfrm>
              <a:custGeom>
                <a:avLst/>
                <a:gdLst>
                  <a:gd name="connsiteX0" fmla="*/ 0 w 28650"/>
                  <a:gd name="connsiteY0" fmla="*/ 0 h 11354"/>
                  <a:gd name="connsiteX1" fmla="*/ 28651 w 28650"/>
                  <a:gd name="connsiteY1" fmla="*/ 0 h 11354"/>
                </a:gdLst>
                <a:ahLst/>
                <a:cxnLst>
                  <a:cxn ang="0">
                    <a:pos x="connsiteX0" y="connsiteY0"/>
                  </a:cxn>
                  <a:cxn ang="0">
                    <a:pos x="connsiteX1" y="connsiteY1"/>
                  </a:cxn>
                </a:cxnLst>
                <a:rect l="l" t="t" r="r" b="b"/>
                <a:pathLst>
                  <a:path w="28650" h="11354">
                    <a:moveTo>
                      <a:pt x="0" y="0"/>
                    </a:moveTo>
                    <a:lnTo>
                      <a:pt x="28651" y="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882" name="Graphic 2">
              <a:extLst>
                <a:ext uri="{FF2B5EF4-FFF2-40B4-BE49-F238E27FC236}">
                  <a16:creationId xmlns:a16="http://schemas.microsoft.com/office/drawing/2014/main" id="{7C646D9B-C803-4AD8-A779-1B117F2E419A}"/>
                </a:ext>
              </a:extLst>
            </p:cNvPr>
            <p:cNvGrpSpPr/>
            <p:nvPr/>
          </p:nvGrpSpPr>
          <p:grpSpPr>
            <a:xfrm>
              <a:off x="7507476" y="3769000"/>
              <a:ext cx="28763" cy="28839"/>
              <a:chOff x="7507476" y="3769000"/>
              <a:chExt cx="28763" cy="28839"/>
            </a:xfrm>
          </p:grpSpPr>
          <p:sp>
            <p:nvSpPr>
              <p:cNvPr id="2103" name="Freeform 1052">
                <a:extLst>
                  <a:ext uri="{FF2B5EF4-FFF2-40B4-BE49-F238E27FC236}">
                    <a16:creationId xmlns:a16="http://schemas.microsoft.com/office/drawing/2014/main" id="{40BDF684-C23F-418B-A210-9B2E05A4F6F2}"/>
                  </a:ext>
                </a:extLst>
              </p:cNvPr>
              <p:cNvSpPr/>
              <p:nvPr/>
            </p:nvSpPr>
            <p:spPr>
              <a:xfrm>
                <a:off x="7521858" y="3769000"/>
                <a:ext cx="11324" cy="28839"/>
              </a:xfrm>
              <a:custGeom>
                <a:avLst/>
                <a:gdLst>
                  <a:gd name="connsiteX0" fmla="*/ 0 w 11324"/>
                  <a:gd name="connsiteY0" fmla="*/ 0 h 28839"/>
                  <a:gd name="connsiteX1" fmla="*/ 0 w 11324"/>
                  <a:gd name="connsiteY1" fmla="*/ 28840 h 28839"/>
                </a:gdLst>
                <a:ahLst/>
                <a:cxnLst>
                  <a:cxn ang="0">
                    <a:pos x="connsiteX0" y="connsiteY0"/>
                  </a:cxn>
                  <a:cxn ang="0">
                    <a:pos x="connsiteX1" y="connsiteY1"/>
                  </a:cxn>
                </a:cxnLst>
                <a:rect l="l" t="t" r="r" b="b"/>
                <a:pathLst>
                  <a:path w="11324" h="28839">
                    <a:moveTo>
                      <a:pt x="0" y="0"/>
                    </a:moveTo>
                    <a:lnTo>
                      <a:pt x="0" y="2884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04" name="Freeform 1053">
                <a:extLst>
                  <a:ext uri="{FF2B5EF4-FFF2-40B4-BE49-F238E27FC236}">
                    <a16:creationId xmlns:a16="http://schemas.microsoft.com/office/drawing/2014/main" id="{637579E1-A748-43C7-A0B5-5EE3ECF069E6}"/>
                  </a:ext>
                </a:extLst>
              </p:cNvPr>
              <p:cNvSpPr/>
              <p:nvPr/>
            </p:nvSpPr>
            <p:spPr>
              <a:xfrm>
                <a:off x="7507476" y="3783419"/>
                <a:ext cx="28763" cy="11354"/>
              </a:xfrm>
              <a:custGeom>
                <a:avLst/>
                <a:gdLst>
                  <a:gd name="connsiteX0" fmla="*/ 0 w 28763"/>
                  <a:gd name="connsiteY0" fmla="*/ 0 h 11354"/>
                  <a:gd name="connsiteX1" fmla="*/ 28764 w 28763"/>
                  <a:gd name="connsiteY1" fmla="*/ 0 h 11354"/>
                </a:gdLst>
                <a:ahLst/>
                <a:cxnLst>
                  <a:cxn ang="0">
                    <a:pos x="connsiteX0" y="connsiteY0"/>
                  </a:cxn>
                  <a:cxn ang="0">
                    <a:pos x="connsiteX1" y="connsiteY1"/>
                  </a:cxn>
                </a:cxnLst>
                <a:rect l="l" t="t" r="r" b="b"/>
                <a:pathLst>
                  <a:path w="28763" h="11354">
                    <a:moveTo>
                      <a:pt x="0" y="0"/>
                    </a:moveTo>
                    <a:lnTo>
                      <a:pt x="28764" y="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883" name="Graphic 2">
              <a:extLst>
                <a:ext uri="{FF2B5EF4-FFF2-40B4-BE49-F238E27FC236}">
                  <a16:creationId xmlns:a16="http://schemas.microsoft.com/office/drawing/2014/main" id="{B03475F6-88EA-4B91-A9F4-2763C4F94C6C}"/>
                </a:ext>
              </a:extLst>
            </p:cNvPr>
            <p:cNvGrpSpPr/>
            <p:nvPr/>
          </p:nvGrpSpPr>
          <p:grpSpPr>
            <a:xfrm>
              <a:off x="7478486" y="3769000"/>
              <a:ext cx="28650" cy="28839"/>
              <a:chOff x="7478486" y="3769000"/>
              <a:chExt cx="28650" cy="28839"/>
            </a:xfrm>
          </p:grpSpPr>
          <p:sp>
            <p:nvSpPr>
              <p:cNvPr id="2101" name="Freeform 1050">
                <a:extLst>
                  <a:ext uri="{FF2B5EF4-FFF2-40B4-BE49-F238E27FC236}">
                    <a16:creationId xmlns:a16="http://schemas.microsoft.com/office/drawing/2014/main" id="{1A4A5F38-F9E6-4618-9A8A-D7482A2533E0}"/>
                  </a:ext>
                </a:extLst>
              </p:cNvPr>
              <p:cNvSpPr/>
              <p:nvPr/>
            </p:nvSpPr>
            <p:spPr>
              <a:xfrm>
                <a:off x="7492868" y="3769000"/>
                <a:ext cx="11324" cy="28839"/>
              </a:xfrm>
              <a:custGeom>
                <a:avLst/>
                <a:gdLst>
                  <a:gd name="connsiteX0" fmla="*/ 0 w 11324"/>
                  <a:gd name="connsiteY0" fmla="*/ 0 h 28839"/>
                  <a:gd name="connsiteX1" fmla="*/ 0 w 11324"/>
                  <a:gd name="connsiteY1" fmla="*/ 28840 h 28839"/>
                </a:gdLst>
                <a:ahLst/>
                <a:cxnLst>
                  <a:cxn ang="0">
                    <a:pos x="connsiteX0" y="connsiteY0"/>
                  </a:cxn>
                  <a:cxn ang="0">
                    <a:pos x="connsiteX1" y="connsiteY1"/>
                  </a:cxn>
                </a:cxnLst>
                <a:rect l="l" t="t" r="r" b="b"/>
                <a:pathLst>
                  <a:path w="11324" h="28839">
                    <a:moveTo>
                      <a:pt x="0" y="0"/>
                    </a:moveTo>
                    <a:lnTo>
                      <a:pt x="0" y="2884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02" name="Freeform 1051">
                <a:extLst>
                  <a:ext uri="{FF2B5EF4-FFF2-40B4-BE49-F238E27FC236}">
                    <a16:creationId xmlns:a16="http://schemas.microsoft.com/office/drawing/2014/main" id="{521FFD16-17D9-4927-801A-8BA8B33ACCD3}"/>
                  </a:ext>
                </a:extLst>
              </p:cNvPr>
              <p:cNvSpPr/>
              <p:nvPr/>
            </p:nvSpPr>
            <p:spPr>
              <a:xfrm>
                <a:off x="7478486" y="3783419"/>
                <a:ext cx="28650" cy="11354"/>
              </a:xfrm>
              <a:custGeom>
                <a:avLst/>
                <a:gdLst>
                  <a:gd name="connsiteX0" fmla="*/ 0 w 28650"/>
                  <a:gd name="connsiteY0" fmla="*/ 0 h 11354"/>
                  <a:gd name="connsiteX1" fmla="*/ 28651 w 28650"/>
                  <a:gd name="connsiteY1" fmla="*/ 0 h 11354"/>
                </a:gdLst>
                <a:ahLst/>
                <a:cxnLst>
                  <a:cxn ang="0">
                    <a:pos x="connsiteX0" y="connsiteY0"/>
                  </a:cxn>
                  <a:cxn ang="0">
                    <a:pos x="connsiteX1" y="connsiteY1"/>
                  </a:cxn>
                </a:cxnLst>
                <a:rect l="l" t="t" r="r" b="b"/>
                <a:pathLst>
                  <a:path w="28650" h="11354">
                    <a:moveTo>
                      <a:pt x="0" y="0"/>
                    </a:moveTo>
                    <a:lnTo>
                      <a:pt x="28651" y="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884" name="Graphic 2">
              <a:extLst>
                <a:ext uri="{FF2B5EF4-FFF2-40B4-BE49-F238E27FC236}">
                  <a16:creationId xmlns:a16="http://schemas.microsoft.com/office/drawing/2014/main" id="{76084271-6399-4D6E-9814-155A3932ED4B}"/>
                </a:ext>
              </a:extLst>
            </p:cNvPr>
            <p:cNvGrpSpPr/>
            <p:nvPr/>
          </p:nvGrpSpPr>
          <p:grpSpPr>
            <a:xfrm>
              <a:off x="7472711" y="3769000"/>
              <a:ext cx="28763" cy="28839"/>
              <a:chOff x="7472711" y="3769000"/>
              <a:chExt cx="28763" cy="28839"/>
            </a:xfrm>
          </p:grpSpPr>
          <p:sp>
            <p:nvSpPr>
              <p:cNvPr id="2099" name="Freeform 1048">
                <a:extLst>
                  <a:ext uri="{FF2B5EF4-FFF2-40B4-BE49-F238E27FC236}">
                    <a16:creationId xmlns:a16="http://schemas.microsoft.com/office/drawing/2014/main" id="{C9E84D40-017C-4598-B599-5C5475261667}"/>
                  </a:ext>
                </a:extLst>
              </p:cNvPr>
              <p:cNvSpPr/>
              <p:nvPr/>
            </p:nvSpPr>
            <p:spPr>
              <a:xfrm>
                <a:off x="7487093" y="3769000"/>
                <a:ext cx="11324" cy="28839"/>
              </a:xfrm>
              <a:custGeom>
                <a:avLst/>
                <a:gdLst>
                  <a:gd name="connsiteX0" fmla="*/ 0 w 11324"/>
                  <a:gd name="connsiteY0" fmla="*/ 0 h 28839"/>
                  <a:gd name="connsiteX1" fmla="*/ 0 w 11324"/>
                  <a:gd name="connsiteY1" fmla="*/ 28840 h 28839"/>
                </a:gdLst>
                <a:ahLst/>
                <a:cxnLst>
                  <a:cxn ang="0">
                    <a:pos x="connsiteX0" y="connsiteY0"/>
                  </a:cxn>
                  <a:cxn ang="0">
                    <a:pos x="connsiteX1" y="connsiteY1"/>
                  </a:cxn>
                </a:cxnLst>
                <a:rect l="l" t="t" r="r" b="b"/>
                <a:pathLst>
                  <a:path w="11324" h="28839">
                    <a:moveTo>
                      <a:pt x="0" y="0"/>
                    </a:moveTo>
                    <a:lnTo>
                      <a:pt x="0" y="2884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00" name="Freeform 1049">
                <a:extLst>
                  <a:ext uri="{FF2B5EF4-FFF2-40B4-BE49-F238E27FC236}">
                    <a16:creationId xmlns:a16="http://schemas.microsoft.com/office/drawing/2014/main" id="{25161144-06B4-4027-BB58-9FC3FEB7853F}"/>
                  </a:ext>
                </a:extLst>
              </p:cNvPr>
              <p:cNvSpPr/>
              <p:nvPr/>
            </p:nvSpPr>
            <p:spPr>
              <a:xfrm>
                <a:off x="7472711" y="3783419"/>
                <a:ext cx="28763" cy="11354"/>
              </a:xfrm>
              <a:custGeom>
                <a:avLst/>
                <a:gdLst>
                  <a:gd name="connsiteX0" fmla="*/ 0 w 28763"/>
                  <a:gd name="connsiteY0" fmla="*/ 0 h 11354"/>
                  <a:gd name="connsiteX1" fmla="*/ 28764 w 28763"/>
                  <a:gd name="connsiteY1" fmla="*/ 0 h 11354"/>
                </a:gdLst>
                <a:ahLst/>
                <a:cxnLst>
                  <a:cxn ang="0">
                    <a:pos x="connsiteX0" y="connsiteY0"/>
                  </a:cxn>
                  <a:cxn ang="0">
                    <a:pos x="connsiteX1" y="connsiteY1"/>
                  </a:cxn>
                </a:cxnLst>
                <a:rect l="l" t="t" r="r" b="b"/>
                <a:pathLst>
                  <a:path w="28763" h="11354">
                    <a:moveTo>
                      <a:pt x="0" y="0"/>
                    </a:moveTo>
                    <a:lnTo>
                      <a:pt x="28764" y="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885" name="Graphic 2">
              <a:extLst>
                <a:ext uri="{FF2B5EF4-FFF2-40B4-BE49-F238E27FC236}">
                  <a16:creationId xmlns:a16="http://schemas.microsoft.com/office/drawing/2014/main" id="{E01D39C4-06A5-43BB-B902-E6974031BA9F}"/>
                </a:ext>
              </a:extLst>
            </p:cNvPr>
            <p:cNvGrpSpPr/>
            <p:nvPr/>
          </p:nvGrpSpPr>
          <p:grpSpPr>
            <a:xfrm>
              <a:off x="7393213" y="3769000"/>
              <a:ext cx="28650" cy="28839"/>
              <a:chOff x="7393213" y="3769000"/>
              <a:chExt cx="28650" cy="28839"/>
            </a:xfrm>
          </p:grpSpPr>
          <p:sp>
            <p:nvSpPr>
              <p:cNvPr id="2097" name="Freeform 1046">
                <a:extLst>
                  <a:ext uri="{FF2B5EF4-FFF2-40B4-BE49-F238E27FC236}">
                    <a16:creationId xmlns:a16="http://schemas.microsoft.com/office/drawing/2014/main" id="{D0842F7F-9CF5-4940-84AC-826C488ACF10}"/>
                  </a:ext>
                </a:extLst>
              </p:cNvPr>
              <p:cNvSpPr/>
              <p:nvPr/>
            </p:nvSpPr>
            <p:spPr>
              <a:xfrm>
                <a:off x="7407482" y="3769000"/>
                <a:ext cx="11324" cy="28839"/>
              </a:xfrm>
              <a:custGeom>
                <a:avLst/>
                <a:gdLst>
                  <a:gd name="connsiteX0" fmla="*/ 0 w 11324"/>
                  <a:gd name="connsiteY0" fmla="*/ 0 h 28839"/>
                  <a:gd name="connsiteX1" fmla="*/ 0 w 11324"/>
                  <a:gd name="connsiteY1" fmla="*/ 28840 h 28839"/>
                </a:gdLst>
                <a:ahLst/>
                <a:cxnLst>
                  <a:cxn ang="0">
                    <a:pos x="connsiteX0" y="connsiteY0"/>
                  </a:cxn>
                  <a:cxn ang="0">
                    <a:pos x="connsiteX1" y="connsiteY1"/>
                  </a:cxn>
                </a:cxnLst>
                <a:rect l="l" t="t" r="r" b="b"/>
                <a:pathLst>
                  <a:path w="11324" h="28839">
                    <a:moveTo>
                      <a:pt x="0" y="0"/>
                    </a:moveTo>
                    <a:lnTo>
                      <a:pt x="0" y="2884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98" name="Freeform 1047">
                <a:extLst>
                  <a:ext uri="{FF2B5EF4-FFF2-40B4-BE49-F238E27FC236}">
                    <a16:creationId xmlns:a16="http://schemas.microsoft.com/office/drawing/2014/main" id="{214D58E4-461F-4F61-99F4-9E19AB3A58F5}"/>
                  </a:ext>
                </a:extLst>
              </p:cNvPr>
              <p:cNvSpPr/>
              <p:nvPr/>
            </p:nvSpPr>
            <p:spPr>
              <a:xfrm>
                <a:off x="7393213" y="3783419"/>
                <a:ext cx="28650" cy="11354"/>
              </a:xfrm>
              <a:custGeom>
                <a:avLst/>
                <a:gdLst>
                  <a:gd name="connsiteX0" fmla="*/ 0 w 28650"/>
                  <a:gd name="connsiteY0" fmla="*/ 0 h 11354"/>
                  <a:gd name="connsiteX1" fmla="*/ 28651 w 28650"/>
                  <a:gd name="connsiteY1" fmla="*/ 0 h 11354"/>
                </a:gdLst>
                <a:ahLst/>
                <a:cxnLst>
                  <a:cxn ang="0">
                    <a:pos x="connsiteX0" y="connsiteY0"/>
                  </a:cxn>
                  <a:cxn ang="0">
                    <a:pos x="connsiteX1" y="connsiteY1"/>
                  </a:cxn>
                </a:cxnLst>
                <a:rect l="l" t="t" r="r" b="b"/>
                <a:pathLst>
                  <a:path w="28650" h="11354">
                    <a:moveTo>
                      <a:pt x="0" y="0"/>
                    </a:moveTo>
                    <a:lnTo>
                      <a:pt x="28651" y="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886" name="Graphic 2">
              <a:extLst>
                <a:ext uri="{FF2B5EF4-FFF2-40B4-BE49-F238E27FC236}">
                  <a16:creationId xmlns:a16="http://schemas.microsoft.com/office/drawing/2014/main" id="{244A1723-21A3-403D-8149-E7F45BD38C8C}"/>
                </a:ext>
              </a:extLst>
            </p:cNvPr>
            <p:cNvGrpSpPr/>
            <p:nvPr/>
          </p:nvGrpSpPr>
          <p:grpSpPr>
            <a:xfrm>
              <a:off x="7385513" y="3769000"/>
              <a:ext cx="28650" cy="28839"/>
              <a:chOff x="7385513" y="3769000"/>
              <a:chExt cx="28650" cy="28839"/>
            </a:xfrm>
          </p:grpSpPr>
          <p:sp>
            <p:nvSpPr>
              <p:cNvPr id="2095" name="Freeform 1044">
                <a:extLst>
                  <a:ext uri="{FF2B5EF4-FFF2-40B4-BE49-F238E27FC236}">
                    <a16:creationId xmlns:a16="http://schemas.microsoft.com/office/drawing/2014/main" id="{53F7C1A0-443D-4F4F-B7E6-7F38EF5AEA87}"/>
                  </a:ext>
                </a:extLst>
              </p:cNvPr>
              <p:cNvSpPr/>
              <p:nvPr/>
            </p:nvSpPr>
            <p:spPr>
              <a:xfrm>
                <a:off x="7399895" y="3769000"/>
                <a:ext cx="11324" cy="28839"/>
              </a:xfrm>
              <a:custGeom>
                <a:avLst/>
                <a:gdLst>
                  <a:gd name="connsiteX0" fmla="*/ 0 w 11324"/>
                  <a:gd name="connsiteY0" fmla="*/ 0 h 28839"/>
                  <a:gd name="connsiteX1" fmla="*/ 0 w 11324"/>
                  <a:gd name="connsiteY1" fmla="*/ 28840 h 28839"/>
                </a:gdLst>
                <a:ahLst/>
                <a:cxnLst>
                  <a:cxn ang="0">
                    <a:pos x="connsiteX0" y="connsiteY0"/>
                  </a:cxn>
                  <a:cxn ang="0">
                    <a:pos x="connsiteX1" y="connsiteY1"/>
                  </a:cxn>
                </a:cxnLst>
                <a:rect l="l" t="t" r="r" b="b"/>
                <a:pathLst>
                  <a:path w="11324" h="28839">
                    <a:moveTo>
                      <a:pt x="0" y="0"/>
                    </a:moveTo>
                    <a:lnTo>
                      <a:pt x="0" y="2884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96" name="Freeform 1045">
                <a:extLst>
                  <a:ext uri="{FF2B5EF4-FFF2-40B4-BE49-F238E27FC236}">
                    <a16:creationId xmlns:a16="http://schemas.microsoft.com/office/drawing/2014/main" id="{20106DF9-BCB5-46AF-9B74-98873BE610B8}"/>
                  </a:ext>
                </a:extLst>
              </p:cNvPr>
              <p:cNvSpPr/>
              <p:nvPr/>
            </p:nvSpPr>
            <p:spPr>
              <a:xfrm>
                <a:off x="7385513" y="3783419"/>
                <a:ext cx="28650" cy="11354"/>
              </a:xfrm>
              <a:custGeom>
                <a:avLst/>
                <a:gdLst>
                  <a:gd name="connsiteX0" fmla="*/ 0 w 28650"/>
                  <a:gd name="connsiteY0" fmla="*/ 0 h 11354"/>
                  <a:gd name="connsiteX1" fmla="*/ 28651 w 28650"/>
                  <a:gd name="connsiteY1" fmla="*/ 0 h 11354"/>
                </a:gdLst>
                <a:ahLst/>
                <a:cxnLst>
                  <a:cxn ang="0">
                    <a:pos x="connsiteX0" y="connsiteY0"/>
                  </a:cxn>
                  <a:cxn ang="0">
                    <a:pos x="connsiteX1" y="connsiteY1"/>
                  </a:cxn>
                </a:cxnLst>
                <a:rect l="l" t="t" r="r" b="b"/>
                <a:pathLst>
                  <a:path w="28650" h="11354">
                    <a:moveTo>
                      <a:pt x="0" y="0"/>
                    </a:moveTo>
                    <a:lnTo>
                      <a:pt x="28651" y="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887" name="Graphic 2">
              <a:extLst>
                <a:ext uri="{FF2B5EF4-FFF2-40B4-BE49-F238E27FC236}">
                  <a16:creationId xmlns:a16="http://schemas.microsoft.com/office/drawing/2014/main" id="{005B2D01-2D63-4112-9F83-B83536530510}"/>
                </a:ext>
              </a:extLst>
            </p:cNvPr>
            <p:cNvGrpSpPr/>
            <p:nvPr/>
          </p:nvGrpSpPr>
          <p:grpSpPr>
            <a:xfrm>
              <a:off x="7377019" y="3769000"/>
              <a:ext cx="28650" cy="28839"/>
              <a:chOff x="7377019" y="3769000"/>
              <a:chExt cx="28650" cy="28839"/>
            </a:xfrm>
          </p:grpSpPr>
          <p:sp>
            <p:nvSpPr>
              <p:cNvPr id="2093" name="Freeform 1042">
                <a:extLst>
                  <a:ext uri="{FF2B5EF4-FFF2-40B4-BE49-F238E27FC236}">
                    <a16:creationId xmlns:a16="http://schemas.microsoft.com/office/drawing/2014/main" id="{0923FE1D-3F89-47F1-90C8-BA9E2A212C5B}"/>
                  </a:ext>
                </a:extLst>
              </p:cNvPr>
              <p:cNvSpPr/>
              <p:nvPr/>
            </p:nvSpPr>
            <p:spPr>
              <a:xfrm>
                <a:off x="7391401" y="3769000"/>
                <a:ext cx="11324" cy="28839"/>
              </a:xfrm>
              <a:custGeom>
                <a:avLst/>
                <a:gdLst>
                  <a:gd name="connsiteX0" fmla="*/ 0 w 11324"/>
                  <a:gd name="connsiteY0" fmla="*/ 0 h 28839"/>
                  <a:gd name="connsiteX1" fmla="*/ 0 w 11324"/>
                  <a:gd name="connsiteY1" fmla="*/ 28840 h 28839"/>
                </a:gdLst>
                <a:ahLst/>
                <a:cxnLst>
                  <a:cxn ang="0">
                    <a:pos x="connsiteX0" y="connsiteY0"/>
                  </a:cxn>
                  <a:cxn ang="0">
                    <a:pos x="connsiteX1" y="connsiteY1"/>
                  </a:cxn>
                </a:cxnLst>
                <a:rect l="l" t="t" r="r" b="b"/>
                <a:pathLst>
                  <a:path w="11324" h="28839">
                    <a:moveTo>
                      <a:pt x="0" y="0"/>
                    </a:moveTo>
                    <a:lnTo>
                      <a:pt x="0" y="2884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94" name="Freeform 1043">
                <a:extLst>
                  <a:ext uri="{FF2B5EF4-FFF2-40B4-BE49-F238E27FC236}">
                    <a16:creationId xmlns:a16="http://schemas.microsoft.com/office/drawing/2014/main" id="{576BBEA5-7FE8-4A15-A362-69076191C59C}"/>
                  </a:ext>
                </a:extLst>
              </p:cNvPr>
              <p:cNvSpPr/>
              <p:nvPr/>
            </p:nvSpPr>
            <p:spPr>
              <a:xfrm>
                <a:off x="7377019" y="3783419"/>
                <a:ext cx="28650" cy="11354"/>
              </a:xfrm>
              <a:custGeom>
                <a:avLst/>
                <a:gdLst>
                  <a:gd name="connsiteX0" fmla="*/ 0 w 28650"/>
                  <a:gd name="connsiteY0" fmla="*/ 0 h 11354"/>
                  <a:gd name="connsiteX1" fmla="*/ 28651 w 28650"/>
                  <a:gd name="connsiteY1" fmla="*/ 0 h 11354"/>
                </a:gdLst>
                <a:ahLst/>
                <a:cxnLst>
                  <a:cxn ang="0">
                    <a:pos x="connsiteX0" y="connsiteY0"/>
                  </a:cxn>
                  <a:cxn ang="0">
                    <a:pos x="connsiteX1" y="connsiteY1"/>
                  </a:cxn>
                </a:cxnLst>
                <a:rect l="l" t="t" r="r" b="b"/>
                <a:pathLst>
                  <a:path w="28650" h="11354">
                    <a:moveTo>
                      <a:pt x="0" y="0"/>
                    </a:moveTo>
                    <a:lnTo>
                      <a:pt x="28651" y="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888" name="Graphic 2">
              <a:extLst>
                <a:ext uri="{FF2B5EF4-FFF2-40B4-BE49-F238E27FC236}">
                  <a16:creationId xmlns:a16="http://schemas.microsoft.com/office/drawing/2014/main" id="{882266B7-5299-4C13-89C2-4F6945C98934}"/>
                </a:ext>
              </a:extLst>
            </p:cNvPr>
            <p:cNvGrpSpPr/>
            <p:nvPr/>
          </p:nvGrpSpPr>
          <p:grpSpPr>
            <a:xfrm>
              <a:off x="7369205" y="3769000"/>
              <a:ext cx="28763" cy="28839"/>
              <a:chOff x="7369205" y="3769000"/>
              <a:chExt cx="28763" cy="28839"/>
            </a:xfrm>
          </p:grpSpPr>
          <p:sp>
            <p:nvSpPr>
              <p:cNvPr id="2091" name="Freeform 1040">
                <a:extLst>
                  <a:ext uri="{FF2B5EF4-FFF2-40B4-BE49-F238E27FC236}">
                    <a16:creationId xmlns:a16="http://schemas.microsoft.com/office/drawing/2014/main" id="{60B5FC88-9E42-4B0A-81E9-E0029502ED8C}"/>
                  </a:ext>
                </a:extLst>
              </p:cNvPr>
              <p:cNvSpPr/>
              <p:nvPr/>
            </p:nvSpPr>
            <p:spPr>
              <a:xfrm>
                <a:off x="7383587" y="3769000"/>
                <a:ext cx="11324" cy="28839"/>
              </a:xfrm>
              <a:custGeom>
                <a:avLst/>
                <a:gdLst>
                  <a:gd name="connsiteX0" fmla="*/ 0 w 11324"/>
                  <a:gd name="connsiteY0" fmla="*/ 0 h 28839"/>
                  <a:gd name="connsiteX1" fmla="*/ 0 w 11324"/>
                  <a:gd name="connsiteY1" fmla="*/ 28840 h 28839"/>
                </a:gdLst>
                <a:ahLst/>
                <a:cxnLst>
                  <a:cxn ang="0">
                    <a:pos x="connsiteX0" y="connsiteY0"/>
                  </a:cxn>
                  <a:cxn ang="0">
                    <a:pos x="connsiteX1" y="connsiteY1"/>
                  </a:cxn>
                </a:cxnLst>
                <a:rect l="l" t="t" r="r" b="b"/>
                <a:pathLst>
                  <a:path w="11324" h="28839">
                    <a:moveTo>
                      <a:pt x="0" y="0"/>
                    </a:moveTo>
                    <a:lnTo>
                      <a:pt x="0" y="2884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92" name="Freeform 1041">
                <a:extLst>
                  <a:ext uri="{FF2B5EF4-FFF2-40B4-BE49-F238E27FC236}">
                    <a16:creationId xmlns:a16="http://schemas.microsoft.com/office/drawing/2014/main" id="{4BBBD850-25D9-4F1A-964B-D2ADFDFB1C02}"/>
                  </a:ext>
                </a:extLst>
              </p:cNvPr>
              <p:cNvSpPr/>
              <p:nvPr/>
            </p:nvSpPr>
            <p:spPr>
              <a:xfrm>
                <a:off x="7369205" y="3783419"/>
                <a:ext cx="28763" cy="11354"/>
              </a:xfrm>
              <a:custGeom>
                <a:avLst/>
                <a:gdLst>
                  <a:gd name="connsiteX0" fmla="*/ 0 w 28763"/>
                  <a:gd name="connsiteY0" fmla="*/ 0 h 11354"/>
                  <a:gd name="connsiteX1" fmla="*/ 28764 w 28763"/>
                  <a:gd name="connsiteY1" fmla="*/ 0 h 11354"/>
                </a:gdLst>
                <a:ahLst/>
                <a:cxnLst>
                  <a:cxn ang="0">
                    <a:pos x="connsiteX0" y="connsiteY0"/>
                  </a:cxn>
                  <a:cxn ang="0">
                    <a:pos x="connsiteX1" y="connsiteY1"/>
                  </a:cxn>
                </a:cxnLst>
                <a:rect l="l" t="t" r="r" b="b"/>
                <a:pathLst>
                  <a:path w="28763" h="11354">
                    <a:moveTo>
                      <a:pt x="0" y="0"/>
                    </a:moveTo>
                    <a:lnTo>
                      <a:pt x="28764" y="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889" name="Graphic 2">
              <a:extLst>
                <a:ext uri="{FF2B5EF4-FFF2-40B4-BE49-F238E27FC236}">
                  <a16:creationId xmlns:a16="http://schemas.microsoft.com/office/drawing/2014/main" id="{4DFFACFF-848D-4E81-9762-E2EE8E450B11}"/>
                </a:ext>
              </a:extLst>
            </p:cNvPr>
            <p:cNvGrpSpPr/>
            <p:nvPr/>
          </p:nvGrpSpPr>
          <p:grpSpPr>
            <a:xfrm>
              <a:off x="7364449" y="3769000"/>
              <a:ext cx="28763" cy="28839"/>
              <a:chOff x="7364449" y="3769000"/>
              <a:chExt cx="28763" cy="28839"/>
            </a:xfrm>
          </p:grpSpPr>
          <p:sp>
            <p:nvSpPr>
              <p:cNvPr id="2089" name="Freeform 1038">
                <a:extLst>
                  <a:ext uri="{FF2B5EF4-FFF2-40B4-BE49-F238E27FC236}">
                    <a16:creationId xmlns:a16="http://schemas.microsoft.com/office/drawing/2014/main" id="{5B76D797-C6B7-42F9-9E46-11FE48AF719C}"/>
                  </a:ext>
                </a:extLst>
              </p:cNvPr>
              <p:cNvSpPr/>
              <p:nvPr/>
            </p:nvSpPr>
            <p:spPr>
              <a:xfrm>
                <a:off x="7378831" y="3769000"/>
                <a:ext cx="11324" cy="28839"/>
              </a:xfrm>
              <a:custGeom>
                <a:avLst/>
                <a:gdLst>
                  <a:gd name="connsiteX0" fmla="*/ 0 w 11324"/>
                  <a:gd name="connsiteY0" fmla="*/ 0 h 28839"/>
                  <a:gd name="connsiteX1" fmla="*/ 0 w 11324"/>
                  <a:gd name="connsiteY1" fmla="*/ 28840 h 28839"/>
                </a:gdLst>
                <a:ahLst/>
                <a:cxnLst>
                  <a:cxn ang="0">
                    <a:pos x="connsiteX0" y="connsiteY0"/>
                  </a:cxn>
                  <a:cxn ang="0">
                    <a:pos x="connsiteX1" y="connsiteY1"/>
                  </a:cxn>
                </a:cxnLst>
                <a:rect l="l" t="t" r="r" b="b"/>
                <a:pathLst>
                  <a:path w="11324" h="28839">
                    <a:moveTo>
                      <a:pt x="0" y="0"/>
                    </a:moveTo>
                    <a:lnTo>
                      <a:pt x="0" y="2884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90" name="Freeform 1039">
                <a:extLst>
                  <a:ext uri="{FF2B5EF4-FFF2-40B4-BE49-F238E27FC236}">
                    <a16:creationId xmlns:a16="http://schemas.microsoft.com/office/drawing/2014/main" id="{3D0091C6-AEA4-464E-B8AC-4DA1A80F1C49}"/>
                  </a:ext>
                </a:extLst>
              </p:cNvPr>
              <p:cNvSpPr/>
              <p:nvPr/>
            </p:nvSpPr>
            <p:spPr>
              <a:xfrm>
                <a:off x="7364449" y="3783419"/>
                <a:ext cx="28763" cy="11354"/>
              </a:xfrm>
              <a:custGeom>
                <a:avLst/>
                <a:gdLst>
                  <a:gd name="connsiteX0" fmla="*/ 0 w 28763"/>
                  <a:gd name="connsiteY0" fmla="*/ 0 h 11354"/>
                  <a:gd name="connsiteX1" fmla="*/ 28764 w 28763"/>
                  <a:gd name="connsiteY1" fmla="*/ 0 h 11354"/>
                </a:gdLst>
                <a:ahLst/>
                <a:cxnLst>
                  <a:cxn ang="0">
                    <a:pos x="connsiteX0" y="connsiteY0"/>
                  </a:cxn>
                  <a:cxn ang="0">
                    <a:pos x="connsiteX1" y="connsiteY1"/>
                  </a:cxn>
                </a:cxnLst>
                <a:rect l="l" t="t" r="r" b="b"/>
                <a:pathLst>
                  <a:path w="28763" h="11354">
                    <a:moveTo>
                      <a:pt x="0" y="0"/>
                    </a:moveTo>
                    <a:lnTo>
                      <a:pt x="28764" y="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890" name="Graphic 2">
              <a:extLst>
                <a:ext uri="{FF2B5EF4-FFF2-40B4-BE49-F238E27FC236}">
                  <a16:creationId xmlns:a16="http://schemas.microsoft.com/office/drawing/2014/main" id="{1F5E9E0B-66E6-44C2-BEC2-67FBD65654B7}"/>
                </a:ext>
              </a:extLst>
            </p:cNvPr>
            <p:cNvGrpSpPr/>
            <p:nvPr/>
          </p:nvGrpSpPr>
          <p:grpSpPr>
            <a:xfrm>
              <a:off x="7354144" y="3769000"/>
              <a:ext cx="28764" cy="28839"/>
              <a:chOff x="7354144" y="3769000"/>
              <a:chExt cx="28764" cy="28839"/>
            </a:xfrm>
          </p:grpSpPr>
          <p:sp>
            <p:nvSpPr>
              <p:cNvPr id="2087" name="Freeform 1036">
                <a:extLst>
                  <a:ext uri="{FF2B5EF4-FFF2-40B4-BE49-F238E27FC236}">
                    <a16:creationId xmlns:a16="http://schemas.microsoft.com/office/drawing/2014/main" id="{B9B271FE-5AB1-471D-B936-4EBE19B815A2}"/>
                  </a:ext>
                </a:extLst>
              </p:cNvPr>
              <p:cNvSpPr/>
              <p:nvPr/>
            </p:nvSpPr>
            <p:spPr>
              <a:xfrm>
                <a:off x="7368526" y="3769000"/>
                <a:ext cx="11324" cy="28839"/>
              </a:xfrm>
              <a:custGeom>
                <a:avLst/>
                <a:gdLst>
                  <a:gd name="connsiteX0" fmla="*/ 0 w 11324"/>
                  <a:gd name="connsiteY0" fmla="*/ 0 h 28839"/>
                  <a:gd name="connsiteX1" fmla="*/ 0 w 11324"/>
                  <a:gd name="connsiteY1" fmla="*/ 28840 h 28839"/>
                </a:gdLst>
                <a:ahLst/>
                <a:cxnLst>
                  <a:cxn ang="0">
                    <a:pos x="connsiteX0" y="connsiteY0"/>
                  </a:cxn>
                  <a:cxn ang="0">
                    <a:pos x="connsiteX1" y="connsiteY1"/>
                  </a:cxn>
                </a:cxnLst>
                <a:rect l="l" t="t" r="r" b="b"/>
                <a:pathLst>
                  <a:path w="11324" h="28839">
                    <a:moveTo>
                      <a:pt x="0" y="0"/>
                    </a:moveTo>
                    <a:lnTo>
                      <a:pt x="0" y="2884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88" name="Freeform 1037">
                <a:extLst>
                  <a:ext uri="{FF2B5EF4-FFF2-40B4-BE49-F238E27FC236}">
                    <a16:creationId xmlns:a16="http://schemas.microsoft.com/office/drawing/2014/main" id="{D402ABD4-BF57-44EC-B66B-D7F59705CF65}"/>
                  </a:ext>
                </a:extLst>
              </p:cNvPr>
              <p:cNvSpPr/>
              <p:nvPr/>
            </p:nvSpPr>
            <p:spPr>
              <a:xfrm>
                <a:off x="7354144" y="3783419"/>
                <a:ext cx="28764" cy="11354"/>
              </a:xfrm>
              <a:custGeom>
                <a:avLst/>
                <a:gdLst>
                  <a:gd name="connsiteX0" fmla="*/ 0 w 28764"/>
                  <a:gd name="connsiteY0" fmla="*/ 0 h 11354"/>
                  <a:gd name="connsiteX1" fmla="*/ 28764 w 28764"/>
                  <a:gd name="connsiteY1" fmla="*/ 0 h 11354"/>
                </a:gdLst>
                <a:ahLst/>
                <a:cxnLst>
                  <a:cxn ang="0">
                    <a:pos x="connsiteX0" y="connsiteY0"/>
                  </a:cxn>
                  <a:cxn ang="0">
                    <a:pos x="connsiteX1" y="connsiteY1"/>
                  </a:cxn>
                </a:cxnLst>
                <a:rect l="l" t="t" r="r" b="b"/>
                <a:pathLst>
                  <a:path w="28764" h="11354">
                    <a:moveTo>
                      <a:pt x="0" y="0"/>
                    </a:moveTo>
                    <a:lnTo>
                      <a:pt x="28764" y="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891" name="Graphic 2">
              <a:extLst>
                <a:ext uri="{FF2B5EF4-FFF2-40B4-BE49-F238E27FC236}">
                  <a16:creationId xmlns:a16="http://schemas.microsoft.com/office/drawing/2014/main" id="{1272787E-E768-4372-BD3A-C6021C221F9A}"/>
                </a:ext>
              </a:extLst>
            </p:cNvPr>
            <p:cNvGrpSpPr/>
            <p:nvPr/>
          </p:nvGrpSpPr>
          <p:grpSpPr>
            <a:xfrm>
              <a:off x="7332854" y="3769000"/>
              <a:ext cx="28764" cy="28839"/>
              <a:chOff x="7332854" y="3769000"/>
              <a:chExt cx="28764" cy="28839"/>
            </a:xfrm>
          </p:grpSpPr>
          <p:sp>
            <p:nvSpPr>
              <p:cNvPr id="2085" name="Freeform 1034">
                <a:extLst>
                  <a:ext uri="{FF2B5EF4-FFF2-40B4-BE49-F238E27FC236}">
                    <a16:creationId xmlns:a16="http://schemas.microsoft.com/office/drawing/2014/main" id="{C7BF8AB9-8D6A-4B07-86E8-AE9DCBBB5874}"/>
                  </a:ext>
                </a:extLst>
              </p:cNvPr>
              <p:cNvSpPr/>
              <p:nvPr/>
            </p:nvSpPr>
            <p:spPr>
              <a:xfrm>
                <a:off x="7347236" y="3769000"/>
                <a:ext cx="11324" cy="28839"/>
              </a:xfrm>
              <a:custGeom>
                <a:avLst/>
                <a:gdLst>
                  <a:gd name="connsiteX0" fmla="*/ 0 w 11324"/>
                  <a:gd name="connsiteY0" fmla="*/ 0 h 28839"/>
                  <a:gd name="connsiteX1" fmla="*/ 0 w 11324"/>
                  <a:gd name="connsiteY1" fmla="*/ 28840 h 28839"/>
                </a:gdLst>
                <a:ahLst/>
                <a:cxnLst>
                  <a:cxn ang="0">
                    <a:pos x="connsiteX0" y="connsiteY0"/>
                  </a:cxn>
                  <a:cxn ang="0">
                    <a:pos x="connsiteX1" y="connsiteY1"/>
                  </a:cxn>
                </a:cxnLst>
                <a:rect l="l" t="t" r="r" b="b"/>
                <a:pathLst>
                  <a:path w="11324" h="28839">
                    <a:moveTo>
                      <a:pt x="0" y="0"/>
                    </a:moveTo>
                    <a:lnTo>
                      <a:pt x="0" y="2884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86" name="Freeform 1035">
                <a:extLst>
                  <a:ext uri="{FF2B5EF4-FFF2-40B4-BE49-F238E27FC236}">
                    <a16:creationId xmlns:a16="http://schemas.microsoft.com/office/drawing/2014/main" id="{2F1DD9CE-78B6-431B-BA98-CE4A1B61B2F9}"/>
                  </a:ext>
                </a:extLst>
              </p:cNvPr>
              <p:cNvSpPr/>
              <p:nvPr/>
            </p:nvSpPr>
            <p:spPr>
              <a:xfrm>
                <a:off x="7332854" y="3783419"/>
                <a:ext cx="28764" cy="11354"/>
              </a:xfrm>
              <a:custGeom>
                <a:avLst/>
                <a:gdLst>
                  <a:gd name="connsiteX0" fmla="*/ 0 w 28764"/>
                  <a:gd name="connsiteY0" fmla="*/ 0 h 11354"/>
                  <a:gd name="connsiteX1" fmla="*/ 28764 w 28764"/>
                  <a:gd name="connsiteY1" fmla="*/ 0 h 11354"/>
                </a:gdLst>
                <a:ahLst/>
                <a:cxnLst>
                  <a:cxn ang="0">
                    <a:pos x="connsiteX0" y="connsiteY0"/>
                  </a:cxn>
                  <a:cxn ang="0">
                    <a:pos x="connsiteX1" y="connsiteY1"/>
                  </a:cxn>
                </a:cxnLst>
                <a:rect l="l" t="t" r="r" b="b"/>
                <a:pathLst>
                  <a:path w="28764" h="11354">
                    <a:moveTo>
                      <a:pt x="0" y="0"/>
                    </a:moveTo>
                    <a:lnTo>
                      <a:pt x="28764" y="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892" name="Graphic 2">
              <a:extLst>
                <a:ext uri="{FF2B5EF4-FFF2-40B4-BE49-F238E27FC236}">
                  <a16:creationId xmlns:a16="http://schemas.microsoft.com/office/drawing/2014/main" id="{AAB45883-F7DB-48A8-B92F-DB947FD51D74}"/>
                </a:ext>
              </a:extLst>
            </p:cNvPr>
            <p:cNvGrpSpPr/>
            <p:nvPr/>
          </p:nvGrpSpPr>
          <p:grpSpPr>
            <a:xfrm>
              <a:off x="7316887" y="3769000"/>
              <a:ext cx="28763" cy="28839"/>
              <a:chOff x="7316887" y="3769000"/>
              <a:chExt cx="28763" cy="28839"/>
            </a:xfrm>
          </p:grpSpPr>
          <p:sp>
            <p:nvSpPr>
              <p:cNvPr id="2083" name="Freeform 1032">
                <a:extLst>
                  <a:ext uri="{FF2B5EF4-FFF2-40B4-BE49-F238E27FC236}">
                    <a16:creationId xmlns:a16="http://schemas.microsoft.com/office/drawing/2014/main" id="{815AD1CD-38C2-4ED6-8676-8B4C206E6C61}"/>
                  </a:ext>
                </a:extLst>
              </p:cNvPr>
              <p:cNvSpPr/>
              <p:nvPr/>
            </p:nvSpPr>
            <p:spPr>
              <a:xfrm>
                <a:off x="7331269" y="3769000"/>
                <a:ext cx="11324" cy="28839"/>
              </a:xfrm>
              <a:custGeom>
                <a:avLst/>
                <a:gdLst>
                  <a:gd name="connsiteX0" fmla="*/ 0 w 11324"/>
                  <a:gd name="connsiteY0" fmla="*/ 0 h 28839"/>
                  <a:gd name="connsiteX1" fmla="*/ 0 w 11324"/>
                  <a:gd name="connsiteY1" fmla="*/ 28840 h 28839"/>
                </a:gdLst>
                <a:ahLst/>
                <a:cxnLst>
                  <a:cxn ang="0">
                    <a:pos x="connsiteX0" y="connsiteY0"/>
                  </a:cxn>
                  <a:cxn ang="0">
                    <a:pos x="connsiteX1" y="connsiteY1"/>
                  </a:cxn>
                </a:cxnLst>
                <a:rect l="l" t="t" r="r" b="b"/>
                <a:pathLst>
                  <a:path w="11324" h="28839">
                    <a:moveTo>
                      <a:pt x="0" y="0"/>
                    </a:moveTo>
                    <a:lnTo>
                      <a:pt x="0" y="2884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84" name="Freeform 1033">
                <a:extLst>
                  <a:ext uri="{FF2B5EF4-FFF2-40B4-BE49-F238E27FC236}">
                    <a16:creationId xmlns:a16="http://schemas.microsoft.com/office/drawing/2014/main" id="{3504C446-5216-4F1E-BCCE-DEB2FF382D1C}"/>
                  </a:ext>
                </a:extLst>
              </p:cNvPr>
              <p:cNvSpPr/>
              <p:nvPr/>
            </p:nvSpPr>
            <p:spPr>
              <a:xfrm>
                <a:off x="7316887" y="3783419"/>
                <a:ext cx="28763" cy="11354"/>
              </a:xfrm>
              <a:custGeom>
                <a:avLst/>
                <a:gdLst>
                  <a:gd name="connsiteX0" fmla="*/ 0 w 28763"/>
                  <a:gd name="connsiteY0" fmla="*/ 0 h 11354"/>
                  <a:gd name="connsiteX1" fmla="*/ 28764 w 28763"/>
                  <a:gd name="connsiteY1" fmla="*/ 0 h 11354"/>
                </a:gdLst>
                <a:ahLst/>
                <a:cxnLst>
                  <a:cxn ang="0">
                    <a:pos x="connsiteX0" y="connsiteY0"/>
                  </a:cxn>
                  <a:cxn ang="0">
                    <a:pos x="connsiteX1" y="connsiteY1"/>
                  </a:cxn>
                </a:cxnLst>
                <a:rect l="l" t="t" r="r" b="b"/>
                <a:pathLst>
                  <a:path w="28763" h="11354">
                    <a:moveTo>
                      <a:pt x="0" y="0"/>
                    </a:moveTo>
                    <a:lnTo>
                      <a:pt x="28764" y="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893" name="Graphic 2">
              <a:extLst>
                <a:ext uri="{FF2B5EF4-FFF2-40B4-BE49-F238E27FC236}">
                  <a16:creationId xmlns:a16="http://schemas.microsoft.com/office/drawing/2014/main" id="{F441100C-FB0E-495F-9D19-64A464103856}"/>
                </a:ext>
              </a:extLst>
            </p:cNvPr>
            <p:cNvGrpSpPr/>
            <p:nvPr/>
          </p:nvGrpSpPr>
          <p:grpSpPr>
            <a:xfrm>
              <a:off x="7310205" y="3769000"/>
              <a:ext cx="28650" cy="28839"/>
              <a:chOff x="7310205" y="3769000"/>
              <a:chExt cx="28650" cy="28839"/>
            </a:xfrm>
          </p:grpSpPr>
          <p:sp>
            <p:nvSpPr>
              <p:cNvPr id="2081" name="Freeform 1030">
                <a:extLst>
                  <a:ext uri="{FF2B5EF4-FFF2-40B4-BE49-F238E27FC236}">
                    <a16:creationId xmlns:a16="http://schemas.microsoft.com/office/drawing/2014/main" id="{7EEFC011-0618-47E3-B4DD-2920E12F4C3D}"/>
                  </a:ext>
                </a:extLst>
              </p:cNvPr>
              <p:cNvSpPr/>
              <p:nvPr/>
            </p:nvSpPr>
            <p:spPr>
              <a:xfrm>
                <a:off x="7324587" y="3769000"/>
                <a:ext cx="11324" cy="28839"/>
              </a:xfrm>
              <a:custGeom>
                <a:avLst/>
                <a:gdLst>
                  <a:gd name="connsiteX0" fmla="*/ 0 w 11324"/>
                  <a:gd name="connsiteY0" fmla="*/ 0 h 28839"/>
                  <a:gd name="connsiteX1" fmla="*/ 0 w 11324"/>
                  <a:gd name="connsiteY1" fmla="*/ 28840 h 28839"/>
                </a:gdLst>
                <a:ahLst/>
                <a:cxnLst>
                  <a:cxn ang="0">
                    <a:pos x="connsiteX0" y="connsiteY0"/>
                  </a:cxn>
                  <a:cxn ang="0">
                    <a:pos x="connsiteX1" y="connsiteY1"/>
                  </a:cxn>
                </a:cxnLst>
                <a:rect l="l" t="t" r="r" b="b"/>
                <a:pathLst>
                  <a:path w="11324" h="28839">
                    <a:moveTo>
                      <a:pt x="0" y="0"/>
                    </a:moveTo>
                    <a:lnTo>
                      <a:pt x="0" y="2884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82" name="Freeform 1031">
                <a:extLst>
                  <a:ext uri="{FF2B5EF4-FFF2-40B4-BE49-F238E27FC236}">
                    <a16:creationId xmlns:a16="http://schemas.microsoft.com/office/drawing/2014/main" id="{804BC9EC-A101-433F-93F9-EAB6320B6F40}"/>
                  </a:ext>
                </a:extLst>
              </p:cNvPr>
              <p:cNvSpPr/>
              <p:nvPr/>
            </p:nvSpPr>
            <p:spPr>
              <a:xfrm>
                <a:off x="7310205" y="3783419"/>
                <a:ext cx="28650" cy="11354"/>
              </a:xfrm>
              <a:custGeom>
                <a:avLst/>
                <a:gdLst>
                  <a:gd name="connsiteX0" fmla="*/ 0 w 28650"/>
                  <a:gd name="connsiteY0" fmla="*/ 0 h 11354"/>
                  <a:gd name="connsiteX1" fmla="*/ 28651 w 28650"/>
                  <a:gd name="connsiteY1" fmla="*/ 0 h 11354"/>
                </a:gdLst>
                <a:ahLst/>
                <a:cxnLst>
                  <a:cxn ang="0">
                    <a:pos x="connsiteX0" y="connsiteY0"/>
                  </a:cxn>
                  <a:cxn ang="0">
                    <a:pos x="connsiteX1" y="connsiteY1"/>
                  </a:cxn>
                </a:cxnLst>
                <a:rect l="l" t="t" r="r" b="b"/>
                <a:pathLst>
                  <a:path w="28650" h="11354">
                    <a:moveTo>
                      <a:pt x="0" y="0"/>
                    </a:moveTo>
                    <a:lnTo>
                      <a:pt x="28651" y="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894" name="Graphic 2">
              <a:extLst>
                <a:ext uri="{FF2B5EF4-FFF2-40B4-BE49-F238E27FC236}">
                  <a16:creationId xmlns:a16="http://schemas.microsoft.com/office/drawing/2014/main" id="{DD7949A8-23D6-4F4E-9DDD-ED92E9BC84B4}"/>
                </a:ext>
              </a:extLst>
            </p:cNvPr>
            <p:cNvGrpSpPr/>
            <p:nvPr/>
          </p:nvGrpSpPr>
          <p:grpSpPr>
            <a:xfrm>
              <a:off x="7263435" y="3769000"/>
              <a:ext cx="28650" cy="28839"/>
              <a:chOff x="7263435" y="3769000"/>
              <a:chExt cx="28650" cy="28839"/>
            </a:xfrm>
          </p:grpSpPr>
          <p:sp>
            <p:nvSpPr>
              <p:cNvPr id="2079" name="Freeform 1028">
                <a:extLst>
                  <a:ext uri="{FF2B5EF4-FFF2-40B4-BE49-F238E27FC236}">
                    <a16:creationId xmlns:a16="http://schemas.microsoft.com/office/drawing/2014/main" id="{250A2E10-E9EA-41E3-9A90-8AB6E0FEEE11}"/>
                  </a:ext>
                </a:extLst>
              </p:cNvPr>
              <p:cNvSpPr/>
              <p:nvPr/>
            </p:nvSpPr>
            <p:spPr>
              <a:xfrm>
                <a:off x="7277704" y="3769000"/>
                <a:ext cx="11324" cy="28839"/>
              </a:xfrm>
              <a:custGeom>
                <a:avLst/>
                <a:gdLst>
                  <a:gd name="connsiteX0" fmla="*/ 0 w 11324"/>
                  <a:gd name="connsiteY0" fmla="*/ 0 h 28839"/>
                  <a:gd name="connsiteX1" fmla="*/ 0 w 11324"/>
                  <a:gd name="connsiteY1" fmla="*/ 28840 h 28839"/>
                </a:gdLst>
                <a:ahLst/>
                <a:cxnLst>
                  <a:cxn ang="0">
                    <a:pos x="connsiteX0" y="connsiteY0"/>
                  </a:cxn>
                  <a:cxn ang="0">
                    <a:pos x="connsiteX1" y="connsiteY1"/>
                  </a:cxn>
                </a:cxnLst>
                <a:rect l="l" t="t" r="r" b="b"/>
                <a:pathLst>
                  <a:path w="11324" h="28839">
                    <a:moveTo>
                      <a:pt x="0" y="0"/>
                    </a:moveTo>
                    <a:lnTo>
                      <a:pt x="0" y="2884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80" name="Freeform 1029">
                <a:extLst>
                  <a:ext uri="{FF2B5EF4-FFF2-40B4-BE49-F238E27FC236}">
                    <a16:creationId xmlns:a16="http://schemas.microsoft.com/office/drawing/2014/main" id="{1012D004-2CAE-4810-82C4-35C7A2026CEB}"/>
                  </a:ext>
                </a:extLst>
              </p:cNvPr>
              <p:cNvSpPr/>
              <p:nvPr/>
            </p:nvSpPr>
            <p:spPr>
              <a:xfrm>
                <a:off x="7263435" y="3783419"/>
                <a:ext cx="28650" cy="11354"/>
              </a:xfrm>
              <a:custGeom>
                <a:avLst/>
                <a:gdLst>
                  <a:gd name="connsiteX0" fmla="*/ 0 w 28650"/>
                  <a:gd name="connsiteY0" fmla="*/ 0 h 11354"/>
                  <a:gd name="connsiteX1" fmla="*/ 28651 w 28650"/>
                  <a:gd name="connsiteY1" fmla="*/ 0 h 11354"/>
                </a:gdLst>
                <a:ahLst/>
                <a:cxnLst>
                  <a:cxn ang="0">
                    <a:pos x="connsiteX0" y="connsiteY0"/>
                  </a:cxn>
                  <a:cxn ang="0">
                    <a:pos x="connsiteX1" y="connsiteY1"/>
                  </a:cxn>
                </a:cxnLst>
                <a:rect l="l" t="t" r="r" b="b"/>
                <a:pathLst>
                  <a:path w="28650" h="11354">
                    <a:moveTo>
                      <a:pt x="0" y="0"/>
                    </a:moveTo>
                    <a:lnTo>
                      <a:pt x="28651" y="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895" name="Graphic 2">
              <a:extLst>
                <a:ext uri="{FF2B5EF4-FFF2-40B4-BE49-F238E27FC236}">
                  <a16:creationId xmlns:a16="http://schemas.microsoft.com/office/drawing/2014/main" id="{8330048C-D054-4B74-B309-625C9AEA882D}"/>
                </a:ext>
              </a:extLst>
            </p:cNvPr>
            <p:cNvGrpSpPr/>
            <p:nvPr/>
          </p:nvGrpSpPr>
          <p:grpSpPr>
            <a:xfrm>
              <a:off x="7254489" y="3769000"/>
              <a:ext cx="28650" cy="28839"/>
              <a:chOff x="7254489" y="3769000"/>
              <a:chExt cx="28650" cy="28839"/>
            </a:xfrm>
          </p:grpSpPr>
          <p:sp>
            <p:nvSpPr>
              <p:cNvPr id="2077" name="Freeform 1026">
                <a:extLst>
                  <a:ext uri="{FF2B5EF4-FFF2-40B4-BE49-F238E27FC236}">
                    <a16:creationId xmlns:a16="http://schemas.microsoft.com/office/drawing/2014/main" id="{59F11C3A-0543-43C1-A5F0-BF63695B0E53}"/>
                  </a:ext>
                </a:extLst>
              </p:cNvPr>
              <p:cNvSpPr/>
              <p:nvPr/>
            </p:nvSpPr>
            <p:spPr>
              <a:xfrm>
                <a:off x="7268758" y="3769000"/>
                <a:ext cx="11324" cy="28839"/>
              </a:xfrm>
              <a:custGeom>
                <a:avLst/>
                <a:gdLst>
                  <a:gd name="connsiteX0" fmla="*/ 0 w 11324"/>
                  <a:gd name="connsiteY0" fmla="*/ 0 h 28839"/>
                  <a:gd name="connsiteX1" fmla="*/ 0 w 11324"/>
                  <a:gd name="connsiteY1" fmla="*/ 28840 h 28839"/>
                </a:gdLst>
                <a:ahLst/>
                <a:cxnLst>
                  <a:cxn ang="0">
                    <a:pos x="connsiteX0" y="connsiteY0"/>
                  </a:cxn>
                  <a:cxn ang="0">
                    <a:pos x="connsiteX1" y="connsiteY1"/>
                  </a:cxn>
                </a:cxnLst>
                <a:rect l="l" t="t" r="r" b="b"/>
                <a:pathLst>
                  <a:path w="11324" h="28839">
                    <a:moveTo>
                      <a:pt x="0" y="0"/>
                    </a:moveTo>
                    <a:lnTo>
                      <a:pt x="0" y="2884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78" name="Freeform 1027">
                <a:extLst>
                  <a:ext uri="{FF2B5EF4-FFF2-40B4-BE49-F238E27FC236}">
                    <a16:creationId xmlns:a16="http://schemas.microsoft.com/office/drawing/2014/main" id="{F01B96F5-5B41-445B-A265-0A48580784A1}"/>
                  </a:ext>
                </a:extLst>
              </p:cNvPr>
              <p:cNvSpPr/>
              <p:nvPr/>
            </p:nvSpPr>
            <p:spPr>
              <a:xfrm>
                <a:off x="7254489" y="3783419"/>
                <a:ext cx="28650" cy="11354"/>
              </a:xfrm>
              <a:custGeom>
                <a:avLst/>
                <a:gdLst>
                  <a:gd name="connsiteX0" fmla="*/ 0 w 28650"/>
                  <a:gd name="connsiteY0" fmla="*/ 0 h 11354"/>
                  <a:gd name="connsiteX1" fmla="*/ 28651 w 28650"/>
                  <a:gd name="connsiteY1" fmla="*/ 0 h 11354"/>
                </a:gdLst>
                <a:ahLst/>
                <a:cxnLst>
                  <a:cxn ang="0">
                    <a:pos x="connsiteX0" y="connsiteY0"/>
                  </a:cxn>
                  <a:cxn ang="0">
                    <a:pos x="connsiteX1" y="connsiteY1"/>
                  </a:cxn>
                </a:cxnLst>
                <a:rect l="l" t="t" r="r" b="b"/>
                <a:pathLst>
                  <a:path w="28650" h="11354">
                    <a:moveTo>
                      <a:pt x="0" y="0"/>
                    </a:moveTo>
                    <a:lnTo>
                      <a:pt x="28651" y="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896" name="Graphic 2">
              <a:extLst>
                <a:ext uri="{FF2B5EF4-FFF2-40B4-BE49-F238E27FC236}">
                  <a16:creationId xmlns:a16="http://schemas.microsoft.com/office/drawing/2014/main" id="{33AA6B24-9F5A-4E46-BD44-B4D4A238B41F}"/>
                </a:ext>
              </a:extLst>
            </p:cNvPr>
            <p:cNvGrpSpPr/>
            <p:nvPr/>
          </p:nvGrpSpPr>
          <p:grpSpPr>
            <a:xfrm>
              <a:off x="7222668" y="3747994"/>
              <a:ext cx="28763" cy="28726"/>
              <a:chOff x="7222668" y="3747994"/>
              <a:chExt cx="28763" cy="28726"/>
            </a:xfrm>
          </p:grpSpPr>
          <p:sp>
            <p:nvSpPr>
              <p:cNvPr id="2075" name="Freeform 1024">
                <a:extLst>
                  <a:ext uri="{FF2B5EF4-FFF2-40B4-BE49-F238E27FC236}">
                    <a16:creationId xmlns:a16="http://schemas.microsoft.com/office/drawing/2014/main" id="{438439D9-3B22-4A44-9EE5-E9E3784B401D}"/>
                  </a:ext>
                </a:extLst>
              </p:cNvPr>
              <p:cNvSpPr/>
              <p:nvPr/>
            </p:nvSpPr>
            <p:spPr>
              <a:xfrm>
                <a:off x="7237050" y="3747994"/>
                <a:ext cx="11324" cy="28726"/>
              </a:xfrm>
              <a:custGeom>
                <a:avLst/>
                <a:gdLst>
                  <a:gd name="connsiteX0" fmla="*/ 0 w 11324"/>
                  <a:gd name="connsiteY0" fmla="*/ 0 h 28726"/>
                  <a:gd name="connsiteX1" fmla="*/ 0 w 11324"/>
                  <a:gd name="connsiteY1" fmla="*/ 28726 h 28726"/>
                </a:gdLst>
                <a:ahLst/>
                <a:cxnLst>
                  <a:cxn ang="0">
                    <a:pos x="connsiteX0" y="connsiteY0"/>
                  </a:cxn>
                  <a:cxn ang="0">
                    <a:pos x="connsiteX1" y="connsiteY1"/>
                  </a:cxn>
                </a:cxnLst>
                <a:rect l="l" t="t" r="r" b="b"/>
                <a:pathLst>
                  <a:path w="11324" h="28726">
                    <a:moveTo>
                      <a:pt x="0" y="0"/>
                    </a:moveTo>
                    <a:lnTo>
                      <a:pt x="0" y="28726"/>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76" name="Freeform 1025">
                <a:extLst>
                  <a:ext uri="{FF2B5EF4-FFF2-40B4-BE49-F238E27FC236}">
                    <a16:creationId xmlns:a16="http://schemas.microsoft.com/office/drawing/2014/main" id="{9C6D5017-CA9A-440C-B4CA-6FD91BA1E063}"/>
                  </a:ext>
                </a:extLst>
              </p:cNvPr>
              <p:cNvSpPr/>
              <p:nvPr/>
            </p:nvSpPr>
            <p:spPr>
              <a:xfrm>
                <a:off x="7222668" y="3762301"/>
                <a:ext cx="28763" cy="11354"/>
              </a:xfrm>
              <a:custGeom>
                <a:avLst/>
                <a:gdLst>
                  <a:gd name="connsiteX0" fmla="*/ 0 w 28763"/>
                  <a:gd name="connsiteY0" fmla="*/ 0 h 11354"/>
                  <a:gd name="connsiteX1" fmla="*/ 28764 w 28763"/>
                  <a:gd name="connsiteY1" fmla="*/ 0 h 11354"/>
                </a:gdLst>
                <a:ahLst/>
                <a:cxnLst>
                  <a:cxn ang="0">
                    <a:pos x="connsiteX0" y="connsiteY0"/>
                  </a:cxn>
                  <a:cxn ang="0">
                    <a:pos x="connsiteX1" y="connsiteY1"/>
                  </a:cxn>
                </a:cxnLst>
                <a:rect l="l" t="t" r="r" b="b"/>
                <a:pathLst>
                  <a:path w="28763" h="11354">
                    <a:moveTo>
                      <a:pt x="0" y="0"/>
                    </a:moveTo>
                    <a:lnTo>
                      <a:pt x="28764" y="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897" name="Graphic 2">
              <a:extLst>
                <a:ext uri="{FF2B5EF4-FFF2-40B4-BE49-F238E27FC236}">
                  <a16:creationId xmlns:a16="http://schemas.microsoft.com/office/drawing/2014/main" id="{19B082CD-8138-42E4-BF8B-415637816815}"/>
                </a:ext>
              </a:extLst>
            </p:cNvPr>
            <p:cNvGrpSpPr/>
            <p:nvPr/>
          </p:nvGrpSpPr>
          <p:grpSpPr>
            <a:xfrm>
              <a:off x="7212815" y="3747994"/>
              <a:ext cx="28763" cy="28726"/>
              <a:chOff x="7212815" y="3747994"/>
              <a:chExt cx="28763" cy="28726"/>
            </a:xfrm>
          </p:grpSpPr>
          <p:sp>
            <p:nvSpPr>
              <p:cNvPr id="2073" name="Freeform 1022">
                <a:extLst>
                  <a:ext uri="{FF2B5EF4-FFF2-40B4-BE49-F238E27FC236}">
                    <a16:creationId xmlns:a16="http://schemas.microsoft.com/office/drawing/2014/main" id="{B5AEA47C-4F91-42E4-BA66-CEB495882583}"/>
                  </a:ext>
                </a:extLst>
              </p:cNvPr>
              <p:cNvSpPr/>
              <p:nvPr/>
            </p:nvSpPr>
            <p:spPr>
              <a:xfrm>
                <a:off x="7227197" y="3747994"/>
                <a:ext cx="11324" cy="28726"/>
              </a:xfrm>
              <a:custGeom>
                <a:avLst/>
                <a:gdLst>
                  <a:gd name="connsiteX0" fmla="*/ 0 w 11324"/>
                  <a:gd name="connsiteY0" fmla="*/ 0 h 28726"/>
                  <a:gd name="connsiteX1" fmla="*/ 0 w 11324"/>
                  <a:gd name="connsiteY1" fmla="*/ 28726 h 28726"/>
                </a:gdLst>
                <a:ahLst/>
                <a:cxnLst>
                  <a:cxn ang="0">
                    <a:pos x="connsiteX0" y="connsiteY0"/>
                  </a:cxn>
                  <a:cxn ang="0">
                    <a:pos x="connsiteX1" y="connsiteY1"/>
                  </a:cxn>
                </a:cxnLst>
                <a:rect l="l" t="t" r="r" b="b"/>
                <a:pathLst>
                  <a:path w="11324" h="28726">
                    <a:moveTo>
                      <a:pt x="0" y="0"/>
                    </a:moveTo>
                    <a:lnTo>
                      <a:pt x="0" y="28726"/>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74" name="Freeform 1023">
                <a:extLst>
                  <a:ext uri="{FF2B5EF4-FFF2-40B4-BE49-F238E27FC236}">
                    <a16:creationId xmlns:a16="http://schemas.microsoft.com/office/drawing/2014/main" id="{7E1C5D32-5410-4B0F-8D89-8F0F5FBB003E}"/>
                  </a:ext>
                </a:extLst>
              </p:cNvPr>
              <p:cNvSpPr/>
              <p:nvPr/>
            </p:nvSpPr>
            <p:spPr>
              <a:xfrm>
                <a:off x="7212815" y="3762301"/>
                <a:ext cx="28763" cy="11354"/>
              </a:xfrm>
              <a:custGeom>
                <a:avLst/>
                <a:gdLst>
                  <a:gd name="connsiteX0" fmla="*/ 0 w 28763"/>
                  <a:gd name="connsiteY0" fmla="*/ 0 h 11354"/>
                  <a:gd name="connsiteX1" fmla="*/ 28764 w 28763"/>
                  <a:gd name="connsiteY1" fmla="*/ 0 h 11354"/>
                </a:gdLst>
                <a:ahLst/>
                <a:cxnLst>
                  <a:cxn ang="0">
                    <a:pos x="connsiteX0" y="connsiteY0"/>
                  </a:cxn>
                  <a:cxn ang="0">
                    <a:pos x="connsiteX1" y="connsiteY1"/>
                  </a:cxn>
                </a:cxnLst>
                <a:rect l="l" t="t" r="r" b="b"/>
                <a:pathLst>
                  <a:path w="28763" h="11354">
                    <a:moveTo>
                      <a:pt x="0" y="0"/>
                    </a:moveTo>
                    <a:lnTo>
                      <a:pt x="28764" y="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898" name="Graphic 2">
              <a:extLst>
                <a:ext uri="{FF2B5EF4-FFF2-40B4-BE49-F238E27FC236}">
                  <a16:creationId xmlns:a16="http://schemas.microsoft.com/office/drawing/2014/main" id="{E97C3A6E-F2DB-4B6F-B8DB-424796B3E734}"/>
                </a:ext>
              </a:extLst>
            </p:cNvPr>
            <p:cNvGrpSpPr/>
            <p:nvPr/>
          </p:nvGrpSpPr>
          <p:grpSpPr>
            <a:xfrm>
              <a:off x="7206587" y="3747994"/>
              <a:ext cx="28650" cy="28726"/>
              <a:chOff x="7206587" y="3747994"/>
              <a:chExt cx="28650" cy="28726"/>
            </a:xfrm>
          </p:grpSpPr>
          <p:sp>
            <p:nvSpPr>
              <p:cNvPr id="2071" name="Freeform 1020">
                <a:extLst>
                  <a:ext uri="{FF2B5EF4-FFF2-40B4-BE49-F238E27FC236}">
                    <a16:creationId xmlns:a16="http://schemas.microsoft.com/office/drawing/2014/main" id="{6CB28D53-F378-4600-9F41-644B14563FD3}"/>
                  </a:ext>
                </a:extLst>
              </p:cNvPr>
              <p:cNvSpPr/>
              <p:nvPr/>
            </p:nvSpPr>
            <p:spPr>
              <a:xfrm>
                <a:off x="7220969" y="3747994"/>
                <a:ext cx="11324" cy="28726"/>
              </a:xfrm>
              <a:custGeom>
                <a:avLst/>
                <a:gdLst>
                  <a:gd name="connsiteX0" fmla="*/ 0 w 11324"/>
                  <a:gd name="connsiteY0" fmla="*/ 0 h 28726"/>
                  <a:gd name="connsiteX1" fmla="*/ 0 w 11324"/>
                  <a:gd name="connsiteY1" fmla="*/ 28726 h 28726"/>
                </a:gdLst>
                <a:ahLst/>
                <a:cxnLst>
                  <a:cxn ang="0">
                    <a:pos x="connsiteX0" y="connsiteY0"/>
                  </a:cxn>
                  <a:cxn ang="0">
                    <a:pos x="connsiteX1" y="connsiteY1"/>
                  </a:cxn>
                </a:cxnLst>
                <a:rect l="l" t="t" r="r" b="b"/>
                <a:pathLst>
                  <a:path w="11324" h="28726">
                    <a:moveTo>
                      <a:pt x="0" y="0"/>
                    </a:moveTo>
                    <a:lnTo>
                      <a:pt x="0" y="28726"/>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72" name="Freeform 1021">
                <a:extLst>
                  <a:ext uri="{FF2B5EF4-FFF2-40B4-BE49-F238E27FC236}">
                    <a16:creationId xmlns:a16="http://schemas.microsoft.com/office/drawing/2014/main" id="{59A18DE2-519F-49D9-BA47-A23B147CF504}"/>
                  </a:ext>
                </a:extLst>
              </p:cNvPr>
              <p:cNvSpPr/>
              <p:nvPr/>
            </p:nvSpPr>
            <p:spPr>
              <a:xfrm>
                <a:off x="7206587" y="3762301"/>
                <a:ext cx="28650" cy="11354"/>
              </a:xfrm>
              <a:custGeom>
                <a:avLst/>
                <a:gdLst>
                  <a:gd name="connsiteX0" fmla="*/ 0 w 28650"/>
                  <a:gd name="connsiteY0" fmla="*/ 0 h 11354"/>
                  <a:gd name="connsiteX1" fmla="*/ 28651 w 28650"/>
                  <a:gd name="connsiteY1" fmla="*/ 0 h 11354"/>
                </a:gdLst>
                <a:ahLst/>
                <a:cxnLst>
                  <a:cxn ang="0">
                    <a:pos x="connsiteX0" y="connsiteY0"/>
                  </a:cxn>
                  <a:cxn ang="0">
                    <a:pos x="connsiteX1" y="connsiteY1"/>
                  </a:cxn>
                </a:cxnLst>
                <a:rect l="l" t="t" r="r" b="b"/>
                <a:pathLst>
                  <a:path w="28650" h="11354">
                    <a:moveTo>
                      <a:pt x="0" y="0"/>
                    </a:moveTo>
                    <a:lnTo>
                      <a:pt x="28651" y="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899" name="Graphic 2">
              <a:extLst>
                <a:ext uri="{FF2B5EF4-FFF2-40B4-BE49-F238E27FC236}">
                  <a16:creationId xmlns:a16="http://schemas.microsoft.com/office/drawing/2014/main" id="{86ED496C-28B3-405C-AC4F-F4FDE57BA572}"/>
                </a:ext>
              </a:extLst>
            </p:cNvPr>
            <p:cNvGrpSpPr/>
            <p:nvPr/>
          </p:nvGrpSpPr>
          <p:grpSpPr>
            <a:xfrm>
              <a:off x="7195942" y="3730395"/>
              <a:ext cx="28650" cy="28726"/>
              <a:chOff x="7195942" y="3730395"/>
              <a:chExt cx="28650" cy="28726"/>
            </a:xfrm>
          </p:grpSpPr>
          <p:sp>
            <p:nvSpPr>
              <p:cNvPr id="2069" name="Freeform 1018">
                <a:extLst>
                  <a:ext uri="{FF2B5EF4-FFF2-40B4-BE49-F238E27FC236}">
                    <a16:creationId xmlns:a16="http://schemas.microsoft.com/office/drawing/2014/main" id="{E4448119-42F8-490D-AF80-D1FBC3C0F8EB}"/>
                  </a:ext>
                </a:extLst>
              </p:cNvPr>
              <p:cNvSpPr/>
              <p:nvPr/>
            </p:nvSpPr>
            <p:spPr>
              <a:xfrm>
                <a:off x="7210211" y="3730395"/>
                <a:ext cx="11324" cy="28726"/>
              </a:xfrm>
              <a:custGeom>
                <a:avLst/>
                <a:gdLst>
                  <a:gd name="connsiteX0" fmla="*/ 0 w 11324"/>
                  <a:gd name="connsiteY0" fmla="*/ 0 h 28726"/>
                  <a:gd name="connsiteX1" fmla="*/ 0 w 11324"/>
                  <a:gd name="connsiteY1" fmla="*/ 28726 h 28726"/>
                </a:gdLst>
                <a:ahLst/>
                <a:cxnLst>
                  <a:cxn ang="0">
                    <a:pos x="connsiteX0" y="connsiteY0"/>
                  </a:cxn>
                  <a:cxn ang="0">
                    <a:pos x="connsiteX1" y="connsiteY1"/>
                  </a:cxn>
                </a:cxnLst>
                <a:rect l="l" t="t" r="r" b="b"/>
                <a:pathLst>
                  <a:path w="11324" h="28726">
                    <a:moveTo>
                      <a:pt x="0" y="0"/>
                    </a:moveTo>
                    <a:lnTo>
                      <a:pt x="0" y="28726"/>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70" name="Freeform 1019">
                <a:extLst>
                  <a:ext uri="{FF2B5EF4-FFF2-40B4-BE49-F238E27FC236}">
                    <a16:creationId xmlns:a16="http://schemas.microsoft.com/office/drawing/2014/main" id="{20A14F41-6864-4863-8EEA-D0300308011C}"/>
                  </a:ext>
                </a:extLst>
              </p:cNvPr>
              <p:cNvSpPr/>
              <p:nvPr/>
            </p:nvSpPr>
            <p:spPr>
              <a:xfrm>
                <a:off x="7195942" y="3744815"/>
                <a:ext cx="28650" cy="11354"/>
              </a:xfrm>
              <a:custGeom>
                <a:avLst/>
                <a:gdLst>
                  <a:gd name="connsiteX0" fmla="*/ 0 w 28650"/>
                  <a:gd name="connsiteY0" fmla="*/ 0 h 11354"/>
                  <a:gd name="connsiteX1" fmla="*/ 28651 w 28650"/>
                  <a:gd name="connsiteY1" fmla="*/ 0 h 11354"/>
                </a:gdLst>
                <a:ahLst/>
                <a:cxnLst>
                  <a:cxn ang="0">
                    <a:pos x="connsiteX0" y="connsiteY0"/>
                  </a:cxn>
                  <a:cxn ang="0">
                    <a:pos x="connsiteX1" y="connsiteY1"/>
                  </a:cxn>
                </a:cxnLst>
                <a:rect l="l" t="t" r="r" b="b"/>
                <a:pathLst>
                  <a:path w="28650" h="11354">
                    <a:moveTo>
                      <a:pt x="0" y="0"/>
                    </a:moveTo>
                    <a:lnTo>
                      <a:pt x="28651" y="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900" name="Graphic 2">
              <a:extLst>
                <a:ext uri="{FF2B5EF4-FFF2-40B4-BE49-F238E27FC236}">
                  <a16:creationId xmlns:a16="http://schemas.microsoft.com/office/drawing/2014/main" id="{2402E44C-6045-4ADD-9A1C-BF1F475C6E46}"/>
                </a:ext>
              </a:extLst>
            </p:cNvPr>
            <p:cNvGrpSpPr/>
            <p:nvPr/>
          </p:nvGrpSpPr>
          <p:grpSpPr>
            <a:xfrm>
              <a:off x="7190053" y="3730395"/>
              <a:ext cx="28650" cy="28726"/>
              <a:chOff x="7190053" y="3730395"/>
              <a:chExt cx="28650" cy="28726"/>
            </a:xfrm>
          </p:grpSpPr>
          <p:sp>
            <p:nvSpPr>
              <p:cNvPr id="2067" name="Freeform 1016">
                <a:extLst>
                  <a:ext uri="{FF2B5EF4-FFF2-40B4-BE49-F238E27FC236}">
                    <a16:creationId xmlns:a16="http://schemas.microsoft.com/office/drawing/2014/main" id="{10A831EE-4A21-4C04-A5C3-953906277C42}"/>
                  </a:ext>
                </a:extLst>
              </p:cNvPr>
              <p:cNvSpPr/>
              <p:nvPr/>
            </p:nvSpPr>
            <p:spPr>
              <a:xfrm>
                <a:off x="7204322" y="3730395"/>
                <a:ext cx="11324" cy="28726"/>
              </a:xfrm>
              <a:custGeom>
                <a:avLst/>
                <a:gdLst>
                  <a:gd name="connsiteX0" fmla="*/ 0 w 11324"/>
                  <a:gd name="connsiteY0" fmla="*/ 0 h 28726"/>
                  <a:gd name="connsiteX1" fmla="*/ 0 w 11324"/>
                  <a:gd name="connsiteY1" fmla="*/ 28726 h 28726"/>
                </a:gdLst>
                <a:ahLst/>
                <a:cxnLst>
                  <a:cxn ang="0">
                    <a:pos x="connsiteX0" y="connsiteY0"/>
                  </a:cxn>
                  <a:cxn ang="0">
                    <a:pos x="connsiteX1" y="connsiteY1"/>
                  </a:cxn>
                </a:cxnLst>
                <a:rect l="l" t="t" r="r" b="b"/>
                <a:pathLst>
                  <a:path w="11324" h="28726">
                    <a:moveTo>
                      <a:pt x="0" y="0"/>
                    </a:moveTo>
                    <a:lnTo>
                      <a:pt x="0" y="28726"/>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68" name="Freeform 1017">
                <a:extLst>
                  <a:ext uri="{FF2B5EF4-FFF2-40B4-BE49-F238E27FC236}">
                    <a16:creationId xmlns:a16="http://schemas.microsoft.com/office/drawing/2014/main" id="{561D70FB-FF5E-4F05-A7A9-6E6E46229730}"/>
                  </a:ext>
                </a:extLst>
              </p:cNvPr>
              <p:cNvSpPr/>
              <p:nvPr/>
            </p:nvSpPr>
            <p:spPr>
              <a:xfrm>
                <a:off x="7190053" y="3744815"/>
                <a:ext cx="28650" cy="11354"/>
              </a:xfrm>
              <a:custGeom>
                <a:avLst/>
                <a:gdLst>
                  <a:gd name="connsiteX0" fmla="*/ 0 w 28650"/>
                  <a:gd name="connsiteY0" fmla="*/ 0 h 11354"/>
                  <a:gd name="connsiteX1" fmla="*/ 28651 w 28650"/>
                  <a:gd name="connsiteY1" fmla="*/ 0 h 11354"/>
                </a:gdLst>
                <a:ahLst/>
                <a:cxnLst>
                  <a:cxn ang="0">
                    <a:pos x="connsiteX0" y="connsiteY0"/>
                  </a:cxn>
                  <a:cxn ang="0">
                    <a:pos x="connsiteX1" y="connsiteY1"/>
                  </a:cxn>
                </a:cxnLst>
                <a:rect l="l" t="t" r="r" b="b"/>
                <a:pathLst>
                  <a:path w="28650" h="11354">
                    <a:moveTo>
                      <a:pt x="0" y="0"/>
                    </a:moveTo>
                    <a:lnTo>
                      <a:pt x="28651" y="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901" name="Graphic 2">
              <a:extLst>
                <a:ext uri="{FF2B5EF4-FFF2-40B4-BE49-F238E27FC236}">
                  <a16:creationId xmlns:a16="http://schemas.microsoft.com/office/drawing/2014/main" id="{87A1EEE6-D42F-40FF-9127-631361E5F034}"/>
                </a:ext>
              </a:extLst>
            </p:cNvPr>
            <p:cNvGrpSpPr/>
            <p:nvPr/>
          </p:nvGrpSpPr>
          <p:grpSpPr>
            <a:xfrm>
              <a:off x="7184165" y="3730395"/>
              <a:ext cx="28650" cy="28726"/>
              <a:chOff x="7184165" y="3730395"/>
              <a:chExt cx="28650" cy="28726"/>
            </a:xfrm>
          </p:grpSpPr>
          <p:sp>
            <p:nvSpPr>
              <p:cNvPr id="2065" name="Freeform 1014">
                <a:extLst>
                  <a:ext uri="{FF2B5EF4-FFF2-40B4-BE49-F238E27FC236}">
                    <a16:creationId xmlns:a16="http://schemas.microsoft.com/office/drawing/2014/main" id="{8407368D-F798-4327-8EA8-689DCC6ABBBA}"/>
                  </a:ext>
                </a:extLst>
              </p:cNvPr>
              <p:cNvSpPr/>
              <p:nvPr/>
            </p:nvSpPr>
            <p:spPr>
              <a:xfrm>
                <a:off x="7198547" y="3730395"/>
                <a:ext cx="11324" cy="28726"/>
              </a:xfrm>
              <a:custGeom>
                <a:avLst/>
                <a:gdLst>
                  <a:gd name="connsiteX0" fmla="*/ 0 w 11324"/>
                  <a:gd name="connsiteY0" fmla="*/ 0 h 28726"/>
                  <a:gd name="connsiteX1" fmla="*/ 0 w 11324"/>
                  <a:gd name="connsiteY1" fmla="*/ 28726 h 28726"/>
                </a:gdLst>
                <a:ahLst/>
                <a:cxnLst>
                  <a:cxn ang="0">
                    <a:pos x="connsiteX0" y="connsiteY0"/>
                  </a:cxn>
                  <a:cxn ang="0">
                    <a:pos x="connsiteX1" y="connsiteY1"/>
                  </a:cxn>
                </a:cxnLst>
                <a:rect l="l" t="t" r="r" b="b"/>
                <a:pathLst>
                  <a:path w="11324" h="28726">
                    <a:moveTo>
                      <a:pt x="0" y="0"/>
                    </a:moveTo>
                    <a:lnTo>
                      <a:pt x="0" y="28726"/>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66" name="Freeform 1015">
                <a:extLst>
                  <a:ext uri="{FF2B5EF4-FFF2-40B4-BE49-F238E27FC236}">
                    <a16:creationId xmlns:a16="http://schemas.microsoft.com/office/drawing/2014/main" id="{05776F2F-32A5-4FE5-9C0B-FDCD3B550AA9}"/>
                  </a:ext>
                </a:extLst>
              </p:cNvPr>
              <p:cNvSpPr/>
              <p:nvPr/>
            </p:nvSpPr>
            <p:spPr>
              <a:xfrm>
                <a:off x="7184165" y="3744815"/>
                <a:ext cx="28650" cy="11354"/>
              </a:xfrm>
              <a:custGeom>
                <a:avLst/>
                <a:gdLst>
                  <a:gd name="connsiteX0" fmla="*/ 0 w 28650"/>
                  <a:gd name="connsiteY0" fmla="*/ 0 h 11354"/>
                  <a:gd name="connsiteX1" fmla="*/ 28651 w 28650"/>
                  <a:gd name="connsiteY1" fmla="*/ 0 h 11354"/>
                </a:gdLst>
                <a:ahLst/>
                <a:cxnLst>
                  <a:cxn ang="0">
                    <a:pos x="connsiteX0" y="connsiteY0"/>
                  </a:cxn>
                  <a:cxn ang="0">
                    <a:pos x="connsiteX1" y="connsiteY1"/>
                  </a:cxn>
                </a:cxnLst>
                <a:rect l="l" t="t" r="r" b="b"/>
                <a:pathLst>
                  <a:path w="28650" h="11354">
                    <a:moveTo>
                      <a:pt x="0" y="0"/>
                    </a:moveTo>
                    <a:lnTo>
                      <a:pt x="28651" y="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902" name="Graphic 2">
              <a:extLst>
                <a:ext uri="{FF2B5EF4-FFF2-40B4-BE49-F238E27FC236}">
                  <a16:creationId xmlns:a16="http://schemas.microsoft.com/office/drawing/2014/main" id="{A4529196-957B-4506-A90F-ACB06E0B7509}"/>
                </a:ext>
              </a:extLst>
            </p:cNvPr>
            <p:cNvGrpSpPr/>
            <p:nvPr/>
          </p:nvGrpSpPr>
          <p:grpSpPr>
            <a:xfrm>
              <a:off x="7179975" y="3730395"/>
              <a:ext cx="28764" cy="28726"/>
              <a:chOff x="7179975" y="3730395"/>
              <a:chExt cx="28764" cy="28726"/>
            </a:xfrm>
          </p:grpSpPr>
          <p:sp>
            <p:nvSpPr>
              <p:cNvPr id="2063" name="Freeform 1012">
                <a:extLst>
                  <a:ext uri="{FF2B5EF4-FFF2-40B4-BE49-F238E27FC236}">
                    <a16:creationId xmlns:a16="http://schemas.microsoft.com/office/drawing/2014/main" id="{77DA7167-7DBD-43D4-BA12-64E21F848213}"/>
                  </a:ext>
                </a:extLst>
              </p:cNvPr>
              <p:cNvSpPr/>
              <p:nvPr/>
            </p:nvSpPr>
            <p:spPr>
              <a:xfrm>
                <a:off x="7194357" y="3730395"/>
                <a:ext cx="11324" cy="28726"/>
              </a:xfrm>
              <a:custGeom>
                <a:avLst/>
                <a:gdLst>
                  <a:gd name="connsiteX0" fmla="*/ 0 w 11324"/>
                  <a:gd name="connsiteY0" fmla="*/ 0 h 28726"/>
                  <a:gd name="connsiteX1" fmla="*/ 0 w 11324"/>
                  <a:gd name="connsiteY1" fmla="*/ 28726 h 28726"/>
                </a:gdLst>
                <a:ahLst/>
                <a:cxnLst>
                  <a:cxn ang="0">
                    <a:pos x="connsiteX0" y="connsiteY0"/>
                  </a:cxn>
                  <a:cxn ang="0">
                    <a:pos x="connsiteX1" y="connsiteY1"/>
                  </a:cxn>
                </a:cxnLst>
                <a:rect l="l" t="t" r="r" b="b"/>
                <a:pathLst>
                  <a:path w="11324" h="28726">
                    <a:moveTo>
                      <a:pt x="0" y="0"/>
                    </a:moveTo>
                    <a:lnTo>
                      <a:pt x="0" y="28726"/>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64" name="Freeform 1013">
                <a:extLst>
                  <a:ext uri="{FF2B5EF4-FFF2-40B4-BE49-F238E27FC236}">
                    <a16:creationId xmlns:a16="http://schemas.microsoft.com/office/drawing/2014/main" id="{2262CE78-A427-4240-A2C9-DCC75203E38E}"/>
                  </a:ext>
                </a:extLst>
              </p:cNvPr>
              <p:cNvSpPr/>
              <p:nvPr/>
            </p:nvSpPr>
            <p:spPr>
              <a:xfrm>
                <a:off x="7179975" y="3744815"/>
                <a:ext cx="28764" cy="11354"/>
              </a:xfrm>
              <a:custGeom>
                <a:avLst/>
                <a:gdLst>
                  <a:gd name="connsiteX0" fmla="*/ 0 w 28764"/>
                  <a:gd name="connsiteY0" fmla="*/ 0 h 11354"/>
                  <a:gd name="connsiteX1" fmla="*/ 28764 w 28764"/>
                  <a:gd name="connsiteY1" fmla="*/ 0 h 11354"/>
                </a:gdLst>
                <a:ahLst/>
                <a:cxnLst>
                  <a:cxn ang="0">
                    <a:pos x="connsiteX0" y="connsiteY0"/>
                  </a:cxn>
                  <a:cxn ang="0">
                    <a:pos x="connsiteX1" y="connsiteY1"/>
                  </a:cxn>
                </a:cxnLst>
                <a:rect l="l" t="t" r="r" b="b"/>
                <a:pathLst>
                  <a:path w="28764" h="11354">
                    <a:moveTo>
                      <a:pt x="0" y="0"/>
                    </a:moveTo>
                    <a:lnTo>
                      <a:pt x="28764" y="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903" name="Graphic 2">
              <a:extLst>
                <a:ext uri="{FF2B5EF4-FFF2-40B4-BE49-F238E27FC236}">
                  <a16:creationId xmlns:a16="http://schemas.microsoft.com/office/drawing/2014/main" id="{56867EAC-F062-4CFA-B440-1FF257B570C1}"/>
                </a:ext>
              </a:extLst>
            </p:cNvPr>
            <p:cNvGrpSpPr/>
            <p:nvPr/>
          </p:nvGrpSpPr>
          <p:grpSpPr>
            <a:xfrm>
              <a:off x="7171481" y="3730395"/>
              <a:ext cx="28650" cy="28726"/>
              <a:chOff x="7171481" y="3730395"/>
              <a:chExt cx="28650" cy="28726"/>
            </a:xfrm>
          </p:grpSpPr>
          <p:sp>
            <p:nvSpPr>
              <p:cNvPr id="2061" name="Freeform 1010">
                <a:extLst>
                  <a:ext uri="{FF2B5EF4-FFF2-40B4-BE49-F238E27FC236}">
                    <a16:creationId xmlns:a16="http://schemas.microsoft.com/office/drawing/2014/main" id="{A2F3B053-752D-49CD-AF8F-53E649444956}"/>
                  </a:ext>
                </a:extLst>
              </p:cNvPr>
              <p:cNvSpPr/>
              <p:nvPr/>
            </p:nvSpPr>
            <p:spPr>
              <a:xfrm>
                <a:off x="7185863" y="3730395"/>
                <a:ext cx="11324" cy="28726"/>
              </a:xfrm>
              <a:custGeom>
                <a:avLst/>
                <a:gdLst>
                  <a:gd name="connsiteX0" fmla="*/ 0 w 11324"/>
                  <a:gd name="connsiteY0" fmla="*/ 0 h 28726"/>
                  <a:gd name="connsiteX1" fmla="*/ 0 w 11324"/>
                  <a:gd name="connsiteY1" fmla="*/ 28726 h 28726"/>
                </a:gdLst>
                <a:ahLst/>
                <a:cxnLst>
                  <a:cxn ang="0">
                    <a:pos x="connsiteX0" y="connsiteY0"/>
                  </a:cxn>
                  <a:cxn ang="0">
                    <a:pos x="connsiteX1" y="connsiteY1"/>
                  </a:cxn>
                </a:cxnLst>
                <a:rect l="l" t="t" r="r" b="b"/>
                <a:pathLst>
                  <a:path w="11324" h="28726">
                    <a:moveTo>
                      <a:pt x="0" y="0"/>
                    </a:moveTo>
                    <a:lnTo>
                      <a:pt x="0" y="28726"/>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62" name="Freeform 1011">
                <a:extLst>
                  <a:ext uri="{FF2B5EF4-FFF2-40B4-BE49-F238E27FC236}">
                    <a16:creationId xmlns:a16="http://schemas.microsoft.com/office/drawing/2014/main" id="{338B6140-753C-4E35-8573-CB702405F089}"/>
                  </a:ext>
                </a:extLst>
              </p:cNvPr>
              <p:cNvSpPr/>
              <p:nvPr/>
            </p:nvSpPr>
            <p:spPr>
              <a:xfrm>
                <a:off x="7171481" y="3744815"/>
                <a:ext cx="28650" cy="11354"/>
              </a:xfrm>
              <a:custGeom>
                <a:avLst/>
                <a:gdLst>
                  <a:gd name="connsiteX0" fmla="*/ 0 w 28650"/>
                  <a:gd name="connsiteY0" fmla="*/ 0 h 11354"/>
                  <a:gd name="connsiteX1" fmla="*/ 28651 w 28650"/>
                  <a:gd name="connsiteY1" fmla="*/ 0 h 11354"/>
                </a:gdLst>
                <a:ahLst/>
                <a:cxnLst>
                  <a:cxn ang="0">
                    <a:pos x="connsiteX0" y="connsiteY0"/>
                  </a:cxn>
                  <a:cxn ang="0">
                    <a:pos x="connsiteX1" y="connsiteY1"/>
                  </a:cxn>
                </a:cxnLst>
                <a:rect l="l" t="t" r="r" b="b"/>
                <a:pathLst>
                  <a:path w="28650" h="11354">
                    <a:moveTo>
                      <a:pt x="0" y="0"/>
                    </a:moveTo>
                    <a:lnTo>
                      <a:pt x="28651" y="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904" name="Graphic 2">
              <a:extLst>
                <a:ext uri="{FF2B5EF4-FFF2-40B4-BE49-F238E27FC236}">
                  <a16:creationId xmlns:a16="http://schemas.microsoft.com/office/drawing/2014/main" id="{0BB8E798-5E88-4F69-AD46-FC0C282428E1}"/>
                </a:ext>
              </a:extLst>
            </p:cNvPr>
            <p:cNvGrpSpPr/>
            <p:nvPr/>
          </p:nvGrpSpPr>
          <p:grpSpPr>
            <a:xfrm>
              <a:off x="7162308" y="3730395"/>
              <a:ext cx="28650" cy="28726"/>
              <a:chOff x="7162308" y="3730395"/>
              <a:chExt cx="28650" cy="28726"/>
            </a:xfrm>
          </p:grpSpPr>
          <p:sp>
            <p:nvSpPr>
              <p:cNvPr id="2059" name="Freeform 1008">
                <a:extLst>
                  <a:ext uri="{FF2B5EF4-FFF2-40B4-BE49-F238E27FC236}">
                    <a16:creationId xmlns:a16="http://schemas.microsoft.com/office/drawing/2014/main" id="{99165395-769A-4895-9CD2-EA0B2E51DA32}"/>
                  </a:ext>
                </a:extLst>
              </p:cNvPr>
              <p:cNvSpPr/>
              <p:nvPr/>
            </p:nvSpPr>
            <p:spPr>
              <a:xfrm>
                <a:off x="7176690" y="3730395"/>
                <a:ext cx="11324" cy="28726"/>
              </a:xfrm>
              <a:custGeom>
                <a:avLst/>
                <a:gdLst>
                  <a:gd name="connsiteX0" fmla="*/ 0 w 11324"/>
                  <a:gd name="connsiteY0" fmla="*/ 0 h 28726"/>
                  <a:gd name="connsiteX1" fmla="*/ 0 w 11324"/>
                  <a:gd name="connsiteY1" fmla="*/ 28726 h 28726"/>
                </a:gdLst>
                <a:ahLst/>
                <a:cxnLst>
                  <a:cxn ang="0">
                    <a:pos x="connsiteX0" y="connsiteY0"/>
                  </a:cxn>
                  <a:cxn ang="0">
                    <a:pos x="connsiteX1" y="connsiteY1"/>
                  </a:cxn>
                </a:cxnLst>
                <a:rect l="l" t="t" r="r" b="b"/>
                <a:pathLst>
                  <a:path w="11324" h="28726">
                    <a:moveTo>
                      <a:pt x="0" y="0"/>
                    </a:moveTo>
                    <a:lnTo>
                      <a:pt x="0" y="28726"/>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60" name="Freeform 1009">
                <a:extLst>
                  <a:ext uri="{FF2B5EF4-FFF2-40B4-BE49-F238E27FC236}">
                    <a16:creationId xmlns:a16="http://schemas.microsoft.com/office/drawing/2014/main" id="{4E26D11E-E605-444A-B18E-316CE168976E}"/>
                  </a:ext>
                </a:extLst>
              </p:cNvPr>
              <p:cNvSpPr/>
              <p:nvPr/>
            </p:nvSpPr>
            <p:spPr>
              <a:xfrm>
                <a:off x="7162308" y="3744815"/>
                <a:ext cx="28650" cy="11354"/>
              </a:xfrm>
              <a:custGeom>
                <a:avLst/>
                <a:gdLst>
                  <a:gd name="connsiteX0" fmla="*/ 0 w 28650"/>
                  <a:gd name="connsiteY0" fmla="*/ 0 h 11354"/>
                  <a:gd name="connsiteX1" fmla="*/ 28651 w 28650"/>
                  <a:gd name="connsiteY1" fmla="*/ 0 h 11354"/>
                </a:gdLst>
                <a:ahLst/>
                <a:cxnLst>
                  <a:cxn ang="0">
                    <a:pos x="connsiteX0" y="connsiteY0"/>
                  </a:cxn>
                  <a:cxn ang="0">
                    <a:pos x="connsiteX1" y="connsiteY1"/>
                  </a:cxn>
                </a:cxnLst>
                <a:rect l="l" t="t" r="r" b="b"/>
                <a:pathLst>
                  <a:path w="28650" h="11354">
                    <a:moveTo>
                      <a:pt x="0" y="0"/>
                    </a:moveTo>
                    <a:lnTo>
                      <a:pt x="28651" y="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905" name="Graphic 2">
              <a:extLst>
                <a:ext uri="{FF2B5EF4-FFF2-40B4-BE49-F238E27FC236}">
                  <a16:creationId xmlns:a16="http://schemas.microsoft.com/office/drawing/2014/main" id="{5E99277F-046A-49E8-AD95-3BAA1FDAF1E4}"/>
                </a:ext>
              </a:extLst>
            </p:cNvPr>
            <p:cNvGrpSpPr/>
            <p:nvPr/>
          </p:nvGrpSpPr>
          <p:grpSpPr>
            <a:xfrm>
              <a:off x="7141019" y="3730395"/>
              <a:ext cx="28650" cy="28726"/>
              <a:chOff x="7141019" y="3730395"/>
              <a:chExt cx="28650" cy="28726"/>
            </a:xfrm>
          </p:grpSpPr>
          <p:sp>
            <p:nvSpPr>
              <p:cNvPr id="2057" name="Freeform 1006">
                <a:extLst>
                  <a:ext uri="{FF2B5EF4-FFF2-40B4-BE49-F238E27FC236}">
                    <a16:creationId xmlns:a16="http://schemas.microsoft.com/office/drawing/2014/main" id="{D5454496-CE15-4D07-AF1D-DFFE0245728E}"/>
                  </a:ext>
                </a:extLst>
              </p:cNvPr>
              <p:cNvSpPr/>
              <p:nvPr/>
            </p:nvSpPr>
            <p:spPr>
              <a:xfrm>
                <a:off x="7155287" y="3730395"/>
                <a:ext cx="11324" cy="28726"/>
              </a:xfrm>
              <a:custGeom>
                <a:avLst/>
                <a:gdLst>
                  <a:gd name="connsiteX0" fmla="*/ 0 w 11324"/>
                  <a:gd name="connsiteY0" fmla="*/ 0 h 28726"/>
                  <a:gd name="connsiteX1" fmla="*/ 0 w 11324"/>
                  <a:gd name="connsiteY1" fmla="*/ 28726 h 28726"/>
                </a:gdLst>
                <a:ahLst/>
                <a:cxnLst>
                  <a:cxn ang="0">
                    <a:pos x="connsiteX0" y="connsiteY0"/>
                  </a:cxn>
                  <a:cxn ang="0">
                    <a:pos x="connsiteX1" y="connsiteY1"/>
                  </a:cxn>
                </a:cxnLst>
                <a:rect l="l" t="t" r="r" b="b"/>
                <a:pathLst>
                  <a:path w="11324" h="28726">
                    <a:moveTo>
                      <a:pt x="0" y="0"/>
                    </a:moveTo>
                    <a:lnTo>
                      <a:pt x="0" y="28726"/>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58" name="Freeform 1007">
                <a:extLst>
                  <a:ext uri="{FF2B5EF4-FFF2-40B4-BE49-F238E27FC236}">
                    <a16:creationId xmlns:a16="http://schemas.microsoft.com/office/drawing/2014/main" id="{66189260-6285-49BA-971F-B9C487278F15}"/>
                  </a:ext>
                </a:extLst>
              </p:cNvPr>
              <p:cNvSpPr/>
              <p:nvPr/>
            </p:nvSpPr>
            <p:spPr>
              <a:xfrm>
                <a:off x="7141019" y="3744815"/>
                <a:ext cx="28650" cy="11354"/>
              </a:xfrm>
              <a:custGeom>
                <a:avLst/>
                <a:gdLst>
                  <a:gd name="connsiteX0" fmla="*/ 0 w 28650"/>
                  <a:gd name="connsiteY0" fmla="*/ 0 h 11354"/>
                  <a:gd name="connsiteX1" fmla="*/ 28651 w 28650"/>
                  <a:gd name="connsiteY1" fmla="*/ 0 h 11354"/>
                </a:gdLst>
                <a:ahLst/>
                <a:cxnLst>
                  <a:cxn ang="0">
                    <a:pos x="connsiteX0" y="connsiteY0"/>
                  </a:cxn>
                  <a:cxn ang="0">
                    <a:pos x="connsiteX1" y="connsiteY1"/>
                  </a:cxn>
                </a:cxnLst>
                <a:rect l="l" t="t" r="r" b="b"/>
                <a:pathLst>
                  <a:path w="28650" h="11354">
                    <a:moveTo>
                      <a:pt x="0" y="0"/>
                    </a:moveTo>
                    <a:lnTo>
                      <a:pt x="28651" y="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906" name="Graphic 2">
              <a:extLst>
                <a:ext uri="{FF2B5EF4-FFF2-40B4-BE49-F238E27FC236}">
                  <a16:creationId xmlns:a16="http://schemas.microsoft.com/office/drawing/2014/main" id="{E7F936BC-23ED-45C2-BC2A-E9177633ADA3}"/>
                </a:ext>
              </a:extLst>
            </p:cNvPr>
            <p:cNvGrpSpPr/>
            <p:nvPr/>
          </p:nvGrpSpPr>
          <p:grpSpPr>
            <a:xfrm>
              <a:off x="7136489" y="3730395"/>
              <a:ext cx="28650" cy="28726"/>
              <a:chOff x="7136489" y="3730395"/>
              <a:chExt cx="28650" cy="28726"/>
            </a:xfrm>
          </p:grpSpPr>
          <p:sp>
            <p:nvSpPr>
              <p:cNvPr id="2055" name="Freeform 1004">
                <a:extLst>
                  <a:ext uri="{FF2B5EF4-FFF2-40B4-BE49-F238E27FC236}">
                    <a16:creationId xmlns:a16="http://schemas.microsoft.com/office/drawing/2014/main" id="{8C4A0CA8-4AA1-4B1E-90E6-183E65CFB106}"/>
                  </a:ext>
                </a:extLst>
              </p:cNvPr>
              <p:cNvSpPr/>
              <p:nvPr/>
            </p:nvSpPr>
            <p:spPr>
              <a:xfrm>
                <a:off x="7150758" y="3730395"/>
                <a:ext cx="11324" cy="28726"/>
              </a:xfrm>
              <a:custGeom>
                <a:avLst/>
                <a:gdLst>
                  <a:gd name="connsiteX0" fmla="*/ 0 w 11324"/>
                  <a:gd name="connsiteY0" fmla="*/ 0 h 28726"/>
                  <a:gd name="connsiteX1" fmla="*/ 0 w 11324"/>
                  <a:gd name="connsiteY1" fmla="*/ 28726 h 28726"/>
                </a:gdLst>
                <a:ahLst/>
                <a:cxnLst>
                  <a:cxn ang="0">
                    <a:pos x="connsiteX0" y="connsiteY0"/>
                  </a:cxn>
                  <a:cxn ang="0">
                    <a:pos x="connsiteX1" y="connsiteY1"/>
                  </a:cxn>
                </a:cxnLst>
                <a:rect l="l" t="t" r="r" b="b"/>
                <a:pathLst>
                  <a:path w="11324" h="28726">
                    <a:moveTo>
                      <a:pt x="0" y="0"/>
                    </a:moveTo>
                    <a:lnTo>
                      <a:pt x="0" y="28726"/>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56" name="Freeform 1005">
                <a:extLst>
                  <a:ext uri="{FF2B5EF4-FFF2-40B4-BE49-F238E27FC236}">
                    <a16:creationId xmlns:a16="http://schemas.microsoft.com/office/drawing/2014/main" id="{600EDB38-23EE-43BA-9322-4D6A9097BED2}"/>
                  </a:ext>
                </a:extLst>
              </p:cNvPr>
              <p:cNvSpPr/>
              <p:nvPr/>
            </p:nvSpPr>
            <p:spPr>
              <a:xfrm>
                <a:off x="7136489" y="3744815"/>
                <a:ext cx="28650" cy="11354"/>
              </a:xfrm>
              <a:custGeom>
                <a:avLst/>
                <a:gdLst>
                  <a:gd name="connsiteX0" fmla="*/ 0 w 28650"/>
                  <a:gd name="connsiteY0" fmla="*/ 0 h 11354"/>
                  <a:gd name="connsiteX1" fmla="*/ 28651 w 28650"/>
                  <a:gd name="connsiteY1" fmla="*/ 0 h 11354"/>
                </a:gdLst>
                <a:ahLst/>
                <a:cxnLst>
                  <a:cxn ang="0">
                    <a:pos x="connsiteX0" y="connsiteY0"/>
                  </a:cxn>
                  <a:cxn ang="0">
                    <a:pos x="connsiteX1" y="connsiteY1"/>
                  </a:cxn>
                </a:cxnLst>
                <a:rect l="l" t="t" r="r" b="b"/>
                <a:pathLst>
                  <a:path w="28650" h="11354">
                    <a:moveTo>
                      <a:pt x="0" y="0"/>
                    </a:moveTo>
                    <a:lnTo>
                      <a:pt x="28651" y="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907" name="Graphic 2">
              <a:extLst>
                <a:ext uri="{FF2B5EF4-FFF2-40B4-BE49-F238E27FC236}">
                  <a16:creationId xmlns:a16="http://schemas.microsoft.com/office/drawing/2014/main" id="{76565519-F937-4734-9838-9D2AF2D4BA65}"/>
                </a:ext>
              </a:extLst>
            </p:cNvPr>
            <p:cNvGrpSpPr/>
            <p:nvPr/>
          </p:nvGrpSpPr>
          <p:grpSpPr>
            <a:xfrm>
              <a:off x="7128222" y="3730395"/>
              <a:ext cx="28763" cy="28726"/>
              <a:chOff x="7128222" y="3730395"/>
              <a:chExt cx="28763" cy="28726"/>
            </a:xfrm>
          </p:grpSpPr>
          <p:sp>
            <p:nvSpPr>
              <p:cNvPr id="2053" name="Freeform 1002">
                <a:extLst>
                  <a:ext uri="{FF2B5EF4-FFF2-40B4-BE49-F238E27FC236}">
                    <a16:creationId xmlns:a16="http://schemas.microsoft.com/office/drawing/2014/main" id="{BC40FC3B-20D6-4B71-8720-2699DC4B28E6}"/>
                  </a:ext>
                </a:extLst>
              </p:cNvPr>
              <p:cNvSpPr/>
              <p:nvPr/>
            </p:nvSpPr>
            <p:spPr>
              <a:xfrm>
                <a:off x="7142604" y="3730395"/>
                <a:ext cx="11324" cy="28726"/>
              </a:xfrm>
              <a:custGeom>
                <a:avLst/>
                <a:gdLst>
                  <a:gd name="connsiteX0" fmla="*/ 0 w 11324"/>
                  <a:gd name="connsiteY0" fmla="*/ 0 h 28726"/>
                  <a:gd name="connsiteX1" fmla="*/ 0 w 11324"/>
                  <a:gd name="connsiteY1" fmla="*/ 28726 h 28726"/>
                </a:gdLst>
                <a:ahLst/>
                <a:cxnLst>
                  <a:cxn ang="0">
                    <a:pos x="connsiteX0" y="connsiteY0"/>
                  </a:cxn>
                  <a:cxn ang="0">
                    <a:pos x="connsiteX1" y="connsiteY1"/>
                  </a:cxn>
                </a:cxnLst>
                <a:rect l="l" t="t" r="r" b="b"/>
                <a:pathLst>
                  <a:path w="11324" h="28726">
                    <a:moveTo>
                      <a:pt x="0" y="0"/>
                    </a:moveTo>
                    <a:lnTo>
                      <a:pt x="0" y="28726"/>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54" name="Freeform 1003">
                <a:extLst>
                  <a:ext uri="{FF2B5EF4-FFF2-40B4-BE49-F238E27FC236}">
                    <a16:creationId xmlns:a16="http://schemas.microsoft.com/office/drawing/2014/main" id="{0E67A3BC-0F3B-4AE1-A504-FF189C2ECBB1}"/>
                  </a:ext>
                </a:extLst>
              </p:cNvPr>
              <p:cNvSpPr/>
              <p:nvPr/>
            </p:nvSpPr>
            <p:spPr>
              <a:xfrm>
                <a:off x="7128222" y="3744815"/>
                <a:ext cx="28763" cy="11354"/>
              </a:xfrm>
              <a:custGeom>
                <a:avLst/>
                <a:gdLst>
                  <a:gd name="connsiteX0" fmla="*/ 0 w 28763"/>
                  <a:gd name="connsiteY0" fmla="*/ 0 h 11354"/>
                  <a:gd name="connsiteX1" fmla="*/ 28764 w 28763"/>
                  <a:gd name="connsiteY1" fmla="*/ 0 h 11354"/>
                </a:gdLst>
                <a:ahLst/>
                <a:cxnLst>
                  <a:cxn ang="0">
                    <a:pos x="connsiteX0" y="connsiteY0"/>
                  </a:cxn>
                  <a:cxn ang="0">
                    <a:pos x="connsiteX1" y="connsiteY1"/>
                  </a:cxn>
                </a:cxnLst>
                <a:rect l="l" t="t" r="r" b="b"/>
                <a:pathLst>
                  <a:path w="28763" h="11354">
                    <a:moveTo>
                      <a:pt x="0" y="0"/>
                    </a:moveTo>
                    <a:lnTo>
                      <a:pt x="28764" y="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908" name="Graphic 2">
              <a:extLst>
                <a:ext uri="{FF2B5EF4-FFF2-40B4-BE49-F238E27FC236}">
                  <a16:creationId xmlns:a16="http://schemas.microsoft.com/office/drawing/2014/main" id="{DDD17B48-6DA9-4BAE-B7D9-CA387E5784B0}"/>
                </a:ext>
              </a:extLst>
            </p:cNvPr>
            <p:cNvGrpSpPr/>
            <p:nvPr/>
          </p:nvGrpSpPr>
          <p:grpSpPr>
            <a:xfrm>
              <a:off x="7117237" y="3717792"/>
              <a:ext cx="28650" cy="28726"/>
              <a:chOff x="7117237" y="3717792"/>
              <a:chExt cx="28650" cy="28726"/>
            </a:xfrm>
          </p:grpSpPr>
          <p:sp>
            <p:nvSpPr>
              <p:cNvPr id="2051" name="Freeform 1000">
                <a:extLst>
                  <a:ext uri="{FF2B5EF4-FFF2-40B4-BE49-F238E27FC236}">
                    <a16:creationId xmlns:a16="http://schemas.microsoft.com/office/drawing/2014/main" id="{0F420560-D9CF-46A1-8819-AAEA8C821D6B}"/>
                  </a:ext>
                </a:extLst>
              </p:cNvPr>
              <p:cNvSpPr/>
              <p:nvPr/>
            </p:nvSpPr>
            <p:spPr>
              <a:xfrm>
                <a:off x="7131619" y="3717792"/>
                <a:ext cx="11324" cy="28726"/>
              </a:xfrm>
              <a:custGeom>
                <a:avLst/>
                <a:gdLst>
                  <a:gd name="connsiteX0" fmla="*/ 0 w 11324"/>
                  <a:gd name="connsiteY0" fmla="*/ 0 h 28726"/>
                  <a:gd name="connsiteX1" fmla="*/ 0 w 11324"/>
                  <a:gd name="connsiteY1" fmla="*/ 28726 h 28726"/>
                </a:gdLst>
                <a:ahLst/>
                <a:cxnLst>
                  <a:cxn ang="0">
                    <a:pos x="connsiteX0" y="connsiteY0"/>
                  </a:cxn>
                  <a:cxn ang="0">
                    <a:pos x="connsiteX1" y="connsiteY1"/>
                  </a:cxn>
                </a:cxnLst>
                <a:rect l="l" t="t" r="r" b="b"/>
                <a:pathLst>
                  <a:path w="11324" h="28726">
                    <a:moveTo>
                      <a:pt x="0" y="0"/>
                    </a:moveTo>
                    <a:lnTo>
                      <a:pt x="0" y="28726"/>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52" name="Freeform 1001">
                <a:extLst>
                  <a:ext uri="{FF2B5EF4-FFF2-40B4-BE49-F238E27FC236}">
                    <a16:creationId xmlns:a16="http://schemas.microsoft.com/office/drawing/2014/main" id="{8CED5770-3CB2-464F-A3CE-2834969A3B75}"/>
                  </a:ext>
                </a:extLst>
              </p:cNvPr>
              <p:cNvSpPr/>
              <p:nvPr/>
            </p:nvSpPr>
            <p:spPr>
              <a:xfrm>
                <a:off x="7117237" y="3732098"/>
                <a:ext cx="28650" cy="11354"/>
              </a:xfrm>
              <a:custGeom>
                <a:avLst/>
                <a:gdLst>
                  <a:gd name="connsiteX0" fmla="*/ 0 w 28650"/>
                  <a:gd name="connsiteY0" fmla="*/ 0 h 11354"/>
                  <a:gd name="connsiteX1" fmla="*/ 28651 w 28650"/>
                  <a:gd name="connsiteY1" fmla="*/ 0 h 11354"/>
                </a:gdLst>
                <a:ahLst/>
                <a:cxnLst>
                  <a:cxn ang="0">
                    <a:pos x="connsiteX0" y="connsiteY0"/>
                  </a:cxn>
                  <a:cxn ang="0">
                    <a:pos x="connsiteX1" y="connsiteY1"/>
                  </a:cxn>
                </a:cxnLst>
                <a:rect l="l" t="t" r="r" b="b"/>
                <a:pathLst>
                  <a:path w="28650" h="11354">
                    <a:moveTo>
                      <a:pt x="0" y="0"/>
                    </a:moveTo>
                    <a:lnTo>
                      <a:pt x="28651" y="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909" name="Graphic 2">
              <a:extLst>
                <a:ext uri="{FF2B5EF4-FFF2-40B4-BE49-F238E27FC236}">
                  <a16:creationId xmlns:a16="http://schemas.microsoft.com/office/drawing/2014/main" id="{555B5CB8-EF2D-4DBA-9317-9C19BABD9B75}"/>
                </a:ext>
              </a:extLst>
            </p:cNvPr>
            <p:cNvGrpSpPr/>
            <p:nvPr/>
          </p:nvGrpSpPr>
          <p:grpSpPr>
            <a:xfrm>
              <a:off x="7110782" y="3717792"/>
              <a:ext cx="28650" cy="28726"/>
              <a:chOff x="7110782" y="3717792"/>
              <a:chExt cx="28650" cy="28726"/>
            </a:xfrm>
          </p:grpSpPr>
          <p:sp>
            <p:nvSpPr>
              <p:cNvPr id="2049" name="Freeform 998">
                <a:extLst>
                  <a:ext uri="{FF2B5EF4-FFF2-40B4-BE49-F238E27FC236}">
                    <a16:creationId xmlns:a16="http://schemas.microsoft.com/office/drawing/2014/main" id="{2D2BF9FE-133F-4BEC-B39B-5D1C95CE0B15}"/>
                  </a:ext>
                </a:extLst>
              </p:cNvPr>
              <p:cNvSpPr/>
              <p:nvPr/>
            </p:nvSpPr>
            <p:spPr>
              <a:xfrm>
                <a:off x="7125051" y="3717792"/>
                <a:ext cx="11324" cy="28726"/>
              </a:xfrm>
              <a:custGeom>
                <a:avLst/>
                <a:gdLst>
                  <a:gd name="connsiteX0" fmla="*/ 0 w 11324"/>
                  <a:gd name="connsiteY0" fmla="*/ 0 h 28726"/>
                  <a:gd name="connsiteX1" fmla="*/ 0 w 11324"/>
                  <a:gd name="connsiteY1" fmla="*/ 28726 h 28726"/>
                </a:gdLst>
                <a:ahLst/>
                <a:cxnLst>
                  <a:cxn ang="0">
                    <a:pos x="connsiteX0" y="connsiteY0"/>
                  </a:cxn>
                  <a:cxn ang="0">
                    <a:pos x="connsiteX1" y="connsiteY1"/>
                  </a:cxn>
                </a:cxnLst>
                <a:rect l="l" t="t" r="r" b="b"/>
                <a:pathLst>
                  <a:path w="11324" h="28726">
                    <a:moveTo>
                      <a:pt x="0" y="0"/>
                    </a:moveTo>
                    <a:lnTo>
                      <a:pt x="0" y="28726"/>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50" name="Freeform 999">
                <a:extLst>
                  <a:ext uri="{FF2B5EF4-FFF2-40B4-BE49-F238E27FC236}">
                    <a16:creationId xmlns:a16="http://schemas.microsoft.com/office/drawing/2014/main" id="{9D38024F-5C59-4CA3-B588-2FB87510795F}"/>
                  </a:ext>
                </a:extLst>
              </p:cNvPr>
              <p:cNvSpPr/>
              <p:nvPr/>
            </p:nvSpPr>
            <p:spPr>
              <a:xfrm>
                <a:off x="7110782" y="3732098"/>
                <a:ext cx="28650" cy="11354"/>
              </a:xfrm>
              <a:custGeom>
                <a:avLst/>
                <a:gdLst>
                  <a:gd name="connsiteX0" fmla="*/ 0 w 28650"/>
                  <a:gd name="connsiteY0" fmla="*/ 0 h 11354"/>
                  <a:gd name="connsiteX1" fmla="*/ 28651 w 28650"/>
                  <a:gd name="connsiteY1" fmla="*/ 0 h 11354"/>
                </a:gdLst>
                <a:ahLst/>
                <a:cxnLst>
                  <a:cxn ang="0">
                    <a:pos x="connsiteX0" y="connsiteY0"/>
                  </a:cxn>
                  <a:cxn ang="0">
                    <a:pos x="connsiteX1" y="connsiteY1"/>
                  </a:cxn>
                </a:cxnLst>
                <a:rect l="l" t="t" r="r" b="b"/>
                <a:pathLst>
                  <a:path w="28650" h="11354">
                    <a:moveTo>
                      <a:pt x="0" y="0"/>
                    </a:moveTo>
                    <a:lnTo>
                      <a:pt x="28651" y="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910" name="Graphic 2">
              <a:extLst>
                <a:ext uri="{FF2B5EF4-FFF2-40B4-BE49-F238E27FC236}">
                  <a16:creationId xmlns:a16="http://schemas.microsoft.com/office/drawing/2014/main" id="{913E5F26-AABA-490A-ACAC-1D58FF9C239A}"/>
                </a:ext>
              </a:extLst>
            </p:cNvPr>
            <p:cNvGrpSpPr/>
            <p:nvPr/>
          </p:nvGrpSpPr>
          <p:grpSpPr>
            <a:xfrm>
              <a:off x="7100590" y="3717792"/>
              <a:ext cx="28763" cy="28726"/>
              <a:chOff x="7100590" y="3717792"/>
              <a:chExt cx="28763" cy="28726"/>
            </a:xfrm>
          </p:grpSpPr>
          <p:sp>
            <p:nvSpPr>
              <p:cNvPr id="2047" name="Freeform 996">
                <a:extLst>
                  <a:ext uri="{FF2B5EF4-FFF2-40B4-BE49-F238E27FC236}">
                    <a16:creationId xmlns:a16="http://schemas.microsoft.com/office/drawing/2014/main" id="{A9B237D2-84F0-4F5C-A68D-9C430F77A069}"/>
                  </a:ext>
                </a:extLst>
              </p:cNvPr>
              <p:cNvSpPr/>
              <p:nvPr/>
            </p:nvSpPr>
            <p:spPr>
              <a:xfrm>
                <a:off x="7114972" y="3717792"/>
                <a:ext cx="11324" cy="28726"/>
              </a:xfrm>
              <a:custGeom>
                <a:avLst/>
                <a:gdLst>
                  <a:gd name="connsiteX0" fmla="*/ 0 w 11324"/>
                  <a:gd name="connsiteY0" fmla="*/ 0 h 28726"/>
                  <a:gd name="connsiteX1" fmla="*/ 0 w 11324"/>
                  <a:gd name="connsiteY1" fmla="*/ 28726 h 28726"/>
                </a:gdLst>
                <a:ahLst/>
                <a:cxnLst>
                  <a:cxn ang="0">
                    <a:pos x="connsiteX0" y="connsiteY0"/>
                  </a:cxn>
                  <a:cxn ang="0">
                    <a:pos x="connsiteX1" y="connsiteY1"/>
                  </a:cxn>
                </a:cxnLst>
                <a:rect l="l" t="t" r="r" b="b"/>
                <a:pathLst>
                  <a:path w="11324" h="28726">
                    <a:moveTo>
                      <a:pt x="0" y="0"/>
                    </a:moveTo>
                    <a:lnTo>
                      <a:pt x="0" y="28726"/>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48" name="Freeform 997">
                <a:extLst>
                  <a:ext uri="{FF2B5EF4-FFF2-40B4-BE49-F238E27FC236}">
                    <a16:creationId xmlns:a16="http://schemas.microsoft.com/office/drawing/2014/main" id="{F46DF6BF-07A2-4849-9095-F838F15D3020}"/>
                  </a:ext>
                </a:extLst>
              </p:cNvPr>
              <p:cNvSpPr/>
              <p:nvPr/>
            </p:nvSpPr>
            <p:spPr>
              <a:xfrm>
                <a:off x="7100590" y="3732098"/>
                <a:ext cx="28763" cy="11354"/>
              </a:xfrm>
              <a:custGeom>
                <a:avLst/>
                <a:gdLst>
                  <a:gd name="connsiteX0" fmla="*/ 0 w 28763"/>
                  <a:gd name="connsiteY0" fmla="*/ 0 h 11354"/>
                  <a:gd name="connsiteX1" fmla="*/ 28764 w 28763"/>
                  <a:gd name="connsiteY1" fmla="*/ 0 h 11354"/>
                </a:gdLst>
                <a:ahLst/>
                <a:cxnLst>
                  <a:cxn ang="0">
                    <a:pos x="connsiteX0" y="connsiteY0"/>
                  </a:cxn>
                  <a:cxn ang="0">
                    <a:pos x="connsiteX1" y="connsiteY1"/>
                  </a:cxn>
                </a:cxnLst>
                <a:rect l="l" t="t" r="r" b="b"/>
                <a:pathLst>
                  <a:path w="28763" h="11354">
                    <a:moveTo>
                      <a:pt x="0" y="0"/>
                    </a:moveTo>
                    <a:lnTo>
                      <a:pt x="28764" y="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911" name="Graphic 2">
              <a:extLst>
                <a:ext uri="{FF2B5EF4-FFF2-40B4-BE49-F238E27FC236}">
                  <a16:creationId xmlns:a16="http://schemas.microsoft.com/office/drawing/2014/main" id="{4D3671E6-75E0-4CDE-A97C-3F56D2BB511E}"/>
                </a:ext>
              </a:extLst>
            </p:cNvPr>
            <p:cNvGrpSpPr/>
            <p:nvPr/>
          </p:nvGrpSpPr>
          <p:grpSpPr>
            <a:xfrm>
              <a:off x="7096400" y="3717792"/>
              <a:ext cx="28650" cy="28726"/>
              <a:chOff x="7096400" y="3717792"/>
              <a:chExt cx="28650" cy="28726"/>
            </a:xfrm>
          </p:grpSpPr>
          <p:sp>
            <p:nvSpPr>
              <p:cNvPr id="2045" name="Freeform 994">
                <a:extLst>
                  <a:ext uri="{FF2B5EF4-FFF2-40B4-BE49-F238E27FC236}">
                    <a16:creationId xmlns:a16="http://schemas.microsoft.com/office/drawing/2014/main" id="{F7EB5BB3-864C-4C54-8CFE-A5B2893C9E2A}"/>
                  </a:ext>
                </a:extLst>
              </p:cNvPr>
              <p:cNvSpPr/>
              <p:nvPr/>
            </p:nvSpPr>
            <p:spPr>
              <a:xfrm>
                <a:off x="7110782" y="3717792"/>
                <a:ext cx="11324" cy="28726"/>
              </a:xfrm>
              <a:custGeom>
                <a:avLst/>
                <a:gdLst>
                  <a:gd name="connsiteX0" fmla="*/ 0 w 11324"/>
                  <a:gd name="connsiteY0" fmla="*/ 0 h 28726"/>
                  <a:gd name="connsiteX1" fmla="*/ 0 w 11324"/>
                  <a:gd name="connsiteY1" fmla="*/ 28726 h 28726"/>
                </a:gdLst>
                <a:ahLst/>
                <a:cxnLst>
                  <a:cxn ang="0">
                    <a:pos x="connsiteX0" y="connsiteY0"/>
                  </a:cxn>
                  <a:cxn ang="0">
                    <a:pos x="connsiteX1" y="connsiteY1"/>
                  </a:cxn>
                </a:cxnLst>
                <a:rect l="l" t="t" r="r" b="b"/>
                <a:pathLst>
                  <a:path w="11324" h="28726">
                    <a:moveTo>
                      <a:pt x="0" y="0"/>
                    </a:moveTo>
                    <a:lnTo>
                      <a:pt x="0" y="28726"/>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46" name="Freeform 995">
                <a:extLst>
                  <a:ext uri="{FF2B5EF4-FFF2-40B4-BE49-F238E27FC236}">
                    <a16:creationId xmlns:a16="http://schemas.microsoft.com/office/drawing/2014/main" id="{FFF28F85-392E-43CC-9C6C-4B66981D6BA8}"/>
                  </a:ext>
                </a:extLst>
              </p:cNvPr>
              <p:cNvSpPr/>
              <p:nvPr/>
            </p:nvSpPr>
            <p:spPr>
              <a:xfrm>
                <a:off x="7096400" y="3732098"/>
                <a:ext cx="28650" cy="11354"/>
              </a:xfrm>
              <a:custGeom>
                <a:avLst/>
                <a:gdLst>
                  <a:gd name="connsiteX0" fmla="*/ 0 w 28650"/>
                  <a:gd name="connsiteY0" fmla="*/ 0 h 11354"/>
                  <a:gd name="connsiteX1" fmla="*/ 28651 w 28650"/>
                  <a:gd name="connsiteY1" fmla="*/ 0 h 11354"/>
                </a:gdLst>
                <a:ahLst/>
                <a:cxnLst>
                  <a:cxn ang="0">
                    <a:pos x="connsiteX0" y="connsiteY0"/>
                  </a:cxn>
                  <a:cxn ang="0">
                    <a:pos x="connsiteX1" y="connsiteY1"/>
                  </a:cxn>
                </a:cxnLst>
                <a:rect l="l" t="t" r="r" b="b"/>
                <a:pathLst>
                  <a:path w="28650" h="11354">
                    <a:moveTo>
                      <a:pt x="0" y="0"/>
                    </a:moveTo>
                    <a:lnTo>
                      <a:pt x="28651" y="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912" name="Graphic 2">
              <a:extLst>
                <a:ext uri="{FF2B5EF4-FFF2-40B4-BE49-F238E27FC236}">
                  <a16:creationId xmlns:a16="http://schemas.microsoft.com/office/drawing/2014/main" id="{447B073C-3A87-46E7-BFC2-08E4D44B0993}"/>
                </a:ext>
              </a:extLst>
            </p:cNvPr>
            <p:cNvGrpSpPr/>
            <p:nvPr/>
          </p:nvGrpSpPr>
          <p:grpSpPr>
            <a:xfrm>
              <a:off x="7078508" y="3717792"/>
              <a:ext cx="28650" cy="28726"/>
              <a:chOff x="7078508" y="3717792"/>
              <a:chExt cx="28650" cy="28726"/>
            </a:xfrm>
          </p:grpSpPr>
          <p:sp>
            <p:nvSpPr>
              <p:cNvPr id="2043" name="Freeform 992">
                <a:extLst>
                  <a:ext uri="{FF2B5EF4-FFF2-40B4-BE49-F238E27FC236}">
                    <a16:creationId xmlns:a16="http://schemas.microsoft.com/office/drawing/2014/main" id="{D7771EB0-EFAF-4110-AA87-E7C392FEA282}"/>
                  </a:ext>
                </a:extLst>
              </p:cNvPr>
              <p:cNvSpPr/>
              <p:nvPr/>
            </p:nvSpPr>
            <p:spPr>
              <a:xfrm>
                <a:off x="7092890" y="3717792"/>
                <a:ext cx="11324" cy="28726"/>
              </a:xfrm>
              <a:custGeom>
                <a:avLst/>
                <a:gdLst>
                  <a:gd name="connsiteX0" fmla="*/ 0 w 11324"/>
                  <a:gd name="connsiteY0" fmla="*/ 0 h 28726"/>
                  <a:gd name="connsiteX1" fmla="*/ 0 w 11324"/>
                  <a:gd name="connsiteY1" fmla="*/ 28726 h 28726"/>
                </a:gdLst>
                <a:ahLst/>
                <a:cxnLst>
                  <a:cxn ang="0">
                    <a:pos x="connsiteX0" y="connsiteY0"/>
                  </a:cxn>
                  <a:cxn ang="0">
                    <a:pos x="connsiteX1" y="connsiteY1"/>
                  </a:cxn>
                </a:cxnLst>
                <a:rect l="l" t="t" r="r" b="b"/>
                <a:pathLst>
                  <a:path w="11324" h="28726">
                    <a:moveTo>
                      <a:pt x="0" y="0"/>
                    </a:moveTo>
                    <a:lnTo>
                      <a:pt x="0" y="28726"/>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44" name="Freeform 993">
                <a:extLst>
                  <a:ext uri="{FF2B5EF4-FFF2-40B4-BE49-F238E27FC236}">
                    <a16:creationId xmlns:a16="http://schemas.microsoft.com/office/drawing/2014/main" id="{B609070C-C3FE-4004-A682-14EF83E1ECD8}"/>
                  </a:ext>
                </a:extLst>
              </p:cNvPr>
              <p:cNvSpPr/>
              <p:nvPr/>
            </p:nvSpPr>
            <p:spPr>
              <a:xfrm>
                <a:off x="7078508" y="3732098"/>
                <a:ext cx="28650" cy="11354"/>
              </a:xfrm>
              <a:custGeom>
                <a:avLst/>
                <a:gdLst>
                  <a:gd name="connsiteX0" fmla="*/ 0 w 28650"/>
                  <a:gd name="connsiteY0" fmla="*/ 0 h 11354"/>
                  <a:gd name="connsiteX1" fmla="*/ 28651 w 28650"/>
                  <a:gd name="connsiteY1" fmla="*/ 0 h 11354"/>
                </a:gdLst>
                <a:ahLst/>
                <a:cxnLst>
                  <a:cxn ang="0">
                    <a:pos x="connsiteX0" y="connsiteY0"/>
                  </a:cxn>
                  <a:cxn ang="0">
                    <a:pos x="connsiteX1" y="connsiteY1"/>
                  </a:cxn>
                </a:cxnLst>
                <a:rect l="l" t="t" r="r" b="b"/>
                <a:pathLst>
                  <a:path w="28650" h="11354">
                    <a:moveTo>
                      <a:pt x="0" y="0"/>
                    </a:moveTo>
                    <a:lnTo>
                      <a:pt x="28651" y="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913" name="Graphic 2">
              <a:extLst>
                <a:ext uri="{FF2B5EF4-FFF2-40B4-BE49-F238E27FC236}">
                  <a16:creationId xmlns:a16="http://schemas.microsoft.com/office/drawing/2014/main" id="{379E5CEC-1035-43E4-BDFF-9E6FD1DA404B}"/>
                </a:ext>
              </a:extLst>
            </p:cNvPr>
            <p:cNvGrpSpPr/>
            <p:nvPr/>
          </p:nvGrpSpPr>
          <p:grpSpPr>
            <a:xfrm>
              <a:off x="7056652" y="3717792"/>
              <a:ext cx="28650" cy="28726"/>
              <a:chOff x="7056652" y="3717792"/>
              <a:chExt cx="28650" cy="28726"/>
            </a:xfrm>
          </p:grpSpPr>
          <p:sp>
            <p:nvSpPr>
              <p:cNvPr id="2041" name="Freeform 990">
                <a:extLst>
                  <a:ext uri="{FF2B5EF4-FFF2-40B4-BE49-F238E27FC236}">
                    <a16:creationId xmlns:a16="http://schemas.microsoft.com/office/drawing/2014/main" id="{7A8FA0BE-5B18-42F9-B625-CEEA6BECBC29}"/>
                  </a:ext>
                </a:extLst>
              </p:cNvPr>
              <p:cNvSpPr/>
              <p:nvPr/>
            </p:nvSpPr>
            <p:spPr>
              <a:xfrm>
                <a:off x="7071034" y="3717792"/>
                <a:ext cx="11324" cy="28726"/>
              </a:xfrm>
              <a:custGeom>
                <a:avLst/>
                <a:gdLst>
                  <a:gd name="connsiteX0" fmla="*/ 0 w 11324"/>
                  <a:gd name="connsiteY0" fmla="*/ 0 h 28726"/>
                  <a:gd name="connsiteX1" fmla="*/ 0 w 11324"/>
                  <a:gd name="connsiteY1" fmla="*/ 28726 h 28726"/>
                </a:gdLst>
                <a:ahLst/>
                <a:cxnLst>
                  <a:cxn ang="0">
                    <a:pos x="connsiteX0" y="connsiteY0"/>
                  </a:cxn>
                  <a:cxn ang="0">
                    <a:pos x="connsiteX1" y="connsiteY1"/>
                  </a:cxn>
                </a:cxnLst>
                <a:rect l="l" t="t" r="r" b="b"/>
                <a:pathLst>
                  <a:path w="11324" h="28726">
                    <a:moveTo>
                      <a:pt x="0" y="0"/>
                    </a:moveTo>
                    <a:lnTo>
                      <a:pt x="0" y="28726"/>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42" name="Freeform 991">
                <a:extLst>
                  <a:ext uri="{FF2B5EF4-FFF2-40B4-BE49-F238E27FC236}">
                    <a16:creationId xmlns:a16="http://schemas.microsoft.com/office/drawing/2014/main" id="{E485EEC6-7E9B-4FA3-85CD-24D596FA20E0}"/>
                  </a:ext>
                </a:extLst>
              </p:cNvPr>
              <p:cNvSpPr/>
              <p:nvPr/>
            </p:nvSpPr>
            <p:spPr>
              <a:xfrm>
                <a:off x="7056652" y="3732098"/>
                <a:ext cx="28650" cy="11354"/>
              </a:xfrm>
              <a:custGeom>
                <a:avLst/>
                <a:gdLst>
                  <a:gd name="connsiteX0" fmla="*/ 0 w 28650"/>
                  <a:gd name="connsiteY0" fmla="*/ 0 h 11354"/>
                  <a:gd name="connsiteX1" fmla="*/ 28651 w 28650"/>
                  <a:gd name="connsiteY1" fmla="*/ 0 h 11354"/>
                </a:gdLst>
                <a:ahLst/>
                <a:cxnLst>
                  <a:cxn ang="0">
                    <a:pos x="connsiteX0" y="connsiteY0"/>
                  </a:cxn>
                  <a:cxn ang="0">
                    <a:pos x="connsiteX1" y="connsiteY1"/>
                  </a:cxn>
                </a:cxnLst>
                <a:rect l="l" t="t" r="r" b="b"/>
                <a:pathLst>
                  <a:path w="28650" h="11354">
                    <a:moveTo>
                      <a:pt x="0" y="0"/>
                    </a:moveTo>
                    <a:lnTo>
                      <a:pt x="28651" y="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914" name="Graphic 2">
              <a:extLst>
                <a:ext uri="{FF2B5EF4-FFF2-40B4-BE49-F238E27FC236}">
                  <a16:creationId xmlns:a16="http://schemas.microsoft.com/office/drawing/2014/main" id="{6A6B70DA-8612-4F7F-B80C-0254A03C7EC1}"/>
                </a:ext>
              </a:extLst>
            </p:cNvPr>
            <p:cNvGrpSpPr/>
            <p:nvPr/>
          </p:nvGrpSpPr>
          <p:grpSpPr>
            <a:xfrm>
              <a:off x="7043855" y="3717792"/>
              <a:ext cx="28650" cy="28726"/>
              <a:chOff x="7043855" y="3717792"/>
              <a:chExt cx="28650" cy="28726"/>
            </a:xfrm>
          </p:grpSpPr>
          <p:sp>
            <p:nvSpPr>
              <p:cNvPr id="2039" name="Freeform 988">
                <a:extLst>
                  <a:ext uri="{FF2B5EF4-FFF2-40B4-BE49-F238E27FC236}">
                    <a16:creationId xmlns:a16="http://schemas.microsoft.com/office/drawing/2014/main" id="{7FE19D09-D14E-47B6-93CA-8C75B81E3642}"/>
                  </a:ext>
                </a:extLst>
              </p:cNvPr>
              <p:cNvSpPr/>
              <p:nvPr/>
            </p:nvSpPr>
            <p:spPr>
              <a:xfrm>
                <a:off x="7058237" y="3717792"/>
                <a:ext cx="11324" cy="28726"/>
              </a:xfrm>
              <a:custGeom>
                <a:avLst/>
                <a:gdLst>
                  <a:gd name="connsiteX0" fmla="*/ 0 w 11324"/>
                  <a:gd name="connsiteY0" fmla="*/ 0 h 28726"/>
                  <a:gd name="connsiteX1" fmla="*/ 0 w 11324"/>
                  <a:gd name="connsiteY1" fmla="*/ 28726 h 28726"/>
                </a:gdLst>
                <a:ahLst/>
                <a:cxnLst>
                  <a:cxn ang="0">
                    <a:pos x="connsiteX0" y="connsiteY0"/>
                  </a:cxn>
                  <a:cxn ang="0">
                    <a:pos x="connsiteX1" y="connsiteY1"/>
                  </a:cxn>
                </a:cxnLst>
                <a:rect l="l" t="t" r="r" b="b"/>
                <a:pathLst>
                  <a:path w="11324" h="28726">
                    <a:moveTo>
                      <a:pt x="0" y="0"/>
                    </a:moveTo>
                    <a:lnTo>
                      <a:pt x="0" y="28726"/>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40" name="Freeform 989">
                <a:extLst>
                  <a:ext uri="{FF2B5EF4-FFF2-40B4-BE49-F238E27FC236}">
                    <a16:creationId xmlns:a16="http://schemas.microsoft.com/office/drawing/2014/main" id="{55DB0B43-9A15-40B6-9F73-5C548D1DA786}"/>
                  </a:ext>
                </a:extLst>
              </p:cNvPr>
              <p:cNvSpPr/>
              <p:nvPr/>
            </p:nvSpPr>
            <p:spPr>
              <a:xfrm>
                <a:off x="7043855" y="3732098"/>
                <a:ext cx="28650" cy="11354"/>
              </a:xfrm>
              <a:custGeom>
                <a:avLst/>
                <a:gdLst>
                  <a:gd name="connsiteX0" fmla="*/ 0 w 28650"/>
                  <a:gd name="connsiteY0" fmla="*/ 0 h 11354"/>
                  <a:gd name="connsiteX1" fmla="*/ 28651 w 28650"/>
                  <a:gd name="connsiteY1" fmla="*/ 0 h 11354"/>
                </a:gdLst>
                <a:ahLst/>
                <a:cxnLst>
                  <a:cxn ang="0">
                    <a:pos x="connsiteX0" y="connsiteY0"/>
                  </a:cxn>
                  <a:cxn ang="0">
                    <a:pos x="connsiteX1" y="connsiteY1"/>
                  </a:cxn>
                </a:cxnLst>
                <a:rect l="l" t="t" r="r" b="b"/>
                <a:pathLst>
                  <a:path w="28650" h="11354">
                    <a:moveTo>
                      <a:pt x="0" y="0"/>
                    </a:moveTo>
                    <a:lnTo>
                      <a:pt x="28651" y="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915" name="Graphic 2">
              <a:extLst>
                <a:ext uri="{FF2B5EF4-FFF2-40B4-BE49-F238E27FC236}">
                  <a16:creationId xmlns:a16="http://schemas.microsoft.com/office/drawing/2014/main" id="{A16BFA09-FECC-4816-BF7D-0A9865E2D65E}"/>
                </a:ext>
              </a:extLst>
            </p:cNvPr>
            <p:cNvGrpSpPr/>
            <p:nvPr/>
          </p:nvGrpSpPr>
          <p:grpSpPr>
            <a:xfrm>
              <a:off x="7033437" y="3717792"/>
              <a:ext cx="28764" cy="28726"/>
              <a:chOff x="7033437" y="3717792"/>
              <a:chExt cx="28764" cy="28726"/>
            </a:xfrm>
          </p:grpSpPr>
          <p:sp>
            <p:nvSpPr>
              <p:cNvPr id="2037" name="Freeform 986">
                <a:extLst>
                  <a:ext uri="{FF2B5EF4-FFF2-40B4-BE49-F238E27FC236}">
                    <a16:creationId xmlns:a16="http://schemas.microsoft.com/office/drawing/2014/main" id="{87DBCFB7-F342-41E1-A5E8-563406DBA30D}"/>
                  </a:ext>
                </a:extLst>
              </p:cNvPr>
              <p:cNvSpPr/>
              <p:nvPr/>
            </p:nvSpPr>
            <p:spPr>
              <a:xfrm>
                <a:off x="7047819" y="3717792"/>
                <a:ext cx="11324" cy="28726"/>
              </a:xfrm>
              <a:custGeom>
                <a:avLst/>
                <a:gdLst>
                  <a:gd name="connsiteX0" fmla="*/ 0 w 11324"/>
                  <a:gd name="connsiteY0" fmla="*/ 0 h 28726"/>
                  <a:gd name="connsiteX1" fmla="*/ 0 w 11324"/>
                  <a:gd name="connsiteY1" fmla="*/ 28726 h 28726"/>
                </a:gdLst>
                <a:ahLst/>
                <a:cxnLst>
                  <a:cxn ang="0">
                    <a:pos x="connsiteX0" y="connsiteY0"/>
                  </a:cxn>
                  <a:cxn ang="0">
                    <a:pos x="connsiteX1" y="connsiteY1"/>
                  </a:cxn>
                </a:cxnLst>
                <a:rect l="l" t="t" r="r" b="b"/>
                <a:pathLst>
                  <a:path w="11324" h="28726">
                    <a:moveTo>
                      <a:pt x="0" y="0"/>
                    </a:moveTo>
                    <a:lnTo>
                      <a:pt x="0" y="28726"/>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38" name="Freeform 987">
                <a:extLst>
                  <a:ext uri="{FF2B5EF4-FFF2-40B4-BE49-F238E27FC236}">
                    <a16:creationId xmlns:a16="http://schemas.microsoft.com/office/drawing/2014/main" id="{7F513AE5-EF6E-4185-8B68-DE78E603D025}"/>
                  </a:ext>
                </a:extLst>
              </p:cNvPr>
              <p:cNvSpPr/>
              <p:nvPr/>
            </p:nvSpPr>
            <p:spPr>
              <a:xfrm>
                <a:off x="7033437" y="3732098"/>
                <a:ext cx="28764" cy="11354"/>
              </a:xfrm>
              <a:custGeom>
                <a:avLst/>
                <a:gdLst>
                  <a:gd name="connsiteX0" fmla="*/ 0 w 28764"/>
                  <a:gd name="connsiteY0" fmla="*/ 0 h 11354"/>
                  <a:gd name="connsiteX1" fmla="*/ 28764 w 28764"/>
                  <a:gd name="connsiteY1" fmla="*/ 0 h 11354"/>
                </a:gdLst>
                <a:ahLst/>
                <a:cxnLst>
                  <a:cxn ang="0">
                    <a:pos x="connsiteX0" y="connsiteY0"/>
                  </a:cxn>
                  <a:cxn ang="0">
                    <a:pos x="connsiteX1" y="connsiteY1"/>
                  </a:cxn>
                </a:cxnLst>
                <a:rect l="l" t="t" r="r" b="b"/>
                <a:pathLst>
                  <a:path w="28764" h="11354">
                    <a:moveTo>
                      <a:pt x="0" y="0"/>
                    </a:moveTo>
                    <a:lnTo>
                      <a:pt x="28764" y="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916" name="Graphic 2">
              <a:extLst>
                <a:ext uri="{FF2B5EF4-FFF2-40B4-BE49-F238E27FC236}">
                  <a16:creationId xmlns:a16="http://schemas.microsoft.com/office/drawing/2014/main" id="{9DD39E18-B732-48FE-BDDD-42E7D0FA3107}"/>
                </a:ext>
              </a:extLst>
            </p:cNvPr>
            <p:cNvGrpSpPr/>
            <p:nvPr/>
          </p:nvGrpSpPr>
          <p:grpSpPr>
            <a:xfrm>
              <a:off x="7027435" y="3717792"/>
              <a:ext cx="28764" cy="28726"/>
              <a:chOff x="7027435" y="3717792"/>
              <a:chExt cx="28764" cy="28726"/>
            </a:xfrm>
          </p:grpSpPr>
          <p:sp>
            <p:nvSpPr>
              <p:cNvPr id="2035" name="Freeform 984">
                <a:extLst>
                  <a:ext uri="{FF2B5EF4-FFF2-40B4-BE49-F238E27FC236}">
                    <a16:creationId xmlns:a16="http://schemas.microsoft.com/office/drawing/2014/main" id="{CAF7B7EA-AEB2-4A92-A318-74D373F5F2EC}"/>
                  </a:ext>
                </a:extLst>
              </p:cNvPr>
              <p:cNvSpPr/>
              <p:nvPr/>
            </p:nvSpPr>
            <p:spPr>
              <a:xfrm>
                <a:off x="7041817" y="3717792"/>
                <a:ext cx="11324" cy="28726"/>
              </a:xfrm>
              <a:custGeom>
                <a:avLst/>
                <a:gdLst>
                  <a:gd name="connsiteX0" fmla="*/ 0 w 11324"/>
                  <a:gd name="connsiteY0" fmla="*/ 0 h 28726"/>
                  <a:gd name="connsiteX1" fmla="*/ 0 w 11324"/>
                  <a:gd name="connsiteY1" fmla="*/ 28726 h 28726"/>
                </a:gdLst>
                <a:ahLst/>
                <a:cxnLst>
                  <a:cxn ang="0">
                    <a:pos x="connsiteX0" y="connsiteY0"/>
                  </a:cxn>
                  <a:cxn ang="0">
                    <a:pos x="connsiteX1" y="connsiteY1"/>
                  </a:cxn>
                </a:cxnLst>
                <a:rect l="l" t="t" r="r" b="b"/>
                <a:pathLst>
                  <a:path w="11324" h="28726">
                    <a:moveTo>
                      <a:pt x="0" y="0"/>
                    </a:moveTo>
                    <a:lnTo>
                      <a:pt x="0" y="28726"/>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36" name="Freeform 985">
                <a:extLst>
                  <a:ext uri="{FF2B5EF4-FFF2-40B4-BE49-F238E27FC236}">
                    <a16:creationId xmlns:a16="http://schemas.microsoft.com/office/drawing/2014/main" id="{C25DFA61-E37E-44C1-ABB0-5022DD4FF70E}"/>
                  </a:ext>
                </a:extLst>
              </p:cNvPr>
              <p:cNvSpPr/>
              <p:nvPr/>
            </p:nvSpPr>
            <p:spPr>
              <a:xfrm>
                <a:off x="7027435" y="3732098"/>
                <a:ext cx="28764" cy="11354"/>
              </a:xfrm>
              <a:custGeom>
                <a:avLst/>
                <a:gdLst>
                  <a:gd name="connsiteX0" fmla="*/ 0 w 28764"/>
                  <a:gd name="connsiteY0" fmla="*/ 0 h 11354"/>
                  <a:gd name="connsiteX1" fmla="*/ 28764 w 28764"/>
                  <a:gd name="connsiteY1" fmla="*/ 0 h 11354"/>
                </a:gdLst>
                <a:ahLst/>
                <a:cxnLst>
                  <a:cxn ang="0">
                    <a:pos x="connsiteX0" y="connsiteY0"/>
                  </a:cxn>
                  <a:cxn ang="0">
                    <a:pos x="connsiteX1" y="connsiteY1"/>
                  </a:cxn>
                </a:cxnLst>
                <a:rect l="l" t="t" r="r" b="b"/>
                <a:pathLst>
                  <a:path w="28764" h="11354">
                    <a:moveTo>
                      <a:pt x="0" y="0"/>
                    </a:moveTo>
                    <a:lnTo>
                      <a:pt x="28764" y="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917" name="Graphic 2">
              <a:extLst>
                <a:ext uri="{FF2B5EF4-FFF2-40B4-BE49-F238E27FC236}">
                  <a16:creationId xmlns:a16="http://schemas.microsoft.com/office/drawing/2014/main" id="{BFC18021-8E67-4F9F-ACBB-E14BDD2547DE}"/>
                </a:ext>
              </a:extLst>
            </p:cNvPr>
            <p:cNvGrpSpPr/>
            <p:nvPr/>
          </p:nvGrpSpPr>
          <p:grpSpPr>
            <a:xfrm>
              <a:off x="7020414" y="3717792"/>
              <a:ext cx="28764" cy="28726"/>
              <a:chOff x="7020414" y="3717792"/>
              <a:chExt cx="28764" cy="28726"/>
            </a:xfrm>
          </p:grpSpPr>
          <p:sp>
            <p:nvSpPr>
              <p:cNvPr id="2033" name="Freeform 982">
                <a:extLst>
                  <a:ext uri="{FF2B5EF4-FFF2-40B4-BE49-F238E27FC236}">
                    <a16:creationId xmlns:a16="http://schemas.microsoft.com/office/drawing/2014/main" id="{6D2B50C0-52D6-4101-B9EF-2C909686BABC}"/>
                  </a:ext>
                </a:extLst>
              </p:cNvPr>
              <p:cNvSpPr/>
              <p:nvPr/>
            </p:nvSpPr>
            <p:spPr>
              <a:xfrm>
                <a:off x="7034796" y="3717792"/>
                <a:ext cx="11324" cy="28726"/>
              </a:xfrm>
              <a:custGeom>
                <a:avLst/>
                <a:gdLst>
                  <a:gd name="connsiteX0" fmla="*/ 0 w 11324"/>
                  <a:gd name="connsiteY0" fmla="*/ 0 h 28726"/>
                  <a:gd name="connsiteX1" fmla="*/ 0 w 11324"/>
                  <a:gd name="connsiteY1" fmla="*/ 28726 h 28726"/>
                </a:gdLst>
                <a:ahLst/>
                <a:cxnLst>
                  <a:cxn ang="0">
                    <a:pos x="connsiteX0" y="connsiteY0"/>
                  </a:cxn>
                  <a:cxn ang="0">
                    <a:pos x="connsiteX1" y="connsiteY1"/>
                  </a:cxn>
                </a:cxnLst>
                <a:rect l="l" t="t" r="r" b="b"/>
                <a:pathLst>
                  <a:path w="11324" h="28726">
                    <a:moveTo>
                      <a:pt x="0" y="0"/>
                    </a:moveTo>
                    <a:lnTo>
                      <a:pt x="0" y="28726"/>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34" name="Freeform 983">
                <a:extLst>
                  <a:ext uri="{FF2B5EF4-FFF2-40B4-BE49-F238E27FC236}">
                    <a16:creationId xmlns:a16="http://schemas.microsoft.com/office/drawing/2014/main" id="{0B6D0B66-7019-460A-AC41-BC7784325A03}"/>
                  </a:ext>
                </a:extLst>
              </p:cNvPr>
              <p:cNvSpPr/>
              <p:nvPr/>
            </p:nvSpPr>
            <p:spPr>
              <a:xfrm>
                <a:off x="7020414" y="3732098"/>
                <a:ext cx="28764" cy="11354"/>
              </a:xfrm>
              <a:custGeom>
                <a:avLst/>
                <a:gdLst>
                  <a:gd name="connsiteX0" fmla="*/ 0 w 28764"/>
                  <a:gd name="connsiteY0" fmla="*/ 0 h 11354"/>
                  <a:gd name="connsiteX1" fmla="*/ 28764 w 28764"/>
                  <a:gd name="connsiteY1" fmla="*/ 0 h 11354"/>
                </a:gdLst>
                <a:ahLst/>
                <a:cxnLst>
                  <a:cxn ang="0">
                    <a:pos x="connsiteX0" y="connsiteY0"/>
                  </a:cxn>
                  <a:cxn ang="0">
                    <a:pos x="connsiteX1" y="connsiteY1"/>
                  </a:cxn>
                </a:cxnLst>
                <a:rect l="l" t="t" r="r" b="b"/>
                <a:pathLst>
                  <a:path w="28764" h="11354">
                    <a:moveTo>
                      <a:pt x="0" y="0"/>
                    </a:moveTo>
                    <a:lnTo>
                      <a:pt x="28764" y="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918" name="Graphic 2">
              <a:extLst>
                <a:ext uri="{FF2B5EF4-FFF2-40B4-BE49-F238E27FC236}">
                  <a16:creationId xmlns:a16="http://schemas.microsoft.com/office/drawing/2014/main" id="{5E0C75C2-4837-4F87-BC9C-9B85EB9FEF31}"/>
                </a:ext>
              </a:extLst>
            </p:cNvPr>
            <p:cNvGrpSpPr/>
            <p:nvPr/>
          </p:nvGrpSpPr>
          <p:grpSpPr>
            <a:xfrm>
              <a:off x="7013845" y="3717792"/>
              <a:ext cx="28650" cy="28726"/>
              <a:chOff x="7013845" y="3717792"/>
              <a:chExt cx="28650" cy="28726"/>
            </a:xfrm>
          </p:grpSpPr>
          <p:sp>
            <p:nvSpPr>
              <p:cNvPr id="2031" name="Freeform 980">
                <a:extLst>
                  <a:ext uri="{FF2B5EF4-FFF2-40B4-BE49-F238E27FC236}">
                    <a16:creationId xmlns:a16="http://schemas.microsoft.com/office/drawing/2014/main" id="{BE8CB6B3-74F2-49CD-8EFB-6A6A88D45705}"/>
                  </a:ext>
                </a:extLst>
              </p:cNvPr>
              <p:cNvSpPr/>
              <p:nvPr/>
            </p:nvSpPr>
            <p:spPr>
              <a:xfrm>
                <a:off x="7028114" y="3717792"/>
                <a:ext cx="11324" cy="28726"/>
              </a:xfrm>
              <a:custGeom>
                <a:avLst/>
                <a:gdLst>
                  <a:gd name="connsiteX0" fmla="*/ 0 w 11324"/>
                  <a:gd name="connsiteY0" fmla="*/ 0 h 28726"/>
                  <a:gd name="connsiteX1" fmla="*/ 0 w 11324"/>
                  <a:gd name="connsiteY1" fmla="*/ 28726 h 28726"/>
                </a:gdLst>
                <a:ahLst/>
                <a:cxnLst>
                  <a:cxn ang="0">
                    <a:pos x="connsiteX0" y="connsiteY0"/>
                  </a:cxn>
                  <a:cxn ang="0">
                    <a:pos x="connsiteX1" y="connsiteY1"/>
                  </a:cxn>
                </a:cxnLst>
                <a:rect l="l" t="t" r="r" b="b"/>
                <a:pathLst>
                  <a:path w="11324" h="28726">
                    <a:moveTo>
                      <a:pt x="0" y="0"/>
                    </a:moveTo>
                    <a:lnTo>
                      <a:pt x="0" y="28726"/>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32" name="Freeform 981">
                <a:extLst>
                  <a:ext uri="{FF2B5EF4-FFF2-40B4-BE49-F238E27FC236}">
                    <a16:creationId xmlns:a16="http://schemas.microsoft.com/office/drawing/2014/main" id="{13011A98-CAD0-4B04-8BC5-DA3FD7508CB6}"/>
                  </a:ext>
                </a:extLst>
              </p:cNvPr>
              <p:cNvSpPr/>
              <p:nvPr/>
            </p:nvSpPr>
            <p:spPr>
              <a:xfrm>
                <a:off x="7013845" y="3732098"/>
                <a:ext cx="28650" cy="11354"/>
              </a:xfrm>
              <a:custGeom>
                <a:avLst/>
                <a:gdLst>
                  <a:gd name="connsiteX0" fmla="*/ 0 w 28650"/>
                  <a:gd name="connsiteY0" fmla="*/ 0 h 11354"/>
                  <a:gd name="connsiteX1" fmla="*/ 28651 w 28650"/>
                  <a:gd name="connsiteY1" fmla="*/ 0 h 11354"/>
                </a:gdLst>
                <a:ahLst/>
                <a:cxnLst>
                  <a:cxn ang="0">
                    <a:pos x="connsiteX0" y="connsiteY0"/>
                  </a:cxn>
                  <a:cxn ang="0">
                    <a:pos x="connsiteX1" y="connsiteY1"/>
                  </a:cxn>
                </a:cxnLst>
                <a:rect l="l" t="t" r="r" b="b"/>
                <a:pathLst>
                  <a:path w="28650" h="11354">
                    <a:moveTo>
                      <a:pt x="0" y="0"/>
                    </a:moveTo>
                    <a:lnTo>
                      <a:pt x="28651" y="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919" name="Graphic 2">
              <a:extLst>
                <a:ext uri="{FF2B5EF4-FFF2-40B4-BE49-F238E27FC236}">
                  <a16:creationId xmlns:a16="http://schemas.microsoft.com/office/drawing/2014/main" id="{CA6DD420-1623-4A6E-ADA2-B20963E271B9}"/>
                </a:ext>
              </a:extLst>
            </p:cNvPr>
            <p:cNvGrpSpPr/>
            <p:nvPr/>
          </p:nvGrpSpPr>
          <p:grpSpPr>
            <a:xfrm>
              <a:off x="7004220" y="3717792"/>
              <a:ext cx="28650" cy="28726"/>
              <a:chOff x="7004220" y="3717792"/>
              <a:chExt cx="28650" cy="28726"/>
            </a:xfrm>
          </p:grpSpPr>
          <p:sp>
            <p:nvSpPr>
              <p:cNvPr id="2029" name="Freeform 978">
                <a:extLst>
                  <a:ext uri="{FF2B5EF4-FFF2-40B4-BE49-F238E27FC236}">
                    <a16:creationId xmlns:a16="http://schemas.microsoft.com/office/drawing/2014/main" id="{E6A485CA-89C1-4CF6-9725-EB3DBBD95000}"/>
                  </a:ext>
                </a:extLst>
              </p:cNvPr>
              <p:cNvSpPr/>
              <p:nvPr/>
            </p:nvSpPr>
            <p:spPr>
              <a:xfrm>
                <a:off x="7018602" y="3717792"/>
                <a:ext cx="11324" cy="28726"/>
              </a:xfrm>
              <a:custGeom>
                <a:avLst/>
                <a:gdLst>
                  <a:gd name="connsiteX0" fmla="*/ 0 w 11324"/>
                  <a:gd name="connsiteY0" fmla="*/ 0 h 28726"/>
                  <a:gd name="connsiteX1" fmla="*/ 0 w 11324"/>
                  <a:gd name="connsiteY1" fmla="*/ 28726 h 28726"/>
                </a:gdLst>
                <a:ahLst/>
                <a:cxnLst>
                  <a:cxn ang="0">
                    <a:pos x="connsiteX0" y="connsiteY0"/>
                  </a:cxn>
                  <a:cxn ang="0">
                    <a:pos x="connsiteX1" y="connsiteY1"/>
                  </a:cxn>
                </a:cxnLst>
                <a:rect l="l" t="t" r="r" b="b"/>
                <a:pathLst>
                  <a:path w="11324" h="28726">
                    <a:moveTo>
                      <a:pt x="0" y="0"/>
                    </a:moveTo>
                    <a:lnTo>
                      <a:pt x="0" y="28726"/>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30" name="Freeform 979">
                <a:extLst>
                  <a:ext uri="{FF2B5EF4-FFF2-40B4-BE49-F238E27FC236}">
                    <a16:creationId xmlns:a16="http://schemas.microsoft.com/office/drawing/2014/main" id="{B0061843-56A9-4D3F-922B-41B6D58EB079}"/>
                  </a:ext>
                </a:extLst>
              </p:cNvPr>
              <p:cNvSpPr/>
              <p:nvPr/>
            </p:nvSpPr>
            <p:spPr>
              <a:xfrm>
                <a:off x="7004220" y="3732098"/>
                <a:ext cx="28650" cy="11354"/>
              </a:xfrm>
              <a:custGeom>
                <a:avLst/>
                <a:gdLst>
                  <a:gd name="connsiteX0" fmla="*/ 0 w 28650"/>
                  <a:gd name="connsiteY0" fmla="*/ 0 h 11354"/>
                  <a:gd name="connsiteX1" fmla="*/ 28651 w 28650"/>
                  <a:gd name="connsiteY1" fmla="*/ 0 h 11354"/>
                </a:gdLst>
                <a:ahLst/>
                <a:cxnLst>
                  <a:cxn ang="0">
                    <a:pos x="connsiteX0" y="connsiteY0"/>
                  </a:cxn>
                  <a:cxn ang="0">
                    <a:pos x="connsiteX1" y="connsiteY1"/>
                  </a:cxn>
                </a:cxnLst>
                <a:rect l="l" t="t" r="r" b="b"/>
                <a:pathLst>
                  <a:path w="28650" h="11354">
                    <a:moveTo>
                      <a:pt x="0" y="0"/>
                    </a:moveTo>
                    <a:lnTo>
                      <a:pt x="28651" y="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920" name="Graphic 2">
              <a:extLst>
                <a:ext uri="{FF2B5EF4-FFF2-40B4-BE49-F238E27FC236}">
                  <a16:creationId xmlns:a16="http://schemas.microsoft.com/office/drawing/2014/main" id="{B8073B60-4CD5-4F9F-8971-BF48DB6E2F18}"/>
                </a:ext>
              </a:extLst>
            </p:cNvPr>
            <p:cNvGrpSpPr/>
            <p:nvPr/>
          </p:nvGrpSpPr>
          <p:grpSpPr>
            <a:xfrm>
              <a:off x="6992669" y="3704621"/>
              <a:ext cx="28763" cy="28839"/>
              <a:chOff x="6992669" y="3704621"/>
              <a:chExt cx="28763" cy="28839"/>
            </a:xfrm>
          </p:grpSpPr>
          <p:sp>
            <p:nvSpPr>
              <p:cNvPr id="2027" name="Freeform 976">
                <a:extLst>
                  <a:ext uri="{FF2B5EF4-FFF2-40B4-BE49-F238E27FC236}">
                    <a16:creationId xmlns:a16="http://schemas.microsoft.com/office/drawing/2014/main" id="{74EA7453-1DFE-43BC-8917-DB48B37718F8}"/>
                  </a:ext>
                </a:extLst>
              </p:cNvPr>
              <p:cNvSpPr/>
              <p:nvPr/>
            </p:nvSpPr>
            <p:spPr>
              <a:xfrm>
                <a:off x="7007051" y="3704621"/>
                <a:ext cx="11324" cy="28839"/>
              </a:xfrm>
              <a:custGeom>
                <a:avLst/>
                <a:gdLst>
                  <a:gd name="connsiteX0" fmla="*/ 0 w 11324"/>
                  <a:gd name="connsiteY0" fmla="*/ 0 h 28839"/>
                  <a:gd name="connsiteX1" fmla="*/ 0 w 11324"/>
                  <a:gd name="connsiteY1" fmla="*/ 28840 h 28839"/>
                </a:gdLst>
                <a:ahLst/>
                <a:cxnLst>
                  <a:cxn ang="0">
                    <a:pos x="connsiteX0" y="connsiteY0"/>
                  </a:cxn>
                  <a:cxn ang="0">
                    <a:pos x="connsiteX1" y="connsiteY1"/>
                  </a:cxn>
                </a:cxnLst>
                <a:rect l="l" t="t" r="r" b="b"/>
                <a:pathLst>
                  <a:path w="11324" h="28839">
                    <a:moveTo>
                      <a:pt x="0" y="0"/>
                    </a:moveTo>
                    <a:lnTo>
                      <a:pt x="0" y="2884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28" name="Freeform 977">
                <a:extLst>
                  <a:ext uri="{FF2B5EF4-FFF2-40B4-BE49-F238E27FC236}">
                    <a16:creationId xmlns:a16="http://schemas.microsoft.com/office/drawing/2014/main" id="{92C4268D-13A0-4889-B312-354D35893E6B}"/>
                  </a:ext>
                </a:extLst>
              </p:cNvPr>
              <p:cNvSpPr/>
              <p:nvPr/>
            </p:nvSpPr>
            <p:spPr>
              <a:xfrm>
                <a:off x="6992669" y="3719041"/>
                <a:ext cx="28763" cy="11354"/>
              </a:xfrm>
              <a:custGeom>
                <a:avLst/>
                <a:gdLst>
                  <a:gd name="connsiteX0" fmla="*/ 0 w 28763"/>
                  <a:gd name="connsiteY0" fmla="*/ 0 h 11354"/>
                  <a:gd name="connsiteX1" fmla="*/ 28764 w 28763"/>
                  <a:gd name="connsiteY1" fmla="*/ 0 h 11354"/>
                </a:gdLst>
                <a:ahLst/>
                <a:cxnLst>
                  <a:cxn ang="0">
                    <a:pos x="connsiteX0" y="connsiteY0"/>
                  </a:cxn>
                  <a:cxn ang="0">
                    <a:pos x="connsiteX1" y="connsiteY1"/>
                  </a:cxn>
                </a:cxnLst>
                <a:rect l="l" t="t" r="r" b="b"/>
                <a:pathLst>
                  <a:path w="28763" h="11354">
                    <a:moveTo>
                      <a:pt x="0" y="0"/>
                    </a:moveTo>
                    <a:lnTo>
                      <a:pt x="28764" y="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921" name="Graphic 2">
              <a:extLst>
                <a:ext uri="{FF2B5EF4-FFF2-40B4-BE49-F238E27FC236}">
                  <a16:creationId xmlns:a16="http://schemas.microsoft.com/office/drawing/2014/main" id="{8A1DECF6-5275-4B73-BC3A-248C4A8FEA76}"/>
                </a:ext>
              </a:extLst>
            </p:cNvPr>
            <p:cNvGrpSpPr/>
            <p:nvPr/>
          </p:nvGrpSpPr>
          <p:grpSpPr>
            <a:xfrm>
              <a:off x="6992669" y="3696219"/>
              <a:ext cx="28763" cy="28726"/>
              <a:chOff x="6992669" y="3696219"/>
              <a:chExt cx="28763" cy="28726"/>
            </a:xfrm>
          </p:grpSpPr>
          <p:sp>
            <p:nvSpPr>
              <p:cNvPr id="2025" name="Freeform 974">
                <a:extLst>
                  <a:ext uri="{FF2B5EF4-FFF2-40B4-BE49-F238E27FC236}">
                    <a16:creationId xmlns:a16="http://schemas.microsoft.com/office/drawing/2014/main" id="{76D85C44-F1A7-4630-A80A-7523103FE692}"/>
                  </a:ext>
                </a:extLst>
              </p:cNvPr>
              <p:cNvSpPr/>
              <p:nvPr/>
            </p:nvSpPr>
            <p:spPr>
              <a:xfrm>
                <a:off x="7007051" y="3696219"/>
                <a:ext cx="11324" cy="28726"/>
              </a:xfrm>
              <a:custGeom>
                <a:avLst/>
                <a:gdLst>
                  <a:gd name="connsiteX0" fmla="*/ 0 w 11324"/>
                  <a:gd name="connsiteY0" fmla="*/ 0 h 28726"/>
                  <a:gd name="connsiteX1" fmla="*/ 0 w 11324"/>
                  <a:gd name="connsiteY1" fmla="*/ 28726 h 28726"/>
                </a:gdLst>
                <a:ahLst/>
                <a:cxnLst>
                  <a:cxn ang="0">
                    <a:pos x="connsiteX0" y="connsiteY0"/>
                  </a:cxn>
                  <a:cxn ang="0">
                    <a:pos x="connsiteX1" y="connsiteY1"/>
                  </a:cxn>
                </a:cxnLst>
                <a:rect l="l" t="t" r="r" b="b"/>
                <a:pathLst>
                  <a:path w="11324" h="28726">
                    <a:moveTo>
                      <a:pt x="0" y="0"/>
                    </a:moveTo>
                    <a:lnTo>
                      <a:pt x="0" y="28726"/>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26" name="Freeform 975">
                <a:extLst>
                  <a:ext uri="{FF2B5EF4-FFF2-40B4-BE49-F238E27FC236}">
                    <a16:creationId xmlns:a16="http://schemas.microsoft.com/office/drawing/2014/main" id="{E7A589B0-F5B3-4E21-BDC5-9E3DFA7B970A}"/>
                  </a:ext>
                </a:extLst>
              </p:cNvPr>
              <p:cNvSpPr/>
              <p:nvPr/>
            </p:nvSpPr>
            <p:spPr>
              <a:xfrm>
                <a:off x="6992669" y="3710525"/>
                <a:ext cx="28763" cy="11354"/>
              </a:xfrm>
              <a:custGeom>
                <a:avLst/>
                <a:gdLst>
                  <a:gd name="connsiteX0" fmla="*/ 0 w 28763"/>
                  <a:gd name="connsiteY0" fmla="*/ 0 h 11354"/>
                  <a:gd name="connsiteX1" fmla="*/ 28764 w 28763"/>
                  <a:gd name="connsiteY1" fmla="*/ 0 h 11354"/>
                </a:gdLst>
                <a:ahLst/>
                <a:cxnLst>
                  <a:cxn ang="0">
                    <a:pos x="connsiteX0" y="connsiteY0"/>
                  </a:cxn>
                  <a:cxn ang="0">
                    <a:pos x="connsiteX1" y="connsiteY1"/>
                  </a:cxn>
                </a:cxnLst>
                <a:rect l="l" t="t" r="r" b="b"/>
                <a:pathLst>
                  <a:path w="28763" h="11354">
                    <a:moveTo>
                      <a:pt x="0" y="0"/>
                    </a:moveTo>
                    <a:lnTo>
                      <a:pt x="28764" y="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922" name="Graphic 2">
              <a:extLst>
                <a:ext uri="{FF2B5EF4-FFF2-40B4-BE49-F238E27FC236}">
                  <a16:creationId xmlns:a16="http://schemas.microsoft.com/office/drawing/2014/main" id="{02D4C447-A02C-4616-B1BA-F2B9C8E5B624}"/>
                </a:ext>
              </a:extLst>
            </p:cNvPr>
            <p:cNvGrpSpPr/>
            <p:nvPr/>
          </p:nvGrpSpPr>
          <p:grpSpPr>
            <a:xfrm>
              <a:off x="6983723" y="3696219"/>
              <a:ext cx="28763" cy="28726"/>
              <a:chOff x="6983723" y="3696219"/>
              <a:chExt cx="28763" cy="28726"/>
            </a:xfrm>
          </p:grpSpPr>
          <p:sp>
            <p:nvSpPr>
              <p:cNvPr id="2023" name="Freeform 972">
                <a:extLst>
                  <a:ext uri="{FF2B5EF4-FFF2-40B4-BE49-F238E27FC236}">
                    <a16:creationId xmlns:a16="http://schemas.microsoft.com/office/drawing/2014/main" id="{34AAA12B-B62D-4FF4-ABD8-8C292FA6D4D9}"/>
                  </a:ext>
                </a:extLst>
              </p:cNvPr>
              <p:cNvSpPr/>
              <p:nvPr/>
            </p:nvSpPr>
            <p:spPr>
              <a:xfrm>
                <a:off x="6998105" y="3696219"/>
                <a:ext cx="11324" cy="28726"/>
              </a:xfrm>
              <a:custGeom>
                <a:avLst/>
                <a:gdLst>
                  <a:gd name="connsiteX0" fmla="*/ 0 w 11324"/>
                  <a:gd name="connsiteY0" fmla="*/ 0 h 28726"/>
                  <a:gd name="connsiteX1" fmla="*/ 0 w 11324"/>
                  <a:gd name="connsiteY1" fmla="*/ 28726 h 28726"/>
                </a:gdLst>
                <a:ahLst/>
                <a:cxnLst>
                  <a:cxn ang="0">
                    <a:pos x="connsiteX0" y="connsiteY0"/>
                  </a:cxn>
                  <a:cxn ang="0">
                    <a:pos x="connsiteX1" y="connsiteY1"/>
                  </a:cxn>
                </a:cxnLst>
                <a:rect l="l" t="t" r="r" b="b"/>
                <a:pathLst>
                  <a:path w="11324" h="28726">
                    <a:moveTo>
                      <a:pt x="0" y="0"/>
                    </a:moveTo>
                    <a:lnTo>
                      <a:pt x="0" y="28726"/>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24" name="Freeform 973">
                <a:extLst>
                  <a:ext uri="{FF2B5EF4-FFF2-40B4-BE49-F238E27FC236}">
                    <a16:creationId xmlns:a16="http://schemas.microsoft.com/office/drawing/2014/main" id="{217540EA-17A5-45BD-8CD4-BAA82F152B51}"/>
                  </a:ext>
                </a:extLst>
              </p:cNvPr>
              <p:cNvSpPr/>
              <p:nvPr/>
            </p:nvSpPr>
            <p:spPr>
              <a:xfrm>
                <a:off x="6983723" y="3710525"/>
                <a:ext cx="28763" cy="11354"/>
              </a:xfrm>
              <a:custGeom>
                <a:avLst/>
                <a:gdLst>
                  <a:gd name="connsiteX0" fmla="*/ 0 w 28763"/>
                  <a:gd name="connsiteY0" fmla="*/ 0 h 11354"/>
                  <a:gd name="connsiteX1" fmla="*/ 28764 w 28763"/>
                  <a:gd name="connsiteY1" fmla="*/ 0 h 11354"/>
                </a:gdLst>
                <a:ahLst/>
                <a:cxnLst>
                  <a:cxn ang="0">
                    <a:pos x="connsiteX0" y="connsiteY0"/>
                  </a:cxn>
                  <a:cxn ang="0">
                    <a:pos x="connsiteX1" y="connsiteY1"/>
                  </a:cxn>
                </a:cxnLst>
                <a:rect l="l" t="t" r="r" b="b"/>
                <a:pathLst>
                  <a:path w="28763" h="11354">
                    <a:moveTo>
                      <a:pt x="0" y="0"/>
                    </a:moveTo>
                    <a:lnTo>
                      <a:pt x="28764" y="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923" name="Graphic 2">
              <a:extLst>
                <a:ext uri="{FF2B5EF4-FFF2-40B4-BE49-F238E27FC236}">
                  <a16:creationId xmlns:a16="http://schemas.microsoft.com/office/drawing/2014/main" id="{EC26EF65-80B3-4F7A-9D84-2734E328E8AA}"/>
                </a:ext>
              </a:extLst>
            </p:cNvPr>
            <p:cNvGrpSpPr/>
            <p:nvPr/>
          </p:nvGrpSpPr>
          <p:grpSpPr>
            <a:xfrm>
              <a:off x="6979872" y="3696219"/>
              <a:ext cx="28650" cy="28726"/>
              <a:chOff x="6979872" y="3696219"/>
              <a:chExt cx="28650" cy="28726"/>
            </a:xfrm>
          </p:grpSpPr>
          <p:sp>
            <p:nvSpPr>
              <p:cNvPr id="2021" name="Freeform 970">
                <a:extLst>
                  <a:ext uri="{FF2B5EF4-FFF2-40B4-BE49-F238E27FC236}">
                    <a16:creationId xmlns:a16="http://schemas.microsoft.com/office/drawing/2014/main" id="{317BEC89-1762-4C6C-96AF-AEFE4F2318DC}"/>
                  </a:ext>
                </a:extLst>
              </p:cNvPr>
              <p:cNvSpPr/>
              <p:nvPr/>
            </p:nvSpPr>
            <p:spPr>
              <a:xfrm>
                <a:off x="6994254" y="3696219"/>
                <a:ext cx="11324" cy="28726"/>
              </a:xfrm>
              <a:custGeom>
                <a:avLst/>
                <a:gdLst>
                  <a:gd name="connsiteX0" fmla="*/ 0 w 11324"/>
                  <a:gd name="connsiteY0" fmla="*/ 0 h 28726"/>
                  <a:gd name="connsiteX1" fmla="*/ 0 w 11324"/>
                  <a:gd name="connsiteY1" fmla="*/ 28726 h 28726"/>
                </a:gdLst>
                <a:ahLst/>
                <a:cxnLst>
                  <a:cxn ang="0">
                    <a:pos x="connsiteX0" y="connsiteY0"/>
                  </a:cxn>
                  <a:cxn ang="0">
                    <a:pos x="connsiteX1" y="connsiteY1"/>
                  </a:cxn>
                </a:cxnLst>
                <a:rect l="l" t="t" r="r" b="b"/>
                <a:pathLst>
                  <a:path w="11324" h="28726">
                    <a:moveTo>
                      <a:pt x="0" y="0"/>
                    </a:moveTo>
                    <a:lnTo>
                      <a:pt x="0" y="28726"/>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22" name="Freeform 971">
                <a:extLst>
                  <a:ext uri="{FF2B5EF4-FFF2-40B4-BE49-F238E27FC236}">
                    <a16:creationId xmlns:a16="http://schemas.microsoft.com/office/drawing/2014/main" id="{C97219B2-710F-4404-BA86-66787A769221}"/>
                  </a:ext>
                </a:extLst>
              </p:cNvPr>
              <p:cNvSpPr/>
              <p:nvPr/>
            </p:nvSpPr>
            <p:spPr>
              <a:xfrm>
                <a:off x="6979872" y="3710525"/>
                <a:ext cx="28650" cy="11354"/>
              </a:xfrm>
              <a:custGeom>
                <a:avLst/>
                <a:gdLst>
                  <a:gd name="connsiteX0" fmla="*/ 0 w 28650"/>
                  <a:gd name="connsiteY0" fmla="*/ 0 h 11354"/>
                  <a:gd name="connsiteX1" fmla="*/ 28651 w 28650"/>
                  <a:gd name="connsiteY1" fmla="*/ 0 h 11354"/>
                </a:gdLst>
                <a:ahLst/>
                <a:cxnLst>
                  <a:cxn ang="0">
                    <a:pos x="connsiteX0" y="connsiteY0"/>
                  </a:cxn>
                  <a:cxn ang="0">
                    <a:pos x="connsiteX1" y="connsiteY1"/>
                  </a:cxn>
                </a:cxnLst>
                <a:rect l="l" t="t" r="r" b="b"/>
                <a:pathLst>
                  <a:path w="28650" h="11354">
                    <a:moveTo>
                      <a:pt x="0" y="0"/>
                    </a:moveTo>
                    <a:lnTo>
                      <a:pt x="28651" y="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924" name="Graphic 2">
              <a:extLst>
                <a:ext uri="{FF2B5EF4-FFF2-40B4-BE49-F238E27FC236}">
                  <a16:creationId xmlns:a16="http://schemas.microsoft.com/office/drawing/2014/main" id="{A7BF572F-47D8-4FD8-96FF-6504BC22D76C}"/>
                </a:ext>
              </a:extLst>
            </p:cNvPr>
            <p:cNvGrpSpPr/>
            <p:nvPr/>
          </p:nvGrpSpPr>
          <p:grpSpPr>
            <a:xfrm>
              <a:off x="6973644" y="3696219"/>
              <a:ext cx="28764" cy="28726"/>
              <a:chOff x="6973644" y="3696219"/>
              <a:chExt cx="28764" cy="28726"/>
            </a:xfrm>
          </p:grpSpPr>
          <p:sp>
            <p:nvSpPr>
              <p:cNvPr id="2019" name="Freeform 968">
                <a:extLst>
                  <a:ext uri="{FF2B5EF4-FFF2-40B4-BE49-F238E27FC236}">
                    <a16:creationId xmlns:a16="http://schemas.microsoft.com/office/drawing/2014/main" id="{75435E41-85EE-455A-B1FD-C1031D9FD8B2}"/>
                  </a:ext>
                </a:extLst>
              </p:cNvPr>
              <p:cNvSpPr/>
              <p:nvPr/>
            </p:nvSpPr>
            <p:spPr>
              <a:xfrm>
                <a:off x="6988026" y="3696219"/>
                <a:ext cx="11324" cy="28726"/>
              </a:xfrm>
              <a:custGeom>
                <a:avLst/>
                <a:gdLst>
                  <a:gd name="connsiteX0" fmla="*/ 0 w 11324"/>
                  <a:gd name="connsiteY0" fmla="*/ 0 h 28726"/>
                  <a:gd name="connsiteX1" fmla="*/ 0 w 11324"/>
                  <a:gd name="connsiteY1" fmla="*/ 28726 h 28726"/>
                </a:gdLst>
                <a:ahLst/>
                <a:cxnLst>
                  <a:cxn ang="0">
                    <a:pos x="connsiteX0" y="connsiteY0"/>
                  </a:cxn>
                  <a:cxn ang="0">
                    <a:pos x="connsiteX1" y="connsiteY1"/>
                  </a:cxn>
                </a:cxnLst>
                <a:rect l="l" t="t" r="r" b="b"/>
                <a:pathLst>
                  <a:path w="11324" h="28726">
                    <a:moveTo>
                      <a:pt x="0" y="0"/>
                    </a:moveTo>
                    <a:lnTo>
                      <a:pt x="0" y="28726"/>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20" name="Freeform 969">
                <a:extLst>
                  <a:ext uri="{FF2B5EF4-FFF2-40B4-BE49-F238E27FC236}">
                    <a16:creationId xmlns:a16="http://schemas.microsoft.com/office/drawing/2014/main" id="{9DC9CE39-F03A-46D2-A13A-5BA38FA612FA}"/>
                  </a:ext>
                </a:extLst>
              </p:cNvPr>
              <p:cNvSpPr/>
              <p:nvPr/>
            </p:nvSpPr>
            <p:spPr>
              <a:xfrm>
                <a:off x="6973644" y="3710525"/>
                <a:ext cx="28764" cy="11354"/>
              </a:xfrm>
              <a:custGeom>
                <a:avLst/>
                <a:gdLst>
                  <a:gd name="connsiteX0" fmla="*/ 0 w 28764"/>
                  <a:gd name="connsiteY0" fmla="*/ 0 h 11354"/>
                  <a:gd name="connsiteX1" fmla="*/ 28764 w 28764"/>
                  <a:gd name="connsiteY1" fmla="*/ 0 h 11354"/>
                </a:gdLst>
                <a:ahLst/>
                <a:cxnLst>
                  <a:cxn ang="0">
                    <a:pos x="connsiteX0" y="connsiteY0"/>
                  </a:cxn>
                  <a:cxn ang="0">
                    <a:pos x="connsiteX1" y="connsiteY1"/>
                  </a:cxn>
                </a:cxnLst>
                <a:rect l="l" t="t" r="r" b="b"/>
                <a:pathLst>
                  <a:path w="28764" h="11354">
                    <a:moveTo>
                      <a:pt x="0" y="0"/>
                    </a:moveTo>
                    <a:lnTo>
                      <a:pt x="28764" y="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925" name="Graphic 2">
              <a:extLst>
                <a:ext uri="{FF2B5EF4-FFF2-40B4-BE49-F238E27FC236}">
                  <a16:creationId xmlns:a16="http://schemas.microsoft.com/office/drawing/2014/main" id="{72DAF4CD-8382-4DFE-9C24-1A8A8464BA71}"/>
                </a:ext>
              </a:extLst>
            </p:cNvPr>
            <p:cNvGrpSpPr/>
            <p:nvPr/>
          </p:nvGrpSpPr>
          <p:grpSpPr>
            <a:xfrm>
              <a:off x="6962886" y="3696219"/>
              <a:ext cx="28650" cy="28726"/>
              <a:chOff x="6962886" y="3696219"/>
              <a:chExt cx="28650" cy="28726"/>
            </a:xfrm>
          </p:grpSpPr>
          <p:sp>
            <p:nvSpPr>
              <p:cNvPr id="2017" name="Freeform 966">
                <a:extLst>
                  <a:ext uri="{FF2B5EF4-FFF2-40B4-BE49-F238E27FC236}">
                    <a16:creationId xmlns:a16="http://schemas.microsoft.com/office/drawing/2014/main" id="{084A2213-E729-4601-8000-8D837AEE6215}"/>
                  </a:ext>
                </a:extLst>
              </p:cNvPr>
              <p:cNvSpPr/>
              <p:nvPr/>
            </p:nvSpPr>
            <p:spPr>
              <a:xfrm>
                <a:off x="6977268" y="3696219"/>
                <a:ext cx="11324" cy="28726"/>
              </a:xfrm>
              <a:custGeom>
                <a:avLst/>
                <a:gdLst>
                  <a:gd name="connsiteX0" fmla="*/ 0 w 11324"/>
                  <a:gd name="connsiteY0" fmla="*/ 0 h 28726"/>
                  <a:gd name="connsiteX1" fmla="*/ 0 w 11324"/>
                  <a:gd name="connsiteY1" fmla="*/ 28726 h 28726"/>
                </a:gdLst>
                <a:ahLst/>
                <a:cxnLst>
                  <a:cxn ang="0">
                    <a:pos x="connsiteX0" y="connsiteY0"/>
                  </a:cxn>
                  <a:cxn ang="0">
                    <a:pos x="connsiteX1" y="connsiteY1"/>
                  </a:cxn>
                </a:cxnLst>
                <a:rect l="l" t="t" r="r" b="b"/>
                <a:pathLst>
                  <a:path w="11324" h="28726">
                    <a:moveTo>
                      <a:pt x="0" y="0"/>
                    </a:moveTo>
                    <a:lnTo>
                      <a:pt x="0" y="28726"/>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18" name="Freeform 967">
                <a:extLst>
                  <a:ext uri="{FF2B5EF4-FFF2-40B4-BE49-F238E27FC236}">
                    <a16:creationId xmlns:a16="http://schemas.microsoft.com/office/drawing/2014/main" id="{911D572C-FF9F-470E-A67A-99CD764F1773}"/>
                  </a:ext>
                </a:extLst>
              </p:cNvPr>
              <p:cNvSpPr/>
              <p:nvPr/>
            </p:nvSpPr>
            <p:spPr>
              <a:xfrm>
                <a:off x="6962886" y="3710525"/>
                <a:ext cx="28650" cy="11354"/>
              </a:xfrm>
              <a:custGeom>
                <a:avLst/>
                <a:gdLst>
                  <a:gd name="connsiteX0" fmla="*/ 0 w 28650"/>
                  <a:gd name="connsiteY0" fmla="*/ 0 h 11354"/>
                  <a:gd name="connsiteX1" fmla="*/ 28651 w 28650"/>
                  <a:gd name="connsiteY1" fmla="*/ 0 h 11354"/>
                </a:gdLst>
                <a:ahLst/>
                <a:cxnLst>
                  <a:cxn ang="0">
                    <a:pos x="connsiteX0" y="connsiteY0"/>
                  </a:cxn>
                  <a:cxn ang="0">
                    <a:pos x="connsiteX1" y="connsiteY1"/>
                  </a:cxn>
                </a:cxnLst>
                <a:rect l="l" t="t" r="r" b="b"/>
                <a:pathLst>
                  <a:path w="28650" h="11354">
                    <a:moveTo>
                      <a:pt x="0" y="0"/>
                    </a:moveTo>
                    <a:lnTo>
                      <a:pt x="28651" y="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926" name="Graphic 2">
              <a:extLst>
                <a:ext uri="{FF2B5EF4-FFF2-40B4-BE49-F238E27FC236}">
                  <a16:creationId xmlns:a16="http://schemas.microsoft.com/office/drawing/2014/main" id="{8CF99F56-E3E4-4F4F-91FE-4B85263DE915}"/>
                </a:ext>
              </a:extLst>
            </p:cNvPr>
            <p:cNvGrpSpPr/>
            <p:nvPr/>
          </p:nvGrpSpPr>
          <p:grpSpPr>
            <a:xfrm>
              <a:off x="6962886" y="3688952"/>
              <a:ext cx="28650" cy="28839"/>
              <a:chOff x="6962886" y="3688952"/>
              <a:chExt cx="28650" cy="28839"/>
            </a:xfrm>
          </p:grpSpPr>
          <p:sp>
            <p:nvSpPr>
              <p:cNvPr id="2015" name="Freeform 964">
                <a:extLst>
                  <a:ext uri="{FF2B5EF4-FFF2-40B4-BE49-F238E27FC236}">
                    <a16:creationId xmlns:a16="http://schemas.microsoft.com/office/drawing/2014/main" id="{3675E326-26E6-43A5-A019-5B0EFD1953FF}"/>
                  </a:ext>
                </a:extLst>
              </p:cNvPr>
              <p:cNvSpPr/>
              <p:nvPr/>
            </p:nvSpPr>
            <p:spPr>
              <a:xfrm>
                <a:off x="6977268" y="3688952"/>
                <a:ext cx="11324" cy="28839"/>
              </a:xfrm>
              <a:custGeom>
                <a:avLst/>
                <a:gdLst>
                  <a:gd name="connsiteX0" fmla="*/ 0 w 11324"/>
                  <a:gd name="connsiteY0" fmla="*/ 0 h 28839"/>
                  <a:gd name="connsiteX1" fmla="*/ 0 w 11324"/>
                  <a:gd name="connsiteY1" fmla="*/ 28840 h 28839"/>
                </a:gdLst>
                <a:ahLst/>
                <a:cxnLst>
                  <a:cxn ang="0">
                    <a:pos x="connsiteX0" y="connsiteY0"/>
                  </a:cxn>
                  <a:cxn ang="0">
                    <a:pos x="connsiteX1" y="connsiteY1"/>
                  </a:cxn>
                </a:cxnLst>
                <a:rect l="l" t="t" r="r" b="b"/>
                <a:pathLst>
                  <a:path w="11324" h="28839">
                    <a:moveTo>
                      <a:pt x="0" y="0"/>
                    </a:moveTo>
                    <a:lnTo>
                      <a:pt x="0" y="2884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16" name="Freeform 965">
                <a:extLst>
                  <a:ext uri="{FF2B5EF4-FFF2-40B4-BE49-F238E27FC236}">
                    <a16:creationId xmlns:a16="http://schemas.microsoft.com/office/drawing/2014/main" id="{A5B263D4-C1F9-4AA4-964F-A971B605C754}"/>
                  </a:ext>
                </a:extLst>
              </p:cNvPr>
              <p:cNvSpPr/>
              <p:nvPr/>
            </p:nvSpPr>
            <p:spPr>
              <a:xfrm>
                <a:off x="6962886" y="3703372"/>
                <a:ext cx="28650" cy="11354"/>
              </a:xfrm>
              <a:custGeom>
                <a:avLst/>
                <a:gdLst>
                  <a:gd name="connsiteX0" fmla="*/ 0 w 28650"/>
                  <a:gd name="connsiteY0" fmla="*/ 0 h 11354"/>
                  <a:gd name="connsiteX1" fmla="*/ 28651 w 28650"/>
                  <a:gd name="connsiteY1" fmla="*/ 0 h 11354"/>
                </a:gdLst>
                <a:ahLst/>
                <a:cxnLst>
                  <a:cxn ang="0">
                    <a:pos x="connsiteX0" y="connsiteY0"/>
                  </a:cxn>
                  <a:cxn ang="0">
                    <a:pos x="connsiteX1" y="connsiteY1"/>
                  </a:cxn>
                </a:cxnLst>
                <a:rect l="l" t="t" r="r" b="b"/>
                <a:pathLst>
                  <a:path w="28650" h="11354">
                    <a:moveTo>
                      <a:pt x="0" y="0"/>
                    </a:moveTo>
                    <a:lnTo>
                      <a:pt x="28651" y="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927" name="Graphic 2">
              <a:extLst>
                <a:ext uri="{FF2B5EF4-FFF2-40B4-BE49-F238E27FC236}">
                  <a16:creationId xmlns:a16="http://schemas.microsoft.com/office/drawing/2014/main" id="{30324D3C-F64E-487B-861C-6F74D49AD0E1}"/>
                </a:ext>
              </a:extLst>
            </p:cNvPr>
            <p:cNvGrpSpPr/>
            <p:nvPr/>
          </p:nvGrpSpPr>
          <p:grpSpPr>
            <a:xfrm>
              <a:off x="6955072" y="3688952"/>
              <a:ext cx="28650" cy="28839"/>
              <a:chOff x="6955072" y="3688952"/>
              <a:chExt cx="28650" cy="28839"/>
            </a:xfrm>
          </p:grpSpPr>
          <p:sp>
            <p:nvSpPr>
              <p:cNvPr id="2013" name="Freeform 962">
                <a:extLst>
                  <a:ext uri="{FF2B5EF4-FFF2-40B4-BE49-F238E27FC236}">
                    <a16:creationId xmlns:a16="http://schemas.microsoft.com/office/drawing/2014/main" id="{29E083C0-499D-4655-ABEA-4A4F768920F1}"/>
                  </a:ext>
                </a:extLst>
              </p:cNvPr>
              <p:cNvSpPr/>
              <p:nvPr/>
            </p:nvSpPr>
            <p:spPr>
              <a:xfrm>
                <a:off x="6969454" y="3688952"/>
                <a:ext cx="11324" cy="28839"/>
              </a:xfrm>
              <a:custGeom>
                <a:avLst/>
                <a:gdLst>
                  <a:gd name="connsiteX0" fmla="*/ 0 w 11324"/>
                  <a:gd name="connsiteY0" fmla="*/ 0 h 28839"/>
                  <a:gd name="connsiteX1" fmla="*/ 0 w 11324"/>
                  <a:gd name="connsiteY1" fmla="*/ 28840 h 28839"/>
                </a:gdLst>
                <a:ahLst/>
                <a:cxnLst>
                  <a:cxn ang="0">
                    <a:pos x="connsiteX0" y="connsiteY0"/>
                  </a:cxn>
                  <a:cxn ang="0">
                    <a:pos x="connsiteX1" y="connsiteY1"/>
                  </a:cxn>
                </a:cxnLst>
                <a:rect l="l" t="t" r="r" b="b"/>
                <a:pathLst>
                  <a:path w="11324" h="28839">
                    <a:moveTo>
                      <a:pt x="0" y="0"/>
                    </a:moveTo>
                    <a:lnTo>
                      <a:pt x="0" y="2884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14" name="Freeform 963">
                <a:extLst>
                  <a:ext uri="{FF2B5EF4-FFF2-40B4-BE49-F238E27FC236}">
                    <a16:creationId xmlns:a16="http://schemas.microsoft.com/office/drawing/2014/main" id="{AF8A1F43-A5B9-4AEE-AC45-5E05B02D3700}"/>
                  </a:ext>
                </a:extLst>
              </p:cNvPr>
              <p:cNvSpPr/>
              <p:nvPr/>
            </p:nvSpPr>
            <p:spPr>
              <a:xfrm>
                <a:off x="6955072" y="3703372"/>
                <a:ext cx="28650" cy="11354"/>
              </a:xfrm>
              <a:custGeom>
                <a:avLst/>
                <a:gdLst>
                  <a:gd name="connsiteX0" fmla="*/ 0 w 28650"/>
                  <a:gd name="connsiteY0" fmla="*/ 0 h 11354"/>
                  <a:gd name="connsiteX1" fmla="*/ 28651 w 28650"/>
                  <a:gd name="connsiteY1" fmla="*/ 0 h 11354"/>
                </a:gdLst>
                <a:ahLst/>
                <a:cxnLst>
                  <a:cxn ang="0">
                    <a:pos x="connsiteX0" y="connsiteY0"/>
                  </a:cxn>
                  <a:cxn ang="0">
                    <a:pos x="connsiteX1" y="connsiteY1"/>
                  </a:cxn>
                </a:cxnLst>
                <a:rect l="l" t="t" r="r" b="b"/>
                <a:pathLst>
                  <a:path w="28650" h="11354">
                    <a:moveTo>
                      <a:pt x="0" y="0"/>
                    </a:moveTo>
                    <a:lnTo>
                      <a:pt x="28651" y="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928" name="Graphic 2">
              <a:extLst>
                <a:ext uri="{FF2B5EF4-FFF2-40B4-BE49-F238E27FC236}">
                  <a16:creationId xmlns:a16="http://schemas.microsoft.com/office/drawing/2014/main" id="{BC411E17-1DCC-496C-B599-9F26DA63A6A3}"/>
                </a:ext>
              </a:extLst>
            </p:cNvPr>
            <p:cNvGrpSpPr/>
            <p:nvPr/>
          </p:nvGrpSpPr>
          <p:grpSpPr>
            <a:xfrm>
              <a:off x="6947937" y="3680664"/>
              <a:ext cx="28763" cy="28726"/>
              <a:chOff x="6947937" y="3680664"/>
              <a:chExt cx="28763" cy="28726"/>
            </a:xfrm>
          </p:grpSpPr>
          <p:sp>
            <p:nvSpPr>
              <p:cNvPr id="2011" name="Freeform 960">
                <a:extLst>
                  <a:ext uri="{FF2B5EF4-FFF2-40B4-BE49-F238E27FC236}">
                    <a16:creationId xmlns:a16="http://schemas.microsoft.com/office/drawing/2014/main" id="{F8CCC329-C318-4351-85CF-40CDBCF274EB}"/>
                  </a:ext>
                </a:extLst>
              </p:cNvPr>
              <p:cNvSpPr/>
              <p:nvPr/>
            </p:nvSpPr>
            <p:spPr>
              <a:xfrm>
                <a:off x="6962319" y="3680664"/>
                <a:ext cx="11324" cy="28726"/>
              </a:xfrm>
              <a:custGeom>
                <a:avLst/>
                <a:gdLst>
                  <a:gd name="connsiteX0" fmla="*/ 0 w 11324"/>
                  <a:gd name="connsiteY0" fmla="*/ 0 h 28726"/>
                  <a:gd name="connsiteX1" fmla="*/ 0 w 11324"/>
                  <a:gd name="connsiteY1" fmla="*/ 28726 h 28726"/>
                </a:gdLst>
                <a:ahLst/>
                <a:cxnLst>
                  <a:cxn ang="0">
                    <a:pos x="connsiteX0" y="connsiteY0"/>
                  </a:cxn>
                  <a:cxn ang="0">
                    <a:pos x="connsiteX1" y="connsiteY1"/>
                  </a:cxn>
                </a:cxnLst>
                <a:rect l="l" t="t" r="r" b="b"/>
                <a:pathLst>
                  <a:path w="11324" h="28726">
                    <a:moveTo>
                      <a:pt x="0" y="0"/>
                    </a:moveTo>
                    <a:lnTo>
                      <a:pt x="0" y="28726"/>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12" name="Freeform 961">
                <a:extLst>
                  <a:ext uri="{FF2B5EF4-FFF2-40B4-BE49-F238E27FC236}">
                    <a16:creationId xmlns:a16="http://schemas.microsoft.com/office/drawing/2014/main" id="{BE5F973C-D023-40D6-B155-C2EF211FC56A}"/>
                  </a:ext>
                </a:extLst>
              </p:cNvPr>
              <p:cNvSpPr/>
              <p:nvPr/>
            </p:nvSpPr>
            <p:spPr>
              <a:xfrm>
                <a:off x="6947937" y="3695084"/>
                <a:ext cx="28763" cy="11354"/>
              </a:xfrm>
              <a:custGeom>
                <a:avLst/>
                <a:gdLst>
                  <a:gd name="connsiteX0" fmla="*/ 0 w 28763"/>
                  <a:gd name="connsiteY0" fmla="*/ 0 h 11354"/>
                  <a:gd name="connsiteX1" fmla="*/ 28764 w 28763"/>
                  <a:gd name="connsiteY1" fmla="*/ 0 h 11354"/>
                </a:gdLst>
                <a:ahLst/>
                <a:cxnLst>
                  <a:cxn ang="0">
                    <a:pos x="connsiteX0" y="connsiteY0"/>
                  </a:cxn>
                  <a:cxn ang="0">
                    <a:pos x="connsiteX1" y="connsiteY1"/>
                  </a:cxn>
                </a:cxnLst>
                <a:rect l="l" t="t" r="r" b="b"/>
                <a:pathLst>
                  <a:path w="28763" h="11354">
                    <a:moveTo>
                      <a:pt x="0" y="0"/>
                    </a:moveTo>
                    <a:lnTo>
                      <a:pt x="28764" y="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929" name="Graphic 2">
              <a:extLst>
                <a:ext uri="{FF2B5EF4-FFF2-40B4-BE49-F238E27FC236}">
                  <a16:creationId xmlns:a16="http://schemas.microsoft.com/office/drawing/2014/main" id="{A40605C2-3064-4415-B006-9270CC483493}"/>
                </a:ext>
              </a:extLst>
            </p:cNvPr>
            <p:cNvGrpSpPr/>
            <p:nvPr/>
          </p:nvGrpSpPr>
          <p:grpSpPr>
            <a:xfrm>
              <a:off x="6912152" y="3675895"/>
              <a:ext cx="28650" cy="28726"/>
              <a:chOff x="6912152" y="3675895"/>
              <a:chExt cx="28650" cy="28726"/>
            </a:xfrm>
          </p:grpSpPr>
          <p:sp>
            <p:nvSpPr>
              <p:cNvPr id="2009" name="Freeform 958">
                <a:extLst>
                  <a:ext uri="{FF2B5EF4-FFF2-40B4-BE49-F238E27FC236}">
                    <a16:creationId xmlns:a16="http://schemas.microsoft.com/office/drawing/2014/main" id="{3FBCC648-3625-4377-B344-DCEAEE2A5D26}"/>
                  </a:ext>
                </a:extLst>
              </p:cNvPr>
              <p:cNvSpPr/>
              <p:nvPr/>
            </p:nvSpPr>
            <p:spPr>
              <a:xfrm>
                <a:off x="6926534" y="3675895"/>
                <a:ext cx="11324" cy="28726"/>
              </a:xfrm>
              <a:custGeom>
                <a:avLst/>
                <a:gdLst>
                  <a:gd name="connsiteX0" fmla="*/ 0 w 11324"/>
                  <a:gd name="connsiteY0" fmla="*/ 0 h 28726"/>
                  <a:gd name="connsiteX1" fmla="*/ 0 w 11324"/>
                  <a:gd name="connsiteY1" fmla="*/ 28726 h 28726"/>
                </a:gdLst>
                <a:ahLst/>
                <a:cxnLst>
                  <a:cxn ang="0">
                    <a:pos x="connsiteX0" y="connsiteY0"/>
                  </a:cxn>
                  <a:cxn ang="0">
                    <a:pos x="connsiteX1" y="connsiteY1"/>
                  </a:cxn>
                </a:cxnLst>
                <a:rect l="l" t="t" r="r" b="b"/>
                <a:pathLst>
                  <a:path w="11324" h="28726">
                    <a:moveTo>
                      <a:pt x="0" y="0"/>
                    </a:moveTo>
                    <a:lnTo>
                      <a:pt x="0" y="28726"/>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10" name="Freeform 959">
                <a:extLst>
                  <a:ext uri="{FF2B5EF4-FFF2-40B4-BE49-F238E27FC236}">
                    <a16:creationId xmlns:a16="http://schemas.microsoft.com/office/drawing/2014/main" id="{3362FDE5-D3A6-4145-B682-91415EA4D60A}"/>
                  </a:ext>
                </a:extLst>
              </p:cNvPr>
              <p:cNvSpPr/>
              <p:nvPr/>
            </p:nvSpPr>
            <p:spPr>
              <a:xfrm>
                <a:off x="6912152" y="3690315"/>
                <a:ext cx="28650" cy="11354"/>
              </a:xfrm>
              <a:custGeom>
                <a:avLst/>
                <a:gdLst>
                  <a:gd name="connsiteX0" fmla="*/ 0 w 28650"/>
                  <a:gd name="connsiteY0" fmla="*/ 0 h 11354"/>
                  <a:gd name="connsiteX1" fmla="*/ 28651 w 28650"/>
                  <a:gd name="connsiteY1" fmla="*/ 0 h 11354"/>
                </a:gdLst>
                <a:ahLst/>
                <a:cxnLst>
                  <a:cxn ang="0">
                    <a:pos x="connsiteX0" y="connsiteY0"/>
                  </a:cxn>
                  <a:cxn ang="0">
                    <a:pos x="connsiteX1" y="connsiteY1"/>
                  </a:cxn>
                </a:cxnLst>
                <a:rect l="l" t="t" r="r" b="b"/>
                <a:pathLst>
                  <a:path w="28650" h="11354">
                    <a:moveTo>
                      <a:pt x="0" y="0"/>
                    </a:moveTo>
                    <a:lnTo>
                      <a:pt x="28651" y="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930" name="Graphic 2">
              <a:extLst>
                <a:ext uri="{FF2B5EF4-FFF2-40B4-BE49-F238E27FC236}">
                  <a16:creationId xmlns:a16="http://schemas.microsoft.com/office/drawing/2014/main" id="{1D90F41D-2633-4419-B28A-27FB31AF7628}"/>
                </a:ext>
              </a:extLst>
            </p:cNvPr>
            <p:cNvGrpSpPr/>
            <p:nvPr/>
          </p:nvGrpSpPr>
          <p:grpSpPr>
            <a:xfrm>
              <a:off x="6890523" y="3675895"/>
              <a:ext cx="28650" cy="28726"/>
              <a:chOff x="6890523" y="3675895"/>
              <a:chExt cx="28650" cy="28726"/>
            </a:xfrm>
          </p:grpSpPr>
          <p:sp>
            <p:nvSpPr>
              <p:cNvPr id="2007" name="Freeform 956">
                <a:extLst>
                  <a:ext uri="{FF2B5EF4-FFF2-40B4-BE49-F238E27FC236}">
                    <a16:creationId xmlns:a16="http://schemas.microsoft.com/office/drawing/2014/main" id="{85FC9921-85C3-4BE1-A6CD-469555780593}"/>
                  </a:ext>
                </a:extLst>
              </p:cNvPr>
              <p:cNvSpPr/>
              <p:nvPr/>
            </p:nvSpPr>
            <p:spPr>
              <a:xfrm>
                <a:off x="6904905" y="3675895"/>
                <a:ext cx="11324" cy="28726"/>
              </a:xfrm>
              <a:custGeom>
                <a:avLst/>
                <a:gdLst>
                  <a:gd name="connsiteX0" fmla="*/ 0 w 11324"/>
                  <a:gd name="connsiteY0" fmla="*/ 0 h 28726"/>
                  <a:gd name="connsiteX1" fmla="*/ 0 w 11324"/>
                  <a:gd name="connsiteY1" fmla="*/ 28726 h 28726"/>
                </a:gdLst>
                <a:ahLst/>
                <a:cxnLst>
                  <a:cxn ang="0">
                    <a:pos x="connsiteX0" y="connsiteY0"/>
                  </a:cxn>
                  <a:cxn ang="0">
                    <a:pos x="connsiteX1" y="connsiteY1"/>
                  </a:cxn>
                </a:cxnLst>
                <a:rect l="l" t="t" r="r" b="b"/>
                <a:pathLst>
                  <a:path w="11324" h="28726">
                    <a:moveTo>
                      <a:pt x="0" y="0"/>
                    </a:moveTo>
                    <a:lnTo>
                      <a:pt x="0" y="28726"/>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08" name="Freeform 957">
                <a:extLst>
                  <a:ext uri="{FF2B5EF4-FFF2-40B4-BE49-F238E27FC236}">
                    <a16:creationId xmlns:a16="http://schemas.microsoft.com/office/drawing/2014/main" id="{35309649-BBED-41CB-83A2-3756102C2987}"/>
                  </a:ext>
                </a:extLst>
              </p:cNvPr>
              <p:cNvSpPr/>
              <p:nvPr/>
            </p:nvSpPr>
            <p:spPr>
              <a:xfrm>
                <a:off x="6890523" y="3690315"/>
                <a:ext cx="28650" cy="11354"/>
              </a:xfrm>
              <a:custGeom>
                <a:avLst/>
                <a:gdLst>
                  <a:gd name="connsiteX0" fmla="*/ 0 w 28650"/>
                  <a:gd name="connsiteY0" fmla="*/ 0 h 11354"/>
                  <a:gd name="connsiteX1" fmla="*/ 28651 w 28650"/>
                  <a:gd name="connsiteY1" fmla="*/ 0 h 11354"/>
                </a:gdLst>
                <a:ahLst/>
                <a:cxnLst>
                  <a:cxn ang="0">
                    <a:pos x="connsiteX0" y="connsiteY0"/>
                  </a:cxn>
                  <a:cxn ang="0">
                    <a:pos x="connsiteX1" y="connsiteY1"/>
                  </a:cxn>
                </a:cxnLst>
                <a:rect l="l" t="t" r="r" b="b"/>
                <a:pathLst>
                  <a:path w="28650" h="11354">
                    <a:moveTo>
                      <a:pt x="0" y="0"/>
                    </a:moveTo>
                    <a:lnTo>
                      <a:pt x="28651" y="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931" name="Graphic 2">
              <a:extLst>
                <a:ext uri="{FF2B5EF4-FFF2-40B4-BE49-F238E27FC236}">
                  <a16:creationId xmlns:a16="http://schemas.microsoft.com/office/drawing/2014/main" id="{A723A232-8C34-4295-A854-34D1A376CAEA}"/>
                </a:ext>
              </a:extLst>
            </p:cNvPr>
            <p:cNvGrpSpPr/>
            <p:nvPr/>
          </p:nvGrpSpPr>
          <p:grpSpPr>
            <a:xfrm>
              <a:off x="6877273" y="3675895"/>
              <a:ext cx="28650" cy="28726"/>
              <a:chOff x="6877273" y="3675895"/>
              <a:chExt cx="28650" cy="28726"/>
            </a:xfrm>
          </p:grpSpPr>
          <p:sp>
            <p:nvSpPr>
              <p:cNvPr id="2005" name="Freeform 954">
                <a:extLst>
                  <a:ext uri="{FF2B5EF4-FFF2-40B4-BE49-F238E27FC236}">
                    <a16:creationId xmlns:a16="http://schemas.microsoft.com/office/drawing/2014/main" id="{8278C437-9F8D-4FBB-A295-E8490C20DB18}"/>
                  </a:ext>
                </a:extLst>
              </p:cNvPr>
              <p:cNvSpPr/>
              <p:nvPr/>
            </p:nvSpPr>
            <p:spPr>
              <a:xfrm>
                <a:off x="6891655" y="3675895"/>
                <a:ext cx="11324" cy="28726"/>
              </a:xfrm>
              <a:custGeom>
                <a:avLst/>
                <a:gdLst>
                  <a:gd name="connsiteX0" fmla="*/ 0 w 11324"/>
                  <a:gd name="connsiteY0" fmla="*/ 0 h 28726"/>
                  <a:gd name="connsiteX1" fmla="*/ 0 w 11324"/>
                  <a:gd name="connsiteY1" fmla="*/ 28726 h 28726"/>
                </a:gdLst>
                <a:ahLst/>
                <a:cxnLst>
                  <a:cxn ang="0">
                    <a:pos x="connsiteX0" y="connsiteY0"/>
                  </a:cxn>
                  <a:cxn ang="0">
                    <a:pos x="connsiteX1" y="connsiteY1"/>
                  </a:cxn>
                </a:cxnLst>
                <a:rect l="l" t="t" r="r" b="b"/>
                <a:pathLst>
                  <a:path w="11324" h="28726">
                    <a:moveTo>
                      <a:pt x="0" y="0"/>
                    </a:moveTo>
                    <a:lnTo>
                      <a:pt x="0" y="28726"/>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06" name="Freeform 955">
                <a:extLst>
                  <a:ext uri="{FF2B5EF4-FFF2-40B4-BE49-F238E27FC236}">
                    <a16:creationId xmlns:a16="http://schemas.microsoft.com/office/drawing/2014/main" id="{291F86F3-A5E0-4E46-B4BF-AF9D494DD82D}"/>
                  </a:ext>
                </a:extLst>
              </p:cNvPr>
              <p:cNvSpPr/>
              <p:nvPr/>
            </p:nvSpPr>
            <p:spPr>
              <a:xfrm>
                <a:off x="6877273" y="3690315"/>
                <a:ext cx="28650" cy="11354"/>
              </a:xfrm>
              <a:custGeom>
                <a:avLst/>
                <a:gdLst>
                  <a:gd name="connsiteX0" fmla="*/ 0 w 28650"/>
                  <a:gd name="connsiteY0" fmla="*/ 0 h 11354"/>
                  <a:gd name="connsiteX1" fmla="*/ 28651 w 28650"/>
                  <a:gd name="connsiteY1" fmla="*/ 0 h 11354"/>
                </a:gdLst>
                <a:ahLst/>
                <a:cxnLst>
                  <a:cxn ang="0">
                    <a:pos x="connsiteX0" y="connsiteY0"/>
                  </a:cxn>
                  <a:cxn ang="0">
                    <a:pos x="connsiteX1" y="connsiteY1"/>
                  </a:cxn>
                </a:cxnLst>
                <a:rect l="l" t="t" r="r" b="b"/>
                <a:pathLst>
                  <a:path w="28650" h="11354">
                    <a:moveTo>
                      <a:pt x="0" y="0"/>
                    </a:moveTo>
                    <a:lnTo>
                      <a:pt x="28651" y="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932" name="Graphic 2">
              <a:extLst>
                <a:ext uri="{FF2B5EF4-FFF2-40B4-BE49-F238E27FC236}">
                  <a16:creationId xmlns:a16="http://schemas.microsoft.com/office/drawing/2014/main" id="{A61E6233-F7A8-4640-B1E5-FB95100A1A9A}"/>
                </a:ext>
              </a:extLst>
            </p:cNvPr>
            <p:cNvGrpSpPr/>
            <p:nvPr/>
          </p:nvGrpSpPr>
          <p:grpSpPr>
            <a:xfrm>
              <a:off x="6868893" y="3675895"/>
              <a:ext cx="28650" cy="28726"/>
              <a:chOff x="6868893" y="3675895"/>
              <a:chExt cx="28650" cy="28726"/>
            </a:xfrm>
          </p:grpSpPr>
          <p:sp>
            <p:nvSpPr>
              <p:cNvPr id="2003" name="Freeform 952">
                <a:extLst>
                  <a:ext uri="{FF2B5EF4-FFF2-40B4-BE49-F238E27FC236}">
                    <a16:creationId xmlns:a16="http://schemas.microsoft.com/office/drawing/2014/main" id="{E8D927D5-A091-4880-9459-4A0ABF7D12D3}"/>
                  </a:ext>
                </a:extLst>
              </p:cNvPr>
              <p:cNvSpPr/>
              <p:nvPr/>
            </p:nvSpPr>
            <p:spPr>
              <a:xfrm>
                <a:off x="6883275" y="3675895"/>
                <a:ext cx="11324" cy="28726"/>
              </a:xfrm>
              <a:custGeom>
                <a:avLst/>
                <a:gdLst>
                  <a:gd name="connsiteX0" fmla="*/ 0 w 11324"/>
                  <a:gd name="connsiteY0" fmla="*/ 0 h 28726"/>
                  <a:gd name="connsiteX1" fmla="*/ 0 w 11324"/>
                  <a:gd name="connsiteY1" fmla="*/ 28726 h 28726"/>
                </a:gdLst>
                <a:ahLst/>
                <a:cxnLst>
                  <a:cxn ang="0">
                    <a:pos x="connsiteX0" y="connsiteY0"/>
                  </a:cxn>
                  <a:cxn ang="0">
                    <a:pos x="connsiteX1" y="connsiteY1"/>
                  </a:cxn>
                </a:cxnLst>
                <a:rect l="l" t="t" r="r" b="b"/>
                <a:pathLst>
                  <a:path w="11324" h="28726">
                    <a:moveTo>
                      <a:pt x="0" y="0"/>
                    </a:moveTo>
                    <a:lnTo>
                      <a:pt x="0" y="28726"/>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04" name="Freeform 953">
                <a:extLst>
                  <a:ext uri="{FF2B5EF4-FFF2-40B4-BE49-F238E27FC236}">
                    <a16:creationId xmlns:a16="http://schemas.microsoft.com/office/drawing/2014/main" id="{7D8C05C2-46D1-4538-B492-E98687C7F37F}"/>
                  </a:ext>
                </a:extLst>
              </p:cNvPr>
              <p:cNvSpPr/>
              <p:nvPr/>
            </p:nvSpPr>
            <p:spPr>
              <a:xfrm>
                <a:off x="6868893" y="3690315"/>
                <a:ext cx="28650" cy="11354"/>
              </a:xfrm>
              <a:custGeom>
                <a:avLst/>
                <a:gdLst>
                  <a:gd name="connsiteX0" fmla="*/ 0 w 28650"/>
                  <a:gd name="connsiteY0" fmla="*/ 0 h 11354"/>
                  <a:gd name="connsiteX1" fmla="*/ 28651 w 28650"/>
                  <a:gd name="connsiteY1" fmla="*/ 0 h 11354"/>
                </a:gdLst>
                <a:ahLst/>
                <a:cxnLst>
                  <a:cxn ang="0">
                    <a:pos x="connsiteX0" y="connsiteY0"/>
                  </a:cxn>
                  <a:cxn ang="0">
                    <a:pos x="connsiteX1" y="connsiteY1"/>
                  </a:cxn>
                </a:cxnLst>
                <a:rect l="l" t="t" r="r" b="b"/>
                <a:pathLst>
                  <a:path w="28650" h="11354">
                    <a:moveTo>
                      <a:pt x="0" y="0"/>
                    </a:moveTo>
                    <a:lnTo>
                      <a:pt x="28651" y="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933" name="Graphic 2">
              <a:extLst>
                <a:ext uri="{FF2B5EF4-FFF2-40B4-BE49-F238E27FC236}">
                  <a16:creationId xmlns:a16="http://schemas.microsoft.com/office/drawing/2014/main" id="{D4231300-FF04-4168-8504-EED60A55D080}"/>
                </a:ext>
              </a:extLst>
            </p:cNvPr>
            <p:cNvGrpSpPr/>
            <p:nvPr/>
          </p:nvGrpSpPr>
          <p:grpSpPr>
            <a:xfrm>
              <a:off x="6844206" y="3670445"/>
              <a:ext cx="28763" cy="28726"/>
              <a:chOff x="6844206" y="3670445"/>
              <a:chExt cx="28763" cy="28726"/>
            </a:xfrm>
          </p:grpSpPr>
          <p:sp>
            <p:nvSpPr>
              <p:cNvPr id="2001" name="Freeform 950">
                <a:extLst>
                  <a:ext uri="{FF2B5EF4-FFF2-40B4-BE49-F238E27FC236}">
                    <a16:creationId xmlns:a16="http://schemas.microsoft.com/office/drawing/2014/main" id="{2A1ACA27-AF63-48EC-98AB-C7BD5F7C400E}"/>
                  </a:ext>
                </a:extLst>
              </p:cNvPr>
              <p:cNvSpPr/>
              <p:nvPr/>
            </p:nvSpPr>
            <p:spPr>
              <a:xfrm>
                <a:off x="6858588" y="3670445"/>
                <a:ext cx="11324" cy="28726"/>
              </a:xfrm>
              <a:custGeom>
                <a:avLst/>
                <a:gdLst>
                  <a:gd name="connsiteX0" fmla="*/ 0 w 11324"/>
                  <a:gd name="connsiteY0" fmla="*/ 0 h 28726"/>
                  <a:gd name="connsiteX1" fmla="*/ 0 w 11324"/>
                  <a:gd name="connsiteY1" fmla="*/ 28726 h 28726"/>
                </a:gdLst>
                <a:ahLst/>
                <a:cxnLst>
                  <a:cxn ang="0">
                    <a:pos x="connsiteX0" y="connsiteY0"/>
                  </a:cxn>
                  <a:cxn ang="0">
                    <a:pos x="connsiteX1" y="connsiteY1"/>
                  </a:cxn>
                </a:cxnLst>
                <a:rect l="l" t="t" r="r" b="b"/>
                <a:pathLst>
                  <a:path w="11324" h="28726">
                    <a:moveTo>
                      <a:pt x="0" y="0"/>
                    </a:moveTo>
                    <a:lnTo>
                      <a:pt x="0" y="28726"/>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02" name="Freeform 951">
                <a:extLst>
                  <a:ext uri="{FF2B5EF4-FFF2-40B4-BE49-F238E27FC236}">
                    <a16:creationId xmlns:a16="http://schemas.microsoft.com/office/drawing/2014/main" id="{30F8046F-C3DC-45F9-AB04-E2A3FBB5CD64}"/>
                  </a:ext>
                </a:extLst>
              </p:cNvPr>
              <p:cNvSpPr/>
              <p:nvPr/>
            </p:nvSpPr>
            <p:spPr>
              <a:xfrm>
                <a:off x="6844206" y="3684751"/>
                <a:ext cx="28763" cy="11354"/>
              </a:xfrm>
              <a:custGeom>
                <a:avLst/>
                <a:gdLst>
                  <a:gd name="connsiteX0" fmla="*/ 0 w 28763"/>
                  <a:gd name="connsiteY0" fmla="*/ 0 h 11354"/>
                  <a:gd name="connsiteX1" fmla="*/ 28764 w 28763"/>
                  <a:gd name="connsiteY1" fmla="*/ 0 h 11354"/>
                </a:gdLst>
                <a:ahLst/>
                <a:cxnLst>
                  <a:cxn ang="0">
                    <a:pos x="connsiteX0" y="connsiteY0"/>
                  </a:cxn>
                  <a:cxn ang="0">
                    <a:pos x="connsiteX1" y="connsiteY1"/>
                  </a:cxn>
                </a:cxnLst>
                <a:rect l="l" t="t" r="r" b="b"/>
                <a:pathLst>
                  <a:path w="28763" h="11354">
                    <a:moveTo>
                      <a:pt x="0" y="0"/>
                    </a:moveTo>
                    <a:lnTo>
                      <a:pt x="28764" y="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934" name="Graphic 2">
              <a:extLst>
                <a:ext uri="{FF2B5EF4-FFF2-40B4-BE49-F238E27FC236}">
                  <a16:creationId xmlns:a16="http://schemas.microsoft.com/office/drawing/2014/main" id="{6B15F03F-C6C5-46E5-B425-9DEF6AD65E58}"/>
                </a:ext>
              </a:extLst>
            </p:cNvPr>
            <p:cNvGrpSpPr/>
            <p:nvPr/>
          </p:nvGrpSpPr>
          <p:grpSpPr>
            <a:xfrm>
              <a:off x="6840469" y="3663178"/>
              <a:ext cx="28650" cy="28726"/>
              <a:chOff x="6840469" y="3663178"/>
              <a:chExt cx="28650" cy="28726"/>
            </a:xfrm>
          </p:grpSpPr>
          <p:sp>
            <p:nvSpPr>
              <p:cNvPr id="1999" name="Freeform 948">
                <a:extLst>
                  <a:ext uri="{FF2B5EF4-FFF2-40B4-BE49-F238E27FC236}">
                    <a16:creationId xmlns:a16="http://schemas.microsoft.com/office/drawing/2014/main" id="{6C84811F-A01F-48BF-94EE-AD11C0DF9011}"/>
                  </a:ext>
                </a:extLst>
              </p:cNvPr>
              <p:cNvSpPr/>
              <p:nvPr/>
            </p:nvSpPr>
            <p:spPr>
              <a:xfrm>
                <a:off x="6854738" y="3663178"/>
                <a:ext cx="11324" cy="28726"/>
              </a:xfrm>
              <a:custGeom>
                <a:avLst/>
                <a:gdLst>
                  <a:gd name="connsiteX0" fmla="*/ 0 w 11324"/>
                  <a:gd name="connsiteY0" fmla="*/ 0 h 28726"/>
                  <a:gd name="connsiteX1" fmla="*/ 0 w 11324"/>
                  <a:gd name="connsiteY1" fmla="*/ 28726 h 28726"/>
                </a:gdLst>
                <a:ahLst/>
                <a:cxnLst>
                  <a:cxn ang="0">
                    <a:pos x="connsiteX0" y="connsiteY0"/>
                  </a:cxn>
                  <a:cxn ang="0">
                    <a:pos x="connsiteX1" y="connsiteY1"/>
                  </a:cxn>
                </a:cxnLst>
                <a:rect l="l" t="t" r="r" b="b"/>
                <a:pathLst>
                  <a:path w="11324" h="28726">
                    <a:moveTo>
                      <a:pt x="0" y="0"/>
                    </a:moveTo>
                    <a:lnTo>
                      <a:pt x="0" y="28726"/>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00" name="Freeform 949">
                <a:extLst>
                  <a:ext uri="{FF2B5EF4-FFF2-40B4-BE49-F238E27FC236}">
                    <a16:creationId xmlns:a16="http://schemas.microsoft.com/office/drawing/2014/main" id="{2A998A6C-4A16-4D0E-9D29-A410AAD1D82F}"/>
                  </a:ext>
                </a:extLst>
              </p:cNvPr>
              <p:cNvSpPr/>
              <p:nvPr/>
            </p:nvSpPr>
            <p:spPr>
              <a:xfrm>
                <a:off x="6840469" y="3677485"/>
                <a:ext cx="28650" cy="11354"/>
              </a:xfrm>
              <a:custGeom>
                <a:avLst/>
                <a:gdLst>
                  <a:gd name="connsiteX0" fmla="*/ 0 w 28650"/>
                  <a:gd name="connsiteY0" fmla="*/ 0 h 11354"/>
                  <a:gd name="connsiteX1" fmla="*/ 28651 w 28650"/>
                  <a:gd name="connsiteY1" fmla="*/ 0 h 11354"/>
                </a:gdLst>
                <a:ahLst/>
                <a:cxnLst>
                  <a:cxn ang="0">
                    <a:pos x="connsiteX0" y="connsiteY0"/>
                  </a:cxn>
                  <a:cxn ang="0">
                    <a:pos x="connsiteX1" y="connsiteY1"/>
                  </a:cxn>
                </a:cxnLst>
                <a:rect l="l" t="t" r="r" b="b"/>
                <a:pathLst>
                  <a:path w="28650" h="11354">
                    <a:moveTo>
                      <a:pt x="0" y="0"/>
                    </a:moveTo>
                    <a:lnTo>
                      <a:pt x="28651" y="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935" name="Graphic 2">
              <a:extLst>
                <a:ext uri="{FF2B5EF4-FFF2-40B4-BE49-F238E27FC236}">
                  <a16:creationId xmlns:a16="http://schemas.microsoft.com/office/drawing/2014/main" id="{DCC13511-1B4A-4E7D-8A35-0EF0F14125B1}"/>
                </a:ext>
              </a:extLst>
            </p:cNvPr>
            <p:cNvGrpSpPr/>
            <p:nvPr/>
          </p:nvGrpSpPr>
          <p:grpSpPr>
            <a:xfrm>
              <a:off x="6830503" y="3663178"/>
              <a:ext cx="28650" cy="28726"/>
              <a:chOff x="6830503" y="3663178"/>
              <a:chExt cx="28650" cy="28726"/>
            </a:xfrm>
          </p:grpSpPr>
          <p:sp>
            <p:nvSpPr>
              <p:cNvPr id="1997" name="Freeform 946">
                <a:extLst>
                  <a:ext uri="{FF2B5EF4-FFF2-40B4-BE49-F238E27FC236}">
                    <a16:creationId xmlns:a16="http://schemas.microsoft.com/office/drawing/2014/main" id="{ADD7A15A-EBC4-4698-BB98-99B0C817B485}"/>
                  </a:ext>
                </a:extLst>
              </p:cNvPr>
              <p:cNvSpPr/>
              <p:nvPr/>
            </p:nvSpPr>
            <p:spPr>
              <a:xfrm>
                <a:off x="6844772" y="3663178"/>
                <a:ext cx="11324" cy="28726"/>
              </a:xfrm>
              <a:custGeom>
                <a:avLst/>
                <a:gdLst>
                  <a:gd name="connsiteX0" fmla="*/ 0 w 11324"/>
                  <a:gd name="connsiteY0" fmla="*/ 0 h 28726"/>
                  <a:gd name="connsiteX1" fmla="*/ 0 w 11324"/>
                  <a:gd name="connsiteY1" fmla="*/ 28726 h 28726"/>
                </a:gdLst>
                <a:ahLst/>
                <a:cxnLst>
                  <a:cxn ang="0">
                    <a:pos x="connsiteX0" y="connsiteY0"/>
                  </a:cxn>
                  <a:cxn ang="0">
                    <a:pos x="connsiteX1" y="connsiteY1"/>
                  </a:cxn>
                </a:cxnLst>
                <a:rect l="l" t="t" r="r" b="b"/>
                <a:pathLst>
                  <a:path w="11324" h="28726">
                    <a:moveTo>
                      <a:pt x="0" y="0"/>
                    </a:moveTo>
                    <a:lnTo>
                      <a:pt x="0" y="28726"/>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98" name="Freeform 947">
                <a:extLst>
                  <a:ext uri="{FF2B5EF4-FFF2-40B4-BE49-F238E27FC236}">
                    <a16:creationId xmlns:a16="http://schemas.microsoft.com/office/drawing/2014/main" id="{2817D1BF-DFF7-4BD1-AB6D-6CF5BCB73F31}"/>
                  </a:ext>
                </a:extLst>
              </p:cNvPr>
              <p:cNvSpPr/>
              <p:nvPr/>
            </p:nvSpPr>
            <p:spPr>
              <a:xfrm>
                <a:off x="6830503" y="3677485"/>
                <a:ext cx="28650" cy="11354"/>
              </a:xfrm>
              <a:custGeom>
                <a:avLst/>
                <a:gdLst>
                  <a:gd name="connsiteX0" fmla="*/ 0 w 28650"/>
                  <a:gd name="connsiteY0" fmla="*/ 0 h 11354"/>
                  <a:gd name="connsiteX1" fmla="*/ 28651 w 28650"/>
                  <a:gd name="connsiteY1" fmla="*/ 0 h 11354"/>
                </a:gdLst>
                <a:ahLst/>
                <a:cxnLst>
                  <a:cxn ang="0">
                    <a:pos x="connsiteX0" y="connsiteY0"/>
                  </a:cxn>
                  <a:cxn ang="0">
                    <a:pos x="connsiteX1" y="connsiteY1"/>
                  </a:cxn>
                </a:cxnLst>
                <a:rect l="l" t="t" r="r" b="b"/>
                <a:pathLst>
                  <a:path w="28650" h="11354">
                    <a:moveTo>
                      <a:pt x="0" y="0"/>
                    </a:moveTo>
                    <a:lnTo>
                      <a:pt x="28651" y="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936" name="Graphic 2">
              <a:extLst>
                <a:ext uri="{FF2B5EF4-FFF2-40B4-BE49-F238E27FC236}">
                  <a16:creationId xmlns:a16="http://schemas.microsoft.com/office/drawing/2014/main" id="{E7743C2A-61EC-4111-BAC6-0E56369EAA20}"/>
                </a:ext>
              </a:extLst>
            </p:cNvPr>
            <p:cNvGrpSpPr/>
            <p:nvPr/>
          </p:nvGrpSpPr>
          <p:grpSpPr>
            <a:xfrm>
              <a:off x="6822576" y="3651483"/>
              <a:ext cx="28650" cy="28726"/>
              <a:chOff x="6822576" y="3651483"/>
              <a:chExt cx="28650" cy="28726"/>
            </a:xfrm>
          </p:grpSpPr>
          <p:sp>
            <p:nvSpPr>
              <p:cNvPr id="1995" name="Freeform 944">
                <a:extLst>
                  <a:ext uri="{FF2B5EF4-FFF2-40B4-BE49-F238E27FC236}">
                    <a16:creationId xmlns:a16="http://schemas.microsoft.com/office/drawing/2014/main" id="{F76CE709-14D7-444E-AEC9-922D9E3956DC}"/>
                  </a:ext>
                </a:extLst>
              </p:cNvPr>
              <p:cNvSpPr/>
              <p:nvPr/>
            </p:nvSpPr>
            <p:spPr>
              <a:xfrm>
                <a:off x="6836845" y="3651483"/>
                <a:ext cx="11324" cy="28726"/>
              </a:xfrm>
              <a:custGeom>
                <a:avLst/>
                <a:gdLst>
                  <a:gd name="connsiteX0" fmla="*/ 0 w 11324"/>
                  <a:gd name="connsiteY0" fmla="*/ 0 h 28726"/>
                  <a:gd name="connsiteX1" fmla="*/ 0 w 11324"/>
                  <a:gd name="connsiteY1" fmla="*/ 28726 h 28726"/>
                </a:gdLst>
                <a:ahLst/>
                <a:cxnLst>
                  <a:cxn ang="0">
                    <a:pos x="connsiteX0" y="connsiteY0"/>
                  </a:cxn>
                  <a:cxn ang="0">
                    <a:pos x="connsiteX1" y="connsiteY1"/>
                  </a:cxn>
                </a:cxnLst>
                <a:rect l="l" t="t" r="r" b="b"/>
                <a:pathLst>
                  <a:path w="11324" h="28726">
                    <a:moveTo>
                      <a:pt x="0" y="0"/>
                    </a:moveTo>
                    <a:lnTo>
                      <a:pt x="0" y="28726"/>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96" name="Freeform 945">
                <a:extLst>
                  <a:ext uri="{FF2B5EF4-FFF2-40B4-BE49-F238E27FC236}">
                    <a16:creationId xmlns:a16="http://schemas.microsoft.com/office/drawing/2014/main" id="{B2A05DBC-2351-44F9-97AD-0D62003509BA}"/>
                  </a:ext>
                </a:extLst>
              </p:cNvPr>
              <p:cNvSpPr/>
              <p:nvPr/>
            </p:nvSpPr>
            <p:spPr>
              <a:xfrm>
                <a:off x="6822576" y="3665903"/>
                <a:ext cx="28650" cy="11354"/>
              </a:xfrm>
              <a:custGeom>
                <a:avLst/>
                <a:gdLst>
                  <a:gd name="connsiteX0" fmla="*/ 0 w 28650"/>
                  <a:gd name="connsiteY0" fmla="*/ 0 h 11354"/>
                  <a:gd name="connsiteX1" fmla="*/ 28651 w 28650"/>
                  <a:gd name="connsiteY1" fmla="*/ 0 h 11354"/>
                </a:gdLst>
                <a:ahLst/>
                <a:cxnLst>
                  <a:cxn ang="0">
                    <a:pos x="connsiteX0" y="connsiteY0"/>
                  </a:cxn>
                  <a:cxn ang="0">
                    <a:pos x="connsiteX1" y="connsiteY1"/>
                  </a:cxn>
                </a:cxnLst>
                <a:rect l="l" t="t" r="r" b="b"/>
                <a:pathLst>
                  <a:path w="28650" h="11354">
                    <a:moveTo>
                      <a:pt x="0" y="0"/>
                    </a:moveTo>
                    <a:lnTo>
                      <a:pt x="28651" y="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937" name="Graphic 2">
              <a:extLst>
                <a:ext uri="{FF2B5EF4-FFF2-40B4-BE49-F238E27FC236}">
                  <a16:creationId xmlns:a16="http://schemas.microsoft.com/office/drawing/2014/main" id="{F7807F0F-57A4-430C-88BA-70FE43AF3F80}"/>
                </a:ext>
              </a:extLst>
            </p:cNvPr>
            <p:cNvGrpSpPr/>
            <p:nvPr/>
          </p:nvGrpSpPr>
          <p:grpSpPr>
            <a:xfrm>
              <a:off x="6808874" y="3651483"/>
              <a:ext cx="28650" cy="28726"/>
              <a:chOff x="6808874" y="3651483"/>
              <a:chExt cx="28650" cy="28726"/>
            </a:xfrm>
          </p:grpSpPr>
          <p:sp>
            <p:nvSpPr>
              <p:cNvPr id="1993" name="Freeform 942">
                <a:extLst>
                  <a:ext uri="{FF2B5EF4-FFF2-40B4-BE49-F238E27FC236}">
                    <a16:creationId xmlns:a16="http://schemas.microsoft.com/office/drawing/2014/main" id="{347E6199-09D8-48B9-800B-9A94B3BEE922}"/>
                  </a:ext>
                </a:extLst>
              </p:cNvPr>
              <p:cNvSpPr/>
              <p:nvPr/>
            </p:nvSpPr>
            <p:spPr>
              <a:xfrm>
                <a:off x="6823142" y="3651483"/>
                <a:ext cx="11324" cy="28726"/>
              </a:xfrm>
              <a:custGeom>
                <a:avLst/>
                <a:gdLst>
                  <a:gd name="connsiteX0" fmla="*/ 0 w 11324"/>
                  <a:gd name="connsiteY0" fmla="*/ 0 h 28726"/>
                  <a:gd name="connsiteX1" fmla="*/ 0 w 11324"/>
                  <a:gd name="connsiteY1" fmla="*/ 28726 h 28726"/>
                </a:gdLst>
                <a:ahLst/>
                <a:cxnLst>
                  <a:cxn ang="0">
                    <a:pos x="connsiteX0" y="connsiteY0"/>
                  </a:cxn>
                  <a:cxn ang="0">
                    <a:pos x="connsiteX1" y="connsiteY1"/>
                  </a:cxn>
                </a:cxnLst>
                <a:rect l="l" t="t" r="r" b="b"/>
                <a:pathLst>
                  <a:path w="11324" h="28726">
                    <a:moveTo>
                      <a:pt x="0" y="0"/>
                    </a:moveTo>
                    <a:lnTo>
                      <a:pt x="0" y="28726"/>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94" name="Freeform 943">
                <a:extLst>
                  <a:ext uri="{FF2B5EF4-FFF2-40B4-BE49-F238E27FC236}">
                    <a16:creationId xmlns:a16="http://schemas.microsoft.com/office/drawing/2014/main" id="{CA07A29D-C406-4099-9867-EBF2EA83D4F6}"/>
                  </a:ext>
                </a:extLst>
              </p:cNvPr>
              <p:cNvSpPr/>
              <p:nvPr/>
            </p:nvSpPr>
            <p:spPr>
              <a:xfrm>
                <a:off x="6808874" y="3665903"/>
                <a:ext cx="28650" cy="11354"/>
              </a:xfrm>
              <a:custGeom>
                <a:avLst/>
                <a:gdLst>
                  <a:gd name="connsiteX0" fmla="*/ 0 w 28650"/>
                  <a:gd name="connsiteY0" fmla="*/ 0 h 11354"/>
                  <a:gd name="connsiteX1" fmla="*/ 28651 w 28650"/>
                  <a:gd name="connsiteY1" fmla="*/ 0 h 11354"/>
                </a:gdLst>
                <a:ahLst/>
                <a:cxnLst>
                  <a:cxn ang="0">
                    <a:pos x="connsiteX0" y="connsiteY0"/>
                  </a:cxn>
                  <a:cxn ang="0">
                    <a:pos x="connsiteX1" y="connsiteY1"/>
                  </a:cxn>
                </a:cxnLst>
                <a:rect l="l" t="t" r="r" b="b"/>
                <a:pathLst>
                  <a:path w="28650" h="11354">
                    <a:moveTo>
                      <a:pt x="0" y="0"/>
                    </a:moveTo>
                    <a:lnTo>
                      <a:pt x="28651" y="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938" name="Graphic 2">
              <a:extLst>
                <a:ext uri="{FF2B5EF4-FFF2-40B4-BE49-F238E27FC236}">
                  <a16:creationId xmlns:a16="http://schemas.microsoft.com/office/drawing/2014/main" id="{CB6747E0-9B72-441A-A5A4-BBE4A2029688}"/>
                </a:ext>
              </a:extLst>
            </p:cNvPr>
            <p:cNvGrpSpPr/>
            <p:nvPr/>
          </p:nvGrpSpPr>
          <p:grpSpPr>
            <a:xfrm>
              <a:off x="6800380" y="3651483"/>
              <a:ext cx="28650" cy="28726"/>
              <a:chOff x="6800380" y="3651483"/>
              <a:chExt cx="28650" cy="28726"/>
            </a:xfrm>
          </p:grpSpPr>
          <p:sp>
            <p:nvSpPr>
              <p:cNvPr id="1991" name="Freeform 940">
                <a:extLst>
                  <a:ext uri="{FF2B5EF4-FFF2-40B4-BE49-F238E27FC236}">
                    <a16:creationId xmlns:a16="http://schemas.microsoft.com/office/drawing/2014/main" id="{253A163A-2C98-411D-AD6D-874B1186E6D9}"/>
                  </a:ext>
                </a:extLst>
              </p:cNvPr>
              <p:cNvSpPr/>
              <p:nvPr/>
            </p:nvSpPr>
            <p:spPr>
              <a:xfrm>
                <a:off x="6814649" y="3651483"/>
                <a:ext cx="11324" cy="28726"/>
              </a:xfrm>
              <a:custGeom>
                <a:avLst/>
                <a:gdLst>
                  <a:gd name="connsiteX0" fmla="*/ 0 w 11324"/>
                  <a:gd name="connsiteY0" fmla="*/ 0 h 28726"/>
                  <a:gd name="connsiteX1" fmla="*/ 0 w 11324"/>
                  <a:gd name="connsiteY1" fmla="*/ 28726 h 28726"/>
                </a:gdLst>
                <a:ahLst/>
                <a:cxnLst>
                  <a:cxn ang="0">
                    <a:pos x="connsiteX0" y="connsiteY0"/>
                  </a:cxn>
                  <a:cxn ang="0">
                    <a:pos x="connsiteX1" y="connsiteY1"/>
                  </a:cxn>
                </a:cxnLst>
                <a:rect l="l" t="t" r="r" b="b"/>
                <a:pathLst>
                  <a:path w="11324" h="28726">
                    <a:moveTo>
                      <a:pt x="0" y="0"/>
                    </a:moveTo>
                    <a:lnTo>
                      <a:pt x="0" y="28726"/>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92" name="Freeform 941">
                <a:extLst>
                  <a:ext uri="{FF2B5EF4-FFF2-40B4-BE49-F238E27FC236}">
                    <a16:creationId xmlns:a16="http://schemas.microsoft.com/office/drawing/2014/main" id="{DA18DF5A-0F85-480F-95DA-2FA6DE6E7F08}"/>
                  </a:ext>
                </a:extLst>
              </p:cNvPr>
              <p:cNvSpPr/>
              <p:nvPr/>
            </p:nvSpPr>
            <p:spPr>
              <a:xfrm>
                <a:off x="6800380" y="3665903"/>
                <a:ext cx="28650" cy="11354"/>
              </a:xfrm>
              <a:custGeom>
                <a:avLst/>
                <a:gdLst>
                  <a:gd name="connsiteX0" fmla="*/ 0 w 28650"/>
                  <a:gd name="connsiteY0" fmla="*/ 0 h 11354"/>
                  <a:gd name="connsiteX1" fmla="*/ 28651 w 28650"/>
                  <a:gd name="connsiteY1" fmla="*/ 0 h 11354"/>
                </a:gdLst>
                <a:ahLst/>
                <a:cxnLst>
                  <a:cxn ang="0">
                    <a:pos x="connsiteX0" y="connsiteY0"/>
                  </a:cxn>
                  <a:cxn ang="0">
                    <a:pos x="connsiteX1" y="connsiteY1"/>
                  </a:cxn>
                </a:cxnLst>
                <a:rect l="l" t="t" r="r" b="b"/>
                <a:pathLst>
                  <a:path w="28650" h="11354">
                    <a:moveTo>
                      <a:pt x="0" y="0"/>
                    </a:moveTo>
                    <a:lnTo>
                      <a:pt x="28651" y="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939" name="Graphic 2">
              <a:extLst>
                <a:ext uri="{FF2B5EF4-FFF2-40B4-BE49-F238E27FC236}">
                  <a16:creationId xmlns:a16="http://schemas.microsoft.com/office/drawing/2014/main" id="{F82ECCEF-A4CF-4BCC-B17E-7711414D7E2C}"/>
                </a:ext>
              </a:extLst>
            </p:cNvPr>
            <p:cNvGrpSpPr/>
            <p:nvPr/>
          </p:nvGrpSpPr>
          <p:grpSpPr>
            <a:xfrm>
              <a:off x="6791661" y="3651483"/>
              <a:ext cx="28650" cy="28726"/>
              <a:chOff x="6791661" y="3651483"/>
              <a:chExt cx="28650" cy="28726"/>
            </a:xfrm>
          </p:grpSpPr>
          <p:sp>
            <p:nvSpPr>
              <p:cNvPr id="1989" name="Freeform 938">
                <a:extLst>
                  <a:ext uri="{FF2B5EF4-FFF2-40B4-BE49-F238E27FC236}">
                    <a16:creationId xmlns:a16="http://schemas.microsoft.com/office/drawing/2014/main" id="{F590701C-8801-4C4D-991B-8DA9609C952D}"/>
                  </a:ext>
                </a:extLst>
              </p:cNvPr>
              <p:cNvSpPr/>
              <p:nvPr/>
            </p:nvSpPr>
            <p:spPr>
              <a:xfrm>
                <a:off x="6805929" y="3651483"/>
                <a:ext cx="11324" cy="28726"/>
              </a:xfrm>
              <a:custGeom>
                <a:avLst/>
                <a:gdLst>
                  <a:gd name="connsiteX0" fmla="*/ 0 w 11324"/>
                  <a:gd name="connsiteY0" fmla="*/ 0 h 28726"/>
                  <a:gd name="connsiteX1" fmla="*/ 0 w 11324"/>
                  <a:gd name="connsiteY1" fmla="*/ 28726 h 28726"/>
                </a:gdLst>
                <a:ahLst/>
                <a:cxnLst>
                  <a:cxn ang="0">
                    <a:pos x="connsiteX0" y="connsiteY0"/>
                  </a:cxn>
                  <a:cxn ang="0">
                    <a:pos x="connsiteX1" y="connsiteY1"/>
                  </a:cxn>
                </a:cxnLst>
                <a:rect l="l" t="t" r="r" b="b"/>
                <a:pathLst>
                  <a:path w="11324" h="28726">
                    <a:moveTo>
                      <a:pt x="0" y="0"/>
                    </a:moveTo>
                    <a:lnTo>
                      <a:pt x="0" y="28726"/>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90" name="Freeform 939">
                <a:extLst>
                  <a:ext uri="{FF2B5EF4-FFF2-40B4-BE49-F238E27FC236}">
                    <a16:creationId xmlns:a16="http://schemas.microsoft.com/office/drawing/2014/main" id="{9A6A5851-DB43-4547-AD14-7B80CCB87E42}"/>
                  </a:ext>
                </a:extLst>
              </p:cNvPr>
              <p:cNvSpPr/>
              <p:nvPr/>
            </p:nvSpPr>
            <p:spPr>
              <a:xfrm>
                <a:off x="6791661" y="3665903"/>
                <a:ext cx="28650" cy="11354"/>
              </a:xfrm>
              <a:custGeom>
                <a:avLst/>
                <a:gdLst>
                  <a:gd name="connsiteX0" fmla="*/ 0 w 28650"/>
                  <a:gd name="connsiteY0" fmla="*/ 0 h 11354"/>
                  <a:gd name="connsiteX1" fmla="*/ 28651 w 28650"/>
                  <a:gd name="connsiteY1" fmla="*/ 0 h 11354"/>
                </a:gdLst>
                <a:ahLst/>
                <a:cxnLst>
                  <a:cxn ang="0">
                    <a:pos x="connsiteX0" y="connsiteY0"/>
                  </a:cxn>
                  <a:cxn ang="0">
                    <a:pos x="connsiteX1" y="connsiteY1"/>
                  </a:cxn>
                </a:cxnLst>
                <a:rect l="l" t="t" r="r" b="b"/>
                <a:pathLst>
                  <a:path w="28650" h="11354">
                    <a:moveTo>
                      <a:pt x="0" y="0"/>
                    </a:moveTo>
                    <a:lnTo>
                      <a:pt x="28651" y="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940" name="Graphic 2">
              <a:extLst>
                <a:ext uri="{FF2B5EF4-FFF2-40B4-BE49-F238E27FC236}">
                  <a16:creationId xmlns:a16="http://schemas.microsoft.com/office/drawing/2014/main" id="{E212C199-48A3-4CEE-8BD6-B9413CE61D5E}"/>
                </a:ext>
              </a:extLst>
            </p:cNvPr>
            <p:cNvGrpSpPr/>
            <p:nvPr/>
          </p:nvGrpSpPr>
          <p:grpSpPr>
            <a:xfrm>
              <a:off x="6784186" y="3651483"/>
              <a:ext cx="28650" cy="28726"/>
              <a:chOff x="6784186" y="3651483"/>
              <a:chExt cx="28650" cy="28726"/>
            </a:xfrm>
          </p:grpSpPr>
          <p:sp>
            <p:nvSpPr>
              <p:cNvPr id="1987" name="Freeform 936">
                <a:extLst>
                  <a:ext uri="{FF2B5EF4-FFF2-40B4-BE49-F238E27FC236}">
                    <a16:creationId xmlns:a16="http://schemas.microsoft.com/office/drawing/2014/main" id="{2E48B8BE-AF84-411B-9B76-6A09BEC94A3F}"/>
                  </a:ext>
                </a:extLst>
              </p:cNvPr>
              <p:cNvSpPr/>
              <p:nvPr/>
            </p:nvSpPr>
            <p:spPr>
              <a:xfrm>
                <a:off x="6798455" y="3651483"/>
                <a:ext cx="11324" cy="28726"/>
              </a:xfrm>
              <a:custGeom>
                <a:avLst/>
                <a:gdLst>
                  <a:gd name="connsiteX0" fmla="*/ 0 w 11324"/>
                  <a:gd name="connsiteY0" fmla="*/ 0 h 28726"/>
                  <a:gd name="connsiteX1" fmla="*/ 0 w 11324"/>
                  <a:gd name="connsiteY1" fmla="*/ 28726 h 28726"/>
                </a:gdLst>
                <a:ahLst/>
                <a:cxnLst>
                  <a:cxn ang="0">
                    <a:pos x="connsiteX0" y="connsiteY0"/>
                  </a:cxn>
                  <a:cxn ang="0">
                    <a:pos x="connsiteX1" y="connsiteY1"/>
                  </a:cxn>
                </a:cxnLst>
                <a:rect l="l" t="t" r="r" b="b"/>
                <a:pathLst>
                  <a:path w="11324" h="28726">
                    <a:moveTo>
                      <a:pt x="0" y="0"/>
                    </a:moveTo>
                    <a:lnTo>
                      <a:pt x="0" y="28726"/>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88" name="Freeform 937">
                <a:extLst>
                  <a:ext uri="{FF2B5EF4-FFF2-40B4-BE49-F238E27FC236}">
                    <a16:creationId xmlns:a16="http://schemas.microsoft.com/office/drawing/2014/main" id="{7D21FD9B-3E0C-47CF-8FA3-C9A05083D897}"/>
                  </a:ext>
                </a:extLst>
              </p:cNvPr>
              <p:cNvSpPr/>
              <p:nvPr/>
            </p:nvSpPr>
            <p:spPr>
              <a:xfrm>
                <a:off x="6784186" y="3665903"/>
                <a:ext cx="28650" cy="11354"/>
              </a:xfrm>
              <a:custGeom>
                <a:avLst/>
                <a:gdLst>
                  <a:gd name="connsiteX0" fmla="*/ 0 w 28650"/>
                  <a:gd name="connsiteY0" fmla="*/ 0 h 11354"/>
                  <a:gd name="connsiteX1" fmla="*/ 28651 w 28650"/>
                  <a:gd name="connsiteY1" fmla="*/ 0 h 11354"/>
                </a:gdLst>
                <a:ahLst/>
                <a:cxnLst>
                  <a:cxn ang="0">
                    <a:pos x="connsiteX0" y="connsiteY0"/>
                  </a:cxn>
                  <a:cxn ang="0">
                    <a:pos x="connsiteX1" y="connsiteY1"/>
                  </a:cxn>
                </a:cxnLst>
                <a:rect l="l" t="t" r="r" b="b"/>
                <a:pathLst>
                  <a:path w="28650" h="11354">
                    <a:moveTo>
                      <a:pt x="0" y="0"/>
                    </a:moveTo>
                    <a:lnTo>
                      <a:pt x="28651" y="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941" name="Graphic 2">
              <a:extLst>
                <a:ext uri="{FF2B5EF4-FFF2-40B4-BE49-F238E27FC236}">
                  <a16:creationId xmlns:a16="http://schemas.microsoft.com/office/drawing/2014/main" id="{8C21DA91-1F41-4DAC-A6ED-5D8F8F4D31E6}"/>
                </a:ext>
              </a:extLst>
            </p:cNvPr>
            <p:cNvGrpSpPr/>
            <p:nvPr/>
          </p:nvGrpSpPr>
          <p:grpSpPr>
            <a:xfrm>
              <a:off x="7054047" y="3717792"/>
              <a:ext cx="28650" cy="28726"/>
              <a:chOff x="7054047" y="3717792"/>
              <a:chExt cx="28650" cy="28726"/>
            </a:xfrm>
          </p:grpSpPr>
          <p:sp>
            <p:nvSpPr>
              <p:cNvPr id="1985" name="Freeform 934">
                <a:extLst>
                  <a:ext uri="{FF2B5EF4-FFF2-40B4-BE49-F238E27FC236}">
                    <a16:creationId xmlns:a16="http://schemas.microsoft.com/office/drawing/2014/main" id="{E37D30A3-C8D9-41BC-93E6-9E7E468D5B2A}"/>
                  </a:ext>
                </a:extLst>
              </p:cNvPr>
              <p:cNvSpPr/>
              <p:nvPr/>
            </p:nvSpPr>
            <p:spPr>
              <a:xfrm>
                <a:off x="7068316" y="3717792"/>
                <a:ext cx="11324" cy="28726"/>
              </a:xfrm>
              <a:custGeom>
                <a:avLst/>
                <a:gdLst>
                  <a:gd name="connsiteX0" fmla="*/ 0 w 11324"/>
                  <a:gd name="connsiteY0" fmla="*/ 0 h 28726"/>
                  <a:gd name="connsiteX1" fmla="*/ 0 w 11324"/>
                  <a:gd name="connsiteY1" fmla="*/ 28726 h 28726"/>
                </a:gdLst>
                <a:ahLst/>
                <a:cxnLst>
                  <a:cxn ang="0">
                    <a:pos x="connsiteX0" y="connsiteY0"/>
                  </a:cxn>
                  <a:cxn ang="0">
                    <a:pos x="connsiteX1" y="connsiteY1"/>
                  </a:cxn>
                </a:cxnLst>
                <a:rect l="l" t="t" r="r" b="b"/>
                <a:pathLst>
                  <a:path w="11324" h="28726">
                    <a:moveTo>
                      <a:pt x="0" y="0"/>
                    </a:moveTo>
                    <a:lnTo>
                      <a:pt x="0" y="28726"/>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86" name="Freeform 935">
                <a:extLst>
                  <a:ext uri="{FF2B5EF4-FFF2-40B4-BE49-F238E27FC236}">
                    <a16:creationId xmlns:a16="http://schemas.microsoft.com/office/drawing/2014/main" id="{BC6168DF-2C3E-42FF-8E7F-DA933E6FD566}"/>
                  </a:ext>
                </a:extLst>
              </p:cNvPr>
              <p:cNvSpPr/>
              <p:nvPr/>
            </p:nvSpPr>
            <p:spPr>
              <a:xfrm>
                <a:off x="7054047" y="3732098"/>
                <a:ext cx="28650" cy="11354"/>
              </a:xfrm>
              <a:custGeom>
                <a:avLst/>
                <a:gdLst>
                  <a:gd name="connsiteX0" fmla="*/ 0 w 28650"/>
                  <a:gd name="connsiteY0" fmla="*/ 0 h 11354"/>
                  <a:gd name="connsiteX1" fmla="*/ 28651 w 28650"/>
                  <a:gd name="connsiteY1" fmla="*/ 0 h 11354"/>
                </a:gdLst>
                <a:ahLst/>
                <a:cxnLst>
                  <a:cxn ang="0">
                    <a:pos x="connsiteX0" y="connsiteY0"/>
                  </a:cxn>
                  <a:cxn ang="0">
                    <a:pos x="connsiteX1" y="connsiteY1"/>
                  </a:cxn>
                </a:cxnLst>
                <a:rect l="l" t="t" r="r" b="b"/>
                <a:pathLst>
                  <a:path w="28650" h="11354">
                    <a:moveTo>
                      <a:pt x="0" y="0"/>
                    </a:moveTo>
                    <a:lnTo>
                      <a:pt x="28651" y="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942" name="Graphic 2">
              <a:extLst>
                <a:ext uri="{FF2B5EF4-FFF2-40B4-BE49-F238E27FC236}">
                  <a16:creationId xmlns:a16="http://schemas.microsoft.com/office/drawing/2014/main" id="{F5EF2F95-A473-4749-9579-A194841D23C1}"/>
                </a:ext>
              </a:extLst>
            </p:cNvPr>
            <p:cNvGrpSpPr/>
            <p:nvPr/>
          </p:nvGrpSpPr>
          <p:grpSpPr>
            <a:xfrm>
              <a:off x="7472711" y="3769000"/>
              <a:ext cx="28763" cy="28839"/>
              <a:chOff x="7472711" y="3769000"/>
              <a:chExt cx="28763" cy="28839"/>
            </a:xfrm>
          </p:grpSpPr>
          <p:sp>
            <p:nvSpPr>
              <p:cNvPr id="1983" name="Freeform 932">
                <a:extLst>
                  <a:ext uri="{FF2B5EF4-FFF2-40B4-BE49-F238E27FC236}">
                    <a16:creationId xmlns:a16="http://schemas.microsoft.com/office/drawing/2014/main" id="{32350A08-22FA-40E5-848D-D5778B4E35D3}"/>
                  </a:ext>
                </a:extLst>
              </p:cNvPr>
              <p:cNvSpPr/>
              <p:nvPr/>
            </p:nvSpPr>
            <p:spPr>
              <a:xfrm>
                <a:off x="7487093" y="3769000"/>
                <a:ext cx="11324" cy="28839"/>
              </a:xfrm>
              <a:custGeom>
                <a:avLst/>
                <a:gdLst>
                  <a:gd name="connsiteX0" fmla="*/ 0 w 11324"/>
                  <a:gd name="connsiteY0" fmla="*/ 0 h 28839"/>
                  <a:gd name="connsiteX1" fmla="*/ 0 w 11324"/>
                  <a:gd name="connsiteY1" fmla="*/ 28840 h 28839"/>
                </a:gdLst>
                <a:ahLst/>
                <a:cxnLst>
                  <a:cxn ang="0">
                    <a:pos x="connsiteX0" y="connsiteY0"/>
                  </a:cxn>
                  <a:cxn ang="0">
                    <a:pos x="connsiteX1" y="connsiteY1"/>
                  </a:cxn>
                </a:cxnLst>
                <a:rect l="l" t="t" r="r" b="b"/>
                <a:pathLst>
                  <a:path w="11324" h="28839">
                    <a:moveTo>
                      <a:pt x="0" y="0"/>
                    </a:moveTo>
                    <a:lnTo>
                      <a:pt x="0" y="2884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84" name="Freeform 933">
                <a:extLst>
                  <a:ext uri="{FF2B5EF4-FFF2-40B4-BE49-F238E27FC236}">
                    <a16:creationId xmlns:a16="http://schemas.microsoft.com/office/drawing/2014/main" id="{01A3B580-2DE3-4DFA-BA2F-38790628820A}"/>
                  </a:ext>
                </a:extLst>
              </p:cNvPr>
              <p:cNvSpPr/>
              <p:nvPr/>
            </p:nvSpPr>
            <p:spPr>
              <a:xfrm>
                <a:off x="7472711" y="3783419"/>
                <a:ext cx="28763" cy="11354"/>
              </a:xfrm>
              <a:custGeom>
                <a:avLst/>
                <a:gdLst>
                  <a:gd name="connsiteX0" fmla="*/ 0 w 28763"/>
                  <a:gd name="connsiteY0" fmla="*/ 0 h 11354"/>
                  <a:gd name="connsiteX1" fmla="*/ 28764 w 28763"/>
                  <a:gd name="connsiteY1" fmla="*/ 0 h 11354"/>
                </a:gdLst>
                <a:ahLst/>
                <a:cxnLst>
                  <a:cxn ang="0">
                    <a:pos x="connsiteX0" y="connsiteY0"/>
                  </a:cxn>
                  <a:cxn ang="0">
                    <a:pos x="connsiteX1" y="connsiteY1"/>
                  </a:cxn>
                </a:cxnLst>
                <a:rect l="l" t="t" r="r" b="b"/>
                <a:pathLst>
                  <a:path w="28763" h="11354">
                    <a:moveTo>
                      <a:pt x="0" y="0"/>
                    </a:moveTo>
                    <a:lnTo>
                      <a:pt x="28764" y="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943" name="Graphic 2">
              <a:extLst>
                <a:ext uri="{FF2B5EF4-FFF2-40B4-BE49-F238E27FC236}">
                  <a16:creationId xmlns:a16="http://schemas.microsoft.com/office/drawing/2014/main" id="{319BCAEE-7DF2-4058-B451-C33024FBD4E2}"/>
                </a:ext>
              </a:extLst>
            </p:cNvPr>
            <p:cNvGrpSpPr/>
            <p:nvPr/>
          </p:nvGrpSpPr>
          <p:grpSpPr>
            <a:xfrm>
              <a:off x="6573439" y="3614128"/>
              <a:ext cx="28650" cy="28726"/>
              <a:chOff x="6573439" y="3614128"/>
              <a:chExt cx="28650" cy="28726"/>
            </a:xfrm>
          </p:grpSpPr>
          <p:sp>
            <p:nvSpPr>
              <p:cNvPr id="1981" name="Freeform 930">
                <a:extLst>
                  <a:ext uri="{FF2B5EF4-FFF2-40B4-BE49-F238E27FC236}">
                    <a16:creationId xmlns:a16="http://schemas.microsoft.com/office/drawing/2014/main" id="{F762891F-B23C-4396-BCCE-97196AC888F4}"/>
                  </a:ext>
                </a:extLst>
              </p:cNvPr>
              <p:cNvSpPr/>
              <p:nvPr/>
            </p:nvSpPr>
            <p:spPr>
              <a:xfrm>
                <a:off x="6587821" y="3614128"/>
                <a:ext cx="11324" cy="28726"/>
              </a:xfrm>
              <a:custGeom>
                <a:avLst/>
                <a:gdLst>
                  <a:gd name="connsiteX0" fmla="*/ 0 w 11324"/>
                  <a:gd name="connsiteY0" fmla="*/ 0 h 28726"/>
                  <a:gd name="connsiteX1" fmla="*/ 0 w 11324"/>
                  <a:gd name="connsiteY1" fmla="*/ 28726 h 28726"/>
                </a:gdLst>
                <a:ahLst/>
                <a:cxnLst>
                  <a:cxn ang="0">
                    <a:pos x="connsiteX0" y="connsiteY0"/>
                  </a:cxn>
                  <a:cxn ang="0">
                    <a:pos x="connsiteX1" y="connsiteY1"/>
                  </a:cxn>
                </a:cxnLst>
                <a:rect l="l" t="t" r="r" b="b"/>
                <a:pathLst>
                  <a:path w="11324" h="28726">
                    <a:moveTo>
                      <a:pt x="0" y="0"/>
                    </a:moveTo>
                    <a:lnTo>
                      <a:pt x="0" y="28726"/>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82" name="Freeform 931">
                <a:extLst>
                  <a:ext uri="{FF2B5EF4-FFF2-40B4-BE49-F238E27FC236}">
                    <a16:creationId xmlns:a16="http://schemas.microsoft.com/office/drawing/2014/main" id="{E11FDB86-CE57-47E6-9E06-EB6CAED1DFA8}"/>
                  </a:ext>
                </a:extLst>
              </p:cNvPr>
              <p:cNvSpPr/>
              <p:nvPr/>
            </p:nvSpPr>
            <p:spPr>
              <a:xfrm>
                <a:off x="6573439" y="3628434"/>
                <a:ext cx="28650" cy="11354"/>
              </a:xfrm>
              <a:custGeom>
                <a:avLst/>
                <a:gdLst>
                  <a:gd name="connsiteX0" fmla="*/ 0 w 28650"/>
                  <a:gd name="connsiteY0" fmla="*/ 0 h 11354"/>
                  <a:gd name="connsiteX1" fmla="*/ 28651 w 28650"/>
                  <a:gd name="connsiteY1" fmla="*/ 0 h 11354"/>
                </a:gdLst>
                <a:ahLst/>
                <a:cxnLst>
                  <a:cxn ang="0">
                    <a:pos x="connsiteX0" y="connsiteY0"/>
                  </a:cxn>
                  <a:cxn ang="0">
                    <a:pos x="connsiteX1" y="connsiteY1"/>
                  </a:cxn>
                </a:cxnLst>
                <a:rect l="l" t="t" r="r" b="b"/>
                <a:pathLst>
                  <a:path w="28650" h="11354">
                    <a:moveTo>
                      <a:pt x="0" y="0"/>
                    </a:moveTo>
                    <a:lnTo>
                      <a:pt x="28651" y="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944" name="Graphic 2">
              <a:extLst>
                <a:ext uri="{FF2B5EF4-FFF2-40B4-BE49-F238E27FC236}">
                  <a16:creationId xmlns:a16="http://schemas.microsoft.com/office/drawing/2014/main" id="{965139A1-2894-4868-8AC6-13CB7461A4F6}"/>
                </a:ext>
              </a:extLst>
            </p:cNvPr>
            <p:cNvGrpSpPr/>
            <p:nvPr/>
          </p:nvGrpSpPr>
          <p:grpSpPr>
            <a:xfrm>
              <a:off x="6375941" y="3492297"/>
              <a:ext cx="28650" cy="28839"/>
              <a:chOff x="6375941" y="3492297"/>
              <a:chExt cx="28650" cy="28839"/>
            </a:xfrm>
          </p:grpSpPr>
          <p:sp>
            <p:nvSpPr>
              <p:cNvPr id="1979" name="Freeform 928">
                <a:extLst>
                  <a:ext uri="{FF2B5EF4-FFF2-40B4-BE49-F238E27FC236}">
                    <a16:creationId xmlns:a16="http://schemas.microsoft.com/office/drawing/2014/main" id="{0DA7DFD4-1A90-489A-82BF-4BCF3F72F3C2}"/>
                  </a:ext>
                </a:extLst>
              </p:cNvPr>
              <p:cNvSpPr/>
              <p:nvPr/>
            </p:nvSpPr>
            <p:spPr>
              <a:xfrm>
                <a:off x="6390323" y="3492297"/>
                <a:ext cx="11324" cy="28839"/>
              </a:xfrm>
              <a:custGeom>
                <a:avLst/>
                <a:gdLst>
                  <a:gd name="connsiteX0" fmla="*/ 0 w 11324"/>
                  <a:gd name="connsiteY0" fmla="*/ 0 h 28839"/>
                  <a:gd name="connsiteX1" fmla="*/ 0 w 11324"/>
                  <a:gd name="connsiteY1" fmla="*/ 28840 h 28839"/>
                </a:gdLst>
                <a:ahLst/>
                <a:cxnLst>
                  <a:cxn ang="0">
                    <a:pos x="connsiteX0" y="connsiteY0"/>
                  </a:cxn>
                  <a:cxn ang="0">
                    <a:pos x="connsiteX1" y="connsiteY1"/>
                  </a:cxn>
                </a:cxnLst>
                <a:rect l="l" t="t" r="r" b="b"/>
                <a:pathLst>
                  <a:path w="11324" h="28839">
                    <a:moveTo>
                      <a:pt x="0" y="0"/>
                    </a:moveTo>
                    <a:lnTo>
                      <a:pt x="0" y="2884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80" name="Freeform 929">
                <a:extLst>
                  <a:ext uri="{FF2B5EF4-FFF2-40B4-BE49-F238E27FC236}">
                    <a16:creationId xmlns:a16="http://schemas.microsoft.com/office/drawing/2014/main" id="{0565B61D-1244-4D98-A8C7-843841131728}"/>
                  </a:ext>
                </a:extLst>
              </p:cNvPr>
              <p:cNvSpPr/>
              <p:nvPr/>
            </p:nvSpPr>
            <p:spPr>
              <a:xfrm>
                <a:off x="6375941" y="3506717"/>
                <a:ext cx="28650" cy="11354"/>
              </a:xfrm>
              <a:custGeom>
                <a:avLst/>
                <a:gdLst>
                  <a:gd name="connsiteX0" fmla="*/ 0 w 28650"/>
                  <a:gd name="connsiteY0" fmla="*/ 0 h 11354"/>
                  <a:gd name="connsiteX1" fmla="*/ 28651 w 28650"/>
                  <a:gd name="connsiteY1" fmla="*/ 0 h 11354"/>
                </a:gdLst>
                <a:ahLst/>
                <a:cxnLst>
                  <a:cxn ang="0">
                    <a:pos x="connsiteX0" y="connsiteY0"/>
                  </a:cxn>
                  <a:cxn ang="0">
                    <a:pos x="connsiteX1" y="connsiteY1"/>
                  </a:cxn>
                </a:cxnLst>
                <a:rect l="l" t="t" r="r" b="b"/>
                <a:pathLst>
                  <a:path w="28650" h="11354">
                    <a:moveTo>
                      <a:pt x="0" y="0"/>
                    </a:moveTo>
                    <a:lnTo>
                      <a:pt x="28651" y="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945" name="Graphic 2">
              <a:extLst>
                <a:ext uri="{FF2B5EF4-FFF2-40B4-BE49-F238E27FC236}">
                  <a16:creationId xmlns:a16="http://schemas.microsoft.com/office/drawing/2014/main" id="{06DD86A7-051F-442F-86C1-4B745520464A}"/>
                </a:ext>
              </a:extLst>
            </p:cNvPr>
            <p:cNvGrpSpPr/>
            <p:nvPr/>
          </p:nvGrpSpPr>
          <p:grpSpPr>
            <a:xfrm>
              <a:off x="6116613" y="3349007"/>
              <a:ext cx="28650" cy="28726"/>
              <a:chOff x="6116613" y="3349007"/>
              <a:chExt cx="28650" cy="28726"/>
            </a:xfrm>
          </p:grpSpPr>
          <p:sp>
            <p:nvSpPr>
              <p:cNvPr id="1977" name="Freeform 926">
                <a:extLst>
                  <a:ext uri="{FF2B5EF4-FFF2-40B4-BE49-F238E27FC236}">
                    <a16:creationId xmlns:a16="http://schemas.microsoft.com/office/drawing/2014/main" id="{42567BDA-4EB9-4A78-87F6-C8C87CA01777}"/>
                  </a:ext>
                </a:extLst>
              </p:cNvPr>
              <p:cNvSpPr/>
              <p:nvPr/>
            </p:nvSpPr>
            <p:spPr>
              <a:xfrm>
                <a:off x="6130995" y="3349007"/>
                <a:ext cx="11324" cy="28726"/>
              </a:xfrm>
              <a:custGeom>
                <a:avLst/>
                <a:gdLst>
                  <a:gd name="connsiteX0" fmla="*/ 0 w 11324"/>
                  <a:gd name="connsiteY0" fmla="*/ 0 h 28726"/>
                  <a:gd name="connsiteX1" fmla="*/ 0 w 11324"/>
                  <a:gd name="connsiteY1" fmla="*/ 28726 h 28726"/>
                </a:gdLst>
                <a:ahLst/>
                <a:cxnLst>
                  <a:cxn ang="0">
                    <a:pos x="connsiteX0" y="connsiteY0"/>
                  </a:cxn>
                  <a:cxn ang="0">
                    <a:pos x="connsiteX1" y="connsiteY1"/>
                  </a:cxn>
                </a:cxnLst>
                <a:rect l="l" t="t" r="r" b="b"/>
                <a:pathLst>
                  <a:path w="11324" h="28726">
                    <a:moveTo>
                      <a:pt x="0" y="0"/>
                    </a:moveTo>
                    <a:lnTo>
                      <a:pt x="0" y="28726"/>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78" name="Freeform 927">
                <a:extLst>
                  <a:ext uri="{FF2B5EF4-FFF2-40B4-BE49-F238E27FC236}">
                    <a16:creationId xmlns:a16="http://schemas.microsoft.com/office/drawing/2014/main" id="{0E89323C-86BF-4804-81E7-FFF44519021D}"/>
                  </a:ext>
                </a:extLst>
              </p:cNvPr>
              <p:cNvSpPr/>
              <p:nvPr/>
            </p:nvSpPr>
            <p:spPr>
              <a:xfrm>
                <a:off x="6116613" y="3363427"/>
                <a:ext cx="28650" cy="11354"/>
              </a:xfrm>
              <a:custGeom>
                <a:avLst/>
                <a:gdLst>
                  <a:gd name="connsiteX0" fmla="*/ 0 w 28650"/>
                  <a:gd name="connsiteY0" fmla="*/ 0 h 11354"/>
                  <a:gd name="connsiteX1" fmla="*/ 28651 w 28650"/>
                  <a:gd name="connsiteY1" fmla="*/ 0 h 11354"/>
                </a:gdLst>
                <a:ahLst/>
                <a:cxnLst>
                  <a:cxn ang="0">
                    <a:pos x="connsiteX0" y="connsiteY0"/>
                  </a:cxn>
                  <a:cxn ang="0">
                    <a:pos x="connsiteX1" y="connsiteY1"/>
                  </a:cxn>
                </a:cxnLst>
                <a:rect l="l" t="t" r="r" b="b"/>
                <a:pathLst>
                  <a:path w="28650" h="11354">
                    <a:moveTo>
                      <a:pt x="0" y="0"/>
                    </a:moveTo>
                    <a:lnTo>
                      <a:pt x="28651" y="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946" name="Graphic 2">
              <a:extLst>
                <a:ext uri="{FF2B5EF4-FFF2-40B4-BE49-F238E27FC236}">
                  <a16:creationId xmlns:a16="http://schemas.microsoft.com/office/drawing/2014/main" id="{835A99FD-F568-4DC1-BB6A-45815EB6FE75}"/>
                </a:ext>
              </a:extLst>
            </p:cNvPr>
            <p:cNvGrpSpPr/>
            <p:nvPr/>
          </p:nvGrpSpPr>
          <p:grpSpPr>
            <a:xfrm>
              <a:off x="5864984" y="3164955"/>
              <a:ext cx="28650" cy="28726"/>
              <a:chOff x="5864984" y="3164955"/>
              <a:chExt cx="28650" cy="28726"/>
            </a:xfrm>
          </p:grpSpPr>
          <p:sp>
            <p:nvSpPr>
              <p:cNvPr id="1975" name="Freeform 924">
                <a:extLst>
                  <a:ext uri="{FF2B5EF4-FFF2-40B4-BE49-F238E27FC236}">
                    <a16:creationId xmlns:a16="http://schemas.microsoft.com/office/drawing/2014/main" id="{34AA547E-EAD4-451D-8607-2BA8D5A55184}"/>
                  </a:ext>
                </a:extLst>
              </p:cNvPr>
              <p:cNvSpPr/>
              <p:nvPr/>
            </p:nvSpPr>
            <p:spPr>
              <a:xfrm>
                <a:off x="5879253" y="3164955"/>
                <a:ext cx="11324" cy="28726"/>
              </a:xfrm>
              <a:custGeom>
                <a:avLst/>
                <a:gdLst>
                  <a:gd name="connsiteX0" fmla="*/ 0 w 11324"/>
                  <a:gd name="connsiteY0" fmla="*/ 0 h 28726"/>
                  <a:gd name="connsiteX1" fmla="*/ 0 w 11324"/>
                  <a:gd name="connsiteY1" fmla="*/ 28726 h 28726"/>
                </a:gdLst>
                <a:ahLst/>
                <a:cxnLst>
                  <a:cxn ang="0">
                    <a:pos x="connsiteX0" y="connsiteY0"/>
                  </a:cxn>
                  <a:cxn ang="0">
                    <a:pos x="connsiteX1" y="connsiteY1"/>
                  </a:cxn>
                </a:cxnLst>
                <a:rect l="l" t="t" r="r" b="b"/>
                <a:pathLst>
                  <a:path w="11324" h="28726">
                    <a:moveTo>
                      <a:pt x="0" y="0"/>
                    </a:moveTo>
                    <a:lnTo>
                      <a:pt x="0" y="28726"/>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76" name="Freeform 925">
                <a:extLst>
                  <a:ext uri="{FF2B5EF4-FFF2-40B4-BE49-F238E27FC236}">
                    <a16:creationId xmlns:a16="http://schemas.microsoft.com/office/drawing/2014/main" id="{09B2CE6A-C9F3-4B04-BD5D-B56E53C07D20}"/>
                  </a:ext>
                </a:extLst>
              </p:cNvPr>
              <p:cNvSpPr/>
              <p:nvPr/>
            </p:nvSpPr>
            <p:spPr>
              <a:xfrm>
                <a:off x="5864984" y="3179375"/>
                <a:ext cx="28650" cy="11354"/>
              </a:xfrm>
              <a:custGeom>
                <a:avLst/>
                <a:gdLst>
                  <a:gd name="connsiteX0" fmla="*/ 0 w 28650"/>
                  <a:gd name="connsiteY0" fmla="*/ 0 h 11354"/>
                  <a:gd name="connsiteX1" fmla="*/ 28651 w 28650"/>
                  <a:gd name="connsiteY1" fmla="*/ 0 h 11354"/>
                </a:gdLst>
                <a:ahLst/>
                <a:cxnLst>
                  <a:cxn ang="0">
                    <a:pos x="connsiteX0" y="connsiteY0"/>
                  </a:cxn>
                  <a:cxn ang="0">
                    <a:pos x="connsiteX1" y="connsiteY1"/>
                  </a:cxn>
                </a:cxnLst>
                <a:rect l="l" t="t" r="r" b="b"/>
                <a:pathLst>
                  <a:path w="28650" h="11354">
                    <a:moveTo>
                      <a:pt x="0" y="0"/>
                    </a:moveTo>
                    <a:lnTo>
                      <a:pt x="28651" y="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947" name="Graphic 2">
              <a:extLst>
                <a:ext uri="{FF2B5EF4-FFF2-40B4-BE49-F238E27FC236}">
                  <a16:creationId xmlns:a16="http://schemas.microsoft.com/office/drawing/2014/main" id="{7BBEE35E-1F90-4994-BA83-B0906B6174E3}"/>
                </a:ext>
              </a:extLst>
            </p:cNvPr>
            <p:cNvGrpSpPr/>
            <p:nvPr/>
          </p:nvGrpSpPr>
          <p:grpSpPr>
            <a:xfrm>
              <a:off x="5774842" y="2992939"/>
              <a:ext cx="28650" cy="28726"/>
              <a:chOff x="5774842" y="2992939"/>
              <a:chExt cx="28650" cy="28726"/>
            </a:xfrm>
          </p:grpSpPr>
          <p:sp>
            <p:nvSpPr>
              <p:cNvPr id="1973" name="Freeform 922">
                <a:extLst>
                  <a:ext uri="{FF2B5EF4-FFF2-40B4-BE49-F238E27FC236}">
                    <a16:creationId xmlns:a16="http://schemas.microsoft.com/office/drawing/2014/main" id="{120CBB56-5807-4CB6-96D2-FDEE6890D45D}"/>
                  </a:ext>
                </a:extLst>
              </p:cNvPr>
              <p:cNvSpPr/>
              <p:nvPr/>
            </p:nvSpPr>
            <p:spPr>
              <a:xfrm>
                <a:off x="5789224" y="2992939"/>
                <a:ext cx="11324" cy="28726"/>
              </a:xfrm>
              <a:custGeom>
                <a:avLst/>
                <a:gdLst>
                  <a:gd name="connsiteX0" fmla="*/ 0 w 11324"/>
                  <a:gd name="connsiteY0" fmla="*/ 0 h 28726"/>
                  <a:gd name="connsiteX1" fmla="*/ 0 w 11324"/>
                  <a:gd name="connsiteY1" fmla="*/ 28726 h 28726"/>
                </a:gdLst>
                <a:ahLst/>
                <a:cxnLst>
                  <a:cxn ang="0">
                    <a:pos x="connsiteX0" y="connsiteY0"/>
                  </a:cxn>
                  <a:cxn ang="0">
                    <a:pos x="connsiteX1" y="connsiteY1"/>
                  </a:cxn>
                </a:cxnLst>
                <a:rect l="l" t="t" r="r" b="b"/>
                <a:pathLst>
                  <a:path w="11324" h="28726">
                    <a:moveTo>
                      <a:pt x="0" y="0"/>
                    </a:moveTo>
                    <a:lnTo>
                      <a:pt x="0" y="28726"/>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74" name="Freeform 923">
                <a:extLst>
                  <a:ext uri="{FF2B5EF4-FFF2-40B4-BE49-F238E27FC236}">
                    <a16:creationId xmlns:a16="http://schemas.microsoft.com/office/drawing/2014/main" id="{06D49467-D8B8-42D2-AF38-34562890BA63}"/>
                  </a:ext>
                </a:extLst>
              </p:cNvPr>
              <p:cNvSpPr/>
              <p:nvPr/>
            </p:nvSpPr>
            <p:spPr>
              <a:xfrm>
                <a:off x="5774842" y="3007245"/>
                <a:ext cx="28650" cy="11354"/>
              </a:xfrm>
              <a:custGeom>
                <a:avLst/>
                <a:gdLst>
                  <a:gd name="connsiteX0" fmla="*/ 0 w 28650"/>
                  <a:gd name="connsiteY0" fmla="*/ 0 h 11354"/>
                  <a:gd name="connsiteX1" fmla="*/ 28651 w 28650"/>
                  <a:gd name="connsiteY1" fmla="*/ 0 h 11354"/>
                </a:gdLst>
                <a:ahLst/>
                <a:cxnLst>
                  <a:cxn ang="0">
                    <a:pos x="connsiteX0" y="connsiteY0"/>
                  </a:cxn>
                  <a:cxn ang="0">
                    <a:pos x="connsiteX1" y="connsiteY1"/>
                  </a:cxn>
                </a:cxnLst>
                <a:rect l="l" t="t" r="r" b="b"/>
                <a:pathLst>
                  <a:path w="28650" h="11354">
                    <a:moveTo>
                      <a:pt x="0" y="0"/>
                    </a:moveTo>
                    <a:lnTo>
                      <a:pt x="28651" y="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948" name="Graphic 2">
              <a:extLst>
                <a:ext uri="{FF2B5EF4-FFF2-40B4-BE49-F238E27FC236}">
                  <a16:creationId xmlns:a16="http://schemas.microsoft.com/office/drawing/2014/main" id="{83A8676F-CEC2-48A9-914D-1CFFB5D77C21}"/>
                </a:ext>
              </a:extLst>
            </p:cNvPr>
            <p:cNvGrpSpPr/>
            <p:nvPr/>
          </p:nvGrpSpPr>
          <p:grpSpPr>
            <a:xfrm>
              <a:off x="5714822" y="2925155"/>
              <a:ext cx="28650" cy="28726"/>
              <a:chOff x="5714822" y="2925155"/>
              <a:chExt cx="28650" cy="28726"/>
            </a:xfrm>
          </p:grpSpPr>
          <p:sp>
            <p:nvSpPr>
              <p:cNvPr id="1971" name="Freeform 920">
                <a:extLst>
                  <a:ext uri="{FF2B5EF4-FFF2-40B4-BE49-F238E27FC236}">
                    <a16:creationId xmlns:a16="http://schemas.microsoft.com/office/drawing/2014/main" id="{F1497CAE-E5A5-4815-A7E9-C89F549737E2}"/>
                  </a:ext>
                </a:extLst>
              </p:cNvPr>
              <p:cNvSpPr/>
              <p:nvPr/>
            </p:nvSpPr>
            <p:spPr>
              <a:xfrm>
                <a:off x="5729204" y="2925155"/>
                <a:ext cx="11324" cy="28726"/>
              </a:xfrm>
              <a:custGeom>
                <a:avLst/>
                <a:gdLst>
                  <a:gd name="connsiteX0" fmla="*/ 0 w 11324"/>
                  <a:gd name="connsiteY0" fmla="*/ 0 h 28726"/>
                  <a:gd name="connsiteX1" fmla="*/ 0 w 11324"/>
                  <a:gd name="connsiteY1" fmla="*/ 28726 h 28726"/>
                </a:gdLst>
                <a:ahLst/>
                <a:cxnLst>
                  <a:cxn ang="0">
                    <a:pos x="connsiteX0" y="connsiteY0"/>
                  </a:cxn>
                  <a:cxn ang="0">
                    <a:pos x="connsiteX1" y="connsiteY1"/>
                  </a:cxn>
                </a:cxnLst>
                <a:rect l="l" t="t" r="r" b="b"/>
                <a:pathLst>
                  <a:path w="11324" h="28726">
                    <a:moveTo>
                      <a:pt x="0" y="0"/>
                    </a:moveTo>
                    <a:lnTo>
                      <a:pt x="0" y="28726"/>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72" name="Freeform 921">
                <a:extLst>
                  <a:ext uri="{FF2B5EF4-FFF2-40B4-BE49-F238E27FC236}">
                    <a16:creationId xmlns:a16="http://schemas.microsoft.com/office/drawing/2014/main" id="{14464156-151C-4176-85A1-379E130FAD9F}"/>
                  </a:ext>
                </a:extLst>
              </p:cNvPr>
              <p:cNvSpPr/>
              <p:nvPr/>
            </p:nvSpPr>
            <p:spPr>
              <a:xfrm>
                <a:off x="5714822" y="2939574"/>
                <a:ext cx="28650" cy="11354"/>
              </a:xfrm>
              <a:custGeom>
                <a:avLst/>
                <a:gdLst>
                  <a:gd name="connsiteX0" fmla="*/ 0 w 28650"/>
                  <a:gd name="connsiteY0" fmla="*/ 0 h 11354"/>
                  <a:gd name="connsiteX1" fmla="*/ 28651 w 28650"/>
                  <a:gd name="connsiteY1" fmla="*/ 0 h 11354"/>
                </a:gdLst>
                <a:ahLst/>
                <a:cxnLst>
                  <a:cxn ang="0">
                    <a:pos x="connsiteX0" y="connsiteY0"/>
                  </a:cxn>
                  <a:cxn ang="0">
                    <a:pos x="connsiteX1" y="connsiteY1"/>
                  </a:cxn>
                </a:cxnLst>
                <a:rect l="l" t="t" r="r" b="b"/>
                <a:pathLst>
                  <a:path w="28650" h="11354">
                    <a:moveTo>
                      <a:pt x="0" y="0"/>
                    </a:moveTo>
                    <a:lnTo>
                      <a:pt x="28651" y="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949" name="Graphic 2">
              <a:extLst>
                <a:ext uri="{FF2B5EF4-FFF2-40B4-BE49-F238E27FC236}">
                  <a16:creationId xmlns:a16="http://schemas.microsoft.com/office/drawing/2014/main" id="{D6ECD8C9-538B-4D6F-85A8-58A6D0E79CF6}"/>
                </a:ext>
              </a:extLst>
            </p:cNvPr>
            <p:cNvGrpSpPr/>
            <p:nvPr/>
          </p:nvGrpSpPr>
          <p:grpSpPr>
            <a:xfrm>
              <a:off x="5616980" y="2785044"/>
              <a:ext cx="28764" cy="28726"/>
              <a:chOff x="5616980" y="2785044"/>
              <a:chExt cx="28764" cy="28726"/>
            </a:xfrm>
          </p:grpSpPr>
          <p:sp>
            <p:nvSpPr>
              <p:cNvPr id="1969" name="Freeform 918">
                <a:extLst>
                  <a:ext uri="{FF2B5EF4-FFF2-40B4-BE49-F238E27FC236}">
                    <a16:creationId xmlns:a16="http://schemas.microsoft.com/office/drawing/2014/main" id="{15E1853D-906D-4570-8614-AF8A419BB5DE}"/>
                  </a:ext>
                </a:extLst>
              </p:cNvPr>
              <p:cNvSpPr/>
              <p:nvPr/>
            </p:nvSpPr>
            <p:spPr>
              <a:xfrm>
                <a:off x="5631362" y="2785044"/>
                <a:ext cx="11324" cy="28726"/>
              </a:xfrm>
              <a:custGeom>
                <a:avLst/>
                <a:gdLst>
                  <a:gd name="connsiteX0" fmla="*/ 0 w 11324"/>
                  <a:gd name="connsiteY0" fmla="*/ 0 h 28726"/>
                  <a:gd name="connsiteX1" fmla="*/ 0 w 11324"/>
                  <a:gd name="connsiteY1" fmla="*/ 28726 h 28726"/>
                </a:gdLst>
                <a:ahLst/>
                <a:cxnLst>
                  <a:cxn ang="0">
                    <a:pos x="connsiteX0" y="connsiteY0"/>
                  </a:cxn>
                  <a:cxn ang="0">
                    <a:pos x="connsiteX1" y="connsiteY1"/>
                  </a:cxn>
                </a:cxnLst>
                <a:rect l="l" t="t" r="r" b="b"/>
                <a:pathLst>
                  <a:path w="11324" h="28726">
                    <a:moveTo>
                      <a:pt x="0" y="0"/>
                    </a:moveTo>
                    <a:lnTo>
                      <a:pt x="0" y="28726"/>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70" name="Freeform 919">
                <a:extLst>
                  <a:ext uri="{FF2B5EF4-FFF2-40B4-BE49-F238E27FC236}">
                    <a16:creationId xmlns:a16="http://schemas.microsoft.com/office/drawing/2014/main" id="{AFD62262-9F42-45D7-95DC-D766F272EA3F}"/>
                  </a:ext>
                </a:extLst>
              </p:cNvPr>
              <p:cNvSpPr/>
              <p:nvPr/>
            </p:nvSpPr>
            <p:spPr>
              <a:xfrm>
                <a:off x="5616980" y="2799463"/>
                <a:ext cx="28764" cy="11354"/>
              </a:xfrm>
              <a:custGeom>
                <a:avLst/>
                <a:gdLst>
                  <a:gd name="connsiteX0" fmla="*/ 0 w 28764"/>
                  <a:gd name="connsiteY0" fmla="*/ 0 h 11354"/>
                  <a:gd name="connsiteX1" fmla="*/ 28764 w 28764"/>
                  <a:gd name="connsiteY1" fmla="*/ 0 h 11354"/>
                </a:gdLst>
                <a:ahLst/>
                <a:cxnLst>
                  <a:cxn ang="0">
                    <a:pos x="connsiteX0" y="connsiteY0"/>
                  </a:cxn>
                  <a:cxn ang="0">
                    <a:pos x="connsiteX1" y="connsiteY1"/>
                  </a:cxn>
                </a:cxnLst>
                <a:rect l="l" t="t" r="r" b="b"/>
                <a:pathLst>
                  <a:path w="28764" h="11354">
                    <a:moveTo>
                      <a:pt x="0" y="0"/>
                    </a:moveTo>
                    <a:lnTo>
                      <a:pt x="28764" y="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950" name="Graphic 2">
              <a:extLst>
                <a:ext uri="{FF2B5EF4-FFF2-40B4-BE49-F238E27FC236}">
                  <a16:creationId xmlns:a16="http://schemas.microsoft.com/office/drawing/2014/main" id="{FC7809C8-4727-4068-87A7-F796BC0F0D6E}"/>
                </a:ext>
              </a:extLst>
            </p:cNvPr>
            <p:cNvGrpSpPr/>
            <p:nvPr/>
          </p:nvGrpSpPr>
          <p:grpSpPr>
            <a:xfrm>
              <a:off x="5568624" y="2701704"/>
              <a:ext cx="28650" cy="28839"/>
              <a:chOff x="5568624" y="2701704"/>
              <a:chExt cx="28650" cy="28839"/>
            </a:xfrm>
          </p:grpSpPr>
          <p:sp>
            <p:nvSpPr>
              <p:cNvPr id="1967" name="Freeform 916">
                <a:extLst>
                  <a:ext uri="{FF2B5EF4-FFF2-40B4-BE49-F238E27FC236}">
                    <a16:creationId xmlns:a16="http://schemas.microsoft.com/office/drawing/2014/main" id="{72727060-CA95-434E-997B-81D029635C2E}"/>
                  </a:ext>
                </a:extLst>
              </p:cNvPr>
              <p:cNvSpPr/>
              <p:nvPr/>
            </p:nvSpPr>
            <p:spPr>
              <a:xfrm>
                <a:off x="5583006" y="2701704"/>
                <a:ext cx="11324" cy="28839"/>
              </a:xfrm>
              <a:custGeom>
                <a:avLst/>
                <a:gdLst>
                  <a:gd name="connsiteX0" fmla="*/ 0 w 11324"/>
                  <a:gd name="connsiteY0" fmla="*/ 0 h 28839"/>
                  <a:gd name="connsiteX1" fmla="*/ 0 w 11324"/>
                  <a:gd name="connsiteY1" fmla="*/ 28840 h 28839"/>
                </a:gdLst>
                <a:ahLst/>
                <a:cxnLst>
                  <a:cxn ang="0">
                    <a:pos x="connsiteX0" y="connsiteY0"/>
                  </a:cxn>
                  <a:cxn ang="0">
                    <a:pos x="connsiteX1" y="connsiteY1"/>
                  </a:cxn>
                </a:cxnLst>
                <a:rect l="l" t="t" r="r" b="b"/>
                <a:pathLst>
                  <a:path w="11324" h="28839">
                    <a:moveTo>
                      <a:pt x="0" y="0"/>
                    </a:moveTo>
                    <a:lnTo>
                      <a:pt x="0" y="2884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68" name="Freeform 917">
                <a:extLst>
                  <a:ext uri="{FF2B5EF4-FFF2-40B4-BE49-F238E27FC236}">
                    <a16:creationId xmlns:a16="http://schemas.microsoft.com/office/drawing/2014/main" id="{B6C37D0C-74F0-48B3-887C-CC2D6C6059A6}"/>
                  </a:ext>
                </a:extLst>
              </p:cNvPr>
              <p:cNvSpPr/>
              <p:nvPr/>
            </p:nvSpPr>
            <p:spPr>
              <a:xfrm>
                <a:off x="5568624" y="2716124"/>
                <a:ext cx="28650" cy="11354"/>
              </a:xfrm>
              <a:custGeom>
                <a:avLst/>
                <a:gdLst>
                  <a:gd name="connsiteX0" fmla="*/ 0 w 28650"/>
                  <a:gd name="connsiteY0" fmla="*/ 0 h 11354"/>
                  <a:gd name="connsiteX1" fmla="*/ 28651 w 28650"/>
                  <a:gd name="connsiteY1" fmla="*/ 0 h 11354"/>
                </a:gdLst>
                <a:ahLst/>
                <a:cxnLst>
                  <a:cxn ang="0">
                    <a:pos x="connsiteX0" y="connsiteY0"/>
                  </a:cxn>
                  <a:cxn ang="0">
                    <a:pos x="connsiteX1" y="connsiteY1"/>
                  </a:cxn>
                </a:cxnLst>
                <a:rect l="l" t="t" r="r" b="b"/>
                <a:pathLst>
                  <a:path w="28650" h="11354">
                    <a:moveTo>
                      <a:pt x="0" y="0"/>
                    </a:moveTo>
                    <a:lnTo>
                      <a:pt x="28651" y="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951" name="Graphic 2">
              <a:extLst>
                <a:ext uri="{FF2B5EF4-FFF2-40B4-BE49-F238E27FC236}">
                  <a16:creationId xmlns:a16="http://schemas.microsoft.com/office/drawing/2014/main" id="{27C6EFC8-1B7D-479E-BB89-19BE2AC48F3D}"/>
                </a:ext>
              </a:extLst>
            </p:cNvPr>
            <p:cNvGrpSpPr/>
            <p:nvPr/>
          </p:nvGrpSpPr>
          <p:grpSpPr>
            <a:xfrm>
              <a:off x="5563189" y="2687397"/>
              <a:ext cx="28650" cy="28726"/>
              <a:chOff x="5563189" y="2687397"/>
              <a:chExt cx="28650" cy="28726"/>
            </a:xfrm>
          </p:grpSpPr>
          <p:sp>
            <p:nvSpPr>
              <p:cNvPr id="1965" name="Freeform 914">
                <a:extLst>
                  <a:ext uri="{FF2B5EF4-FFF2-40B4-BE49-F238E27FC236}">
                    <a16:creationId xmlns:a16="http://schemas.microsoft.com/office/drawing/2014/main" id="{B2D721D0-25CF-407A-A023-0A5456F35469}"/>
                  </a:ext>
                </a:extLst>
              </p:cNvPr>
              <p:cNvSpPr/>
              <p:nvPr/>
            </p:nvSpPr>
            <p:spPr>
              <a:xfrm>
                <a:off x="5577457" y="2687397"/>
                <a:ext cx="11324" cy="28726"/>
              </a:xfrm>
              <a:custGeom>
                <a:avLst/>
                <a:gdLst>
                  <a:gd name="connsiteX0" fmla="*/ 0 w 11324"/>
                  <a:gd name="connsiteY0" fmla="*/ 0 h 28726"/>
                  <a:gd name="connsiteX1" fmla="*/ 0 w 11324"/>
                  <a:gd name="connsiteY1" fmla="*/ 28726 h 28726"/>
                </a:gdLst>
                <a:ahLst/>
                <a:cxnLst>
                  <a:cxn ang="0">
                    <a:pos x="connsiteX0" y="connsiteY0"/>
                  </a:cxn>
                  <a:cxn ang="0">
                    <a:pos x="connsiteX1" y="connsiteY1"/>
                  </a:cxn>
                </a:cxnLst>
                <a:rect l="l" t="t" r="r" b="b"/>
                <a:pathLst>
                  <a:path w="11324" h="28726">
                    <a:moveTo>
                      <a:pt x="0" y="0"/>
                    </a:moveTo>
                    <a:lnTo>
                      <a:pt x="0" y="28726"/>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66" name="Freeform 915">
                <a:extLst>
                  <a:ext uri="{FF2B5EF4-FFF2-40B4-BE49-F238E27FC236}">
                    <a16:creationId xmlns:a16="http://schemas.microsoft.com/office/drawing/2014/main" id="{F818BEDE-528F-4A1A-B075-C2C787462012}"/>
                  </a:ext>
                </a:extLst>
              </p:cNvPr>
              <p:cNvSpPr/>
              <p:nvPr/>
            </p:nvSpPr>
            <p:spPr>
              <a:xfrm>
                <a:off x="5563189" y="2701704"/>
                <a:ext cx="28650" cy="11354"/>
              </a:xfrm>
              <a:custGeom>
                <a:avLst/>
                <a:gdLst>
                  <a:gd name="connsiteX0" fmla="*/ 0 w 28650"/>
                  <a:gd name="connsiteY0" fmla="*/ 0 h 11354"/>
                  <a:gd name="connsiteX1" fmla="*/ 28651 w 28650"/>
                  <a:gd name="connsiteY1" fmla="*/ 0 h 11354"/>
                </a:gdLst>
                <a:ahLst/>
                <a:cxnLst>
                  <a:cxn ang="0">
                    <a:pos x="connsiteX0" y="connsiteY0"/>
                  </a:cxn>
                  <a:cxn ang="0">
                    <a:pos x="connsiteX1" y="connsiteY1"/>
                  </a:cxn>
                </a:cxnLst>
                <a:rect l="l" t="t" r="r" b="b"/>
                <a:pathLst>
                  <a:path w="28650" h="11354">
                    <a:moveTo>
                      <a:pt x="0" y="0"/>
                    </a:moveTo>
                    <a:lnTo>
                      <a:pt x="28651" y="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952" name="Graphic 2">
              <a:extLst>
                <a:ext uri="{FF2B5EF4-FFF2-40B4-BE49-F238E27FC236}">
                  <a16:creationId xmlns:a16="http://schemas.microsoft.com/office/drawing/2014/main" id="{04BD3D33-5BAF-40A7-8FCF-EEEA113C0F9C}"/>
                </a:ext>
              </a:extLst>
            </p:cNvPr>
            <p:cNvGrpSpPr/>
            <p:nvPr/>
          </p:nvGrpSpPr>
          <p:grpSpPr>
            <a:xfrm>
              <a:off x="5495129" y="2558981"/>
              <a:ext cx="28650" cy="28839"/>
              <a:chOff x="5495129" y="2558981"/>
              <a:chExt cx="28650" cy="28839"/>
            </a:xfrm>
          </p:grpSpPr>
          <p:sp>
            <p:nvSpPr>
              <p:cNvPr id="1963" name="Freeform 912">
                <a:extLst>
                  <a:ext uri="{FF2B5EF4-FFF2-40B4-BE49-F238E27FC236}">
                    <a16:creationId xmlns:a16="http://schemas.microsoft.com/office/drawing/2014/main" id="{05E7DB78-D7CE-49E1-8824-F61DEB0C921F}"/>
                  </a:ext>
                </a:extLst>
              </p:cNvPr>
              <p:cNvSpPr/>
              <p:nvPr/>
            </p:nvSpPr>
            <p:spPr>
              <a:xfrm>
                <a:off x="5509511" y="2558981"/>
                <a:ext cx="11324" cy="28839"/>
              </a:xfrm>
              <a:custGeom>
                <a:avLst/>
                <a:gdLst>
                  <a:gd name="connsiteX0" fmla="*/ 0 w 11324"/>
                  <a:gd name="connsiteY0" fmla="*/ 0 h 28839"/>
                  <a:gd name="connsiteX1" fmla="*/ 0 w 11324"/>
                  <a:gd name="connsiteY1" fmla="*/ 28840 h 28839"/>
                </a:gdLst>
                <a:ahLst/>
                <a:cxnLst>
                  <a:cxn ang="0">
                    <a:pos x="connsiteX0" y="connsiteY0"/>
                  </a:cxn>
                  <a:cxn ang="0">
                    <a:pos x="connsiteX1" y="connsiteY1"/>
                  </a:cxn>
                </a:cxnLst>
                <a:rect l="l" t="t" r="r" b="b"/>
                <a:pathLst>
                  <a:path w="11324" h="28839">
                    <a:moveTo>
                      <a:pt x="0" y="0"/>
                    </a:moveTo>
                    <a:lnTo>
                      <a:pt x="0" y="2884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64" name="Freeform 913">
                <a:extLst>
                  <a:ext uri="{FF2B5EF4-FFF2-40B4-BE49-F238E27FC236}">
                    <a16:creationId xmlns:a16="http://schemas.microsoft.com/office/drawing/2014/main" id="{93310156-8B50-40DA-903E-D3B2019E95F9}"/>
                  </a:ext>
                </a:extLst>
              </p:cNvPr>
              <p:cNvSpPr/>
              <p:nvPr/>
            </p:nvSpPr>
            <p:spPr>
              <a:xfrm>
                <a:off x="5495129" y="2573401"/>
                <a:ext cx="28650" cy="11354"/>
              </a:xfrm>
              <a:custGeom>
                <a:avLst/>
                <a:gdLst>
                  <a:gd name="connsiteX0" fmla="*/ 0 w 28650"/>
                  <a:gd name="connsiteY0" fmla="*/ 0 h 11354"/>
                  <a:gd name="connsiteX1" fmla="*/ 28651 w 28650"/>
                  <a:gd name="connsiteY1" fmla="*/ 0 h 11354"/>
                </a:gdLst>
                <a:ahLst/>
                <a:cxnLst>
                  <a:cxn ang="0">
                    <a:pos x="connsiteX0" y="connsiteY0"/>
                  </a:cxn>
                  <a:cxn ang="0">
                    <a:pos x="connsiteX1" y="connsiteY1"/>
                  </a:cxn>
                </a:cxnLst>
                <a:rect l="l" t="t" r="r" b="b"/>
                <a:pathLst>
                  <a:path w="28650" h="11354">
                    <a:moveTo>
                      <a:pt x="0" y="0"/>
                    </a:moveTo>
                    <a:lnTo>
                      <a:pt x="28651" y="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953" name="Graphic 2">
              <a:extLst>
                <a:ext uri="{FF2B5EF4-FFF2-40B4-BE49-F238E27FC236}">
                  <a16:creationId xmlns:a16="http://schemas.microsoft.com/office/drawing/2014/main" id="{8ED1E4A2-2297-470A-8D0A-34E5E33D9381}"/>
                </a:ext>
              </a:extLst>
            </p:cNvPr>
            <p:cNvGrpSpPr/>
            <p:nvPr/>
          </p:nvGrpSpPr>
          <p:grpSpPr>
            <a:xfrm>
              <a:off x="5485277" y="2528211"/>
              <a:ext cx="28763" cy="28726"/>
              <a:chOff x="5485277" y="2528211"/>
              <a:chExt cx="28763" cy="28726"/>
            </a:xfrm>
          </p:grpSpPr>
          <p:sp>
            <p:nvSpPr>
              <p:cNvPr id="1961" name="Freeform 910">
                <a:extLst>
                  <a:ext uri="{FF2B5EF4-FFF2-40B4-BE49-F238E27FC236}">
                    <a16:creationId xmlns:a16="http://schemas.microsoft.com/office/drawing/2014/main" id="{F12A58EB-EFB1-47FC-AE10-4F19ED03E5CF}"/>
                  </a:ext>
                </a:extLst>
              </p:cNvPr>
              <p:cNvSpPr/>
              <p:nvPr/>
            </p:nvSpPr>
            <p:spPr>
              <a:xfrm>
                <a:off x="5499659" y="2528211"/>
                <a:ext cx="11324" cy="28726"/>
              </a:xfrm>
              <a:custGeom>
                <a:avLst/>
                <a:gdLst>
                  <a:gd name="connsiteX0" fmla="*/ 0 w 11324"/>
                  <a:gd name="connsiteY0" fmla="*/ 0 h 28726"/>
                  <a:gd name="connsiteX1" fmla="*/ 0 w 11324"/>
                  <a:gd name="connsiteY1" fmla="*/ 28726 h 28726"/>
                </a:gdLst>
                <a:ahLst/>
                <a:cxnLst>
                  <a:cxn ang="0">
                    <a:pos x="connsiteX0" y="connsiteY0"/>
                  </a:cxn>
                  <a:cxn ang="0">
                    <a:pos x="connsiteX1" y="connsiteY1"/>
                  </a:cxn>
                </a:cxnLst>
                <a:rect l="l" t="t" r="r" b="b"/>
                <a:pathLst>
                  <a:path w="11324" h="28726">
                    <a:moveTo>
                      <a:pt x="0" y="0"/>
                    </a:moveTo>
                    <a:lnTo>
                      <a:pt x="0" y="28726"/>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62" name="Freeform 911">
                <a:extLst>
                  <a:ext uri="{FF2B5EF4-FFF2-40B4-BE49-F238E27FC236}">
                    <a16:creationId xmlns:a16="http://schemas.microsoft.com/office/drawing/2014/main" id="{9C427151-F21F-4416-8970-231F966A1B92}"/>
                  </a:ext>
                </a:extLst>
              </p:cNvPr>
              <p:cNvSpPr/>
              <p:nvPr/>
            </p:nvSpPr>
            <p:spPr>
              <a:xfrm>
                <a:off x="5485277" y="2542631"/>
                <a:ext cx="28763" cy="11354"/>
              </a:xfrm>
              <a:custGeom>
                <a:avLst/>
                <a:gdLst>
                  <a:gd name="connsiteX0" fmla="*/ 0 w 28763"/>
                  <a:gd name="connsiteY0" fmla="*/ 0 h 11354"/>
                  <a:gd name="connsiteX1" fmla="*/ 28764 w 28763"/>
                  <a:gd name="connsiteY1" fmla="*/ 0 h 11354"/>
                </a:gdLst>
                <a:ahLst/>
                <a:cxnLst>
                  <a:cxn ang="0">
                    <a:pos x="connsiteX0" y="connsiteY0"/>
                  </a:cxn>
                  <a:cxn ang="0">
                    <a:pos x="connsiteX1" y="connsiteY1"/>
                  </a:cxn>
                </a:cxnLst>
                <a:rect l="l" t="t" r="r" b="b"/>
                <a:pathLst>
                  <a:path w="28763" h="11354">
                    <a:moveTo>
                      <a:pt x="0" y="0"/>
                    </a:moveTo>
                    <a:lnTo>
                      <a:pt x="28764" y="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954" name="Graphic 2">
              <a:extLst>
                <a:ext uri="{FF2B5EF4-FFF2-40B4-BE49-F238E27FC236}">
                  <a16:creationId xmlns:a16="http://schemas.microsoft.com/office/drawing/2014/main" id="{EC61F99A-D793-49D3-A48E-A460DF8D53E6}"/>
                </a:ext>
              </a:extLst>
            </p:cNvPr>
            <p:cNvGrpSpPr/>
            <p:nvPr/>
          </p:nvGrpSpPr>
          <p:grpSpPr>
            <a:xfrm>
              <a:off x="5450511" y="2492900"/>
              <a:ext cx="28763" cy="28839"/>
              <a:chOff x="5450511" y="2492900"/>
              <a:chExt cx="28763" cy="28839"/>
            </a:xfrm>
          </p:grpSpPr>
          <p:sp>
            <p:nvSpPr>
              <p:cNvPr id="1959" name="Freeform 908">
                <a:extLst>
                  <a:ext uri="{FF2B5EF4-FFF2-40B4-BE49-F238E27FC236}">
                    <a16:creationId xmlns:a16="http://schemas.microsoft.com/office/drawing/2014/main" id="{D90DF426-3FA8-46BD-AE4A-BA502324A655}"/>
                  </a:ext>
                </a:extLst>
              </p:cNvPr>
              <p:cNvSpPr/>
              <p:nvPr/>
            </p:nvSpPr>
            <p:spPr>
              <a:xfrm>
                <a:off x="5464893" y="2492900"/>
                <a:ext cx="11324" cy="28839"/>
              </a:xfrm>
              <a:custGeom>
                <a:avLst/>
                <a:gdLst>
                  <a:gd name="connsiteX0" fmla="*/ 0 w 11324"/>
                  <a:gd name="connsiteY0" fmla="*/ 0 h 28839"/>
                  <a:gd name="connsiteX1" fmla="*/ 0 w 11324"/>
                  <a:gd name="connsiteY1" fmla="*/ 28840 h 28839"/>
                </a:gdLst>
                <a:ahLst/>
                <a:cxnLst>
                  <a:cxn ang="0">
                    <a:pos x="connsiteX0" y="connsiteY0"/>
                  </a:cxn>
                  <a:cxn ang="0">
                    <a:pos x="connsiteX1" y="connsiteY1"/>
                  </a:cxn>
                </a:cxnLst>
                <a:rect l="l" t="t" r="r" b="b"/>
                <a:pathLst>
                  <a:path w="11324" h="28839">
                    <a:moveTo>
                      <a:pt x="0" y="0"/>
                    </a:moveTo>
                    <a:lnTo>
                      <a:pt x="0" y="2884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60" name="Freeform 909">
                <a:extLst>
                  <a:ext uri="{FF2B5EF4-FFF2-40B4-BE49-F238E27FC236}">
                    <a16:creationId xmlns:a16="http://schemas.microsoft.com/office/drawing/2014/main" id="{69D05087-D5D4-4351-A417-74C2F88D3043}"/>
                  </a:ext>
                </a:extLst>
              </p:cNvPr>
              <p:cNvSpPr/>
              <p:nvPr/>
            </p:nvSpPr>
            <p:spPr>
              <a:xfrm>
                <a:off x="5450511" y="2507320"/>
                <a:ext cx="28763" cy="11354"/>
              </a:xfrm>
              <a:custGeom>
                <a:avLst/>
                <a:gdLst>
                  <a:gd name="connsiteX0" fmla="*/ 0 w 28763"/>
                  <a:gd name="connsiteY0" fmla="*/ 0 h 11354"/>
                  <a:gd name="connsiteX1" fmla="*/ 28764 w 28763"/>
                  <a:gd name="connsiteY1" fmla="*/ 0 h 11354"/>
                </a:gdLst>
                <a:ahLst/>
                <a:cxnLst>
                  <a:cxn ang="0">
                    <a:pos x="connsiteX0" y="connsiteY0"/>
                  </a:cxn>
                  <a:cxn ang="0">
                    <a:pos x="connsiteX1" y="connsiteY1"/>
                  </a:cxn>
                </a:cxnLst>
                <a:rect l="l" t="t" r="r" b="b"/>
                <a:pathLst>
                  <a:path w="28763" h="11354">
                    <a:moveTo>
                      <a:pt x="0" y="0"/>
                    </a:moveTo>
                    <a:lnTo>
                      <a:pt x="28764" y="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955" name="Graphic 2">
              <a:extLst>
                <a:ext uri="{FF2B5EF4-FFF2-40B4-BE49-F238E27FC236}">
                  <a16:creationId xmlns:a16="http://schemas.microsoft.com/office/drawing/2014/main" id="{09DE2F1A-796A-49CA-AC74-56C0815E0A18}"/>
                </a:ext>
              </a:extLst>
            </p:cNvPr>
            <p:cNvGrpSpPr/>
            <p:nvPr/>
          </p:nvGrpSpPr>
          <p:grpSpPr>
            <a:xfrm>
              <a:off x="5439639" y="2482000"/>
              <a:ext cx="28763" cy="28726"/>
              <a:chOff x="5439639" y="2482000"/>
              <a:chExt cx="28763" cy="28726"/>
            </a:xfrm>
          </p:grpSpPr>
          <p:sp>
            <p:nvSpPr>
              <p:cNvPr id="1957" name="Freeform 906">
                <a:extLst>
                  <a:ext uri="{FF2B5EF4-FFF2-40B4-BE49-F238E27FC236}">
                    <a16:creationId xmlns:a16="http://schemas.microsoft.com/office/drawing/2014/main" id="{E60F12E6-D9DE-472C-B1AD-B524649ED28A}"/>
                  </a:ext>
                </a:extLst>
              </p:cNvPr>
              <p:cNvSpPr/>
              <p:nvPr/>
            </p:nvSpPr>
            <p:spPr>
              <a:xfrm>
                <a:off x="5454021" y="2482000"/>
                <a:ext cx="11324" cy="28726"/>
              </a:xfrm>
              <a:custGeom>
                <a:avLst/>
                <a:gdLst>
                  <a:gd name="connsiteX0" fmla="*/ 0 w 11324"/>
                  <a:gd name="connsiteY0" fmla="*/ 0 h 28726"/>
                  <a:gd name="connsiteX1" fmla="*/ 0 w 11324"/>
                  <a:gd name="connsiteY1" fmla="*/ 28726 h 28726"/>
                </a:gdLst>
                <a:ahLst/>
                <a:cxnLst>
                  <a:cxn ang="0">
                    <a:pos x="connsiteX0" y="connsiteY0"/>
                  </a:cxn>
                  <a:cxn ang="0">
                    <a:pos x="connsiteX1" y="connsiteY1"/>
                  </a:cxn>
                </a:cxnLst>
                <a:rect l="l" t="t" r="r" b="b"/>
                <a:pathLst>
                  <a:path w="11324" h="28726">
                    <a:moveTo>
                      <a:pt x="0" y="0"/>
                    </a:moveTo>
                    <a:lnTo>
                      <a:pt x="0" y="28726"/>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58" name="Freeform 907">
                <a:extLst>
                  <a:ext uri="{FF2B5EF4-FFF2-40B4-BE49-F238E27FC236}">
                    <a16:creationId xmlns:a16="http://schemas.microsoft.com/office/drawing/2014/main" id="{3467C3AC-751F-43D8-A481-DE78F67FB266}"/>
                  </a:ext>
                </a:extLst>
              </p:cNvPr>
              <p:cNvSpPr/>
              <p:nvPr/>
            </p:nvSpPr>
            <p:spPr>
              <a:xfrm>
                <a:off x="5439639" y="2496306"/>
                <a:ext cx="28763" cy="11354"/>
              </a:xfrm>
              <a:custGeom>
                <a:avLst/>
                <a:gdLst>
                  <a:gd name="connsiteX0" fmla="*/ 0 w 28763"/>
                  <a:gd name="connsiteY0" fmla="*/ 0 h 11354"/>
                  <a:gd name="connsiteX1" fmla="*/ 28764 w 28763"/>
                  <a:gd name="connsiteY1" fmla="*/ 0 h 11354"/>
                </a:gdLst>
                <a:ahLst/>
                <a:cxnLst>
                  <a:cxn ang="0">
                    <a:pos x="connsiteX0" y="connsiteY0"/>
                  </a:cxn>
                  <a:cxn ang="0">
                    <a:pos x="connsiteX1" y="connsiteY1"/>
                  </a:cxn>
                </a:cxnLst>
                <a:rect l="l" t="t" r="r" b="b"/>
                <a:pathLst>
                  <a:path w="28763" h="11354">
                    <a:moveTo>
                      <a:pt x="0" y="0"/>
                    </a:moveTo>
                    <a:lnTo>
                      <a:pt x="28764" y="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grpSp>
        <p:nvGrpSpPr>
          <p:cNvPr id="2171" name="Group 2170">
            <a:extLst>
              <a:ext uri="{FF2B5EF4-FFF2-40B4-BE49-F238E27FC236}">
                <a16:creationId xmlns:a16="http://schemas.microsoft.com/office/drawing/2014/main" id="{E99EFE8F-2B53-4997-9092-D10B2AA4C02D}"/>
              </a:ext>
            </a:extLst>
          </p:cNvPr>
          <p:cNvGrpSpPr/>
          <p:nvPr/>
        </p:nvGrpSpPr>
        <p:grpSpPr>
          <a:xfrm>
            <a:off x="2760996" y="4972276"/>
            <a:ext cx="6411640" cy="256545"/>
            <a:chOff x="998408" y="3727247"/>
            <a:chExt cx="2739489" cy="186100"/>
          </a:xfrm>
        </p:grpSpPr>
        <p:grpSp>
          <p:nvGrpSpPr>
            <p:cNvPr id="2172" name="Graphic 2">
              <a:extLst>
                <a:ext uri="{FF2B5EF4-FFF2-40B4-BE49-F238E27FC236}">
                  <a16:creationId xmlns:a16="http://schemas.microsoft.com/office/drawing/2014/main" id="{7750FFEE-F65D-4CE4-B0C2-7FDA048E77AE}"/>
                </a:ext>
              </a:extLst>
            </p:cNvPr>
            <p:cNvGrpSpPr/>
            <p:nvPr/>
          </p:nvGrpSpPr>
          <p:grpSpPr>
            <a:xfrm>
              <a:off x="998408" y="3727247"/>
              <a:ext cx="2739489" cy="186100"/>
              <a:chOff x="4932027" y="4672037"/>
              <a:chExt cx="2739489" cy="186100"/>
            </a:xfrm>
            <a:solidFill>
              <a:srgbClr val="000000"/>
            </a:solidFill>
          </p:grpSpPr>
          <p:sp>
            <p:nvSpPr>
              <p:cNvPr id="2175" name="TextBox 2174">
                <a:extLst>
                  <a:ext uri="{FF2B5EF4-FFF2-40B4-BE49-F238E27FC236}">
                    <a16:creationId xmlns:a16="http://schemas.microsoft.com/office/drawing/2014/main" id="{66B0BF74-32EA-44FD-8731-E031456A5DC1}"/>
                  </a:ext>
                </a:extLst>
              </p:cNvPr>
              <p:cNvSpPr txBox="1"/>
              <p:nvPr/>
            </p:nvSpPr>
            <p:spPr>
              <a:xfrm>
                <a:off x="5267343" y="4672037"/>
                <a:ext cx="175475" cy="18610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solidFill>
                      <a:srgbClr val="000000"/>
                    </a:solidFill>
                    <a:effectLst/>
                    <a:uLnTx/>
                    <a:uFillTx/>
                    <a:latin typeface="Arial"/>
                    <a:ea typeface="+mn-ea"/>
                    <a:cs typeface="Arial"/>
                    <a:sym typeface="Arial"/>
                    <a:rtl val="0"/>
                  </a:rPr>
                  <a:t>332</a:t>
                </a:r>
              </a:p>
            </p:txBody>
          </p:sp>
          <p:sp>
            <p:nvSpPr>
              <p:cNvPr id="2176" name="TextBox 2175">
                <a:extLst>
                  <a:ext uri="{FF2B5EF4-FFF2-40B4-BE49-F238E27FC236}">
                    <a16:creationId xmlns:a16="http://schemas.microsoft.com/office/drawing/2014/main" id="{EC3F4455-A59F-4035-A573-C67CCC417668}"/>
                  </a:ext>
                </a:extLst>
              </p:cNvPr>
              <p:cNvSpPr txBox="1"/>
              <p:nvPr/>
            </p:nvSpPr>
            <p:spPr>
              <a:xfrm>
                <a:off x="4932027" y="4672037"/>
                <a:ext cx="327525" cy="18610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solidFill>
                      <a:srgbClr val="000000"/>
                    </a:solidFill>
                    <a:effectLst/>
                    <a:uLnTx/>
                    <a:uFillTx/>
                    <a:latin typeface="Arial"/>
                    <a:ea typeface="+mn-ea"/>
                    <a:cs typeface="Arial"/>
                    <a:sym typeface="Arial"/>
                    <a:rtl val="0"/>
                  </a:rPr>
                  <a:t>Sorafenib</a:t>
                </a:r>
              </a:p>
            </p:txBody>
          </p:sp>
          <p:sp>
            <p:nvSpPr>
              <p:cNvPr id="2177" name="TextBox 2176">
                <a:extLst>
                  <a:ext uri="{FF2B5EF4-FFF2-40B4-BE49-F238E27FC236}">
                    <a16:creationId xmlns:a16="http://schemas.microsoft.com/office/drawing/2014/main" id="{9B5CFAAE-1769-42A9-9498-CF27DB928603}"/>
                  </a:ext>
                </a:extLst>
              </p:cNvPr>
              <p:cNvSpPr txBox="1"/>
              <p:nvPr/>
            </p:nvSpPr>
            <p:spPr>
              <a:xfrm>
                <a:off x="7434948" y="4672037"/>
                <a:ext cx="111093" cy="18610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solidFill>
                      <a:srgbClr val="000000"/>
                    </a:solidFill>
                    <a:effectLst/>
                    <a:uLnTx/>
                    <a:uFillTx/>
                    <a:latin typeface="Arial"/>
                    <a:ea typeface="+mn-ea"/>
                    <a:cs typeface="Arial"/>
                    <a:sym typeface="Arial"/>
                    <a:rtl val="0"/>
                  </a:rPr>
                  <a:t>1</a:t>
                </a:r>
              </a:p>
            </p:txBody>
          </p:sp>
          <p:sp>
            <p:nvSpPr>
              <p:cNvPr id="2178" name="TextBox 2177">
                <a:extLst>
                  <a:ext uri="{FF2B5EF4-FFF2-40B4-BE49-F238E27FC236}">
                    <a16:creationId xmlns:a16="http://schemas.microsoft.com/office/drawing/2014/main" id="{EEFF95EA-69E7-47E4-8C74-9A9FE9D20FF7}"/>
                  </a:ext>
                </a:extLst>
              </p:cNvPr>
              <p:cNvSpPr txBox="1"/>
              <p:nvPr/>
            </p:nvSpPr>
            <p:spPr>
              <a:xfrm>
                <a:off x="7309474" y="4672037"/>
                <a:ext cx="111093" cy="18610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solidFill>
                      <a:srgbClr val="000000"/>
                    </a:solidFill>
                    <a:effectLst/>
                    <a:uLnTx/>
                    <a:uFillTx/>
                    <a:latin typeface="Arial"/>
                    <a:ea typeface="+mn-ea"/>
                    <a:cs typeface="Arial"/>
                    <a:sym typeface="Arial"/>
                    <a:rtl val="0"/>
                  </a:rPr>
                  <a:t>4</a:t>
                </a:r>
              </a:p>
            </p:txBody>
          </p:sp>
          <p:sp>
            <p:nvSpPr>
              <p:cNvPr id="2179" name="TextBox 2178">
                <a:extLst>
                  <a:ext uri="{FF2B5EF4-FFF2-40B4-BE49-F238E27FC236}">
                    <a16:creationId xmlns:a16="http://schemas.microsoft.com/office/drawing/2014/main" id="{922CCA2D-980A-4CCA-93F8-72191030AF38}"/>
                  </a:ext>
                </a:extLst>
              </p:cNvPr>
              <p:cNvSpPr txBox="1"/>
              <p:nvPr/>
            </p:nvSpPr>
            <p:spPr>
              <a:xfrm>
                <a:off x="7166673" y="4672037"/>
                <a:ext cx="143283" cy="18610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solidFill>
                      <a:srgbClr val="000000"/>
                    </a:solidFill>
                    <a:effectLst/>
                    <a:uLnTx/>
                    <a:uFillTx/>
                    <a:latin typeface="Arial"/>
                    <a:ea typeface="+mn-ea"/>
                    <a:cs typeface="Arial"/>
                    <a:sym typeface="Arial"/>
                    <a:rtl val="0"/>
                  </a:rPr>
                  <a:t>13</a:t>
                </a:r>
              </a:p>
            </p:txBody>
          </p:sp>
          <p:sp>
            <p:nvSpPr>
              <p:cNvPr id="2180" name="TextBox 2179">
                <a:extLst>
                  <a:ext uri="{FF2B5EF4-FFF2-40B4-BE49-F238E27FC236}">
                    <a16:creationId xmlns:a16="http://schemas.microsoft.com/office/drawing/2014/main" id="{BF742C3D-004F-4D9C-AD63-E77D8F6B1419}"/>
                  </a:ext>
                </a:extLst>
              </p:cNvPr>
              <p:cNvSpPr txBox="1"/>
              <p:nvPr/>
            </p:nvSpPr>
            <p:spPr>
              <a:xfrm>
                <a:off x="7041199" y="4672037"/>
                <a:ext cx="143283" cy="18610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solidFill>
                      <a:srgbClr val="000000"/>
                    </a:solidFill>
                    <a:effectLst/>
                    <a:uLnTx/>
                    <a:uFillTx/>
                    <a:latin typeface="Arial"/>
                    <a:ea typeface="+mn-ea"/>
                    <a:cs typeface="Arial"/>
                    <a:sym typeface="Arial"/>
                    <a:rtl val="0"/>
                  </a:rPr>
                  <a:t>29</a:t>
                </a:r>
              </a:p>
            </p:txBody>
          </p:sp>
          <p:sp>
            <p:nvSpPr>
              <p:cNvPr id="2181" name="TextBox 2180">
                <a:extLst>
                  <a:ext uri="{FF2B5EF4-FFF2-40B4-BE49-F238E27FC236}">
                    <a16:creationId xmlns:a16="http://schemas.microsoft.com/office/drawing/2014/main" id="{3CC3B473-4219-405A-B452-17CC5728AA92}"/>
                  </a:ext>
                </a:extLst>
              </p:cNvPr>
              <p:cNvSpPr txBox="1"/>
              <p:nvPr/>
            </p:nvSpPr>
            <p:spPr>
              <a:xfrm>
                <a:off x="6915724" y="4672037"/>
                <a:ext cx="143283" cy="18610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solidFill>
                      <a:srgbClr val="000000"/>
                    </a:solidFill>
                    <a:effectLst/>
                    <a:uLnTx/>
                    <a:uFillTx/>
                    <a:latin typeface="Arial"/>
                    <a:ea typeface="+mn-ea"/>
                    <a:cs typeface="Arial"/>
                    <a:sym typeface="Arial"/>
                    <a:rtl val="0"/>
                  </a:rPr>
                  <a:t>39</a:t>
                </a:r>
              </a:p>
            </p:txBody>
          </p:sp>
          <p:sp>
            <p:nvSpPr>
              <p:cNvPr id="2182" name="TextBox 2181">
                <a:extLst>
                  <a:ext uri="{FF2B5EF4-FFF2-40B4-BE49-F238E27FC236}">
                    <a16:creationId xmlns:a16="http://schemas.microsoft.com/office/drawing/2014/main" id="{F5355195-1199-4780-805B-CD70E8E3D96C}"/>
                  </a:ext>
                </a:extLst>
              </p:cNvPr>
              <p:cNvSpPr txBox="1"/>
              <p:nvPr/>
            </p:nvSpPr>
            <p:spPr>
              <a:xfrm>
                <a:off x="6790250" y="4672037"/>
                <a:ext cx="143283" cy="18610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solidFill>
                      <a:srgbClr val="000000"/>
                    </a:solidFill>
                    <a:effectLst/>
                    <a:uLnTx/>
                    <a:uFillTx/>
                    <a:latin typeface="Arial"/>
                    <a:ea typeface="+mn-ea"/>
                    <a:cs typeface="Arial"/>
                    <a:sym typeface="Arial"/>
                    <a:rtl val="0"/>
                  </a:rPr>
                  <a:t>52</a:t>
                </a:r>
              </a:p>
            </p:txBody>
          </p:sp>
          <p:sp>
            <p:nvSpPr>
              <p:cNvPr id="2183" name="TextBox 2182">
                <a:extLst>
                  <a:ext uri="{FF2B5EF4-FFF2-40B4-BE49-F238E27FC236}">
                    <a16:creationId xmlns:a16="http://schemas.microsoft.com/office/drawing/2014/main" id="{69AB0A7F-B24E-44A2-94BE-50FC5297BDF7}"/>
                  </a:ext>
                </a:extLst>
              </p:cNvPr>
              <p:cNvSpPr txBox="1"/>
              <p:nvPr/>
            </p:nvSpPr>
            <p:spPr>
              <a:xfrm>
                <a:off x="6664775" y="4672037"/>
                <a:ext cx="143283" cy="18610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solidFill>
                      <a:srgbClr val="000000"/>
                    </a:solidFill>
                    <a:effectLst/>
                    <a:uLnTx/>
                    <a:uFillTx/>
                    <a:latin typeface="Arial"/>
                    <a:ea typeface="+mn-ea"/>
                    <a:cs typeface="Arial"/>
                    <a:sym typeface="Arial"/>
                    <a:rtl val="0"/>
                  </a:rPr>
                  <a:t>66</a:t>
                </a:r>
              </a:p>
            </p:txBody>
          </p:sp>
          <p:sp>
            <p:nvSpPr>
              <p:cNvPr id="2184" name="TextBox 2183">
                <a:extLst>
                  <a:ext uri="{FF2B5EF4-FFF2-40B4-BE49-F238E27FC236}">
                    <a16:creationId xmlns:a16="http://schemas.microsoft.com/office/drawing/2014/main" id="{D3D126DE-983A-4027-8930-E3C85C6D748A}"/>
                  </a:ext>
                </a:extLst>
              </p:cNvPr>
              <p:cNvSpPr txBox="1"/>
              <p:nvPr/>
            </p:nvSpPr>
            <p:spPr>
              <a:xfrm>
                <a:off x="6539301" y="4672037"/>
                <a:ext cx="143283" cy="18610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solidFill>
                      <a:srgbClr val="000000"/>
                    </a:solidFill>
                    <a:effectLst/>
                    <a:uLnTx/>
                    <a:uFillTx/>
                    <a:latin typeface="Arial"/>
                    <a:ea typeface="+mn-ea"/>
                    <a:cs typeface="Arial"/>
                    <a:sym typeface="Arial"/>
                    <a:rtl val="0"/>
                  </a:rPr>
                  <a:t>77</a:t>
                </a:r>
              </a:p>
            </p:txBody>
          </p:sp>
          <p:sp>
            <p:nvSpPr>
              <p:cNvPr id="2185" name="TextBox 2184">
                <a:extLst>
                  <a:ext uri="{FF2B5EF4-FFF2-40B4-BE49-F238E27FC236}">
                    <a16:creationId xmlns:a16="http://schemas.microsoft.com/office/drawing/2014/main" id="{D0044248-41B8-4093-8A69-7A6BC6D28D8B}"/>
                  </a:ext>
                </a:extLst>
              </p:cNvPr>
              <p:cNvSpPr txBox="1"/>
              <p:nvPr/>
            </p:nvSpPr>
            <p:spPr>
              <a:xfrm>
                <a:off x="6413826" y="4672037"/>
                <a:ext cx="143283" cy="18610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solidFill>
                      <a:srgbClr val="000000"/>
                    </a:solidFill>
                    <a:effectLst/>
                    <a:uLnTx/>
                    <a:uFillTx/>
                    <a:latin typeface="Arial"/>
                    <a:ea typeface="+mn-ea"/>
                    <a:cs typeface="Arial"/>
                    <a:sym typeface="Arial"/>
                    <a:rtl val="0"/>
                  </a:rPr>
                  <a:t>84</a:t>
                </a:r>
              </a:p>
            </p:txBody>
          </p:sp>
          <p:sp>
            <p:nvSpPr>
              <p:cNvPr id="2186" name="TextBox 2185">
                <a:extLst>
                  <a:ext uri="{FF2B5EF4-FFF2-40B4-BE49-F238E27FC236}">
                    <a16:creationId xmlns:a16="http://schemas.microsoft.com/office/drawing/2014/main" id="{C76A0EDE-3A2B-4BA7-8ADF-AF8EE516CE88}"/>
                  </a:ext>
                </a:extLst>
              </p:cNvPr>
              <p:cNvSpPr txBox="1"/>
              <p:nvPr/>
            </p:nvSpPr>
            <p:spPr>
              <a:xfrm>
                <a:off x="6288352" y="4672037"/>
                <a:ext cx="143283" cy="18610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solidFill>
                      <a:srgbClr val="000000"/>
                    </a:solidFill>
                    <a:effectLst/>
                    <a:uLnTx/>
                    <a:uFillTx/>
                    <a:latin typeface="Arial"/>
                    <a:ea typeface="+mn-ea"/>
                    <a:cs typeface="Arial"/>
                    <a:sym typeface="Arial"/>
                    <a:rtl val="0"/>
                  </a:rPr>
                  <a:t>96</a:t>
                </a:r>
              </a:p>
            </p:txBody>
          </p:sp>
          <p:sp>
            <p:nvSpPr>
              <p:cNvPr id="2187" name="TextBox 2186">
                <a:extLst>
                  <a:ext uri="{FF2B5EF4-FFF2-40B4-BE49-F238E27FC236}">
                    <a16:creationId xmlns:a16="http://schemas.microsoft.com/office/drawing/2014/main" id="{DCE1C82D-5818-471C-92A5-DFE1FB3D6378}"/>
                  </a:ext>
                </a:extLst>
              </p:cNvPr>
              <p:cNvSpPr txBox="1"/>
              <p:nvPr/>
            </p:nvSpPr>
            <p:spPr>
              <a:xfrm>
                <a:off x="5894715" y="4672037"/>
                <a:ext cx="175475" cy="18610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solidFill>
                      <a:srgbClr val="000000"/>
                    </a:solidFill>
                    <a:effectLst/>
                    <a:uLnTx/>
                    <a:uFillTx/>
                    <a:latin typeface="Arial"/>
                    <a:ea typeface="+mn-ea"/>
                    <a:cs typeface="Arial"/>
                    <a:sym typeface="Arial"/>
                    <a:rtl val="0"/>
                  </a:rPr>
                  <a:t>147</a:t>
                </a:r>
              </a:p>
            </p:txBody>
          </p:sp>
          <p:sp>
            <p:nvSpPr>
              <p:cNvPr id="2188" name="TextBox 2187">
                <a:extLst>
                  <a:ext uri="{FF2B5EF4-FFF2-40B4-BE49-F238E27FC236}">
                    <a16:creationId xmlns:a16="http://schemas.microsoft.com/office/drawing/2014/main" id="{AB51A276-4F0A-4C9C-BDC4-72736016E17D}"/>
                  </a:ext>
                </a:extLst>
              </p:cNvPr>
              <p:cNvSpPr txBox="1"/>
              <p:nvPr/>
            </p:nvSpPr>
            <p:spPr>
              <a:xfrm>
                <a:off x="5769241" y="4672037"/>
                <a:ext cx="175475" cy="18610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solidFill>
                      <a:srgbClr val="000000"/>
                    </a:solidFill>
                    <a:effectLst/>
                    <a:uLnTx/>
                    <a:uFillTx/>
                    <a:latin typeface="Arial"/>
                    <a:ea typeface="+mn-ea"/>
                    <a:cs typeface="Arial"/>
                    <a:sym typeface="Arial"/>
                    <a:rtl val="0"/>
                  </a:rPr>
                  <a:t>179</a:t>
                </a:r>
              </a:p>
            </p:txBody>
          </p:sp>
          <p:sp>
            <p:nvSpPr>
              <p:cNvPr id="2189" name="TextBox 2188">
                <a:extLst>
                  <a:ext uri="{FF2B5EF4-FFF2-40B4-BE49-F238E27FC236}">
                    <a16:creationId xmlns:a16="http://schemas.microsoft.com/office/drawing/2014/main" id="{03F505C9-2BF2-4922-8A82-C59AD17A4989}"/>
                  </a:ext>
                </a:extLst>
              </p:cNvPr>
              <p:cNvSpPr txBox="1"/>
              <p:nvPr/>
            </p:nvSpPr>
            <p:spPr>
              <a:xfrm>
                <a:off x="5643766" y="4672037"/>
                <a:ext cx="175475" cy="18610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solidFill>
                      <a:srgbClr val="000000"/>
                    </a:solidFill>
                    <a:effectLst/>
                    <a:uLnTx/>
                    <a:uFillTx/>
                    <a:latin typeface="Arial"/>
                    <a:ea typeface="+mn-ea"/>
                    <a:cs typeface="Arial"/>
                    <a:sym typeface="Arial"/>
                    <a:rtl val="0"/>
                  </a:rPr>
                  <a:t>208</a:t>
                </a:r>
              </a:p>
            </p:txBody>
          </p:sp>
          <p:sp>
            <p:nvSpPr>
              <p:cNvPr id="2190" name="TextBox 2189">
                <a:extLst>
                  <a:ext uri="{FF2B5EF4-FFF2-40B4-BE49-F238E27FC236}">
                    <a16:creationId xmlns:a16="http://schemas.microsoft.com/office/drawing/2014/main" id="{56AE174D-56C0-4994-BBA3-D84D774F6F1F}"/>
                  </a:ext>
                </a:extLst>
              </p:cNvPr>
              <p:cNvSpPr txBox="1"/>
              <p:nvPr/>
            </p:nvSpPr>
            <p:spPr>
              <a:xfrm>
                <a:off x="5518292" y="4672037"/>
                <a:ext cx="175475" cy="18610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solidFill>
                      <a:srgbClr val="000000"/>
                    </a:solidFill>
                    <a:effectLst/>
                    <a:uLnTx/>
                    <a:uFillTx/>
                    <a:latin typeface="Arial"/>
                    <a:ea typeface="+mn-ea"/>
                    <a:cs typeface="Arial"/>
                    <a:sym typeface="Arial"/>
                    <a:rtl val="0"/>
                  </a:rPr>
                  <a:t>247</a:t>
                </a:r>
              </a:p>
            </p:txBody>
          </p:sp>
          <p:sp>
            <p:nvSpPr>
              <p:cNvPr id="2191" name="TextBox 2190">
                <a:extLst>
                  <a:ext uri="{FF2B5EF4-FFF2-40B4-BE49-F238E27FC236}">
                    <a16:creationId xmlns:a16="http://schemas.microsoft.com/office/drawing/2014/main" id="{4185A780-0CAA-40FB-A29C-65A9302C4D89}"/>
                  </a:ext>
                </a:extLst>
              </p:cNvPr>
              <p:cNvSpPr txBox="1"/>
              <p:nvPr/>
            </p:nvSpPr>
            <p:spPr>
              <a:xfrm>
                <a:off x="5392817" y="4672037"/>
                <a:ext cx="175475" cy="18610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solidFill>
                      <a:srgbClr val="000000"/>
                    </a:solidFill>
                    <a:effectLst/>
                    <a:uLnTx/>
                    <a:uFillTx/>
                    <a:latin typeface="Arial"/>
                    <a:ea typeface="+mn-ea"/>
                    <a:cs typeface="Arial"/>
                    <a:sym typeface="Arial"/>
                    <a:rtl val="0"/>
                  </a:rPr>
                  <a:t>291</a:t>
                </a:r>
              </a:p>
            </p:txBody>
          </p:sp>
          <p:sp>
            <p:nvSpPr>
              <p:cNvPr id="2192" name="TextBox 2191">
                <a:extLst>
                  <a:ext uri="{FF2B5EF4-FFF2-40B4-BE49-F238E27FC236}">
                    <a16:creationId xmlns:a16="http://schemas.microsoft.com/office/drawing/2014/main" id="{488DB30E-1F75-4EFB-8F65-5E2C4CD9F10C}"/>
                  </a:ext>
                </a:extLst>
              </p:cNvPr>
              <p:cNvSpPr txBox="1"/>
              <p:nvPr/>
            </p:nvSpPr>
            <p:spPr>
              <a:xfrm>
                <a:off x="7560423" y="4672037"/>
                <a:ext cx="111093" cy="18610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solidFill>
                      <a:srgbClr val="000000"/>
                    </a:solidFill>
                    <a:effectLst/>
                    <a:uLnTx/>
                    <a:uFillTx/>
                    <a:latin typeface="Arial"/>
                    <a:ea typeface="+mn-ea"/>
                    <a:cs typeface="Arial"/>
                    <a:sym typeface="Arial"/>
                    <a:rtl val="0"/>
                  </a:rPr>
                  <a:t>0</a:t>
                </a:r>
              </a:p>
            </p:txBody>
          </p:sp>
        </p:grpSp>
        <p:sp>
          <p:nvSpPr>
            <p:cNvPr id="2173" name="TextBox 2172">
              <a:extLst>
                <a:ext uri="{FF2B5EF4-FFF2-40B4-BE49-F238E27FC236}">
                  <a16:creationId xmlns:a16="http://schemas.microsoft.com/office/drawing/2014/main" id="{98991F2E-9ABB-481A-AD4D-001EAA5636A8}"/>
                </a:ext>
              </a:extLst>
            </p:cNvPr>
            <p:cNvSpPr txBox="1"/>
            <p:nvPr/>
          </p:nvSpPr>
          <p:spPr>
            <a:xfrm>
              <a:off x="2212928" y="3727247"/>
              <a:ext cx="175475" cy="18610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solidFill>
                    <a:srgbClr val="000000"/>
                  </a:solidFill>
                  <a:effectLst/>
                  <a:uLnTx/>
                  <a:uFillTx/>
                  <a:latin typeface="Arial"/>
                  <a:ea typeface="+mn-ea"/>
                  <a:cs typeface="Arial"/>
                  <a:sym typeface="Arial"/>
                  <a:rtl val="0"/>
                </a:rPr>
                <a:t>113</a:t>
              </a:r>
            </a:p>
          </p:txBody>
        </p:sp>
        <p:sp>
          <p:nvSpPr>
            <p:cNvPr id="2174" name="TextBox 2173">
              <a:extLst>
                <a:ext uri="{FF2B5EF4-FFF2-40B4-BE49-F238E27FC236}">
                  <a16:creationId xmlns:a16="http://schemas.microsoft.com/office/drawing/2014/main" id="{115BF334-49A9-4393-98EB-D6022F11CE4E}"/>
                </a:ext>
              </a:extLst>
            </p:cNvPr>
            <p:cNvSpPr txBox="1"/>
            <p:nvPr/>
          </p:nvSpPr>
          <p:spPr>
            <a:xfrm>
              <a:off x="2086458" y="3727247"/>
              <a:ext cx="175475" cy="18610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solidFill>
                    <a:srgbClr val="000000"/>
                  </a:solidFill>
                  <a:effectLst/>
                  <a:uLnTx/>
                  <a:uFillTx/>
                  <a:latin typeface="Arial"/>
                  <a:ea typeface="+mn-ea"/>
                  <a:cs typeface="Arial"/>
                  <a:sym typeface="Arial"/>
                  <a:rtl val="0"/>
                </a:rPr>
                <a:t>136</a:t>
              </a:r>
            </a:p>
          </p:txBody>
        </p:sp>
      </p:grpSp>
      <p:cxnSp>
        <p:nvCxnSpPr>
          <p:cNvPr id="2493" name="Straight Connector 2492">
            <a:extLst>
              <a:ext uri="{FF2B5EF4-FFF2-40B4-BE49-F238E27FC236}">
                <a16:creationId xmlns:a16="http://schemas.microsoft.com/office/drawing/2014/main" id="{B02A8F3C-EE23-4641-9CB4-B61CB62D6098}"/>
              </a:ext>
            </a:extLst>
          </p:cNvPr>
          <p:cNvCxnSpPr>
            <a:cxnSpLocks/>
            <a:stCxn id="1874" idx="0"/>
            <a:endCxn id="2424" idx="159"/>
          </p:cNvCxnSpPr>
          <p:nvPr/>
        </p:nvCxnSpPr>
        <p:spPr>
          <a:xfrm flipV="1">
            <a:off x="4954240" y="2963922"/>
            <a:ext cx="0" cy="1402875"/>
          </a:xfrm>
          <a:prstGeom prst="line">
            <a:avLst/>
          </a:prstGeom>
          <a:ln w="6350">
            <a:prstDash val="sysDash"/>
          </a:ln>
        </p:spPr>
        <p:style>
          <a:lnRef idx="1">
            <a:schemeClr val="accent1"/>
          </a:lnRef>
          <a:fillRef idx="0">
            <a:schemeClr val="accent1"/>
          </a:fillRef>
          <a:effectRef idx="0">
            <a:schemeClr val="accent1"/>
          </a:effectRef>
          <a:fontRef idx="minor">
            <a:schemeClr val="tx1"/>
          </a:fontRef>
        </p:style>
      </p:cxnSp>
      <p:cxnSp>
        <p:nvCxnSpPr>
          <p:cNvPr id="2494" name="Straight Connector 2493">
            <a:extLst>
              <a:ext uri="{FF2B5EF4-FFF2-40B4-BE49-F238E27FC236}">
                <a16:creationId xmlns:a16="http://schemas.microsoft.com/office/drawing/2014/main" id="{0D1F342A-9B0B-4DB9-988A-8236802DF014}"/>
              </a:ext>
            </a:extLst>
          </p:cNvPr>
          <p:cNvCxnSpPr>
            <a:cxnSpLocks/>
          </p:cNvCxnSpPr>
          <p:nvPr/>
        </p:nvCxnSpPr>
        <p:spPr>
          <a:xfrm flipH="1">
            <a:off x="6129691" y="3388517"/>
            <a:ext cx="917" cy="1008000"/>
          </a:xfrm>
          <a:prstGeom prst="line">
            <a:avLst/>
          </a:prstGeom>
          <a:ln w="6350">
            <a:prstDash val="sysDash"/>
          </a:ln>
        </p:spPr>
        <p:style>
          <a:lnRef idx="1">
            <a:schemeClr val="accent1"/>
          </a:lnRef>
          <a:fillRef idx="0">
            <a:schemeClr val="accent1"/>
          </a:fillRef>
          <a:effectRef idx="0">
            <a:schemeClr val="accent1"/>
          </a:effectRef>
          <a:fontRef idx="minor">
            <a:schemeClr val="tx1"/>
          </a:fontRef>
        </p:style>
      </p:cxnSp>
      <p:cxnSp>
        <p:nvCxnSpPr>
          <p:cNvPr id="2496" name="Straight Connector 2495">
            <a:extLst>
              <a:ext uri="{FF2B5EF4-FFF2-40B4-BE49-F238E27FC236}">
                <a16:creationId xmlns:a16="http://schemas.microsoft.com/office/drawing/2014/main" id="{66745B2F-1430-4A7E-926D-11C564A4C423}"/>
              </a:ext>
            </a:extLst>
          </p:cNvPr>
          <p:cNvCxnSpPr>
            <a:cxnSpLocks/>
          </p:cNvCxnSpPr>
          <p:nvPr/>
        </p:nvCxnSpPr>
        <p:spPr>
          <a:xfrm flipV="1">
            <a:off x="7302601" y="3612912"/>
            <a:ext cx="0" cy="768000"/>
          </a:xfrm>
          <a:prstGeom prst="line">
            <a:avLst/>
          </a:prstGeom>
          <a:ln w="6350">
            <a:prstDash val="sysDash"/>
          </a:ln>
        </p:spPr>
        <p:style>
          <a:lnRef idx="1">
            <a:schemeClr val="accent1"/>
          </a:lnRef>
          <a:fillRef idx="0">
            <a:schemeClr val="accent1"/>
          </a:fillRef>
          <a:effectRef idx="0">
            <a:schemeClr val="accent1"/>
          </a:effectRef>
          <a:fontRef idx="minor">
            <a:schemeClr val="tx1"/>
          </a:fontRef>
        </p:style>
      </p:cxnSp>
      <p:sp>
        <p:nvSpPr>
          <p:cNvPr id="2504" name="TextBox 2503">
            <a:extLst>
              <a:ext uri="{FF2B5EF4-FFF2-40B4-BE49-F238E27FC236}">
                <a16:creationId xmlns:a16="http://schemas.microsoft.com/office/drawing/2014/main" id="{DE9C36F9-7083-408C-81B3-E7B8109637A0}"/>
              </a:ext>
            </a:extLst>
          </p:cNvPr>
          <p:cNvSpPr txBox="1"/>
          <p:nvPr/>
        </p:nvSpPr>
        <p:spPr>
          <a:xfrm>
            <a:off x="4929838" y="3234764"/>
            <a:ext cx="1417956" cy="2358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33" b="1" i="0" u="none" strike="noStrike" kern="1200" cap="none" spc="0" normalizeH="0" baseline="0" noProof="0" dirty="0">
                <a:ln>
                  <a:noFill/>
                </a:ln>
                <a:solidFill>
                  <a:srgbClr val="D8261C"/>
                </a:solidFill>
                <a:effectLst/>
                <a:uLnTx/>
                <a:uFillTx/>
                <a:latin typeface="Arial Narrow" panose="020B0606020202030204" pitchFamily="34" charset="0"/>
                <a:ea typeface="+mn-ea"/>
                <a:cs typeface="+mn-cs"/>
              </a:rPr>
              <a:t>58.3%</a:t>
            </a:r>
          </a:p>
        </p:txBody>
      </p:sp>
      <p:sp>
        <p:nvSpPr>
          <p:cNvPr id="2505" name="TextBox 2504">
            <a:extLst>
              <a:ext uri="{FF2B5EF4-FFF2-40B4-BE49-F238E27FC236}">
                <a16:creationId xmlns:a16="http://schemas.microsoft.com/office/drawing/2014/main" id="{B792B824-6857-4ABA-B819-F1FAF2EC169E}"/>
              </a:ext>
            </a:extLst>
          </p:cNvPr>
          <p:cNvSpPr txBox="1"/>
          <p:nvPr/>
        </p:nvSpPr>
        <p:spPr>
          <a:xfrm>
            <a:off x="4941322" y="3482344"/>
            <a:ext cx="1417956" cy="2358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33" b="1" i="0" u="none" strike="noStrike" kern="1200" cap="none" spc="0" normalizeH="0" baseline="0" noProof="0" dirty="0">
                <a:ln>
                  <a:noFill/>
                </a:ln>
                <a:solidFill>
                  <a:srgbClr val="4F74C8"/>
                </a:solidFill>
                <a:effectLst/>
                <a:uLnTx/>
                <a:uFillTx/>
                <a:latin typeface="Arial Narrow" panose="020B0606020202030204" pitchFamily="34" charset="0"/>
                <a:ea typeface="+mn-ea"/>
                <a:cs typeface="+mn-cs"/>
              </a:rPr>
              <a:t>57.2%</a:t>
            </a:r>
          </a:p>
        </p:txBody>
      </p:sp>
      <p:sp>
        <p:nvSpPr>
          <p:cNvPr id="2507" name="TextBox 2506">
            <a:extLst>
              <a:ext uri="{FF2B5EF4-FFF2-40B4-BE49-F238E27FC236}">
                <a16:creationId xmlns:a16="http://schemas.microsoft.com/office/drawing/2014/main" id="{3E0D5C8D-F731-4D1E-92A5-8035DC251DA3}"/>
              </a:ext>
            </a:extLst>
          </p:cNvPr>
          <p:cNvSpPr txBox="1"/>
          <p:nvPr/>
        </p:nvSpPr>
        <p:spPr>
          <a:xfrm>
            <a:off x="6103567" y="3720609"/>
            <a:ext cx="1417956" cy="2358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33" b="1" i="0" u="none" strike="noStrike" kern="1200" cap="none" spc="0" normalizeH="0" baseline="0" noProof="0" dirty="0">
                <a:ln>
                  <a:noFill/>
                </a:ln>
                <a:solidFill>
                  <a:srgbClr val="D8261C"/>
                </a:solidFill>
                <a:effectLst/>
                <a:uLnTx/>
                <a:uFillTx/>
                <a:latin typeface="Arial Narrow" panose="020B0606020202030204" pitchFamily="34" charset="0"/>
                <a:ea typeface="+mn-ea"/>
                <a:cs typeface="+mn-cs"/>
              </a:rPr>
              <a:t>39.0%</a:t>
            </a:r>
          </a:p>
        </p:txBody>
      </p:sp>
      <p:sp>
        <p:nvSpPr>
          <p:cNvPr id="2508" name="TextBox 2507">
            <a:extLst>
              <a:ext uri="{FF2B5EF4-FFF2-40B4-BE49-F238E27FC236}">
                <a16:creationId xmlns:a16="http://schemas.microsoft.com/office/drawing/2014/main" id="{A8066861-1C66-4C71-B59A-C8BE083EC39F}"/>
              </a:ext>
            </a:extLst>
          </p:cNvPr>
          <p:cNvSpPr txBox="1"/>
          <p:nvPr/>
        </p:nvSpPr>
        <p:spPr>
          <a:xfrm>
            <a:off x="6115051" y="3968189"/>
            <a:ext cx="1417956" cy="2358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33" b="1" i="0" u="none" strike="noStrike" kern="1200" cap="none" spc="0" normalizeH="0" baseline="0" noProof="0" dirty="0">
                <a:ln>
                  <a:noFill/>
                </a:ln>
                <a:solidFill>
                  <a:srgbClr val="4F74C8"/>
                </a:solidFill>
                <a:effectLst/>
                <a:uLnTx/>
                <a:uFillTx/>
                <a:latin typeface="Arial Narrow" panose="020B0606020202030204" pitchFamily="34" charset="0"/>
                <a:ea typeface="+mn-ea"/>
                <a:cs typeface="+mn-cs"/>
              </a:rPr>
              <a:t>31.8%</a:t>
            </a:r>
          </a:p>
        </p:txBody>
      </p:sp>
      <p:sp>
        <p:nvSpPr>
          <p:cNvPr id="2509" name="TextBox 2508">
            <a:extLst>
              <a:ext uri="{FF2B5EF4-FFF2-40B4-BE49-F238E27FC236}">
                <a16:creationId xmlns:a16="http://schemas.microsoft.com/office/drawing/2014/main" id="{42E1F03A-0DC1-4840-8FB7-E1B284B0BB45}"/>
              </a:ext>
            </a:extLst>
          </p:cNvPr>
          <p:cNvSpPr txBox="1"/>
          <p:nvPr/>
        </p:nvSpPr>
        <p:spPr>
          <a:xfrm>
            <a:off x="7233794" y="3889533"/>
            <a:ext cx="1417956" cy="2358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33" b="1" i="0" u="none" strike="noStrike" kern="1200" cap="none" spc="0" normalizeH="0" baseline="0" noProof="0" dirty="0">
                <a:ln>
                  <a:noFill/>
                </a:ln>
                <a:solidFill>
                  <a:srgbClr val="D8261C"/>
                </a:solidFill>
                <a:effectLst/>
                <a:uLnTx/>
                <a:uFillTx/>
                <a:latin typeface="Arial Narrow" panose="020B0606020202030204" pitchFamily="34" charset="0"/>
                <a:ea typeface="+mn-ea"/>
                <a:cs typeface="+mn-cs"/>
              </a:rPr>
              <a:t>29.2%</a:t>
            </a:r>
          </a:p>
        </p:txBody>
      </p:sp>
      <p:sp>
        <p:nvSpPr>
          <p:cNvPr id="2510" name="TextBox 2509">
            <a:extLst>
              <a:ext uri="{FF2B5EF4-FFF2-40B4-BE49-F238E27FC236}">
                <a16:creationId xmlns:a16="http://schemas.microsoft.com/office/drawing/2014/main" id="{A5999E22-078A-4A8A-A4F9-69F591EDBA19}"/>
              </a:ext>
            </a:extLst>
          </p:cNvPr>
          <p:cNvSpPr txBox="1"/>
          <p:nvPr/>
        </p:nvSpPr>
        <p:spPr>
          <a:xfrm>
            <a:off x="7245278" y="4137113"/>
            <a:ext cx="1417956" cy="2358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33" b="1" i="0" u="none" strike="noStrike" kern="1200" cap="none" spc="0" normalizeH="0" baseline="0" noProof="0" dirty="0">
                <a:ln>
                  <a:noFill/>
                </a:ln>
                <a:solidFill>
                  <a:srgbClr val="4F74C8"/>
                </a:solidFill>
                <a:effectLst/>
                <a:uLnTx/>
                <a:uFillTx/>
                <a:latin typeface="Arial Narrow" panose="020B0606020202030204" pitchFamily="34" charset="0"/>
                <a:ea typeface="+mn-ea"/>
                <a:cs typeface="+mn-cs"/>
              </a:rPr>
              <a:t>20.3%</a:t>
            </a:r>
          </a:p>
        </p:txBody>
      </p:sp>
      <p:sp>
        <p:nvSpPr>
          <p:cNvPr id="4" name="TextBox 3">
            <a:extLst>
              <a:ext uri="{FF2B5EF4-FFF2-40B4-BE49-F238E27FC236}">
                <a16:creationId xmlns:a16="http://schemas.microsoft.com/office/drawing/2014/main" id="{45AD068F-857B-D2FA-A877-7BB57955E524}"/>
              </a:ext>
            </a:extLst>
          </p:cNvPr>
          <p:cNvSpPr txBox="1"/>
          <p:nvPr/>
        </p:nvSpPr>
        <p:spPr>
          <a:xfrm>
            <a:off x="2220604" y="5830406"/>
            <a:ext cx="1430200"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panose="020B0604020202020204"/>
                <a:ea typeface="+mn-ea"/>
                <a:cs typeface="+mn-cs"/>
              </a:rPr>
              <a:t>Abstract LBA36</a:t>
            </a:r>
          </a:p>
        </p:txBody>
      </p:sp>
    </p:spTree>
    <p:extLst>
      <p:ext uri="{BB962C8B-B14F-4D97-AF65-F5344CB8AC3E}">
        <p14:creationId xmlns:p14="http://schemas.microsoft.com/office/powerpoint/2010/main" val="27016325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2"/>
          </p:nvPr>
        </p:nvSpPr>
        <p:spPr>
          <a:xfrm>
            <a:off x="479999" y="1018357"/>
            <a:ext cx="11213200" cy="600000"/>
          </a:xfrm>
        </p:spPr>
        <p:txBody>
          <a:bodyPr/>
          <a:lstStyle/>
          <a:p>
            <a:r>
              <a:rPr lang="en-GB" sz="2267" dirty="0"/>
              <a:t>Tislelizumab was associated with a higher ORR and more durable responses vs sorafenib </a:t>
            </a:r>
          </a:p>
          <a:p>
            <a:r>
              <a:rPr lang="en-GB" dirty="0"/>
              <a:t> </a:t>
            </a:r>
          </a:p>
        </p:txBody>
      </p:sp>
      <p:sp>
        <p:nvSpPr>
          <p:cNvPr id="3" name="Title 2"/>
          <p:cNvSpPr>
            <a:spLocks noGrp="1"/>
          </p:cNvSpPr>
          <p:nvPr>
            <p:ph type="ctrTitle"/>
          </p:nvPr>
        </p:nvSpPr>
        <p:spPr>
          <a:xfrm>
            <a:off x="479999" y="394870"/>
            <a:ext cx="11213020" cy="576000"/>
          </a:xfrm>
        </p:spPr>
        <p:txBody>
          <a:bodyPr/>
          <a:lstStyle/>
          <a:p>
            <a:r>
              <a:rPr lang="en-GB" dirty="0"/>
              <a:t>RATIONALE-301: Overall Response Rate by IRC</a:t>
            </a:r>
          </a:p>
        </p:txBody>
      </p:sp>
      <p:sp>
        <p:nvSpPr>
          <p:cNvPr id="5" name="Text Placeholder 4"/>
          <p:cNvSpPr>
            <a:spLocks noGrp="1"/>
          </p:cNvSpPr>
          <p:nvPr>
            <p:ph type="body" idx="12"/>
          </p:nvPr>
        </p:nvSpPr>
        <p:spPr>
          <a:xfrm>
            <a:off x="2360388" y="6096000"/>
            <a:ext cx="3201037" cy="235962"/>
          </a:xfrm>
        </p:spPr>
        <p:txBody>
          <a:bodyPr/>
          <a:lstStyle/>
          <a:p>
            <a:r>
              <a:rPr lang="en-GB" dirty="0"/>
              <a:t>Masatoshi Kudo</a:t>
            </a:r>
          </a:p>
        </p:txBody>
      </p:sp>
      <p:graphicFrame>
        <p:nvGraphicFramePr>
          <p:cNvPr id="7" name="Table 6"/>
          <p:cNvGraphicFramePr>
            <a:graphicFrameLocks noGrp="1"/>
          </p:cNvGraphicFramePr>
          <p:nvPr/>
        </p:nvGraphicFramePr>
        <p:xfrm>
          <a:off x="489669" y="1733804"/>
          <a:ext cx="5606332" cy="3351872"/>
        </p:xfrm>
        <a:graphic>
          <a:graphicData uri="http://schemas.openxmlformats.org/drawingml/2006/table">
            <a:tbl>
              <a:tblPr firstRow="1" bandRow="1">
                <a:tableStyleId>{5C22544A-7EE6-4342-B048-85BDC9FD1C3A}</a:tableStyleId>
              </a:tblPr>
              <a:tblGrid>
                <a:gridCol w="1982888">
                  <a:extLst>
                    <a:ext uri="{9D8B030D-6E8A-4147-A177-3AD203B41FA5}">
                      <a16:colId xmlns:a16="http://schemas.microsoft.com/office/drawing/2014/main" val="20000"/>
                    </a:ext>
                  </a:extLst>
                </a:gridCol>
                <a:gridCol w="1692219">
                  <a:extLst>
                    <a:ext uri="{9D8B030D-6E8A-4147-A177-3AD203B41FA5}">
                      <a16:colId xmlns:a16="http://schemas.microsoft.com/office/drawing/2014/main" val="20001"/>
                    </a:ext>
                  </a:extLst>
                </a:gridCol>
                <a:gridCol w="1931225">
                  <a:extLst>
                    <a:ext uri="{9D8B030D-6E8A-4147-A177-3AD203B41FA5}">
                      <a16:colId xmlns:a16="http://schemas.microsoft.com/office/drawing/2014/main" val="20002"/>
                    </a:ext>
                  </a:extLst>
                </a:gridCol>
              </a:tblGrid>
              <a:tr h="215784">
                <a:tc>
                  <a:txBody>
                    <a:bodyPr/>
                    <a:lstStyle/>
                    <a:p>
                      <a:endParaRPr lang="en-GB" sz="1300" dirty="0">
                        <a:latin typeface="Arial Narrow" panose="020B0606020202030204" pitchFamily="34" charset="0"/>
                      </a:endParaRPr>
                    </a:p>
                  </a:txBody>
                  <a:tcPr marL="121920" marR="121920" marT="0" marB="0"/>
                </a:tc>
                <a:tc>
                  <a:txBody>
                    <a:bodyPr/>
                    <a:lstStyle/>
                    <a:p>
                      <a:pPr algn="ctr"/>
                      <a:r>
                        <a:rPr lang="en-GB" sz="1300" dirty="0" err="1">
                          <a:latin typeface="Arial Narrow" panose="020B0606020202030204" pitchFamily="34" charset="0"/>
                        </a:rPr>
                        <a:t>Tislelizumab</a:t>
                      </a:r>
                      <a:r>
                        <a:rPr lang="en-GB" sz="1300" dirty="0">
                          <a:latin typeface="Arial Narrow" panose="020B0606020202030204" pitchFamily="34" charset="0"/>
                        </a:rPr>
                        <a:t> (n=342)</a:t>
                      </a:r>
                    </a:p>
                  </a:txBody>
                  <a:tcPr marL="121920" marR="121920" marT="0" marB="0" anchor="ctr"/>
                </a:tc>
                <a:tc>
                  <a:txBody>
                    <a:bodyPr/>
                    <a:lstStyle/>
                    <a:p>
                      <a:pPr algn="ctr"/>
                      <a:r>
                        <a:rPr lang="en-GB" sz="1300" dirty="0" err="1">
                          <a:latin typeface="Arial Narrow" panose="020B0606020202030204" pitchFamily="34" charset="0"/>
                        </a:rPr>
                        <a:t>Sorafenib</a:t>
                      </a:r>
                      <a:r>
                        <a:rPr lang="en-GB" sz="1300" dirty="0">
                          <a:latin typeface="Arial Narrow" panose="020B0606020202030204" pitchFamily="34" charset="0"/>
                        </a:rPr>
                        <a:t> (n=332)</a:t>
                      </a:r>
                    </a:p>
                  </a:txBody>
                  <a:tcPr marL="121920" marR="121920" marT="0" marB="0" anchor="ctr"/>
                </a:tc>
                <a:extLst>
                  <a:ext uri="{0D108BD9-81ED-4DB2-BD59-A6C34878D82A}">
                    <a16:rowId xmlns:a16="http://schemas.microsoft.com/office/drawing/2014/main" val="10000"/>
                  </a:ext>
                </a:extLst>
              </a:tr>
              <a:tr h="406400">
                <a:tc>
                  <a:txBody>
                    <a:bodyPr/>
                    <a:lstStyle/>
                    <a:p>
                      <a:r>
                        <a:rPr lang="en-GB" sz="1300" b="1" dirty="0">
                          <a:solidFill>
                            <a:schemeClr val="bg1"/>
                          </a:solidFill>
                          <a:latin typeface="Arial Narrow" panose="020B0606020202030204" pitchFamily="34" charset="0"/>
                        </a:rPr>
                        <a:t>ORR, n</a:t>
                      </a:r>
                      <a:r>
                        <a:rPr lang="en-GB" sz="1300" b="1" baseline="0" dirty="0">
                          <a:solidFill>
                            <a:schemeClr val="bg1"/>
                          </a:solidFill>
                          <a:latin typeface="Arial Narrow" panose="020B0606020202030204" pitchFamily="34" charset="0"/>
                        </a:rPr>
                        <a:t> (%) [95% CI]</a:t>
                      </a:r>
                      <a:r>
                        <a:rPr lang="en-GB" sz="1300" b="1" baseline="30000" dirty="0">
                          <a:solidFill>
                            <a:schemeClr val="bg1"/>
                          </a:solidFill>
                          <a:latin typeface="Arial Narrow" panose="020B0606020202030204" pitchFamily="34" charset="0"/>
                        </a:rPr>
                        <a:t>a</a:t>
                      </a:r>
                      <a:endParaRPr lang="en-GB" sz="1300" b="1" dirty="0">
                        <a:solidFill>
                          <a:schemeClr val="bg1"/>
                        </a:solidFill>
                        <a:latin typeface="Arial Narrow" panose="020B0606020202030204" pitchFamily="34" charset="0"/>
                      </a:endParaRPr>
                    </a:p>
                  </a:txBody>
                  <a:tcPr marL="121920" marR="121920" marT="0" marB="0" anchor="ctr">
                    <a:solidFill>
                      <a:schemeClr val="accent1">
                        <a:lumMod val="60000"/>
                        <a:lumOff val="40000"/>
                      </a:schemeClr>
                    </a:solidFill>
                  </a:tcPr>
                </a:tc>
                <a:tc>
                  <a:txBody>
                    <a:bodyPr/>
                    <a:lstStyle/>
                    <a:p>
                      <a:pPr algn="ctr"/>
                      <a:r>
                        <a:rPr lang="en-GB" sz="1300" dirty="0">
                          <a:solidFill>
                            <a:schemeClr val="tx1"/>
                          </a:solidFill>
                          <a:latin typeface="Arial Narrow" panose="020B0606020202030204" pitchFamily="34" charset="0"/>
                        </a:rPr>
                        <a:t>49 (14.3) </a:t>
                      </a:r>
                    </a:p>
                    <a:p>
                      <a:pPr algn="ctr"/>
                      <a:r>
                        <a:rPr lang="en-GB" sz="1300" dirty="0">
                          <a:solidFill>
                            <a:schemeClr val="tx1"/>
                          </a:solidFill>
                          <a:latin typeface="Arial Narrow" panose="020B0606020202030204" pitchFamily="34" charset="0"/>
                        </a:rPr>
                        <a:t>[10.8, 18.5]</a:t>
                      </a:r>
                    </a:p>
                  </a:txBody>
                  <a:tcPr marL="121920" marR="121920" marT="0" marB="0" anchor="ctr"/>
                </a:tc>
                <a:tc>
                  <a:txBody>
                    <a:bodyPr/>
                    <a:lstStyle/>
                    <a:p>
                      <a:pPr algn="ctr"/>
                      <a:r>
                        <a:rPr lang="en-GB" sz="1300" dirty="0">
                          <a:solidFill>
                            <a:schemeClr val="tx1"/>
                          </a:solidFill>
                          <a:latin typeface="Arial Narrow" panose="020B0606020202030204" pitchFamily="34" charset="0"/>
                        </a:rPr>
                        <a:t>18 (5.4) </a:t>
                      </a:r>
                    </a:p>
                    <a:p>
                      <a:pPr algn="ctr"/>
                      <a:r>
                        <a:rPr lang="en-GB" sz="1300" dirty="0">
                          <a:solidFill>
                            <a:schemeClr val="tx1"/>
                          </a:solidFill>
                          <a:latin typeface="Arial Narrow" panose="020B0606020202030204" pitchFamily="34" charset="0"/>
                        </a:rPr>
                        <a:t>[3.2, 8.4]</a:t>
                      </a:r>
                    </a:p>
                  </a:txBody>
                  <a:tcPr marL="121920" marR="121920" marT="0" marB="0" anchor="ctr"/>
                </a:tc>
                <a:extLst>
                  <a:ext uri="{0D108BD9-81ED-4DB2-BD59-A6C34878D82A}">
                    <a16:rowId xmlns:a16="http://schemas.microsoft.com/office/drawing/2014/main" val="10001"/>
                  </a:ext>
                </a:extLst>
              </a:tr>
              <a:tr h="406400">
                <a:tc>
                  <a:txBody>
                    <a:bodyPr/>
                    <a:lstStyle/>
                    <a:p>
                      <a:r>
                        <a:rPr lang="en-GB" sz="1300" b="1" dirty="0">
                          <a:solidFill>
                            <a:schemeClr val="bg1"/>
                          </a:solidFill>
                          <a:latin typeface="Arial Narrow" panose="020B0606020202030204" pitchFamily="34" charset="0"/>
                        </a:rPr>
                        <a:t>Best</a:t>
                      </a:r>
                      <a:r>
                        <a:rPr lang="en-GB" sz="1300" b="1" baseline="0" dirty="0">
                          <a:solidFill>
                            <a:schemeClr val="bg1"/>
                          </a:solidFill>
                          <a:latin typeface="Arial Narrow" panose="020B0606020202030204" pitchFamily="34" charset="0"/>
                        </a:rPr>
                        <a:t> overall response, </a:t>
                      </a:r>
                      <a:br>
                        <a:rPr lang="en-GB" sz="1300" b="1" baseline="0" dirty="0">
                          <a:solidFill>
                            <a:schemeClr val="bg1"/>
                          </a:solidFill>
                          <a:latin typeface="Arial Narrow" panose="020B0606020202030204" pitchFamily="34" charset="0"/>
                        </a:rPr>
                      </a:br>
                      <a:r>
                        <a:rPr lang="en-GB" sz="1300" b="1" baseline="0" dirty="0">
                          <a:solidFill>
                            <a:schemeClr val="bg1"/>
                          </a:solidFill>
                          <a:latin typeface="Arial Narrow" panose="020B0606020202030204" pitchFamily="34" charset="0"/>
                        </a:rPr>
                        <a:t>n (%)</a:t>
                      </a:r>
                      <a:r>
                        <a:rPr lang="en-GB" sz="1300" b="1" baseline="30000" dirty="0">
                          <a:solidFill>
                            <a:schemeClr val="bg1"/>
                          </a:solidFill>
                          <a:latin typeface="Arial Narrow" panose="020B0606020202030204" pitchFamily="34" charset="0"/>
                        </a:rPr>
                        <a:t>a</a:t>
                      </a:r>
                      <a:endParaRPr lang="en-GB" sz="1300" b="1" dirty="0">
                        <a:solidFill>
                          <a:schemeClr val="bg1"/>
                        </a:solidFill>
                        <a:latin typeface="Arial Narrow" panose="020B0606020202030204" pitchFamily="34" charset="0"/>
                      </a:endParaRPr>
                    </a:p>
                  </a:txBody>
                  <a:tcPr marL="121920" marR="121920" marT="0" marB="0" anchor="ctr">
                    <a:solidFill>
                      <a:schemeClr val="accent1">
                        <a:lumMod val="60000"/>
                        <a:lumOff val="40000"/>
                      </a:schemeClr>
                    </a:solidFill>
                  </a:tcPr>
                </a:tc>
                <a:tc>
                  <a:txBody>
                    <a:bodyPr/>
                    <a:lstStyle/>
                    <a:p>
                      <a:pPr algn="ctr"/>
                      <a:endParaRPr lang="en-GB" sz="1300" dirty="0">
                        <a:solidFill>
                          <a:schemeClr val="tx1"/>
                        </a:solidFill>
                        <a:latin typeface="Arial Narrow" panose="020B0606020202030204" pitchFamily="34" charset="0"/>
                      </a:endParaRPr>
                    </a:p>
                  </a:txBody>
                  <a:tcPr marL="121920" marR="121920" marT="0" marB="0" anchor="ctr"/>
                </a:tc>
                <a:tc>
                  <a:txBody>
                    <a:bodyPr/>
                    <a:lstStyle/>
                    <a:p>
                      <a:pPr algn="ctr"/>
                      <a:endParaRPr lang="en-GB" sz="1300" dirty="0">
                        <a:solidFill>
                          <a:schemeClr val="tx1"/>
                        </a:solidFill>
                        <a:latin typeface="Arial Narrow" panose="020B0606020202030204" pitchFamily="34" charset="0"/>
                      </a:endParaRPr>
                    </a:p>
                  </a:txBody>
                  <a:tcPr marL="121920" marR="121920" marT="0" marB="0" anchor="ctr"/>
                </a:tc>
                <a:extLst>
                  <a:ext uri="{0D108BD9-81ED-4DB2-BD59-A6C34878D82A}">
                    <a16:rowId xmlns:a16="http://schemas.microsoft.com/office/drawing/2014/main" val="10002"/>
                  </a:ext>
                </a:extLst>
              </a:tr>
              <a:tr h="215784">
                <a:tc>
                  <a:txBody>
                    <a:bodyPr/>
                    <a:lstStyle/>
                    <a:p>
                      <a:pPr marL="358775" lvl="2" indent="0"/>
                      <a:r>
                        <a:rPr lang="en-GB" sz="1300" b="1" i="0" u="none" strike="noStrike" cap="none" dirty="0">
                          <a:solidFill>
                            <a:schemeClr val="bg1"/>
                          </a:solidFill>
                          <a:latin typeface="Arial Narrow" panose="020B0606020202030204" pitchFamily="34" charset="0"/>
                          <a:ea typeface="+mn-ea"/>
                          <a:cs typeface="+mn-cs"/>
                          <a:sym typeface="Arial"/>
                        </a:rPr>
                        <a:t>CR</a:t>
                      </a:r>
                    </a:p>
                  </a:txBody>
                  <a:tcPr marL="121920" marR="121920" marT="0" marB="0" anchor="ctr">
                    <a:solidFill>
                      <a:schemeClr val="accent1">
                        <a:lumMod val="60000"/>
                        <a:lumOff val="40000"/>
                      </a:schemeClr>
                    </a:solidFill>
                  </a:tcPr>
                </a:tc>
                <a:tc>
                  <a:txBody>
                    <a:bodyPr/>
                    <a:lstStyle/>
                    <a:p>
                      <a:pPr algn="ctr"/>
                      <a:r>
                        <a:rPr lang="en-GB" sz="1300" dirty="0">
                          <a:solidFill>
                            <a:schemeClr val="tx1"/>
                          </a:solidFill>
                          <a:latin typeface="Arial Narrow" panose="020B0606020202030204" pitchFamily="34" charset="0"/>
                        </a:rPr>
                        <a:t>10 (2.9)</a:t>
                      </a:r>
                    </a:p>
                  </a:txBody>
                  <a:tcPr marL="121920" marR="121920" marT="0" marB="0" anchor="ctr"/>
                </a:tc>
                <a:tc>
                  <a:txBody>
                    <a:bodyPr/>
                    <a:lstStyle/>
                    <a:p>
                      <a:pPr algn="ctr"/>
                      <a:r>
                        <a:rPr lang="en-GB" sz="1300" dirty="0">
                          <a:solidFill>
                            <a:schemeClr val="tx1"/>
                          </a:solidFill>
                          <a:latin typeface="Arial Narrow" panose="020B0606020202030204" pitchFamily="34" charset="0"/>
                        </a:rPr>
                        <a:t>1 (0.3)</a:t>
                      </a:r>
                    </a:p>
                  </a:txBody>
                  <a:tcPr marL="121920" marR="121920" marT="0" marB="0" anchor="ctr"/>
                </a:tc>
                <a:extLst>
                  <a:ext uri="{0D108BD9-81ED-4DB2-BD59-A6C34878D82A}">
                    <a16:rowId xmlns:a16="http://schemas.microsoft.com/office/drawing/2014/main" val="10003"/>
                  </a:ext>
                </a:extLst>
              </a:tr>
              <a:tr h="215784">
                <a:tc>
                  <a:txBody>
                    <a:bodyPr/>
                    <a:lstStyle/>
                    <a:p>
                      <a:pPr marL="358775" marR="0" lvl="2" indent="0" algn="l" rtl="0">
                        <a:lnSpc>
                          <a:spcPct val="100000"/>
                        </a:lnSpc>
                        <a:spcBef>
                          <a:spcPts val="0"/>
                        </a:spcBef>
                        <a:spcAft>
                          <a:spcPts val="0"/>
                        </a:spcAft>
                        <a:buClr>
                          <a:srgbClr val="000000"/>
                        </a:buClr>
                        <a:buFont typeface="Arial"/>
                      </a:pPr>
                      <a:r>
                        <a:rPr lang="en-GB" sz="1300" b="1" i="0" u="none" strike="noStrike" cap="none" dirty="0">
                          <a:solidFill>
                            <a:schemeClr val="bg1"/>
                          </a:solidFill>
                          <a:latin typeface="Arial Narrow" panose="020B0606020202030204" pitchFamily="34" charset="0"/>
                          <a:ea typeface="+mn-ea"/>
                          <a:cs typeface="+mn-cs"/>
                          <a:sym typeface="Arial"/>
                        </a:rPr>
                        <a:t>PR</a:t>
                      </a:r>
                    </a:p>
                  </a:txBody>
                  <a:tcPr marL="121920" marR="121920" marT="0" marB="0" anchor="ctr">
                    <a:solidFill>
                      <a:schemeClr val="accent1">
                        <a:lumMod val="60000"/>
                        <a:lumOff val="40000"/>
                      </a:schemeClr>
                    </a:solidFill>
                  </a:tcPr>
                </a:tc>
                <a:tc>
                  <a:txBody>
                    <a:bodyPr/>
                    <a:lstStyle/>
                    <a:p>
                      <a:pPr algn="ctr"/>
                      <a:r>
                        <a:rPr lang="en-GB" sz="1300" dirty="0">
                          <a:solidFill>
                            <a:schemeClr val="tx1"/>
                          </a:solidFill>
                          <a:latin typeface="Arial Narrow" panose="020B0606020202030204" pitchFamily="34" charset="0"/>
                        </a:rPr>
                        <a:t>39 (11.4)</a:t>
                      </a:r>
                    </a:p>
                  </a:txBody>
                  <a:tcPr marL="121920" marR="121920" marT="0" marB="0" anchor="ctr"/>
                </a:tc>
                <a:tc>
                  <a:txBody>
                    <a:bodyPr/>
                    <a:lstStyle/>
                    <a:p>
                      <a:pPr algn="ctr"/>
                      <a:r>
                        <a:rPr lang="en-GB" sz="1300" dirty="0">
                          <a:solidFill>
                            <a:schemeClr val="tx1"/>
                          </a:solidFill>
                          <a:latin typeface="Arial Narrow" panose="020B0606020202030204" pitchFamily="34" charset="0"/>
                        </a:rPr>
                        <a:t>17 (5.1)</a:t>
                      </a:r>
                    </a:p>
                  </a:txBody>
                  <a:tcPr marL="121920" marR="121920" marT="0" marB="0" anchor="ctr"/>
                </a:tc>
                <a:extLst>
                  <a:ext uri="{0D108BD9-81ED-4DB2-BD59-A6C34878D82A}">
                    <a16:rowId xmlns:a16="http://schemas.microsoft.com/office/drawing/2014/main" val="10004"/>
                  </a:ext>
                </a:extLst>
              </a:tr>
              <a:tr h="215784">
                <a:tc>
                  <a:txBody>
                    <a:bodyPr/>
                    <a:lstStyle/>
                    <a:p>
                      <a:pPr marL="358775" marR="0" lvl="2" indent="0" algn="l" rtl="0">
                        <a:lnSpc>
                          <a:spcPct val="100000"/>
                        </a:lnSpc>
                        <a:spcBef>
                          <a:spcPts val="0"/>
                        </a:spcBef>
                        <a:spcAft>
                          <a:spcPts val="0"/>
                        </a:spcAft>
                        <a:buClr>
                          <a:srgbClr val="000000"/>
                        </a:buClr>
                        <a:buFont typeface="Arial"/>
                      </a:pPr>
                      <a:r>
                        <a:rPr lang="en-GB" sz="1300" b="1" i="0" u="none" strike="noStrike" cap="none" dirty="0">
                          <a:solidFill>
                            <a:schemeClr val="bg1"/>
                          </a:solidFill>
                          <a:latin typeface="Arial Narrow" panose="020B0606020202030204" pitchFamily="34" charset="0"/>
                          <a:ea typeface="+mn-ea"/>
                          <a:cs typeface="+mn-cs"/>
                          <a:sym typeface="Arial"/>
                        </a:rPr>
                        <a:t>SD</a:t>
                      </a:r>
                    </a:p>
                  </a:txBody>
                  <a:tcPr marL="121920" marR="121920" marT="0" marB="0" anchor="ctr">
                    <a:solidFill>
                      <a:schemeClr val="accent1">
                        <a:lumMod val="60000"/>
                        <a:lumOff val="40000"/>
                      </a:schemeClr>
                    </a:solidFill>
                  </a:tcPr>
                </a:tc>
                <a:tc>
                  <a:txBody>
                    <a:bodyPr/>
                    <a:lstStyle/>
                    <a:p>
                      <a:pPr algn="ctr"/>
                      <a:r>
                        <a:rPr lang="en-GB" sz="1300" dirty="0">
                          <a:solidFill>
                            <a:schemeClr val="tx1"/>
                          </a:solidFill>
                          <a:latin typeface="Arial Narrow" panose="020B0606020202030204" pitchFamily="34" charset="0"/>
                        </a:rPr>
                        <a:t>94 (27.5)</a:t>
                      </a:r>
                    </a:p>
                  </a:txBody>
                  <a:tcPr marL="121920" marR="121920" marT="0" marB="0" anchor="ctr"/>
                </a:tc>
                <a:tc>
                  <a:txBody>
                    <a:bodyPr/>
                    <a:lstStyle/>
                    <a:p>
                      <a:pPr algn="ctr"/>
                      <a:r>
                        <a:rPr lang="en-GB" sz="1300" dirty="0">
                          <a:solidFill>
                            <a:schemeClr val="tx1"/>
                          </a:solidFill>
                          <a:latin typeface="Arial Narrow" panose="020B0606020202030204" pitchFamily="34" charset="0"/>
                        </a:rPr>
                        <a:t>137 (41.3)</a:t>
                      </a:r>
                    </a:p>
                  </a:txBody>
                  <a:tcPr marL="121920" marR="121920" marT="0" marB="0" anchor="ctr"/>
                </a:tc>
                <a:extLst>
                  <a:ext uri="{0D108BD9-81ED-4DB2-BD59-A6C34878D82A}">
                    <a16:rowId xmlns:a16="http://schemas.microsoft.com/office/drawing/2014/main" val="10006"/>
                  </a:ext>
                </a:extLst>
              </a:tr>
              <a:tr h="215784">
                <a:tc>
                  <a:txBody>
                    <a:bodyPr/>
                    <a:lstStyle/>
                    <a:p>
                      <a:pPr marL="358775" marR="0" lvl="2" indent="0" algn="l" rtl="0">
                        <a:lnSpc>
                          <a:spcPct val="100000"/>
                        </a:lnSpc>
                        <a:spcBef>
                          <a:spcPts val="0"/>
                        </a:spcBef>
                        <a:spcAft>
                          <a:spcPts val="0"/>
                        </a:spcAft>
                        <a:buClr>
                          <a:srgbClr val="000000"/>
                        </a:buClr>
                        <a:buFont typeface="Arial"/>
                      </a:pPr>
                      <a:r>
                        <a:rPr lang="en-GB" sz="1300" b="1" i="0" u="none" strike="noStrike" cap="none" dirty="0">
                          <a:solidFill>
                            <a:schemeClr val="bg1"/>
                          </a:solidFill>
                          <a:latin typeface="Arial Narrow" panose="020B0606020202030204" pitchFamily="34" charset="0"/>
                          <a:ea typeface="+mn-ea"/>
                          <a:cs typeface="+mn-cs"/>
                          <a:sym typeface="Arial"/>
                        </a:rPr>
                        <a:t>PD</a:t>
                      </a:r>
                    </a:p>
                  </a:txBody>
                  <a:tcPr marL="121920" marR="121920" marT="0" marB="0" anchor="ctr">
                    <a:solidFill>
                      <a:schemeClr val="accent1">
                        <a:lumMod val="60000"/>
                        <a:lumOff val="40000"/>
                      </a:schemeClr>
                    </a:solidFill>
                  </a:tcPr>
                </a:tc>
                <a:tc>
                  <a:txBody>
                    <a:bodyPr/>
                    <a:lstStyle/>
                    <a:p>
                      <a:pPr algn="ctr"/>
                      <a:r>
                        <a:rPr lang="en-GB" sz="1300" dirty="0">
                          <a:solidFill>
                            <a:schemeClr val="tx1"/>
                          </a:solidFill>
                          <a:latin typeface="Arial Narrow" panose="020B0606020202030204" pitchFamily="34" charset="0"/>
                        </a:rPr>
                        <a:t>166 (48.5)</a:t>
                      </a:r>
                    </a:p>
                  </a:txBody>
                  <a:tcPr marL="121920" marR="121920" marT="0" marB="0" anchor="ctr"/>
                </a:tc>
                <a:tc>
                  <a:txBody>
                    <a:bodyPr/>
                    <a:lstStyle/>
                    <a:p>
                      <a:pPr algn="ctr"/>
                      <a:r>
                        <a:rPr lang="en-GB" sz="1300" dirty="0">
                          <a:solidFill>
                            <a:schemeClr val="tx1"/>
                          </a:solidFill>
                          <a:latin typeface="Arial Narrow" panose="020B0606020202030204" pitchFamily="34" charset="0"/>
                        </a:rPr>
                        <a:t>117 (35.2)</a:t>
                      </a:r>
                    </a:p>
                  </a:txBody>
                  <a:tcPr marL="121920" marR="121920" marT="0" marB="0" anchor="ctr"/>
                </a:tc>
                <a:extLst>
                  <a:ext uri="{0D108BD9-81ED-4DB2-BD59-A6C34878D82A}">
                    <a16:rowId xmlns:a16="http://schemas.microsoft.com/office/drawing/2014/main" val="10007"/>
                  </a:ext>
                </a:extLst>
              </a:tr>
              <a:tr h="215784">
                <a:tc>
                  <a:txBody>
                    <a:bodyPr/>
                    <a:lstStyle/>
                    <a:p>
                      <a:pPr marL="358775" marR="0" lvl="2" indent="0" algn="l" rtl="0">
                        <a:lnSpc>
                          <a:spcPct val="100000"/>
                        </a:lnSpc>
                        <a:spcBef>
                          <a:spcPts val="0"/>
                        </a:spcBef>
                        <a:spcAft>
                          <a:spcPts val="0"/>
                        </a:spcAft>
                        <a:buClr>
                          <a:srgbClr val="000000"/>
                        </a:buClr>
                        <a:buFont typeface="Arial"/>
                      </a:pPr>
                      <a:r>
                        <a:rPr lang="en-GB" sz="1300" b="1" i="0" u="none" strike="noStrike" cap="none" dirty="0" err="1">
                          <a:solidFill>
                            <a:schemeClr val="bg1"/>
                          </a:solidFill>
                          <a:latin typeface="Arial Narrow" panose="020B0606020202030204" pitchFamily="34" charset="0"/>
                          <a:ea typeface="+mn-ea"/>
                          <a:cs typeface="+mn-cs"/>
                          <a:sym typeface="Arial"/>
                        </a:rPr>
                        <a:t>Undetermined</a:t>
                      </a:r>
                      <a:r>
                        <a:rPr lang="en-GB" sz="1300" b="1" i="0" u="none" strike="noStrike" cap="none" baseline="30000" dirty="0" err="1">
                          <a:solidFill>
                            <a:schemeClr val="bg1"/>
                          </a:solidFill>
                          <a:latin typeface="Arial Narrow" panose="020B0606020202030204" pitchFamily="34" charset="0"/>
                          <a:ea typeface="+mn-ea"/>
                          <a:cs typeface="+mn-cs"/>
                          <a:sym typeface="Arial"/>
                        </a:rPr>
                        <a:t>b</a:t>
                      </a:r>
                      <a:endParaRPr lang="en-GB" sz="1300" b="1" i="0" u="none" strike="noStrike" cap="none" baseline="30000" dirty="0">
                        <a:solidFill>
                          <a:schemeClr val="bg1"/>
                        </a:solidFill>
                        <a:latin typeface="Arial Narrow" panose="020B0606020202030204" pitchFamily="34" charset="0"/>
                        <a:ea typeface="+mn-ea"/>
                        <a:cs typeface="+mn-cs"/>
                        <a:sym typeface="Arial"/>
                      </a:endParaRPr>
                    </a:p>
                  </a:txBody>
                  <a:tcPr marL="121920" marR="121920" marT="0" marB="0" anchor="ctr">
                    <a:solidFill>
                      <a:schemeClr val="accent1">
                        <a:lumMod val="60000"/>
                        <a:lumOff val="40000"/>
                      </a:schemeClr>
                    </a:solidFill>
                  </a:tcPr>
                </a:tc>
                <a:tc>
                  <a:txBody>
                    <a:bodyPr/>
                    <a:lstStyle/>
                    <a:p>
                      <a:pPr algn="ctr"/>
                      <a:r>
                        <a:rPr lang="en-GB" sz="1300" dirty="0">
                          <a:solidFill>
                            <a:schemeClr val="tx1"/>
                          </a:solidFill>
                          <a:latin typeface="Arial Narrow" panose="020B0606020202030204" pitchFamily="34" charset="0"/>
                        </a:rPr>
                        <a:t>26 (7.6)</a:t>
                      </a:r>
                    </a:p>
                  </a:txBody>
                  <a:tcPr marL="121920" marR="121920" marT="0" marB="0" anchor="ctr"/>
                </a:tc>
                <a:tc>
                  <a:txBody>
                    <a:bodyPr/>
                    <a:lstStyle/>
                    <a:p>
                      <a:pPr algn="ctr"/>
                      <a:r>
                        <a:rPr lang="en-GB" sz="1300" dirty="0">
                          <a:solidFill>
                            <a:schemeClr val="tx1"/>
                          </a:solidFill>
                          <a:latin typeface="Arial Narrow" panose="020B0606020202030204" pitchFamily="34" charset="0"/>
                        </a:rPr>
                        <a:t>50 (15.1)</a:t>
                      </a:r>
                    </a:p>
                  </a:txBody>
                  <a:tcPr marL="121920" marR="121920" marT="0" marB="0" anchor="ctr"/>
                </a:tc>
                <a:extLst>
                  <a:ext uri="{0D108BD9-81ED-4DB2-BD59-A6C34878D82A}">
                    <a16:rowId xmlns:a16="http://schemas.microsoft.com/office/drawing/2014/main" val="10008"/>
                  </a:ext>
                </a:extLst>
              </a:tr>
              <a:tr h="215784">
                <a:tc>
                  <a:txBody>
                    <a:bodyPr/>
                    <a:lstStyle/>
                    <a:p>
                      <a:pPr marL="358775" marR="0" lvl="2" indent="0" algn="l" rtl="0">
                        <a:lnSpc>
                          <a:spcPct val="100000"/>
                        </a:lnSpc>
                        <a:spcBef>
                          <a:spcPts val="0"/>
                        </a:spcBef>
                        <a:spcAft>
                          <a:spcPts val="0"/>
                        </a:spcAft>
                        <a:buClr>
                          <a:srgbClr val="000000"/>
                        </a:buClr>
                        <a:buFont typeface="Arial"/>
                      </a:pPr>
                      <a:r>
                        <a:rPr lang="en-GB" sz="1300" b="1" i="0" u="none" strike="noStrike" cap="none" dirty="0">
                          <a:solidFill>
                            <a:schemeClr val="bg1"/>
                          </a:solidFill>
                          <a:latin typeface="Arial Narrow" panose="020B0606020202030204" pitchFamily="34" charset="0"/>
                          <a:ea typeface="+mn-ea"/>
                          <a:cs typeface="+mn-cs"/>
                          <a:sym typeface="Arial"/>
                        </a:rPr>
                        <a:t>Non-CR/non-</a:t>
                      </a:r>
                      <a:r>
                        <a:rPr lang="en-GB" sz="1300" b="1" i="0" u="none" strike="noStrike" cap="none" dirty="0" err="1">
                          <a:solidFill>
                            <a:schemeClr val="bg1"/>
                          </a:solidFill>
                          <a:latin typeface="Arial Narrow" panose="020B0606020202030204" pitchFamily="34" charset="0"/>
                          <a:ea typeface="+mn-ea"/>
                          <a:cs typeface="+mn-cs"/>
                          <a:sym typeface="Arial"/>
                        </a:rPr>
                        <a:t>PD</a:t>
                      </a:r>
                      <a:r>
                        <a:rPr lang="en-GB" sz="1300" b="1" i="0" u="none" strike="noStrike" cap="none" baseline="30000" dirty="0" err="1">
                          <a:solidFill>
                            <a:schemeClr val="bg1"/>
                          </a:solidFill>
                          <a:latin typeface="Arial" panose="020B0604020202020204" pitchFamily="34" charset="0"/>
                          <a:ea typeface="+mn-ea"/>
                          <a:cs typeface="Arial" panose="020B0604020202020204" pitchFamily="34" charset="0"/>
                          <a:sym typeface="Arial"/>
                        </a:rPr>
                        <a:t>c</a:t>
                      </a:r>
                      <a:endParaRPr lang="en-GB" sz="1300" b="1" i="0" u="none" strike="noStrike" cap="none" baseline="30000" dirty="0">
                        <a:solidFill>
                          <a:schemeClr val="bg1"/>
                        </a:solidFill>
                        <a:latin typeface="Arial Narrow" panose="020B0606020202030204" pitchFamily="34" charset="0"/>
                        <a:ea typeface="+mn-ea"/>
                        <a:cs typeface="+mn-cs"/>
                        <a:sym typeface="Arial"/>
                      </a:endParaRPr>
                    </a:p>
                  </a:txBody>
                  <a:tcPr marL="121920" marR="121920" marT="0" marB="0" anchor="ctr">
                    <a:solidFill>
                      <a:schemeClr val="accent1">
                        <a:lumMod val="60000"/>
                        <a:lumOff val="40000"/>
                      </a:schemeClr>
                    </a:solidFill>
                  </a:tcPr>
                </a:tc>
                <a:tc>
                  <a:txBody>
                    <a:bodyPr/>
                    <a:lstStyle/>
                    <a:p>
                      <a:pPr algn="ctr"/>
                      <a:r>
                        <a:rPr lang="en-GB" sz="1300" dirty="0">
                          <a:solidFill>
                            <a:schemeClr val="tx1"/>
                          </a:solidFill>
                          <a:latin typeface="Arial Narrow" panose="020B0606020202030204" pitchFamily="34" charset="0"/>
                        </a:rPr>
                        <a:t>7 (2.0)</a:t>
                      </a:r>
                    </a:p>
                  </a:txBody>
                  <a:tcPr marL="121920" marR="121920" marT="0" marB="0" anchor="ctr"/>
                </a:tc>
                <a:tc>
                  <a:txBody>
                    <a:bodyPr/>
                    <a:lstStyle/>
                    <a:p>
                      <a:pPr algn="ctr"/>
                      <a:r>
                        <a:rPr lang="en-GB" sz="1300" dirty="0">
                          <a:solidFill>
                            <a:schemeClr val="tx1"/>
                          </a:solidFill>
                          <a:latin typeface="Arial Narrow" panose="020B0606020202030204" pitchFamily="34" charset="0"/>
                        </a:rPr>
                        <a:t>10 (3.0)</a:t>
                      </a:r>
                    </a:p>
                  </a:txBody>
                  <a:tcPr marL="121920" marR="121920" marT="0" marB="0" anchor="ctr"/>
                </a:tc>
                <a:extLst>
                  <a:ext uri="{0D108BD9-81ED-4DB2-BD59-A6C34878D82A}">
                    <a16:rowId xmlns:a16="http://schemas.microsoft.com/office/drawing/2014/main" val="1903749979"/>
                  </a:ext>
                </a:extLst>
              </a:tr>
              <a:tr h="215784">
                <a:tc>
                  <a:txBody>
                    <a:bodyPr/>
                    <a:lstStyle/>
                    <a:p>
                      <a:pPr marL="0" marR="0" lvl="2" indent="0" algn="l" rtl="0">
                        <a:lnSpc>
                          <a:spcPct val="100000"/>
                        </a:lnSpc>
                        <a:spcBef>
                          <a:spcPts val="0"/>
                        </a:spcBef>
                        <a:spcAft>
                          <a:spcPts val="0"/>
                        </a:spcAft>
                        <a:buClr>
                          <a:srgbClr val="000000"/>
                        </a:buClr>
                        <a:buFont typeface="Arial"/>
                      </a:pPr>
                      <a:r>
                        <a:rPr lang="en-GB" sz="1300" b="1" i="0" u="none" strike="noStrike" cap="none" baseline="0" dirty="0">
                          <a:solidFill>
                            <a:schemeClr val="bg1"/>
                          </a:solidFill>
                          <a:latin typeface="Arial Narrow" panose="020B0606020202030204" pitchFamily="34" charset="0"/>
                          <a:ea typeface="+mn-ea"/>
                          <a:cs typeface="+mn-cs"/>
                          <a:sym typeface="Arial"/>
                        </a:rPr>
                        <a:t>Responders </a:t>
                      </a:r>
                    </a:p>
                  </a:txBody>
                  <a:tcPr marL="121920" marR="121920" marT="0" marB="0" anchor="ctr">
                    <a:solidFill>
                      <a:srgbClr val="1E325F"/>
                    </a:solidFill>
                  </a:tcPr>
                </a:tc>
                <a:tc>
                  <a:txBody>
                    <a:bodyPr/>
                    <a:lstStyle/>
                    <a:p>
                      <a:pPr algn="ctr"/>
                      <a:r>
                        <a:rPr lang="en-GB" sz="1300" b="1" dirty="0">
                          <a:solidFill>
                            <a:schemeClr val="bg1"/>
                          </a:solidFill>
                          <a:latin typeface="Arial Narrow" panose="020B0606020202030204" pitchFamily="34" charset="0"/>
                        </a:rPr>
                        <a:t>Tislelizumab (n=49)</a:t>
                      </a:r>
                    </a:p>
                  </a:txBody>
                  <a:tcPr marL="121920" marR="121920" marT="0" marB="0" anchor="ctr">
                    <a:solidFill>
                      <a:srgbClr val="1E325F"/>
                    </a:solidFill>
                  </a:tcPr>
                </a:tc>
                <a:tc>
                  <a:txBody>
                    <a:bodyPr/>
                    <a:lstStyle/>
                    <a:p>
                      <a:pPr algn="ctr"/>
                      <a:r>
                        <a:rPr lang="en-GB" sz="1300" b="1" dirty="0">
                          <a:solidFill>
                            <a:schemeClr val="bg1"/>
                          </a:solidFill>
                          <a:latin typeface="Arial Narrow" panose="020B0606020202030204" pitchFamily="34" charset="0"/>
                        </a:rPr>
                        <a:t>Sorafenib (n=18)</a:t>
                      </a:r>
                    </a:p>
                  </a:txBody>
                  <a:tcPr marL="121920" marR="121920" marT="0" marB="0" anchor="ctr">
                    <a:solidFill>
                      <a:srgbClr val="1E325F"/>
                    </a:solidFill>
                  </a:tcPr>
                </a:tc>
                <a:extLst>
                  <a:ext uri="{0D108BD9-81ED-4DB2-BD59-A6C34878D82A}">
                    <a16:rowId xmlns:a16="http://schemas.microsoft.com/office/drawing/2014/main" val="1543664340"/>
                  </a:ext>
                </a:extLst>
              </a:tr>
              <a:tr h="406400">
                <a:tc>
                  <a:txBody>
                    <a:bodyPr/>
                    <a:lstStyle/>
                    <a:p>
                      <a:r>
                        <a:rPr lang="en-GB" sz="1300" b="1" i="0" u="none" strike="noStrike" cap="none" dirty="0">
                          <a:solidFill>
                            <a:schemeClr val="bg1"/>
                          </a:solidFill>
                          <a:latin typeface="Arial Narrow" panose="020B0606020202030204" pitchFamily="34" charset="0"/>
                          <a:ea typeface="+mn-ea"/>
                          <a:cs typeface="+mn-cs"/>
                          <a:sym typeface="Arial"/>
                        </a:rPr>
                        <a:t>Median </a:t>
                      </a:r>
                      <a:r>
                        <a:rPr lang="en-GB" sz="1300" b="1" i="0" u="none" strike="noStrike" cap="none" dirty="0" err="1">
                          <a:solidFill>
                            <a:schemeClr val="bg1"/>
                          </a:solidFill>
                          <a:latin typeface="Arial Narrow" panose="020B0606020202030204" pitchFamily="34" charset="0"/>
                          <a:ea typeface="+mn-ea"/>
                          <a:cs typeface="+mn-cs"/>
                          <a:sym typeface="Arial"/>
                        </a:rPr>
                        <a:t>DoR</a:t>
                      </a:r>
                      <a:r>
                        <a:rPr lang="en-GB" sz="1300" b="1" i="0" u="none" strike="noStrike" cap="none" dirty="0">
                          <a:solidFill>
                            <a:schemeClr val="bg1"/>
                          </a:solidFill>
                          <a:latin typeface="Arial Narrow" panose="020B0606020202030204" pitchFamily="34" charset="0"/>
                          <a:ea typeface="+mn-ea"/>
                          <a:cs typeface="+mn-cs"/>
                          <a:sym typeface="Arial"/>
                        </a:rPr>
                        <a:t>, months </a:t>
                      </a:r>
                      <a:br>
                        <a:rPr lang="en-GB" sz="1300" b="1" i="0" u="none" strike="noStrike" cap="none" dirty="0">
                          <a:solidFill>
                            <a:schemeClr val="bg1"/>
                          </a:solidFill>
                          <a:latin typeface="Arial Narrow" panose="020B0606020202030204" pitchFamily="34" charset="0"/>
                          <a:ea typeface="+mn-ea"/>
                          <a:cs typeface="+mn-cs"/>
                          <a:sym typeface="Arial"/>
                        </a:rPr>
                      </a:br>
                      <a:r>
                        <a:rPr lang="en-GB" sz="1300" b="1" i="0" u="none" strike="noStrike" cap="none" dirty="0">
                          <a:solidFill>
                            <a:schemeClr val="bg1"/>
                          </a:solidFill>
                          <a:latin typeface="Arial Narrow" panose="020B0606020202030204" pitchFamily="34" charset="0"/>
                          <a:ea typeface="+mn-ea"/>
                          <a:cs typeface="+mn-cs"/>
                          <a:sym typeface="Arial"/>
                        </a:rPr>
                        <a:t>(95% CI)</a:t>
                      </a:r>
                    </a:p>
                  </a:txBody>
                  <a:tcPr marL="121920" marR="121920" marT="0" marB="0" anchor="ctr">
                    <a:solidFill>
                      <a:schemeClr val="accent1">
                        <a:lumMod val="60000"/>
                        <a:lumOff val="40000"/>
                      </a:schemeClr>
                    </a:solidFill>
                  </a:tcPr>
                </a:tc>
                <a:tc>
                  <a:txBody>
                    <a:bodyPr/>
                    <a:lstStyle/>
                    <a:p>
                      <a:pPr algn="ctr"/>
                      <a:r>
                        <a:rPr lang="en-GB" sz="1300" dirty="0">
                          <a:solidFill>
                            <a:schemeClr val="tx1"/>
                          </a:solidFill>
                          <a:latin typeface="Arial Narrow" panose="020B0606020202030204" pitchFamily="34" charset="0"/>
                        </a:rPr>
                        <a:t>36.1 </a:t>
                      </a:r>
                      <a:br>
                        <a:rPr lang="en-GB" sz="1300" dirty="0">
                          <a:solidFill>
                            <a:schemeClr val="tx1"/>
                          </a:solidFill>
                          <a:latin typeface="Arial Narrow" panose="020B0606020202030204" pitchFamily="34" charset="0"/>
                        </a:rPr>
                      </a:br>
                      <a:r>
                        <a:rPr lang="en-GB" sz="1300" dirty="0">
                          <a:solidFill>
                            <a:schemeClr val="tx1"/>
                          </a:solidFill>
                          <a:latin typeface="Arial Narrow" panose="020B0606020202030204" pitchFamily="34" charset="0"/>
                        </a:rPr>
                        <a:t>(16.8, NE)</a:t>
                      </a:r>
                    </a:p>
                  </a:txBody>
                  <a:tcPr marL="121920" marR="121920" marT="0" marB="0" anchor="ctr"/>
                </a:tc>
                <a:tc>
                  <a:txBody>
                    <a:bodyPr/>
                    <a:lstStyle/>
                    <a:p>
                      <a:pPr algn="ctr"/>
                      <a:r>
                        <a:rPr lang="en-GB" sz="1300" dirty="0">
                          <a:solidFill>
                            <a:schemeClr val="tx1"/>
                          </a:solidFill>
                          <a:latin typeface="Arial Narrow" panose="020B0606020202030204" pitchFamily="34" charset="0"/>
                        </a:rPr>
                        <a:t>11.0 </a:t>
                      </a:r>
                      <a:br>
                        <a:rPr lang="en-GB" sz="1300" dirty="0">
                          <a:solidFill>
                            <a:schemeClr val="tx1"/>
                          </a:solidFill>
                          <a:latin typeface="Arial Narrow" panose="020B0606020202030204" pitchFamily="34" charset="0"/>
                        </a:rPr>
                      </a:br>
                      <a:r>
                        <a:rPr lang="en-GB" sz="1300" dirty="0">
                          <a:solidFill>
                            <a:schemeClr val="tx1"/>
                          </a:solidFill>
                          <a:latin typeface="Arial Narrow" panose="020B0606020202030204" pitchFamily="34" charset="0"/>
                        </a:rPr>
                        <a:t>(6.2, 14.7)</a:t>
                      </a:r>
                    </a:p>
                  </a:txBody>
                  <a:tcPr marL="121920" marR="121920" marT="0" marB="0" anchor="ctr"/>
                </a:tc>
                <a:extLst>
                  <a:ext uri="{0D108BD9-81ED-4DB2-BD59-A6C34878D82A}">
                    <a16:rowId xmlns:a16="http://schemas.microsoft.com/office/drawing/2014/main" val="10009"/>
                  </a:ext>
                </a:extLst>
              </a:tr>
              <a:tr h="406400">
                <a:tc>
                  <a:txBody>
                    <a:bodyPr/>
                    <a:lstStyle/>
                    <a:p>
                      <a:r>
                        <a:rPr lang="en-GB" sz="1300" b="1" i="0" u="none" strike="noStrike" cap="none" dirty="0">
                          <a:solidFill>
                            <a:schemeClr val="bg1"/>
                          </a:solidFill>
                          <a:latin typeface="Arial Narrow" panose="020B0606020202030204" pitchFamily="34" charset="0"/>
                          <a:ea typeface="+mn-ea"/>
                          <a:cs typeface="+mn-cs"/>
                          <a:sym typeface="Arial"/>
                        </a:rPr>
                        <a:t>Patients with ongoing response, n (%)</a:t>
                      </a:r>
                      <a:r>
                        <a:rPr lang="en-GB" sz="1300" b="1" i="0" u="none" strike="noStrike" cap="none" baseline="30000" dirty="0">
                          <a:solidFill>
                            <a:schemeClr val="bg1"/>
                          </a:solidFill>
                          <a:latin typeface="Arial Narrow" panose="020B0606020202030204" pitchFamily="34" charset="0"/>
                          <a:ea typeface="+mn-ea"/>
                          <a:cs typeface="+mn-cs"/>
                          <a:sym typeface="Arial"/>
                        </a:rPr>
                        <a:t>d</a:t>
                      </a:r>
                    </a:p>
                  </a:txBody>
                  <a:tcPr marL="121920" marR="121920" marT="0" marB="0" anchor="ctr">
                    <a:solidFill>
                      <a:schemeClr val="accent1">
                        <a:lumMod val="60000"/>
                        <a:lumOff val="40000"/>
                      </a:schemeClr>
                    </a:solidFill>
                  </a:tcPr>
                </a:tc>
                <a:tc>
                  <a:txBody>
                    <a:bodyPr/>
                    <a:lstStyle/>
                    <a:p>
                      <a:pPr algn="ctr"/>
                      <a:r>
                        <a:rPr lang="en-GB" sz="1300" dirty="0">
                          <a:solidFill>
                            <a:schemeClr val="tx1"/>
                          </a:solidFill>
                          <a:latin typeface="Arial Narrow" panose="020B0606020202030204" pitchFamily="34" charset="0"/>
                        </a:rPr>
                        <a:t>20/28 </a:t>
                      </a:r>
                      <a:br>
                        <a:rPr lang="en-GB" sz="1300" dirty="0">
                          <a:solidFill>
                            <a:schemeClr val="tx1"/>
                          </a:solidFill>
                          <a:latin typeface="Arial Narrow" panose="020B0606020202030204" pitchFamily="34" charset="0"/>
                        </a:rPr>
                      </a:br>
                      <a:r>
                        <a:rPr lang="en-GB" sz="1300" dirty="0">
                          <a:solidFill>
                            <a:schemeClr val="tx1"/>
                          </a:solidFill>
                          <a:latin typeface="Arial Narrow" panose="020B0606020202030204" pitchFamily="34" charset="0"/>
                        </a:rPr>
                        <a:t>(71.4)</a:t>
                      </a:r>
                    </a:p>
                  </a:txBody>
                  <a:tcPr marL="121920" marR="121920" marT="0" marB="0" anchor="ctr"/>
                </a:tc>
                <a:tc>
                  <a:txBody>
                    <a:bodyPr/>
                    <a:lstStyle/>
                    <a:p>
                      <a:pPr algn="ctr"/>
                      <a:r>
                        <a:rPr lang="en-GB" sz="1300" dirty="0">
                          <a:solidFill>
                            <a:schemeClr val="tx1"/>
                          </a:solidFill>
                          <a:latin typeface="Arial Narrow" panose="020B0606020202030204" pitchFamily="34" charset="0"/>
                        </a:rPr>
                        <a:t>2/5 </a:t>
                      </a:r>
                      <a:br>
                        <a:rPr lang="en-GB" sz="1300" dirty="0">
                          <a:solidFill>
                            <a:schemeClr val="tx1"/>
                          </a:solidFill>
                          <a:latin typeface="Arial Narrow" panose="020B0606020202030204" pitchFamily="34" charset="0"/>
                        </a:rPr>
                      </a:br>
                      <a:r>
                        <a:rPr lang="en-GB" sz="1300" dirty="0">
                          <a:solidFill>
                            <a:schemeClr val="tx1"/>
                          </a:solidFill>
                          <a:latin typeface="Arial Narrow" panose="020B0606020202030204" pitchFamily="34" charset="0"/>
                        </a:rPr>
                        <a:t>(40.0)</a:t>
                      </a:r>
                    </a:p>
                  </a:txBody>
                  <a:tcPr marL="121920" marR="121920" marT="0" marB="0" anchor="ctr"/>
                </a:tc>
                <a:extLst>
                  <a:ext uri="{0D108BD9-81ED-4DB2-BD59-A6C34878D82A}">
                    <a16:rowId xmlns:a16="http://schemas.microsoft.com/office/drawing/2014/main" val="10010"/>
                  </a:ext>
                </a:extLst>
              </a:tr>
            </a:tbl>
          </a:graphicData>
        </a:graphic>
      </p:graphicFrame>
      <p:sp>
        <p:nvSpPr>
          <p:cNvPr id="8" name="TextBox 7"/>
          <p:cNvSpPr txBox="1"/>
          <p:nvPr/>
        </p:nvSpPr>
        <p:spPr>
          <a:xfrm>
            <a:off x="489668" y="5268308"/>
            <a:ext cx="11348035" cy="66659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33" b="0" i="0" u="none" strike="noStrike" kern="1200" cap="none" spc="0" normalizeH="0" baseline="0" noProof="0" dirty="0">
                <a:ln>
                  <a:noFill/>
                </a:ln>
                <a:solidFill>
                  <a:srgbClr val="4472C4"/>
                </a:solidFill>
                <a:effectLst/>
                <a:uLnTx/>
                <a:uFillTx/>
                <a:latin typeface="Arial" panose="020B0604020202020204"/>
                <a:ea typeface="+mn-ea"/>
                <a:cs typeface="+mn-cs"/>
              </a:rPr>
              <a:t>Data </a:t>
            </a:r>
            <a:r>
              <a:rPr kumimoji="0" lang="en-GB" sz="933" b="0" i="0" u="none" strike="noStrike" kern="1200" cap="none" spc="0" normalizeH="0" baseline="0" noProof="0" dirty="0" err="1">
                <a:ln>
                  <a:noFill/>
                </a:ln>
                <a:solidFill>
                  <a:srgbClr val="4472C4"/>
                </a:solidFill>
                <a:effectLst/>
                <a:uLnTx/>
                <a:uFillTx/>
                <a:latin typeface="Arial" panose="020B0604020202020204"/>
                <a:ea typeface="+mn-ea"/>
                <a:cs typeface="+mn-cs"/>
              </a:rPr>
              <a:t>cutoff</a:t>
            </a:r>
            <a:r>
              <a:rPr kumimoji="0" lang="en-GB" sz="933" b="0" i="0" u="none" strike="noStrike" kern="1200" cap="none" spc="0" normalizeH="0" baseline="0" noProof="0" dirty="0">
                <a:ln>
                  <a:noFill/>
                </a:ln>
                <a:solidFill>
                  <a:srgbClr val="4472C4"/>
                </a:solidFill>
                <a:effectLst/>
                <a:uLnTx/>
                <a:uFillTx/>
                <a:latin typeface="Arial" panose="020B0604020202020204"/>
                <a:ea typeface="+mn-ea"/>
                <a:cs typeface="+mn-cs"/>
              </a:rPr>
              <a:t>: July 11, 2022. ORR was assessed in the ITT population. </a:t>
            </a:r>
            <a:r>
              <a:rPr kumimoji="0" lang="en-GB" sz="933" b="0" i="0" u="none" strike="noStrike" kern="1200" cap="none" spc="0" normalizeH="0" baseline="30000" noProof="0" dirty="0" err="1">
                <a:ln>
                  <a:noFill/>
                </a:ln>
                <a:solidFill>
                  <a:srgbClr val="4472C4"/>
                </a:solidFill>
                <a:effectLst/>
                <a:uLnTx/>
                <a:uFillTx/>
                <a:latin typeface="Arial" panose="020B0604020202020204"/>
                <a:ea typeface="+mn-ea"/>
                <a:cs typeface="+mn-cs"/>
              </a:rPr>
              <a:t>a</a:t>
            </a:r>
            <a:r>
              <a:rPr kumimoji="0" lang="en-GB" sz="933" b="0" i="0" u="none" strike="noStrike" kern="1200" cap="none" spc="0" normalizeH="0" baseline="0" noProof="0" dirty="0" err="1">
                <a:ln>
                  <a:noFill/>
                </a:ln>
                <a:solidFill>
                  <a:srgbClr val="4472C4"/>
                </a:solidFill>
                <a:effectLst/>
                <a:uLnTx/>
                <a:uFillTx/>
                <a:latin typeface="Arial" panose="020B0604020202020204"/>
                <a:ea typeface="+mn-ea"/>
                <a:cs typeface="+mn-cs"/>
              </a:rPr>
              <a:t>Confirmed</a:t>
            </a:r>
            <a:r>
              <a:rPr kumimoji="0" lang="en-GB" sz="933" b="0" i="0" u="none" strike="noStrike" kern="1200" cap="none" spc="0" normalizeH="0" baseline="0" noProof="0" dirty="0">
                <a:ln>
                  <a:noFill/>
                </a:ln>
                <a:solidFill>
                  <a:srgbClr val="4472C4"/>
                </a:solidFill>
                <a:effectLst/>
                <a:uLnTx/>
                <a:uFillTx/>
                <a:latin typeface="Arial" panose="020B0604020202020204"/>
                <a:ea typeface="+mn-ea"/>
                <a:cs typeface="+mn-cs"/>
              </a:rPr>
              <a:t> responses; </a:t>
            </a:r>
            <a:r>
              <a:rPr kumimoji="0" lang="en-GB" sz="933" b="0" i="0" u="none" strike="noStrike" kern="1200" cap="none" spc="0" normalizeH="0" baseline="30000" noProof="0" dirty="0" err="1">
                <a:ln>
                  <a:noFill/>
                </a:ln>
                <a:solidFill>
                  <a:srgbClr val="4472C4"/>
                </a:solidFill>
                <a:effectLst/>
                <a:uLnTx/>
                <a:uFillTx/>
                <a:latin typeface="Arial" panose="020B0604020202020204"/>
                <a:ea typeface="+mn-ea"/>
                <a:cs typeface="+mn-cs"/>
              </a:rPr>
              <a:t>b</a:t>
            </a:r>
            <a:r>
              <a:rPr kumimoji="0" lang="en-GB" sz="933" b="0" i="0" u="none" strike="noStrike" kern="1200" cap="none" spc="0" normalizeH="0" baseline="0" noProof="0" dirty="0" err="1">
                <a:ln>
                  <a:noFill/>
                </a:ln>
                <a:solidFill>
                  <a:srgbClr val="4472C4"/>
                </a:solidFill>
                <a:effectLst/>
                <a:uLnTx/>
                <a:uFillTx/>
                <a:latin typeface="Arial" panose="020B0604020202020204"/>
                <a:ea typeface="+mn-ea"/>
                <a:cs typeface="+mn-cs"/>
              </a:rPr>
              <a:t>Patients</a:t>
            </a:r>
            <a:r>
              <a:rPr kumimoji="0" lang="en-GB" sz="933" b="0" i="0" u="none" strike="noStrike" kern="1200" cap="none" spc="0" normalizeH="0" baseline="0" noProof="0" dirty="0">
                <a:ln>
                  <a:noFill/>
                </a:ln>
                <a:solidFill>
                  <a:srgbClr val="4472C4"/>
                </a:solidFill>
                <a:effectLst/>
                <a:uLnTx/>
                <a:uFillTx/>
                <a:latin typeface="Arial" panose="020B0604020202020204"/>
                <a:ea typeface="+mn-ea"/>
                <a:cs typeface="+mn-cs"/>
              </a:rPr>
              <a:t> with no postbaseline </a:t>
            </a:r>
            <a:r>
              <a:rPr kumimoji="0" lang="en-GB" sz="933" b="0" i="0" u="none" strike="noStrike" kern="1200" cap="none" spc="0" normalizeH="0" baseline="0" noProof="0" dirty="0" err="1">
                <a:ln>
                  <a:noFill/>
                </a:ln>
                <a:solidFill>
                  <a:srgbClr val="4472C4"/>
                </a:solidFill>
                <a:effectLst/>
                <a:uLnTx/>
                <a:uFillTx/>
                <a:latin typeface="Arial" panose="020B0604020202020204"/>
                <a:ea typeface="+mn-ea"/>
                <a:cs typeface="+mn-cs"/>
              </a:rPr>
              <a:t>tumor</a:t>
            </a:r>
            <a:r>
              <a:rPr kumimoji="0" lang="en-GB" sz="933" b="0" i="0" u="none" strike="noStrike" kern="1200" cap="none" spc="0" normalizeH="0" baseline="0" noProof="0" dirty="0">
                <a:ln>
                  <a:noFill/>
                </a:ln>
                <a:solidFill>
                  <a:srgbClr val="4472C4"/>
                </a:solidFill>
                <a:effectLst/>
                <a:uLnTx/>
                <a:uFillTx/>
                <a:latin typeface="Arial" panose="020B0604020202020204"/>
                <a:ea typeface="+mn-ea"/>
                <a:cs typeface="+mn-cs"/>
              </a:rPr>
              <a:t> assessment (not assessable) or a </a:t>
            </a:r>
            <a:r>
              <a:rPr kumimoji="0" lang="en-GB" sz="933" b="0" i="0" u="none" strike="noStrike" kern="1200" cap="none" spc="0" normalizeH="0" baseline="0" noProof="0" dirty="0" err="1">
                <a:ln>
                  <a:noFill/>
                </a:ln>
                <a:solidFill>
                  <a:srgbClr val="4472C4"/>
                </a:solidFill>
                <a:effectLst/>
                <a:uLnTx/>
                <a:uFillTx/>
                <a:latin typeface="Arial" panose="020B0604020202020204"/>
                <a:ea typeface="+mn-ea"/>
                <a:cs typeface="+mn-cs"/>
              </a:rPr>
              <a:t>nonevaluable</a:t>
            </a:r>
            <a:r>
              <a:rPr kumimoji="0" lang="en-GB" sz="933" b="0" i="0" u="none" strike="noStrike" kern="1200" cap="none" spc="0" normalizeH="0" baseline="0" noProof="0" dirty="0">
                <a:ln>
                  <a:noFill/>
                </a:ln>
                <a:solidFill>
                  <a:srgbClr val="4472C4"/>
                </a:solidFill>
                <a:effectLst/>
                <a:uLnTx/>
                <a:uFillTx/>
                <a:latin typeface="Arial" panose="020B0604020202020204"/>
                <a:ea typeface="+mn-ea"/>
                <a:cs typeface="+mn-cs"/>
              </a:rPr>
              <a:t> </a:t>
            </a:r>
            <a:r>
              <a:rPr kumimoji="0" lang="en-GB" sz="933" b="0" i="0" u="none" strike="noStrike" kern="1200" cap="none" spc="0" normalizeH="0" baseline="0" noProof="0" dirty="0" err="1">
                <a:ln>
                  <a:noFill/>
                </a:ln>
                <a:solidFill>
                  <a:srgbClr val="4472C4"/>
                </a:solidFill>
                <a:effectLst/>
                <a:uLnTx/>
                <a:uFillTx/>
                <a:latin typeface="Arial" panose="020B0604020202020204"/>
                <a:ea typeface="+mn-ea"/>
                <a:cs typeface="+mn-cs"/>
              </a:rPr>
              <a:t>tumor</a:t>
            </a:r>
            <a:r>
              <a:rPr kumimoji="0" lang="en-GB" sz="933" b="0" i="0" u="none" strike="noStrike" kern="1200" cap="none" spc="0" normalizeH="0" baseline="0" noProof="0" dirty="0">
                <a:ln>
                  <a:noFill/>
                </a:ln>
                <a:solidFill>
                  <a:srgbClr val="4472C4"/>
                </a:solidFill>
                <a:effectLst/>
                <a:uLnTx/>
                <a:uFillTx/>
                <a:latin typeface="Arial" panose="020B0604020202020204"/>
                <a:ea typeface="+mn-ea"/>
                <a:cs typeface="+mn-cs"/>
              </a:rPr>
              <a:t> assessment</a:t>
            </a:r>
            <a:r>
              <a:rPr kumimoji="0" lang="en-GB" sz="933" b="0" i="0" u="none" strike="noStrike" kern="1200" cap="none" spc="0" normalizeH="0" baseline="0" noProof="0" dirty="0">
                <a:ln>
                  <a:noFill/>
                </a:ln>
                <a:solidFill>
                  <a:srgbClr val="05416B"/>
                </a:solidFill>
                <a:effectLst/>
                <a:uLnTx/>
                <a:uFillTx/>
                <a:latin typeface="Arial" panose="020B0604020202020204"/>
                <a:ea typeface="+mn-ea"/>
                <a:cs typeface="+mn-cs"/>
              </a:rPr>
              <a:t>. </a:t>
            </a:r>
            <a:r>
              <a:rPr kumimoji="0" lang="en-GB" sz="933" b="0" i="0" u="none" strike="noStrike" kern="1200" cap="none" spc="0" normalizeH="0" baseline="30000" noProof="0" dirty="0" err="1">
                <a:ln>
                  <a:noFill/>
                </a:ln>
                <a:solidFill>
                  <a:srgbClr val="4472C4"/>
                </a:solidFill>
                <a:effectLst/>
                <a:uLnTx/>
                <a:uFillTx/>
                <a:latin typeface="Arial" panose="020B0604020202020204"/>
                <a:ea typeface="+mn-ea"/>
                <a:cs typeface="+mn-cs"/>
              </a:rPr>
              <a:t>c</a:t>
            </a:r>
            <a:r>
              <a:rPr kumimoji="0" lang="en-GB" sz="933" b="0" i="0" u="none" strike="noStrike" kern="1200" cap="none" spc="0" normalizeH="0" baseline="0" noProof="0" dirty="0" err="1">
                <a:ln>
                  <a:noFill/>
                </a:ln>
                <a:solidFill>
                  <a:srgbClr val="4472C4"/>
                </a:solidFill>
                <a:effectLst/>
                <a:uLnTx/>
                <a:uFillTx/>
                <a:latin typeface="Arial" panose="020B0604020202020204"/>
                <a:ea typeface="+mn-ea"/>
                <a:cs typeface="+mn-cs"/>
              </a:rPr>
              <a:t>Patients</a:t>
            </a:r>
            <a:r>
              <a:rPr kumimoji="0" lang="en-GB" sz="933" b="0" i="0" u="none" strike="noStrike" kern="1200" cap="none" spc="0" normalizeH="0" baseline="0" noProof="0" dirty="0">
                <a:ln>
                  <a:noFill/>
                </a:ln>
                <a:solidFill>
                  <a:srgbClr val="4472C4"/>
                </a:solidFill>
                <a:effectLst/>
                <a:uLnTx/>
                <a:uFillTx/>
                <a:latin typeface="Arial" panose="020B0604020202020204"/>
                <a:ea typeface="+mn-ea"/>
                <a:cs typeface="+mn-cs"/>
              </a:rPr>
              <a:t> were assessed as non-CR/non-PD if the IRC was not able to identify the target lesions at screening. Patients with no target lesions were evaluated based on the assessment of nontarget lesions or the presence of new lesions. </a:t>
            </a:r>
            <a:r>
              <a:rPr kumimoji="0" lang="en-GB" sz="933" b="0" i="0" u="none" strike="noStrike" kern="1200" cap="none" spc="0" normalizeH="0" baseline="30000" noProof="0" dirty="0" err="1">
                <a:ln>
                  <a:noFill/>
                </a:ln>
                <a:solidFill>
                  <a:srgbClr val="4472C4"/>
                </a:solidFill>
                <a:effectLst/>
                <a:uLnTx/>
                <a:uFillTx/>
                <a:latin typeface="Arial" panose="020B0604020202020204"/>
                <a:ea typeface="+mn-ea"/>
                <a:cs typeface="+mn-cs"/>
              </a:rPr>
              <a:t>d</a:t>
            </a:r>
            <a:r>
              <a:rPr kumimoji="0" lang="en-GB" sz="933" b="0" i="0" u="none" strike="noStrike" kern="1200" cap="none" spc="0" normalizeH="0" baseline="0" noProof="0" dirty="0" err="1">
                <a:ln>
                  <a:noFill/>
                </a:ln>
                <a:solidFill>
                  <a:srgbClr val="4472C4"/>
                </a:solidFill>
                <a:effectLst/>
                <a:uLnTx/>
                <a:uFillTx/>
                <a:latin typeface="Arial" panose="020B0604020202020204"/>
                <a:ea typeface="+mn-ea"/>
                <a:cs typeface="+mn-cs"/>
              </a:rPr>
              <a:t>Patients</a:t>
            </a:r>
            <a:r>
              <a:rPr kumimoji="0" lang="en-GB" sz="933" b="0" i="0" u="none" strike="noStrike" kern="1200" cap="none" spc="0" normalizeH="0" baseline="0" noProof="0" dirty="0">
                <a:ln>
                  <a:noFill/>
                </a:ln>
                <a:solidFill>
                  <a:srgbClr val="4472C4"/>
                </a:solidFill>
                <a:effectLst/>
                <a:uLnTx/>
                <a:uFillTx/>
                <a:latin typeface="Arial" panose="020B0604020202020204"/>
                <a:ea typeface="+mn-ea"/>
                <a:cs typeface="+mn-cs"/>
              </a:rPr>
              <a:t> who had PD or died were excluded from this analysis. Abbreviations: CI, confidence interval; CR, complete response; </a:t>
            </a:r>
            <a:r>
              <a:rPr kumimoji="0" lang="en-GB" sz="933" b="0" i="0" u="none" strike="noStrike" kern="1200" cap="none" spc="0" normalizeH="0" baseline="0" noProof="0" dirty="0" err="1">
                <a:ln>
                  <a:noFill/>
                </a:ln>
                <a:solidFill>
                  <a:srgbClr val="4472C4"/>
                </a:solidFill>
                <a:effectLst/>
                <a:uLnTx/>
                <a:uFillTx/>
                <a:latin typeface="Arial" panose="020B0604020202020204"/>
                <a:ea typeface="+mn-ea"/>
                <a:cs typeface="+mn-cs"/>
              </a:rPr>
              <a:t>DoR</a:t>
            </a:r>
            <a:r>
              <a:rPr kumimoji="0" lang="en-GB" sz="933" b="0" i="0" u="none" strike="noStrike" kern="1200" cap="none" spc="0" normalizeH="0" baseline="0" noProof="0" dirty="0">
                <a:ln>
                  <a:noFill/>
                </a:ln>
                <a:solidFill>
                  <a:srgbClr val="4472C4"/>
                </a:solidFill>
                <a:effectLst/>
                <a:uLnTx/>
                <a:uFillTx/>
                <a:latin typeface="Arial" panose="020B0604020202020204"/>
                <a:ea typeface="+mn-ea"/>
                <a:cs typeface="+mn-cs"/>
              </a:rPr>
              <a:t>, duration of response; IRC, independent review committee; ITT, intent-to-treat; NE, not evaluable; ORR, objective response rate; PD, progressive disease; PR, partial response; SD, stable disease. </a:t>
            </a:r>
          </a:p>
        </p:txBody>
      </p:sp>
      <p:sp>
        <p:nvSpPr>
          <p:cNvPr id="280" name="TextBox 279">
            <a:extLst>
              <a:ext uri="{FF2B5EF4-FFF2-40B4-BE49-F238E27FC236}">
                <a16:creationId xmlns:a16="http://schemas.microsoft.com/office/drawing/2014/main" id="{25F895ED-F4D3-47ED-A25C-6D0528BDCC43}"/>
              </a:ext>
            </a:extLst>
          </p:cNvPr>
          <p:cNvSpPr txBox="1"/>
          <p:nvPr/>
        </p:nvSpPr>
        <p:spPr>
          <a:xfrm>
            <a:off x="6096000" y="4649162"/>
            <a:ext cx="1712328" cy="23589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33" b="1" i="0" u="none" strike="noStrike" kern="1200" cap="none" spc="0" normalizeH="0" baseline="0" noProof="0" dirty="0">
                <a:ln/>
                <a:solidFill>
                  <a:srgbClr val="000000"/>
                </a:solidFill>
                <a:effectLst/>
                <a:uLnTx/>
                <a:uFillTx/>
                <a:latin typeface="Arial"/>
                <a:ea typeface="+mn-ea"/>
                <a:cs typeface="Arial"/>
                <a:sym typeface="Arial"/>
                <a:rtl val="0"/>
              </a:rPr>
              <a:t>Number of patients at risk:</a:t>
            </a:r>
          </a:p>
        </p:txBody>
      </p:sp>
      <p:grpSp>
        <p:nvGrpSpPr>
          <p:cNvPr id="281" name="Group 280">
            <a:extLst>
              <a:ext uri="{FF2B5EF4-FFF2-40B4-BE49-F238E27FC236}">
                <a16:creationId xmlns:a16="http://schemas.microsoft.com/office/drawing/2014/main" id="{264276DB-7F20-46D5-BC58-2C0A5BAD9898}"/>
              </a:ext>
            </a:extLst>
          </p:cNvPr>
          <p:cNvGrpSpPr/>
          <p:nvPr/>
        </p:nvGrpSpPr>
        <p:grpSpPr>
          <a:xfrm>
            <a:off x="6451447" y="1838435"/>
            <a:ext cx="5421111" cy="3468807"/>
            <a:chOff x="6121837" y="1706943"/>
            <a:chExt cx="2807243" cy="2446352"/>
          </a:xfrm>
        </p:grpSpPr>
        <p:grpSp>
          <p:nvGrpSpPr>
            <p:cNvPr id="283" name="Graphic 20802">
              <a:extLst>
                <a:ext uri="{FF2B5EF4-FFF2-40B4-BE49-F238E27FC236}">
                  <a16:creationId xmlns:a16="http://schemas.microsoft.com/office/drawing/2014/main" id="{23CB8A1C-0B08-4AD2-87D5-1AD13A2F1555}"/>
                </a:ext>
              </a:extLst>
            </p:cNvPr>
            <p:cNvGrpSpPr/>
            <p:nvPr/>
          </p:nvGrpSpPr>
          <p:grpSpPr>
            <a:xfrm>
              <a:off x="6206332" y="1706943"/>
              <a:ext cx="202703" cy="1862107"/>
              <a:chOff x="5056577" y="2399596"/>
              <a:chExt cx="202703" cy="1862107"/>
            </a:xfrm>
            <a:solidFill>
              <a:srgbClr val="000000"/>
            </a:solidFill>
          </p:grpSpPr>
          <p:sp>
            <p:nvSpPr>
              <p:cNvPr id="537" name="TextBox 536">
                <a:extLst>
                  <a:ext uri="{FF2B5EF4-FFF2-40B4-BE49-F238E27FC236}">
                    <a16:creationId xmlns:a16="http://schemas.microsoft.com/office/drawing/2014/main" id="{B541C714-ABE3-46BF-B099-2B4EF171472E}"/>
                  </a:ext>
                </a:extLst>
              </p:cNvPr>
              <p:cNvSpPr txBox="1"/>
              <p:nvPr/>
            </p:nvSpPr>
            <p:spPr>
              <a:xfrm>
                <a:off x="5128790" y="4095338"/>
                <a:ext cx="130490" cy="1663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n-ea"/>
                    <a:cs typeface="Arial"/>
                    <a:sym typeface="Arial"/>
                    <a:rtl val="0"/>
                  </a:rPr>
                  <a:t>0</a:t>
                </a:r>
              </a:p>
            </p:txBody>
          </p:sp>
          <p:sp>
            <p:nvSpPr>
              <p:cNvPr id="538" name="TextBox 537">
                <a:extLst>
                  <a:ext uri="{FF2B5EF4-FFF2-40B4-BE49-F238E27FC236}">
                    <a16:creationId xmlns:a16="http://schemas.microsoft.com/office/drawing/2014/main" id="{800222E5-6FE8-4654-9574-FA627406512C}"/>
                  </a:ext>
                </a:extLst>
              </p:cNvPr>
              <p:cNvSpPr txBox="1"/>
              <p:nvPr/>
            </p:nvSpPr>
            <p:spPr>
              <a:xfrm>
                <a:off x="5090318" y="2570542"/>
                <a:ext cx="165354" cy="1663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n-ea"/>
                    <a:cs typeface="Arial"/>
                    <a:sym typeface="Arial"/>
                    <a:rtl val="0"/>
                  </a:rPr>
                  <a:t>90</a:t>
                </a:r>
              </a:p>
            </p:txBody>
          </p:sp>
          <p:sp>
            <p:nvSpPr>
              <p:cNvPr id="539" name="TextBox 538">
                <a:extLst>
                  <a:ext uri="{FF2B5EF4-FFF2-40B4-BE49-F238E27FC236}">
                    <a16:creationId xmlns:a16="http://schemas.microsoft.com/office/drawing/2014/main" id="{C5DABC50-2D24-4271-AA19-3B96E62E377E}"/>
                  </a:ext>
                </a:extLst>
              </p:cNvPr>
              <p:cNvSpPr txBox="1"/>
              <p:nvPr/>
            </p:nvSpPr>
            <p:spPr>
              <a:xfrm>
                <a:off x="5090318" y="2746137"/>
                <a:ext cx="165354" cy="1663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n-ea"/>
                    <a:cs typeface="Arial"/>
                    <a:sym typeface="Arial"/>
                    <a:rtl val="0"/>
                  </a:rPr>
                  <a:t>80</a:t>
                </a:r>
              </a:p>
            </p:txBody>
          </p:sp>
          <p:sp>
            <p:nvSpPr>
              <p:cNvPr id="540" name="TextBox 539">
                <a:extLst>
                  <a:ext uri="{FF2B5EF4-FFF2-40B4-BE49-F238E27FC236}">
                    <a16:creationId xmlns:a16="http://schemas.microsoft.com/office/drawing/2014/main" id="{2AB0474D-B406-4A4B-B0A1-5C4F9D83F7F3}"/>
                  </a:ext>
                </a:extLst>
              </p:cNvPr>
              <p:cNvSpPr txBox="1"/>
              <p:nvPr/>
            </p:nvSpPr>
            <p:spPr>
              <a:xfrm>
                <a:off x="5090318" y="2909373"/>
                <a:ext cx="165354" cy="1663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n-ea"/>
                    <a:cs typeface="Arial"/>
                    <a:sym typeface="Arial"/>
                    <a:rtl val="0"/>
                  </a:rPr>
                  <a:t>70</a:t>
                </a:r>
              </a:p>
            </p:txBody>
          </p:sp>
          <p:sp>
            <p:nvSpPr>
              <p:cNvPr id="541" name="TextBox 540">
                <a:extLst>
                  <a:ext uri="{FF2B5EF4-FFF2-40B4-BE49-F238E27FC236}">
                    <a16:creationId xmlns:a16="http://schemas.microsoft.com/office/drawing/2014/main" id="{A27F18E5-BD16-4C6B-83A9-372F896BE001}"/>
                  </a:ext>
                </a:extLst>
              </p:cNvPr>
              <p:cNvSpPr txBox="1"/>
              <p:nvPr/>
            </p:nvSpPr>
            <p:spPr>
              <a:xfrm>
                <a:off x="5090318" y="3084968"/>
                <a:ext cx="165354" cy="1663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n-ea"/>
                    <a:cs typeface="Arial"/>
                    <a:sym typeface="Arial"/>
                    <a:rtl val="0"/>
                  </a:rPr>
                  <a:t>60</a:t>
                </a:r>
              </a:p>
            </p:txBody>
          </p:sp>
          <p:sp>
            <p:nvSpPr>
              <p:cNvPr id="542" name="TextBox 541">
                <a:extLst>
                  <a:ext uri="{FF2B5EF4-FFF2-40B4-BE49-F238E27FC236}">
                    <a16:creationId xmlns:a16="http://schemas.microsoft.com/office/drawing/2014/main" id="{B2B20088-B4B1-4174-8E36-D01714D3063C}"/>
                  </a:ext>
                </a:extLst>
              </p:cNvPr>
              <p:cNvSpPr txBox="1"/>
              <p:nvPr/>
            </p:nvSpPr>
            <p:spPr>
              <a:xfrm>
                <a:off x="5090318" y="3248204"/>
                <a:ext cx="165354" cy="1663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n-ea"/>
                    <a:cs typeface="Arial"/>
                    <a:sym typeface="Arial"/>
                    <a:rtl val="0"/>
                  </a:rPr>
                  <a:t>50</a:t>
                </a:r>
              </a:p>
            </p:txBody>
          </p:sp>
          <p:sp>
            <p:nvSpPr>
              <p:cNvPr id="543" name="TextBox 542">
                <a:extLst>
                  <a:ext uri="{FF2B5EF4-FFF2-40B4-BE49-F238E27FC236}">
                    <a16:creationId xmlns:a16="http://schemas.microsoft.com/office/drawing/2014/main" id="{82B0BD90-2BAC-4C14-A742-00CDA4F38F78}"/>
                  </a:ext>
                </a:extLst>
              </p:cNvPr>
              <p:cNvSpPr txBox="1"/>
              <p:nvPr/>
            </p:nvSpPr>
            <p:spPr>
              <a:xfrm>
                <a:off x="5090318" y="3417676"/>
                <a:ext cx="165354" cy="1663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n-ea"/>
                    <a:cs typeface="Arial"/>
                    <a:sym typeface="Arial"/>
                    <a:rtl val="0"/>
                  </a:rPr>
                  <a:t>40</a:t>
                </a:r>
              </a:p>
            </p:txBody>
          </p:sp>
          <p:sp>
            <p:nvSpPr>
              <p:cNvPr id="544" name="TextBox 543">
                <a:extLst>
                  <a:ext uri="{FF2B5EF4-FFF2-40B4-BE49-F238E27FC236}">
                    <a16:creationId xmlns:a16="http://schemas.microsoft.com/office/drawing/2014/main" id="{0B4E1485-0008-4C71-B2F9-81A18F0E4B82}"/>
                  </a:ext>
                </a:extLst>
              </p:cNvPr>
              <p:cNvSpPr txBox="1"/>
              <p:nvPr/>
            </p:nvSpPr>
            <p:spPr>
              <a:xfrm>
                <a:off x="5090318" y="3587148"/>
                <a:ext cx="165354" cy="1663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n-ea"/>
                    <a:cs typeface="Arial"/>
                    <a:sym typeface="Arial"/>
                    <a:rtl val="0"/>
                  </a:rPr>
                  <a:t>30</a:t>
                </a:r>
              </a:p>
            </p:txBody>
          </p:sp>
          <p:sp>
            <p:nvSpPr>
              <p:cNvPr id="545" name="TextBox 544">
                <a:extLst>
                  <a:ext uri="{FF2B5EF4-FFF2-40B4-BE49-F238E27FC236}">
                    <a16:creationId xmlns:a16="http://schemas.microsoft.com/office/drawing/2014/main" id="{7EFE2BC1-EB1C-4DF2-949D-4BA03455C535}"/>
                  </a:ext>
                </a:extLst>
              </p:cNvPr>
              <p:cNvSpPr txBox="1"/>
              <p:nvPr/>
            </p:nvSpPr>
            <p:spPr>
              <a:xfrm>
                <a:off x="5090318" y="3762630"/>
                <a:ext cx="165354" cy="1663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n-ea"/>
                    <a:cs typeface="Arial"/>
                    <a:sym typeface="Arial"/>
                    <a:rtl val="0"/>
                  </a:rPr>
                  <a:t>20</a:t>
                </a:r>
              </a:p>
            </p:txBody>
          </p:sp>
          <p:sp>
            <p:nvSpPr>
              <p:cNvPr id="546" name="TextBox 545">
                <a:extLst>
                  <a:ext uri="{FF2B5EF4-FFF2-40B4-BE49-F238E27FC236}">
                    <a16:creationId xmlns:a16="http://schemas.microsoft.com/office/drawing/2014/main" id="{6DB6F673-D209-4C3D-BC44-34512C9A10F4}"/>
                  </a:ext>
                </a:extLst>
              </p:cNvPr>
              <p:cNvSpPr txBox="1"/>
              <p:nvPr/>
            </p:nvSpPr>
            <p:spPr>
              <a:xfrm>
                <a:off x="5090318" y="3925979"/>
                <a:ext cx="165354" cy="1663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prstClr val="black"/>
                    </a:solidFill>
                    <a:effectLst/>
                    <a:uLnTx/>
                    <a:uFillTx/>
                    <a:latin typeface="Arial" panose="020B0604020202020204"/>
                    <a:ea typeface="+mn-ea"/>
                    <a:cs typeface="+mn-cs"/>
                    <a:rtl val="0"/>
                  </a:rPr>
                  <a:t>10</a:t>
                </a:r>
                <a:endParaRPr kumimoji="0" lang="en-US" sz="933" b="0" i="0" u="none" strike="noStrike" kern="1200" cap="none" spc="0" normalizeH="0" baseline="0" noProof="0" dirty="0">
                  <a:ln/>
                  <a:solidFill>
                    <a:srgbClr val="000000"/>
                  </a:solidFill>
                  <a:effectLst/>
                  <a:uLnTx/>
                  <a:uFillTx/>
                  <a:latin typeface="Arial"/>
                  <a:ea typeface="+mn-ea"/>
                  <a:cs typeface="Arial"/>
                  <a:sym typeface="Arial"/>
                  <a:rtl val="0"/>
                </a:endParaRPr>
              </a:p>
            </p:txBody>
          </p:sp>
          <p:sp>
            <p:nvSpPr>
              <p:cNvPr id="547" name="TextBox 546">
                <a:extLst>
                  <a:ext uri="{FF2B5EF4-FFF2-40B4-BE49-F238E27FC236}">
                    <a16:creationId xmlns:a16="http://schemas.microsoft.com/office/drawing/2014/main" id="{59296F9F-BF0E-4BB2-8032-6D6F28B25B82}"/>
                  </a:ext>
                </a:extLst>
              </p:cNvPr>
              <p:cNvSpPr txBox="1"/>
              <p:nvPr/>
            </p:nvSpPr>
            <p:spPr>
              <a:xfrm>
                <a:off x="5056577" y="2399596"/>
                <a:ext cx="200218" cy="1663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n-ea"/>
                    <a:cs typeface="Arial"/>
                    <a:sym typeface="Arial"/>
                    <a:rtl val="0"/>
                  </a:rPr>
                  <a:t>100</a:t>
                </a:r>
              </a:p>
            </p:txBody>
          </p:sp>
        </p:grpSp>
        <p:sp>
          <p:nvSpPr>
            <p:cNvPr id="284" name="TextBox 283">
              <a:extLst>
                <a:ext uri="{FF2B5EF4-FFF2-40B4-BE49-F238E27FC236}">
                  <a16:creationId xmlns:a16="http://schemas.microsoft.com/office/drawing/2014/main" id="{E40A6B56-F644-4525-B0A3-EE0E26EF6449}"/>
                </a:ext>
              </a:extLst>
            </p:cNvPr>
            <p:cNvSpPr txBox="1"/>
            <p:nvPr/>
          </p:nvSpPr>
          <p:spPr>
            <a:xfrm>
              <a:off x="7368201" y="3675113"/>
              <a:ext cx="523788" cy="1663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33" b="1" i="0" u="none" strike="noStrike" kern="1200" cap="none" spc="-15" normalizeH="0" baseline="0" noProof="0" dirty="0">
                  <a:ln/>
                  <a:solidFill>
                    <a:srgbClr val="000000"/>
                  </a:solidFill>
                  <a:effectLst/>
                  <a:uLnTx/>
                  <a:uFillTx/>
                  <a:latin typeface="Arial"/>
                  <a:ea typeface="+mn-ea"/>
                  <a:cs typeface="Arial"/>
                  <a:sym typeface="Arial"/>
                  <a:rtl val="0"/>
                </a:rPr>
                <a:t>T</a:t>
              </a:r>
              <a:r>
                <a:rPr kumimoji="0" lang="en-US" sz="933" b="1" i="0" u="none" strike="noStrike" kern="1200" cap="none" spc="0" normalizeH="0" baseline="0" noProof="0" dirty="0">
                  <a:ln/>
                  <a:solidFill>
                    <a:srgbClr val="000000"/>
                  </a:solidFill>
                  <a:effectLst/>
                  <a:uLnTx/>
                  <a:uFillTx/>
                  <a:latin typeface="Arial"/>
                  <a:ea typeface="+mn-ea"/>
                  <a:cs typeface="Arial"/>
                  <a:sym typeface="Arial"/>
                  <a:rtl val="0"/>
                </a:rPr>
                <a:t>ime (months)</a:t>
              </a:r>
            </a:p>
          </p:txBody>
        </p:sp>
        <p:sp>
          <p:nvSpPr>
            <p:cNvPr id="285" name="TextBox 284">
              <a:extLst>
                <a:ext uri="{FF2B5EF4-FFF2-40B4-BE49-F238E27FC236}">
                  <a16:creationId xmlns:a16="http://schemas.microsoft.com/office/drawing/2014/main" id="{4E23E017-9AB4-4659-A05A-DC2878D7F11E}"/>
                </a:ext>
              </a:extLst>
            </p:cNvPr>
            <p:cNvSpPr txBox="1"/>
            <p:nvPr/>
          </p:nvSpPr>
          <p:spPr>
            <a:xfrm rot="16200000">
              <a:off x="5879510" y="2503113"/>
              <a:ext cx="616352" cy="12215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33" b="1" i="0" u="none" strike="noStrike" kern="1200" cap="none" spc="0" normalizeH="0" baseline="0" noProof="0" dirty="0">
                  <a:ln/>
                  <a:solidFill>
                    <a:prstClr val="black"/>
                  </a:solidFill>
                  <a:effectLst/>
                  <a:uLnTx/>
                  <a:uFillTx/>
                  <a:latin typeface="Arial" panose="020B0604020202020204"/>
                  <a:ea typeface="+mn-ea"/>
                  <a:cs typeface="+mn-cs"/>
                  <a:rtl val="0"/>
                </a:rPr>
                <a:t>Patients </a:t>
              </a:r>
              <a:r>
                <a:rPr kumimoji="0" lang="en-US" sz="933" b="1" i="0" u="none" strike="noStrike" kern="1200" cap="none" spc="0" normalizeH="0" baseline="0" noProof="0" dirty="0">
                  <a:ln/>
                  <a:solidFill>
                    <a:srgbClr val="000000"/>
                  </a:solidFill>
                  <a:effectLst/>
                  <a:uLnTx/>
                  <a:uFillTx/>
                  <a:latin typeface="Arial"/>
                  <a:ea typeface="+mn-ea"/>
                  <a:cs typeface="Arial"/>
                  <a:sym typeface="Arial"/>
                  <a:rtl val="0"/>
                </a:rPr>
                <a:t>(%)</a:t>
              </a:r>
            </a:p>
          </p:txBody>
        </p:sp>
        <p:sp>
          <p:nvSpPr>
            <p:cNvPr id="287" name="TextBox 286">
              <a:extLst>
                <a:ext uri="{FF2B5EF4-FFF2-40B4-BE49-F238E27FC236}">
                  <a16:creationId xmlns:a16="http://schemas.microsoft.com/office/drawing/2014/main" id="{2FA06431-C828-496F-BF36-F247B56D0416}"/>
                </a:ext>
              </a:extLst>
            </p:cNvPr>
            <p:cNvSpPr txBox="1"/>
            <p:nvPr/>
          </p:nvSpPr>
          <p:spPr>
            <a:xfrm>
              <a:off x="6511485" y="3576170"/>
              <a:ext cx="34864" cy="101248"/>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a:ln/>
                  <a:solidFill>
                    <a:srgbClr val="000000"/>
                  </a:solidFill>
                  <a:effectLst/>
                  <a:uLnTx/>
                  <a:uFillTx/>
                  <a:latin typeface="Arial"/>
                  <a:ea typeface="+mn-ea"/>
                  <a:cs typeface="Arial"/>
                  <a:sym typeface="Arial"/>
                  <a:rtl val="0"/>
                </a:rPr>
                <a:t>0</a:t>
              </a:r>
            </a:p>
          </p:txBody>
        </p:sp>
        <p:sp>
          <p:nvSpPr>
            <p:cNvPr id="288" name="TextBox 287">
              <a:extLst>
                <a:ext uri="{FF2B5EF4-FFF2-40B4-BE49-F238E27FC236}">
                  <a16:creationId xmlns:a16="http://schemas.microsoft.com/office/drawing/2014/main" id="{AC2EA28A-C93E-4642-8423-BD542E9AE4DD}"/>
                </a:ext>
              </a:extLst>
            </p:cNvPr>
            <p:cNvSpPr txBox="1"/>
            <p:nvPr/>
          </p:nvSpPr>
          <p:spPr>
            <a:xfrm>
              <a:off x="8720427" y="3578097"/>
              <a:ext cx="69728" cy="101248"/>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n-ea"/>
                  <a:cs typeface="Arial"/>
                  <a:sym typeface="Arial"/>
                  <a:rtl val="0"/>
                </a:rPr>
                <a:t>42</a:t>
              </a:r>
            </a:p>
          </p:txBody>
        </p:sp>
        <p:sp>
          <p:nvSpPr>
            <p:cNvPr id="289" name="TextBox 288">
              <a:extLst>
                <a:ext uri="{FF2B5EF4-FFF2-40B4-BE49-F238E27FC236}">
                  <a16:creationId xmlns:a16="http://schemas.microsoft.com/office/drawing/2014/main" id="{EE15D046-C80A-406D-8332-7D9A8D4C320E}"/>
                </a:ext>
              </a:extLst>
            </p:cNvPr>
            <p:cNvSpPr txBox="1"/>
            <p:nvPr/>
          </p:nvSpPr>
          <p:spPr>
            <a:xfrm>
              <a:off x="8561405" y="3578097"/>
              <a:ext cx="69728" cy="101248"/>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n-ea"/>
                  <a:cs typeface="Arial"/>
                  <a:sym typeface="Arial"/>
                  <a:rtl val="0"/>
                </a:rPr>
                <a:t>39</a:t>
              </a:r>
            </a:p>
          </p:txBody>
        </p:sp>
        <p:sp>
          <p:nvSpPr>
            <p:cNvPr id="290" name="TextBox 289">
              <a:extLst>
                <a:ext uri="{FF2B5EF4-FFF2-40B4-BE49-F238E27FC236}">
                  <a16:creationId xmlns:a16="http://schemas.microsoft.com/office/drawing/2014/main" id="{36084BB4-99EB-40ED-8846-46780CB2B93B}"/>
                </a:ext>
              </a:extLst>
            </p:cNvPr>
            <p:cNvSpPr txBox="1"/>
            <p:nvPr/>
          </p:nvSpPr>
          <p:spPr>
            <a:xfrm>
              <a:off x="8402377" y="3578097"/>
              <a:ext cx="69728" cy="101248"/>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a:ln/>
                  <a:solidFill>
                    <a:srgbClr val="000000"/>
                  </a:solidFill>
                  <a:effectLst/>
                  <a:uLnTx/>
                  <a:uFillTx/>
                  <a:latin typeface="Arial"/>
                  <a:ea typeface="+mn-ea"/>
                  <a:cs typeface="Arial"/>
                  <a:sym typeface="Arial"/>
                  <a:rtl val="0"/>
                </a:rPr>
                <a:t>36</a:t>
              </a:r>
            </a:p>
          </p:txBody>
        </p:sp>
        <p:sp>
          <p:nvSpPr>
            <p:cNvPr id="291" name="TextBox 290">
              <a:extLst>
                <a:ext uri="{FF2B5EF4-FFF2-40B4-BE49-F238E27FC236}">
                  <a16:creationId xmlns:a16="http://schemas.microsoft.com/office/drawing/2014/main" id="{804DCA11-D996-471E-99B7-BDED11CFF7BE}"/>
                </a:ext>
              </a:extLst>
            </p:cNvPr>
            <p:cNvSpPr txBox="1"/>
            <p:nvPr/>
          </p:nvSpPr>
          <p:spPr>
            <a:xfrm>
              <a:off x="8243352" y="3578097"/>
              <a:ext cx="69728" cy="101248"/>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a:ln/>
                  <a:solidFill>
                    <a:srgbClr val="000000"/>
                  </a:solidFill>
                  <a:effectLst/>
                  <a:uLnTx/>
                  <a:uFillTx/>
                  <a:latin typeface="Arial"/>
                  <a:ea typeface="+mn-ea"/>
                  <a:cs typeface="Arial"/>
                  <a:sym typeface="Arial"/>
                  <a:rtl val="0"/>
                </a:rPr>
                <a:t>33</a:t>
              </a:r>
            </a:p>
          </p:txBody>
        </p:sp>
        <p:sp>
          <p:nvSpPr>
            <p:cNvPr id="292" name="TextBox 291">
              <a:extLst>
                <a:ext uri="{FF2B5EF4-FFF2-40B4-BE49-F238E27FC236}">
                  <a16:creationId xmlns:a16="http://schemas.microsoft.com/office/drawing/2014/main" id="{02FC773F-0C6F-4754-A5CA-E4DC4A53CA1A}"/>
                </a:ext>
              </a:extLst>
            </p:cNvPr>
            <p:cNvSpPr txBox="1"/>
            <p:nvPr/>
          </p:nvSpPr>
          <p:spPr>
            <a:xfrm>
              <a:off x="8084324" y="3578097"/>
              <a:ext cx="69728" cy="101248"/>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a:ln/>
                  <a:solidFill>
                    <a:srgbClr val="000000"/>
                  </a:solidFill>
                  <a:effectLst/>
                  <a:uLnTx/>
                  <a:uFillTx/>
                  <a:latin typeface="Arial"/>
                  <a:ea typeface="+mn-ea"/>
                  <a:cs typeface="Arial"/>
                  <a:sym typeface="Arial"/>
                  <a:rtl val="0"/>
                </a:rPr>
                <a:t>30</a:t>
              </a:r>
            </a:p>
          </p:txBody>
        </p:sp>
        <p:sp>
          <p:nvSpPr>
            <p:cNvPr id="293" name="TextBox 292">
              <a:extLst>
                <a:ext uri="{FF2B5EF4-FFF2-40B4-BE49-F238E27FC236}">
                  <a16:creationId xmlns:a16="http://schemas.microsoft.com/office/drawing/2014/main" id="{74153339-0309-4A5D-8F09-1039702C75C9}"/>
                </a:ext>
              </a:extLst>
            </p:cNvPr>
            <p:cNvSpPr txBox="1"/>
            <p:nvPr/>
          </p:nvSpPr>
          <p:spPr>
            <a:xfrm>
              <a:off x="7925298" y="3578097"/>
              <a:ext cx="69728" cy="101248"/>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a:ln/>
                  <a:solidFill>
                    <a:srgbClr val="000000"/>
                  </a:solidFill>
                  <a:effectLst/>
                  <a:uLnTx/>
                  <a:uFillTx/>
                  <a:latin typeface="Arial"/>
                  <a:ea typeface="+mn-ea"/>
                  <a:cs typeface="Arial"/>
                  <a:sym typeface="Arial"/>
                  <a:rtl val="0"/>
                </a:rPr>
                <a:t>27</a:t>
              </a:r>
            </a:p>
          </p:txBody>
        </p:sp>
        <p:sp>
          <p:nvSpPr>
            <p:cNvPr id="294" name="TextBox 293">
              <a:extLst>
                <a:ext uri="{FF2B5EF4-FFF2-40B4-BE49-F238E27FC236}">
                  <a16:creationId xmlns:a16="http://schemas.microsoft.com/office/drawing/2014/main" id="{0F916922-9B5D-4FAA-B36E-5F5E14E4F385}"/>
                </a:ext>
              </a:extLst>
            </p:cNvPr>
            <p:cNvSpPr txBox="1"/>
            <p:nvPr/>
          </p:nvSpPr>
          <p:spPr>
            <a:xfrm>
              <a:off x="7766269" y="3578097"/>
              <a:ext cx="69728" cy="101248"/>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a:ln/>
                  <a:solidFill>
                    <a:srgbClr val="000000"/>
                  </a:solidFill>
                  <a:effectLst/>
                  <a:uLnTx/>
                  <a:uFillTx/>
                  <a:latin typeface="Arial"/>
                  <a:ea typeface="+mn-ea"/>
                  <a:cs typeface="Arial"/>
                  <a:sym typeface="Arial"/>
                  <a:rtl val="0"/>
                </a:rPr>
                <a:t>24</a:t>
              </a:r>
            </a:p>
          </p:txBody>
        </p:sp>
        <p:sp>
          <p:nvSpPr>
            <p:cNvPr id="295" name="TextBox 294">
              <a:extLst>
                <a:ext uri="{FF2B5EF4-FFF2-40B4-BE49-F238E27FC236}">
                  <a16:creationId xmlns:a16="http://schemas.microsoft.com/office/drawing/2014/main" id="{79DA8409-AF21-479B-AD1E-16DE9047223C}"/>
                </a:ext>
              </a:extLst>
            </p:cNvPr>
            <p:cNvSpPr txBox="1"/>
            <p:nvPr/>
          </p:nvSpPr>
          <p:spPr>
            <a:xfrm>
              <a:off x="7607242" y="3578097"/>
              <a:ext cx="69728" cy="101248"/>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a:ln/>
                  <a:solidFill>
                    <a:srgbClr val="000000"/>
                  </a:solidFill>
                  <a:effectLst/>
                  <a:uLnTx/>
                  <a:uFillTx/>
                  <a:latin typeface="Arial"/>
                  <a:ea typeface="+mn-ea"/>
                  <a:cs typeface="Arial"/>
                  <a:sym typeface="Arial"/>
                  <a:rtl val="0"/>
                </a:rPr>
                <a:t>21</a:t>
              </a:r>
            </a:p>
          </p:txBody>
        </p:sp>
        <p:sp>
          <p:nvSpPr>
            <p:cNvPr id="296" name="TextBox 295">
              <a:extLst>
                <a:ext uri="{FF2B5EF4-FFF2-40B4-BE49-F238E27FC236}">
                  <a16:creationId xmlns:a16="http://schemas.microsoft.com/office/drawing/2014/main" id="{0169F173-1308-402B-88AD-426823C592A9}"/>
                </a:ext>
              </a:extLst>
            </p:cNvPr>
            <p:cNvSpPr txBox="1"/>
            <p:nvPr/>
          </p:nvSpPr>
          <p:spPr>
            <a:xfrm>
              <a:off x="7448217" y="3578097"/>
              <a:ext cx="69728" cy="101248"/>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a:ln/>
                  <a:solidFill>
                    <a:srgbClr val="000000"/>
                  </a:solidFill>
                  <a:effectLst/>
                  <a:uLnTx/>
                  <a:uFillTx/>
                  <a:latin typeface="Arial"/>
                  <a:ea typeface="+mn-ea"/>
                  <a:cs typeface="Arial"/>
                  <a:sym typeface="Arial"/>
                  <a:rtl val="0"/>
                </a:rPr>
                <a:t>18</a:t>
              </a:r>
            </a:p>
          </p:txBody>
        </p:sp>
        <p:sp>
          <p:nvSpPr>
            <p:cNvPr id="297" name="TextBox 296">
              <a:extLst>
                <a:ext uri="{FF2B5EF4-FFF2-40B4-BE49-F238E27FC236}">
                  <a16:creationId xmlns:a16="http://schemas.microsoft.com/office/drawing/2014/main" id="{EFAF5285-2038-4C78-956C-EAA345518D92}"/>
                </a:ext>
              </a:extLst>
            </p:cNvPr>
            <p:cNvSpPr txBox="1"/>
            <p:nvPr/>
          </p:nvSpPr>
          <p:spPr>
            <a:xfrm>
              <a:off x="7289189" y="3578097"/>
              <a:ext cx="69728" cy="101248"/>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a:ln/>
                  <a:solidFill>
                    <a:srgbClr val="000000"/>
                  </a:solidFill>
                  <a:effectLst/>
                  <a:uLnTx/>
                  <a:uFillTx/>
                  <a:latin typeface="Arial"/>
                  <a:ea typeface="+mn-ea"/>
                  <a:cs typeface="Arial"/>
                  <a:sym typeface="Arial"/>
                  <a:rtl val="0"/>
                </a:rPr>
                <a:t>15</a:t>
              </a:r>
            </a:p>
          </p:txBody>
        </p:sp>
        <p:sp>
          <p:nvSpPr>
            <p:cNvPr id="298" name="TextBox 297">
              <a:extLst>
                <a:ext uri="{FF2B5EF4-FFF2-40B4-BE49-F238E27FC236}">
                  <a16:creationId xmlns:a16="http://schemas.microsoft.com/office/drawing/2014/main" id="{474B1A7E-BAEC-45F4-B977-AC012BB466A3}"/>
                </a:ext>
              </a:extLst>
            </p:cNvPr>
            <p:cNvSpPr txBox="1"/>
            <p:nvPr/>
          </p:nvSpPr>
          <p:spPr>
            <a:xfrm>
              <a:off x="7130162" y="3578097"/>
              <a:ext cx="69728" cy="101248"/>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a:ln/>
                  <a:solidFill>
                    <a:srgbClr val="000000"/>
                  </a:solidFill>
                  <a:effectLst/>
                  <a:uLnTx/>
                  <a:uFillTx/>
                  <a:latin typeface="Arial"/>
                  <a:ea typeface="+mn-ea"/>
                  <a:cs typeface="Arial"/>
                  <a:sym typeface="Arial"/>
                  <a:rtl val="0"/>
                </a:rPr>
                <a:t>12</a:t>
              </a:r>
            </a:p>
          </p:txBody>
        </p:sp>
        <p:sp>
          <p:nvSpPr>
            <p:cNvPr id="299" name="TextBox 298">
              <a:extLst>
                <a:ext uri="{FF2B5EF4-FFF2-40B4-BE49-F238E27FC236}">
                  <a16:creationId xmlns:a16="http://schemas.microsoft.com/office/drawing/2014/main" id="{16BD400E-2AC8-482F-80A9-466950B121E4}"/>
                </a:ext>
              </a:extLst>
            </p:cNvPr>
            <p:cNvSpPr txBox="1"/>
            <p:nvPr/>
          </p:nvSpPr>
          <p:spPr>
            <a:xfrm>
              <a:off x="6988566" y="3578097"/>
              <a:ext cx="34864" cy="101248"/>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a:ln/>
                  <a:solidFill>
                    <a:srgbClr val="000000"/>
                  </a:solidFill>
                  <a:effectLst/>
                  <a:uLnTx/>
                  <a:uFillTx/>
                  <a:latin typeface="Arial"/>
                  <a:ea typeface="+mn-ea"/>
                  <a:cs typeface="Arial"/>
                  <a:sym typeface="Arial"/>
                  <a:rtl val="0"/>
                </a:rPr>
                <a:t>9</a:t>
              </a:r>
            </a:p>
          </p:txBody>
        </p:sp>
        <p:sp>
          <p:nvSpPr>
            <p:cNvPr id="300" name="TextBox 299">
              <a:extLst>
                <a:ext uri="{FF2B5EF4-FFF2-40B4-BE49-F238E27FC236}">
                  <a16:creationId xmlns:a16="http://schemas.microsoft.com/office/drawing/2014/main" id="{AF1EFD1A-B316-45E6-A4E8-4EC6C23863B3}"/>
                </a:ext>
              </a:extLst>
            </p:cNvPr>
            <p:cNvSpPr txBox="1"/>
            <p:nvPr/>
          </p:nvSpPr>
          <p:spPr>
            <a:xfrm>
              <a:off x="6829539" y="3578097"/>
              <a:ext cx="34864" cy="101248"/>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a:ln/>
                  <a:solidFill>
                    <a:srgbClr val="000000"/>
                  </a:solidFill>
                  <a:effectLst/>
                  <a:uLnTx/>
                  <a:uFillTx/>
                  <a:latin typeface="Arial"/>
                  <a:ea typeface="+mn-ea"/>
                  <a:cs typeface="Arial"/>
                  <a:sym typeface="Arial"/>
                  <a:rtl val="0"/>
                </a:rPr>
                <a:t>6</a:t>
              </a:r>
            </a:p>
          </p:txBody>
        </p:sp>
        <p:sp>
          <p:nvSpPr>
            <p:cNvPr id="301" name="TextBox 300">
              <a:extLst>
                <a:ext uri="{FF2B5EF4-FFF2-40B4-BE49-F238E27FC236}">
                  <a16:creationId xmlns:a16="http://schemas.microsoft.com/office/drawing/2014/main" id="{3EB54DFF-557D-4472-8C56-5CE6BC49A4DC}"/>
                </a:ext>
              </a:extLst>
            </p:cNvPr>
            <p:cNvSpPr txBox="1"/>
            <p:nvPr/>
          </p:nvSpPr>
          <p:spPr>
            <a:xfrm>
              <a:off x="6670513" y="3578097"/>
              <a:ext cx="34864" cy="101248"/>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a:ln/>
                  <a:solidFill>
                    <a:srgbClr val="000000"/>
                  </a:solidFill>
                  <a:effectLst/>
                  <a:uLnTx/>
                  <a:uFillTx/>
                  <a:latin typeface="Arial"/>
                  <a:ea typeface="+mn-ea"/>
                  <a:cs typeface="Arial"/>
                  <a:sym typeface="Arial"/>
                  <a:rtl val="0"/>
                </a:rPr>
                <a:t>3</a:t>
              </a:r>
            </a:p>
          </p:txBody>
        </p:sp>
        <p:sp>
          <p:nvSpPr>
            <p:cNvPr id="302" name="TextBox 301">
              <a:extLst>
                <a:ext uri="{FF2B5EF4-FFF2-40B4-BE49-F238E27FC236}">
                  <a16:creationId xmlns:a16="http://schemas.microsoft.com/office/drawing/2014/main" id="{AA03B018-63D3-4A07-80E8-696CBC074FC8}"/>
                </a:ext>
              </a:extLst>
            </p:cNvPr>
            <p:cNvSpPr txBox="1"/>
            <p:nvPr/>
          </p:nvSpPr>
          <p:spPr>
            <a:xfrm>
              <a:off x="8763726" y="3535748"/>
              <a:ext cx="165354" cy="1663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solidFill>
                    <a:srgbClr val="000000"/>
                  </a:solidFill>
                  <a:effectLst/>
                  <a:uLnTx/>
                  <a:uFillTx/>
                  <a:latin typeface="Arial"/>
                  <a:ea typeface="+mn-ea"/>
                  <a:cs typeface="Arial"/>
                  <a:sym typeface="Arial"/>
                  <a:rtl val="0"/>
                </a:rPr>
                <a:t>44</a:t>
              </a:r>
            </a:p>
          </p:txBody>
        </p:sp>
        <p:sp>
          <p:nvSpPr>
            <p:cNvPr id="303" name="Freeform 222">
              <a:extLst>
                <a:ext uri="{FF2B5EF4-FFF2-40B4-BE49-F238E27FC236}">
                  <a16:creationId xmlns:a16="http://schemas.microsoft.com/office/drawing/2014/main" id="{EFC11B8C-FE35-4600-B7BE-ECE63CEE90D0}"/>
                </a:ext>
              </a:extLst>
            </p:cNvPr>
            <p:cNvSpPr/>
            <p:nvPr/>
          </p:nvSpPr>
          <p:spPr>
            <a:xfrm>
              <a:off x="6481665" y="1759945"/>
              <a:ext cx="2422630" cy="1791529"/>
            </a:xfrm>
            <a:custGeom>
              <a:avLst/>
              <a:gdLst>
                <a:gd name="connsiteX0" fmla="*/ 2422631 w 2422630"/>
                <a:gd name="connsiteY0" fmla="*/ 1791530 h 1791529"/>
                <a:gd name="connsiteX1" fmla="*/ 0 w 2422630"/>
                <a:gd name="connsiteY1" fmla="*/ 1791530 h 1791529"/>
                <a:gd name="connsiteX2" fmla="*/ 0 w 2422630"/>
                <a:gd name="connsiteY2" fmla="*/ 0 h 1791529"/>
              </a:gdLst>
              <a:ahLst/>
              <a:cxnLst>
                <a:cxn ang="0">
                  <a:pos x="connsiteX0" y="connsiteY0"/>
                </a:cxn>
                <a:cxn ang="0">
                  <a:pos x="connsiteX1" y="connsiteY1"/>
                </a:cxn>
                <a:cxn ang="0">
                  <a:pos x="connsiteX2" y="connsiteY2"/>
                </a:cxn>
              </a:cxnLst>
              <a:rect l="l" t="t" r="r" b="b"/>
              <a:pathLst>
                <a:path w="2422630" h="1791529">
                  <a:moveTo>
                    <a:pt x="2422631" y="1791530"/>
                  </a:moveTo>
                  <a:lnTo>
                    <a:pt x="0" y="1791530"/>
                  </a:lnTo>
                  <a:lnTo>
                    <a:pt x="0" y="0"/>
                  </a:lnTo>
                </a:path>
              </a:pathLst>
            </a:custGeom>
            <a:noFill/>
            <a:ln w="63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4" name="Freeform 224">
              <a:extLst>
                <a:ext uri="{FF2B5EF4-FFF2-40B4-BE49-F238E27FC236}">
                  <a16:creationId xmlns:a16="http://schemas.microsoft.com/office/drawing/2014/main" id="{2544A5D9-3161-4019-B16F-180F6C29F722}"/>
                </a:ext>
              </a:extLst>
            </p:cNvPr>
            <p:cNvSpPr/>
            <p:nvPr/>
          </p:nvSpPr>
          <p:spPr>
            <a:xfrm>
              <a:off x="6455959" y="3489694"/>
              <a:ext cx="25706" cy="11335"/>
            </a:xfrm>
            <a:custGeom>
              <a:avLst/>
              <a:gdLst>
                <a:gd name="connsiteX0" fmla="*/ 25706 w 25706"/>
                <a:gd name="connsiteY0" fmla="*/ 0 h 11335"/>
                <a:gd name="connsiteX1" fmla="*/ 0 w 25706"/>
                <a:gd name="connsiteY1" fmla="*/ 0 h 11335"/>
              </a:gdLst>
              <a:ahLst/>
              <a:cxnLst>
                <a:cxn ang="0">
                  <a:pos x="connsiteX0" y="connsiteY0"/>
                </a:cxn>
                <a:cxn ang="0">
                  <a:pos x="connsiteX1" y="connsiteY1"/>
                </a:cxn>
              </a:cxnLst>
              <a:rect l="l" t="t" r="r" b="b"/>
              <a:pathLst>
                <a:path w="25706" h="11335">
                  <a:moveTo>
                    <a:pt x="25706" y="0"/>
                  </a:moveTo>
                  <a:lnTo>
                    <a:pt x="0" y="0"/>
                  </a:lnTo>
                </a:path>
              </a:pathLst>
            </a:custGeom>
            <a:ln w="63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5" name="Freeform 225">
              <a:extLst>
                <a:ext uri="{FF2B5EF4-FFF2-40B4-BE49-F238E27FC236}">
                  <a16:creationId xmlns:a16="http://schemas.microsoft.com/office/drawing/2014/main" id="{E63AACE9-207B-4D5F-ADDE-792033E52A49}"/>
                </a:ext>
              </a:extLst>
            </p:cNvPr>
            <p:cNvSpPr/>
            <p:nvPr/>
          </p:nvSpPr>
          <p:spPr>
            <a:xfrm>
              <a:off x="6455959" y="1964898"/>
              <a:ext cx="25706" cy="11335"/>
            </a:xfrm>
            <a:custGeom>
              <a:avLst/>
              <a:gdLst>
                <a:gd name="connsiteX0" fmla="*/ 25706 w 25706"/>
                <a:gd name="connsiteY0" fmla="*/ 0 h 11335"/>
                <a:gd name="connsiteX1" fmla="*/ 0 w 25706"/>
                <a:gd name="connsiteY1" fmla="*/ 0 h 11335"/>
              </a:gdLst>
              <a:ahLst/>
              <a:cxnLst>
                <a:cxn ang="0">
                  <a:pos x="connsiteX0" y="connsiteY0"/>
                </a:cxn>
                <a:cxn ang="0">
                  <a:pos x="connsiteX1" y="connsiteY1"/>
                </a:cxn>
              </a:cxnLst>
              <a:rect l="l" t="t" r="r" b="b"/>
              <a:pathLst>
                <a:path w="25706" h="11335">
                  <a:moveTo>
                    <a:pt x="25706" y="0"/>
                  </a:moveTo>
                  <a:lnTo>
                    <a:pt x="0" y="0"/>
                  </a:lnTo>
                </a:path>
              </a:pathLst>
            </a:custGeom>
            <a:ln w="63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6" name="Freeform 226">
              <a:extLst>
                <a:ext uri="{FF2B5EF4-FFF2-40B4-BE49-F238E27FC236}">
                  <a16:creationId xmlns:a16="http://schemas.microsoft.com/office/drawing/2014/main" id="{CD06B601-455A-4CA5-8C9F-75C917629942}"/>
                </a:ext>
              </a:extLst>
            </p:cNvPr>
            <p:cNvSpPr/>
            <p:nvPr/>
          </p:nvSpPr>
          <p:spPr>
            <a:xfrm>
              <a:off x="6455959" y="2134257"/>
              <a:ext cx="25706" cy="11335"/>
            </a:xfrm>
            <a:custGeom>
              <a:avLst/>
              <a:gdLst>
                <a:gd name="connsiteX0" fmla="*/ 25706 w 25706"/>
                <a:gd name="connsiteY0" fmla="*/ 0 h 11335"/>
                <a:gd name="connsiteX1" fmla="*/ 0 w 25706"/>
                <a:gd name="connsiteY1" fmla="*/ 0 h 11335"/>
              </a:gdLst>
              <a:ahLst/>
              <a:cxnLst>
                <a:cxn ang="0">
                  <a:pos x="connsiteX0" y="connsiteY0"/>
                </a:cxn>
                <a:cxn ang="0">
                  <a:pos x="connsiteX1" y="connsiteY1"/>
                </a:cxn>
              </a:cxnLst>
              <a:rect l="l" t="t" r="r" b="b"/>
              <a:pathLst>
                <a:path w="25706" h="11335">
                  <a:moveTo>
                    <a:pt x="25706" y="0"/>
                  </a:moveTo>
                  <a:lnTo>
                    <a:pt x="0" y="0"/>
                  </a:lnTo>
                </a:path>
              </a:pathLst>
            </a:custGeom>
            <a:ln w="63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7" name="Freeform 227">
              <a:extLst>
                <a:ext uri="{FF2B5EF4-FFF2-40B4-BE49-F238E27FC236}">
                  <a16:creationId xmlns:a16="http://schemas.microsoft.com/office/drawing/2014/main" id="{72636FFD-48FE-4A7F-B763-786059DB4DD1}"/>
                </a:ext>
              </a:extLst>
            </p:cNvPr>
            <p:cNvSpPr/>
            <p:nvPr/>
          </p:nvSpPr>
          <p:spPr>
            <a:xfrm>
              <a:off x="6455959" y="2303729"/>
              <a:ext cx="25706" cy="11335"/>
            </a:xfrm>
            <a:custGeom>
              <a:avLst/>
              <a:gdLst>
                <a:gd name="connsiteX0" fmla="*/ 25706 w 25706"/>
                <a:gd name="connsiteY0" fmla="*/ 0 h 11335"/>
                <a:gd name="connsiteX1" fmla="*/ 0 w 25706"/>
                <a:gd name="connsiteY1" fmla="*/ 0 h 11335"/>
              </a:gdLst>
              <a:ahLst/>
              <a:cxnLst>
                <a:cxn ang="0">
                  <a:pos x="connsiteX0" y="connsiteY0"/>
                </a:cxn>
                <a:cxn ang="0">
                  <a:pos x="connsiteX1" y="connsiteY1"/>
                </a:cxn>
              </a:cxnLst>
              <a:rect l="l" t="t" r="r" b="b"/>
              <a:pathLst>
                <a:path w="25706" h="11335">
                  <a:moveTo>
                    <a:pt x="25706" y="0"/>
                  </a:moveTo>
                  <a:lnTo>
                    <a:pt x="0" y="0"/>
                  </a:lnTo>
                </a:path>
              </a:pathLst>
            </a:custGeom>
            <a:ln w="63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8" name="Freeform 228">
              <a:extLst>
                <a:ext uri="{FF2B5EF4-FFF2-40B4-BE49-F238E27FC236}">
                  <a16:creationId xmlns:a16="http://schemas.microsoft.com/office/drawing/2014/main" id="{5F90F6A5-B8D9-490F-AAF7-E17CA41EE57F}"/>
                </a:ext>
              </a:extLst>
            </p:cNvPr>
            <p:cNvSpPr/>
            <p:nvPr/>
          </p:nvSpPr>
          <p:spPr>
            <a:xfrm>
              <a:off x="6455959" y="2473201"/>
              <a:ext cx="25706" cy="11335"/>
            </a:xfrm>
            <a:custGeom>
              <a:avLst/>
              <a:gdLst>
                <a:gd name="connsiteX0" fmla="*/ 25706 w 25706"/>
                <a:gd name="connsiteY0" fmla="*/ 0 h 11335"/>
                <a:gd name="connsiteX1" fmla="*/ 0 w 25706"/>
                <a:gd name="connsiteY1" fmla="*/ 0 h 11335"/>
              </a:gdLst>
              <a:ahLst/>
              <a:cxnLst>
                <a:cxn ang="0">
                  <a:pos x="connsiteX0" y="connsiteY0"/>
                </a:cxn>
                <a:cxn ang="0">
                  <a:pos x="connsiteX1" y="connsiteY1"/>
                </a:cxn>
              </a:cxnLst>
              <a:rect l="l" t="t" r="r" b="b"/>
              <a:pathLst>
                <a:path w="25706" h="11335">
                  <a:moveTo>
                    <a:pt x="25706" y="0"/>
                  </a:moveTo>
                  <a:lnTo>
                    <a:pt x="0" y="0"/>
                  </a:lnTo>
                </a:path>
              </a:pathLst>
            </a:custGeom>
            <a:ln w="63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9" name="Freeform 229">
              <a:extLst>
                <a:ext uri="{FF2B5EF4-FFF2-40B4-BE49-F238E27FC236}">
                  <a16:creationId xmlns:a16="http://schemas.microsoft.com/office/drawing/2014/main" id="{43D18415-2132-4DCD-AFAC-76D32819D188}"/>
                </a:ext>
              </a:extLst>
            </p:cNvPr>
            <p:cNvSpPr/>
            <p:nvPr/>
          </p:nvSpPr>
          <p:spPr>
            <a:xfrm>
              <a:off x="6455959" y="2642560"/>
              <a:ext cx="25706" cy="11335"/>
            </a:xfrm>
            <a:custGeom>
              <a:avLst/>
              <a:gdLst>
                <a:gd name="connsiteX0" fmla="*/ 25706 w 25706"/>
                <a:gd name="connsiteY0" fmla="*/ 0 h 11335"/>
                <a:gd name="connsiteX1" fmla="*/ 0 w 25706"/>
                <a:gd name="connsiteY1" fmla="*/ 0 h 11335"/>
              </a:gdLst>
              <a:ahLst/>
              <a:cxnLst>
                <a:cxn ang="0">
                  <a:pos x="connsiteX0" y="connsiteY0"/>
                </a:cxn>
                <a:cxn ang="0">
                  <a:pos x="connsiteX1" y="connsiteY1"/>
                </a:cxn>
              </a:cxnLst>
              <a:rect l="l" t="t" r="r" b="b"/>
              <a:pathLst>
                <a:path w="25706" h="11335">
                  <a:moveTo>
                    <a:pt x="25706" y="0"/>
                  </a:moveTo>
                  <a:lnTo>
                    <a:pt x="0" y="0"/>
                  </a:lnTo>
                </a:path>
              </a:pathLst>
            </a:custGeom>
            <a:ln w="63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0" name="Freeform 230">
              <a:extLst>
                <a:ext uri="{FF2B5EF4-FFF2-40B4-BE49-F238E27FC236}">
                  <a16:creationId xmlns:a16="http://schemas.microsoft.com/office/drawing/2014/main" id="{98F0F8FE-733D-424A-A354-0816E3F323BB}"/>
                </a:ext>
              </a:extLst>
            </p:cNvPr>
            <p:cNvSpPr/>
            <p:nvPr/>
          </p:nvSpPr>
          <p:spPr>
            <a:xfrm>
              <a:off x="6455959" y="2812032"/>
              <a:ext cx="25706" cy="11335"/>
            </a:xfrm>
            <a:custGeom>
              <a:avLst/>
              <a:gdLst>
                <a:gd name="connsiteX0" fmla="*/ 25706 w 25706"/>
                <a:gd name="connsiteY0" fmla="*/ 0 h 11335"/>
                <a:gd name="connsiteX1" fmla="*/ 0 w 25706"/>
                <a:gd name="connsiteY1" fmla="*/ 0 h 11335"/>
              </a:gdLst>
              <a:ahLst/>
              <a:cxnLst>
                <a:cxn ang="0">
                  <a:pos x="connsiteX0" y="connsiteY0"/>
                </a:cxn>
                <a:cxn ang="0">
                  <a:pos x="connsiteX1" y="connsiteY1"/>
                </a:cxn>
              </a:cxnLst>
              <a:rect l="l" t="t" r="r" b="b"/>
              <a:pathLst>
                <a:path w="25706" h="11335">
                  <a:moveTo>
                    <a:pt x="25706" y="0"/>
                  </a:moveTo>
                  <a:lnTo>
                    <a:pt x="0" y="0"/>
                  </a:lnTo>
                </a:path>
              </a:pathLst>
            </a:custGeom>
            <a:ln w="63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1" name="Freeform 231">
              <a:extLst>
                <a:ext uri="{FF2B5EF4-FFF2-40B4-BE49-F238E27FC236}">
                  <a16:creationId xmlns:a16="http://schemas.microsoft.com/office/drawing/2014/main" id="{B40C2F0A-AB39-4009-BAFC-67F910F0C668}"/>
                </a:ext>
              </a:extLst>
            </p:cNvPr>
            <p:cNvSpPr/>
            <p:nvPr/>
          </p:nvSpPr>
          <p:spPr>
            <a:xfrm>
              <a:off x="6455959" y="2981391"/>
              <a:ext cx="25706" cy="11335"/>
            </a:xfrm>
            <a:custGeom>
              <a:avLst/>
              <a:gdLst>
                <a:gd name="connsiteX0" fmla="*/ 25706 w 25706"/>
                <a:gd name="connsiteY0" fmla="*/ 0 h 11335"/>
                <a:gd name="connsiteX1" fmla="*/ 0 w 25706"/>
                <a:gd name="connsiteY1" fmla="*/ 0 h 11335"/>
              </a:gdLst>
              <a:ahLst/>
              <a:cxnLst>
                <a:cxn ang="0">
                  <a:pos x="connsiteX0" y="connsiteY0"/>
                </a:cxn>
                <a:cxn ang="0">
                  <a:pos x="connsiteX1" y="connsiteY1"/>
                </a:cxn>
              </a:cxnLst>
              <a:rect l="l" t="t" r="r" b="b"/>
              <a:pathLst>
                <a:path w="25706" h="11335">
                  <a:moveTo>
                    <a:pt x="25706" y="0"/>
                  </a:moveTo>
                  <a:lnTo>
                    <a:pt x="0" y="0"/>
                  </a:lnTo>
                </a:path>
              </a:pathLst>
            </a:custGeom>
            <a:ln w="63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2" name="Freeform 232">
              <a:extLst>
                <a:ext uri="{FF2B5EF4-FFF2-40B4-BE49-F238E27FC236}">
                  <a16:creationId xmlns:a16="http://schemas.microsoft.com/office/drawing/2014/main" id="{EE27545F-EE7B-4EDF-847C-50AF89330F16}"/>
                </a:ext>
              </a:extLst>
            </p:cNvPr>
            <p:cNvSpPr/>
            <p:nvPr/>
          </p:nvSpPr>
          <p:spPr>
            <a:xfrm>
              <a:off x="6455959" y="3150863"/>
              <a:ext cx="25706" cy="11335"/>
            </a:xfrm>
            <a:custGeom>
              <a:avLst/>
              <a:gdLst>
                <a:gd name="connsiteX0" fmla="*/ 25706 w 25706"/>
                <a:gd name="connsiteY0" fmla="*/ 0 h 11335"/>
                <a:gd name="connsiteX1" fmla="*/ 0 w 25706"/>
                <a:gd name="connsiteY1" fmla="*/ 0 h 11335"/>
              </a:gdLst>
              <a:ahLst/>
              <a:cxnLst>
                <a:cxn ang="0">
                  <a:pos x="connsiteX0" y="connsiteY0"/>
                </a:cxn>
                <a:cxn ang="0">
                  <a:pos x="connsiteX1" y="connsiteY1"/>
                </a:cxn>
              </a:cxnLst>
              <a:rect l="l" t="t" r="r" b="b"/>
              <a:pathLst>
                <a:path w="25706" h="11335">
                  <a:moveTo>
                    <a:pt x="25706" y="0"/>
                  </a:moveTo>
                  <a:lnTo>
                    <a:pt x="0" y="0"/>
                  </a:lnTo>
                </a:path>
              </a:pathLst>
            </a:custGeom>
            <a:ln w="63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3" name="Freeform 233">
              <a:extLst>
                <a:ext uri="{FF2B5EF4-FFF2-40B4-BE49-F238E27FC236}">
                  <a16:creationId xmlns:a16="http://schemas.microsoft.com/office/drawing/2014/main" id="{2347BCB4-2F4A-4CED-8BB4-67BD921711AC}"/>
                </a:ext>
              </a:extLst>
            </p:cNvPr>
            <p:cNvSpPr/>
            <p:nvPr/>
          </p:nvSpPr>
          <p:spPr>
            <a:xfrm>
              <a:off x="6455959" y="3320335"/>
              <a:ext cx="25706" cy="11335"/>
            </a:xfrm>
            <a:custGeom>
              <a:avLst/>
              <a:gdLst>
                <a:gd name="connsiteX0" fmla="*/ 25706 w 25706"/>
                <a:gd name="connsiteY0" fmla="*/ 0 h 11335"/>
                <a:gd name="connsiteX1" fmla="*/ 0 w 25706"/>
                <a:gd name="connsiteY1" fmla="*/ 0 h 11335"/>
              </a:gdLst>
              <a:ahLst/>
              <a:cxnLst>
                <a:cxn ang="0">
                  <a:pos x="connsiteX0" y="connsiteY0"/>
                </a:cxn>
                <a:cxn ang="0">
                  <a:pos x="connsiteX1" y="connsiteY1"/>
                </a:cxn>
              </a:cxnLst>
              <a:rect l="l" t="t" r="r" b="b"/>
              <a:pathLst>
                <a:path w="25706" h="11335">
                  <a:moveTo>
                    <a:pt x="25706" y="0"/>
                  </a:moveTo>
                  <a:lnTo>
                    <a:pt x="0" y="0"/>
                  </a:lnTo>
                </a:path>
              </a:pathLst>
            </a:custGeom>
            <a:ln w="63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4" name="Freeform 234">
              <a:extLst>
                <a:ext uri="{FF2B5EF4-FFF2-40B4-BE49-F238E27FC236}">
                  <a16:creationId xmlns:a16="http://schemas.microsoft.com/office/drawing/2014/main" id="{2512BF5A-9E49-444B-975D-BBBF6F3F6743}"/>
                </a:ext>
              </a:extLst>
            </p:cNvPr>
            <p:cNvSpPr/>
            <p:nvPr/>
          </p:nvSpPr>
          <p:spPr>
            <a:xfrm>
              <a:off x="6455959" y="1795426"/>
              <a:ext cx="25706" cy="11335"/>
            </a:xfrm>
            <a:custGeom>
              <a:avLst/>
              <a:gdLst>
                <a:gd name="connsiteX0" fmla="*/ 25706 w 25706"/>
                <a:gd name="connsiteY0" fmla="*/ 0 h 11335"/>
                <a:gd name="connsiteX1" fmla="*/ 0 w 25706"/>
                <a:gd name="connsiteY1" fmla="*/ 0 h 11335"/>
              </a:gdLst>
              <a:ahLst/>
              <a:cxnLst>
                <a:cxn ang="0">
                  <a:pos x="connsiteX0" y="connsiteY0"/>
                </a:cxn>
                <a:cxn ang="0">
                  <a:pos x="connsiteX1" y="connsiteY1"/>
                </a:cxn>
              </a:cxnLst>
              <a:rect l="l" t="t" r="r" b="b"/>
              <a:pathLst>
                <a:path w="25706" h="11335">
                  <a:moveTo>
                    <a:pt x="25706" y="0"/>
                  </a:moveTo>
                  <a:lnTo>
                    <a:pt x="0" y="0"/>
                  </a:lnTo>
                </a:path>
              </a:pathLst>
            </a:custGeom>
            <a:ln w="63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nvGrpSpPr>
            <p:cNvPr id="316" name="Graphic 20802">
              <a:extLst>
                <a:ext uri="{FF2B5EF4-FFF2-40B4-BE49-F238E27FC236}">
                  <a16:creationId xmlns:a16="http://schemas.microsoft.com/office/drawing/2014/main" id="{E7530194-D3B6-479B-8B32-7DB3C8C8FE54}"/>
                </a:ext>
              </a:extLst>
            </p:cNvPr>
            <p:cNvGrpSpPr/>
            <p:nvPr/>
          </p:nvGrpSpPr>
          <p:grpSpPr>
            <a:xfrm>
              <a:off x="6121837" y="3893274"/>
              <a:ext cx="2783684" cy="169453"/>
              <a:chOff x="4979930" y="4578079"/>
              <a:chExt cx="2783684" cy="169453"/>
            </a:xfrm>
            <a:solidFill>
              <a:srgbClr val="000000"/>
            </a:solidFill>
          </p:grpSpPr>
          <p:sp>
            <p:nvSpPr>
              <p:cNvPr id="443" name="TextBox 442">
                <a:extLst>
                  <a:ext uri="{FF2B5EF4-FFF2-40B4-BE49-F238E27FC236}">
                    <a16:creationId xmlns:a16="http://schemas.microsoft.com/office/drawing/2014/main" id="{909D1FDD-150B-48E4-97EA-E64DFC1DFDEF}"/>
                  </a:ext>
                </a:extLst>
              </p:cNvPr>
              <p:cNvSpPr txBox="1"/>
              <p:nvPr/>
            </p:nvSpPr>
            <p:spPr>
              <a:xfrm>
                <a:off x="4979930" y="4595592"/>
                <a:ext cx="390077" cy="15194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16" normalizeH="0" baseline="0" noProof="0">
                    <a:ln/>
                    <a:solidFill>
                      <a:srgbClr val="000000"/>
                    </a:solidFill>
                    <a:effectLst/>
                    <a:uLnTx/>
                    <a:uFillTx/>
                    <a:latin typeface="Arial"/>
                    <a:ea typeface="+mn-ea"/>
                    <a:cs typeface="Arial"/>
                    <a:sym typeface="Arial"/>
                    <a:rtl val="0"/>
                  </a:rPr>
                  <a:t>T</a:t>
                </a:r>
                <a:r>
                  <a:rPr kumimoji="0" lang="en-US" sz="800" b="0" i="0" u="none" strike="noStrike" kern="1200" cap="none" spc="0" normalizeH="0" baseline="0" noProof="0">
                    <a:ln/>
                    <a:solidFill>
                      <a:srgbClr val="000000"/>
                    </a:solidFill>
                    <a:effectLst/>
                    <a:uLnTx/>
                    <a:uFillTx/>
                    <a:latin typeface="Arial"/>
                    <a:ea typeface="+mn-ea"/>
                    <a:cs typeface="Arial"/>
                    <a:sym typeface="Arial"/>
                    <a:rtl val="0"/>
                  </a:rPr>
                  <a:t>islelizumab</a:t>
                </a:r>
              </a:p>
            </p:txBody>
          </p:sp>
          <p:sp>
            <p:nvSpPr>
              <p:cNvPr id="444" name="TextBox 443">
                <a:extLst>
                  <a:ext uri="{FF2B5EF4-FFF2-40B4-BE49-F238E27FC236}">
                    <a16:creationId xmlns:a16="http://schemas.microsoft.com/office/drawing/2014/main" id="{7804D06C-C7DC-46BB-B893-F9E3C30ADDDF}"/>
                  </a:ext>
                </a:extLst>
              </p:cNvPr>
              <p:cNvSpPr txBox="1"/>
              <p:nvPr/>
            </p:nvSpPr>
            <p:spPr>
              <a:xfrm>
                <a:off x="5299216" y="4591490"/>
                <a:ext cx="153268" cy="15194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16" normalizeH="0" baseline="0" noProof="0" dirty="0">
                    <a:ln/>
                    <a:solidFill>
                      <a:srgbClr val="000000"/>
                    </a:solidFill>
                    <a:effectLst/>
                    <a:uLnTx/>
                    <a:uFillTx/>
                    <a:latin typeface="Arial"/>
                    <a:ea typeface="+mn-ea"/>
                    <a:cs typeface="Arial"/>
                    <a:sym typeface="Arial"/>
                    <a:rtl val="0"/>
                  </a:rPr>
                  <a:t>49</a:t>
                </a:r>
              </a:p>
            </p:txBody>
          </p:sp>
          <p:sp>
            <p:nvSpPr>
              <p:cNvPr id="445" name="TextBox 444">
                <a:extLst>
                  <a:ext uri="{FF2B5EF4-FFF2-40B4-BE49-F238E27FC236}">
                    <a16:creationId xmlns:a16="http://schemas.microsoft.com/office/drawing/2014/main" id="{A6546FEF-3BF0-4E71-BBF4-97A95106B0C8}"/>
                  </a:ext>
                </a:extLst>
              </p:cNvPr>
              <p:cNvSpPr txBox="1"/>
              <p:nvPr/>
            </p:nvSpPr>
            <p:spPr>
              <a:xfrm>
                <a:off x="7639167" y="4582622"/>
                <a:ext cx="124447" cy="15194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16" normalizeH="0" baseline="0" noProof="0" dirty="0">
                    <a:ln/>
                    <a:solidFill>
                      <a:srgbClr val="000000"/>
                    </a:solidFill>
                    <a:effectLst/>
                    <a:uLnTx/>
                    <a:uFillTx/>
                    <a:latin typeface="Arial"/>
                    <a:ea typeface="+mn-ea"/>
                    <a:cs typeface="Arial"/>
                    <a:sym typeface="Arial"/>
                    <a:rtl val="0"/>
                  </a:rPr>
                  <a:t>2</a:t>
                </a:r>
              </a:p>
            </p:txBody>
          </p:sp>
          <p:sp>
            <p:nvSpPr>
              <p:cNvPr id="446" name="TextBox 445">
                <a:extLst>
                  <a:ext uri="{FF2B5EF4-FFF2-40B4-BE49-F238E27FC236}">
                    <a16:creationId xmlns:a16="http://schemas.microsoft.com/office/drawing/2014/main" id="{B4F44F8C-A987-4E9C-B105-239754556EAB}"/>
                  </a:ext>
                </a:extLst>
              </p:cNvPr>
              <p:cNvSpPr txBox="1"/>
              <p:nvPr/>
            </p:nvSpPr>
            <p:spPr>
              <a:xfrm>
                <a:off x="7387287" y="4584990"/>
                <a:ext cx="124447" cy="15194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16" normalizeH="0" baseline="0" noProof="0" dirty="0">
                    <a:ln/>
                    <a:solidFill>
                      <a:srgbClr val="000000"/>
                    </a:solidFill>
                    <a:effectLst/>
                    <a:uLnTx/>
                    <a:uFillTx/>
                    <a:latin typeface="Arial"/>
                    <a:ea typeface="+mn-ea"/>
                    <a:cs typeface="Arial"/>
                    <a:sym typeface="Arial"/>
                    <a:rtl val="0"/>
                  </a:rPr>
                  <a:t>6</a:t>
                </a:r>
              </a:p>
            </p:txBody>
          </p:sp>
          <p:sp>
            <p:nvSpPr>
              <p:cNvPr id="448" name="TextBox 447">
                <a:extLst>
                  <a:ext uri="{FF2B5EF4-FFF2-40B4-BE49-F238E27FC236}">
                    <a16:creationId xmlns:a16="http://schemas.microsoft.com/office/drawing/2014/main" id="{C25EB929-C201-48D1-AD05-EFD880D8D6EB}"/>
                  </a:ext>
                </a:extLst>
              </p:cNvPr>
              <p:cNvSpPr txBox="1"/>
              <p:nvPr/>
            </p:nvSpPr>
            <p:spPr>
              <a:xfrm>
                <a:off x="7199671" y="4578079"/>
                <a:ext cx="149417" cy="15194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45" normalizeH="0" baseline="0" noProof="0" dirty="0">
                    <a:ln/>
                    <a:solidFill>
                      <a:prstClr val="black"/>
                    </a:solidFill>
                    <a:effectLst/>
                    <a:uLnTx/>
                    <a:uFillTx/>
                    <a:latin typeface="Arial" panose="020B0604020202020204"/>
                    <a:ea typeface="+mn-ea"/>
                    <a:cs typeface="+mn-cs"/>
                    <a:rtl val="0"/>
                  </a:rPr>
                  <a:t>1</a:t>
                </a:r>
                <a:r>
                  <a:rPr kumimoji="0" lang="en-US" sz="800" b="0" i="0" u="none" strike="noStrike" kern="1200" cap="none" spc="-45" normalizeH="0" baseline="0" noProof="0" dirty="0">
                    <a:ln/>
                    <a:solidFill>
                      <a:srgbClr val="000000"/>
                    </a:solidFill>
                    <a:effectLst/>
                    <a:uLnTx/>
                    <a:uFillTx/>
                    <a:latin typeface="Arial"/>
                    <a:ea typeface="+mn-ea"/>
                    <a:cs typeface="Arial"/>
                    <a:sym typeface="Arial"/>
                    <a:rtl val="0"/>
                  </a:rPr>
                  <a:t>1</a:t>
                </a:r>
              </a:p>
            </p:txBody>
          </p:sp>
          <p:sp>
            <p:nvSpPr>
              <p:cNvPr id="450" name="TextBox 449">
                <a:extLst>
                  <a:ext uri="{FF2B5EF4-FFF2-40B4-BE49-F238E27FC236}">
                    <a16:creationId xmlns:a16="http://schemas.microsoft.com/office/drawing/2014/main" id="{5E1D46F1-BBE7-40EA-9BF8-3B13CAEB722A}"/>
                  </a:ext>
                </a:extLst>
              </p:cNvPr>
              <p:cNvSpPr txBox="1"/>
              <p:nvPr/>
            </p:nvSpPr>
            <p:spPr>
              <a:xfrm>
                <a:off x="7043509" y="4578912"/>
                <a:ext cx="153268" cy="15194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16" normalizeH="0" baseline="0" noProof="0" dirty="0">
                    <a:ln/>
                    <a:solidFill>
                      <a:srgbClr val="000000"/>
                    </a:solidFill>
                    <a:effectLst/>
                    <a:uLnTx/>
                    <a:uFillTx/>
                    <a:latin typeface="Arial"/>
                    <a:ea typeface="+mn-ea"/>
                    <a:cs typeface="Arial"/>
                    <a:sym typeface="Arial"/>
                    <a:rtl val="0"/>
                  </a:rPr>
                  <a:t>14</a:t>
                </a:r>
              </a:p>
            </p:txBody>
          </p:sp>
          <p:sp>
            <p:nvSpPr>
              <p:cNvPr id="451" name="TextBox 450">
                <a:extLst>
                  <a:ext uri="{FF2B5EF4-FFF2-40B4-BE49-F238E27FC236}">
                    <a16:creationId xmlns:a16="http://schemas.microsoft.com/office/drawing/2014/main" id="{E158A9A9-A8DB-4656-9D50-7F1C7EE127C0}"/>
                  </a:ext>
                </a:extLst>
              </p:cNvPr>
              <p:cNvSpPr txBox="1"/>
              <p:nvPr/>
            </p:nvSpPr>
            <p:spPr>
              <a:xfrm>
                <a:off x="6890509" y="4584990"/>
                <a:ext cx="153268" cy="15194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16" normalizeH="0" baseline="0" noProof="0" dirty="0">
                    <a:ln/>
                    <a:solidFill>
                      <a:srgbClr val="000000"/>
                    </a:solidFill>
                    <a:effectLst/>
                    <a:uLnTx/>
                    <a:uFillTx/>
                    <a:latin typeface="Arial"/>
                    <a:ea typeface="+mn-ea"/>
                    <a:cs typeface="Arial"/>
                    <a:sym typeface="Arial"/>
                    <a:rtl val="0"/>
                  </a:rPr>
                  <a:t>16</a:t>
                </a:r>
              </a:p>
            </p:txBody>
          </p:sp>
          <p:sp>
            <p:nvSpPr>
              <p:cNvPr id="452" name="TextBox 451">
                <a:extLst>
                  <a:ext uri="{FF2B5EF4-FFF2-40B4-BE49-F238E27FC236}">
                    <a16:creationId xmlns:a16="http://schemas.microsoft.com/office/drawing/2014/main" id="{D0960A29-3FB7-4930-927C-FE5D80EAB48A}"/>
                  </a:ext>
                </a:extLst>
              </p:cNvPr>
              <p:cNvSpPr txBox="1"/>
              <p:nvPr/>
            </p:nvSpPr>
            <p:spPr>
              <a:xfrm>
                <a:off x="6731717" y="4582622"/>
                <a:ext cx="153268" cy="15194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16" normalizeH="0" baseline="0" noProof="0" dirty="0">
                    <a:ln/>
                    <a:solidFill>
                      <a:srgbClr val="000000"/>
                    </a:solidFill>
                    <a:effectLst/>
                    <a:uLnTx/>
                    <a:uFillTx/>
                    <a:latin typeface="Arial"/>
                    <a:ea typeface="+mn-ea"/>
                    <a:cs typeface="Arial"/>
                    <a:sym typeface="Arial"/>
                    <a:rtl val="0"/>
                  </a:rPr>
                  <a:t>17</a:t>
                </a:r>
              </a:p>
            </p:txBody>
          </p:sp>
          <p:sp>
            <p:nvSpPr>
              <p:cNvPr id="453" name="TextBox 452">
                <a:extLst>
                  <a:ext uri="{FF2B5EF4-FFF2-40B4-BE49-F238E27FC236}">
                    <a16:creationId xmlns:a16="http://schemas.microsoft.com/office/drawing/2014/main" id="{D78E6270-FAEE-4700-BBFC-209EADC35C3B}"/>
                  </a:ext>
                </a:extLst>
              </p:cNvPr>
              <p:cNvSpPr txBox="1"/>
              <p:nvPr/>
            </p:nvSpPr>
            <p:spPr>
              <a:xfrm>
                <a:off x="6573512" y="4584990"/>
                <a:ext cx="153268" cy="15194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16" normalizeH="0" baseline="0" noProof="0" dirty="0">
                    <a:ln/>
                    <a:solidFill>
                      <a:srgbClr val="000000"/>
                    </a:solidFill>
                    <a:effectLst/>
                    <a:uLnTx/>
                    <a:uFillTx/>
                    <a:latin typeface="Arial"/>
                    <a:ea typeface="+mn-ea"/>
                    <a:cs typeface="Arial"/>
                    <a:sym typeface="Arial"/>
                    <a:rtl val="0"/>
                  </a:rPr>
                  <a:t>19</a:t>
                </a:r>
              </a:p>
            </p:txBody>
          </p:sp>
          <p:sp>
            <p:nvSpPr>
              <p:cNvPr id="454" name="TextBox 453">
                <a:extLst>
                  <a:ext uri="{FF2B5EF4-FFF2-40B4-BE49-F238E27FC236}">
                    <a16:creationId xmlns:a16="http://schemas.microsoft.com/office/drawing/2014/main" id="{27C2010D-205A-4032-8F13-3B01C17BFDF9}"/>
                  </a:ext>
                </a:extLst>
              </p:cNvPr>
              <p:cNvSpPr txBox="1"/>
              <p:nvPr/>
            </p:nvSpPr>
            <p:spPr>
              <a:xfrm>
                <a:off x="6415159" y="4584990"/>
                <a:ext cx="153268" cy="15194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16" normalizeH="0" baseline="0" noProof="0" dirty="0">
                    <a:ln/>
                    <a:solidFill>
                      <a:srgbClr val="000000"/>
                    </a:solidFill>
                    <a:effectLst/>
                    <a:uLnTx/>
                    <a:uFillTx/>
                    <a:latin typeface="Arial"/>
                    <a:ea typeface="+mn-ea"/>
                    <a:cs typeface="Arial"/>
                    <a:sym typeface="Arial"/>
                    <a:rtl val="0"/>
                  </a:rPr>
                  <a:t>21</a:t>
                </a:r>
              </a:p>
            </p:txBody>
          </p:sp>
          <p:sp>
            <p:nvSpPr>
              <p:cNvPr id="455" name="TextBox 454">
                <a:extLst>
                  <a:ext uri="{FF2B5EF4-FFF2-40B4-BE49-F238E27FC236}">
                    <a16:creationId xmlns:a16="http://schemas.microsoft.com/office/drawing/2014/main" id="{8823AEF8-A973-42C5-AF96-8ACDC99408D8}"/>
                  </a:ext>
                </a:extLst>
              </p:cNvPr>
              <p:cNvSpPr txBox="1"/>
              <p:nvPr/>
            </p:nvSpPr>
            <p:spPr>
              <a:xfrm>
                <a:off x="6261721" y="4584990"/>
                <a:ext cx="153268" cy="15194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16" normalizeH="0" baseline="0" noProof="0" dirty="0">
                    <a:ln/>
                    <a:solidFill>
                      <a:srgbClr val="000000"/>
                    </a:solidFill>
                    <a:effectLst/>
                    <a:uLnTx/>
                    <a:uFillTx/>
                    <a:latin typeface="Arial"/>
                    <a:ea typeface="+mn-ea"/>
                    <a:cs typeface="Arial"/>
                    <a:sym typeface="Arial"/>
                    <a:rtl val="0"/>
                  </a:rPr>
                  <a:t>25</a:t>
                </a:r>
              </a:p>
            </p:txBody>
          </p:sp>
          <p:sp>
            <p:nvSpPr>
              <p:cNvPr id="456" name="TextBox 455">
                <a:extLst>
                  <a:ext uri="{FF2B5EF4-FFF2-40B4-BE49-F238E27FC236}">
                    <a16:creationId xmlns:a16="http://schemas.microsoft.com/office/drawing/2014/main" id="{44DB1635-634C-4D20-968A-1436A248B2F5}"/>
                  </a:ext>
                </a:extLst>
              </p:cNvPr>
              <p:cNvSpPr txBox="1"/>
              <p:nvPr/>
            </p:nvSpPr>
            <p:spPr>
              <a:xfrm>
                <a:off x="6103338" y="4591490"/>
                <a:ext cx="153268" cy="15194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16" normalizeH="0" baseline="0" noProof="0" dirty="0">
                    <a:ln/>
                    <a:solidFill>
                      <a:srgbClr val="000000"/>
                    </a:solidFill>
                    <a:effectLst/>
                    <a:uLnTx/>
                    <a:uFillTx/>
                    <a:latin typeface="Arial"/>
                    <a:ea typeface="+mn-ea"/>
                    <a:cs typeface="Arial"/>
                    <a:sym typeface="Arial"/>
                    <a:rtl val="0"/>
                  </a:rPr>
                  <a:t>27</a:t>
                </a:r>
              </a:p>
            </p:txBody>
          </p:sp>
          <p:sp>
            <p:nvSpPr>
              <p:cNvPr id="457" name="TextBox 456">
                <a:extLst>
                  <a:ext uri="{FF2B5EF4-FFF2-40B4-BE49-F238E27FC236}">
                    <a16:creationId xmlns:a16="http://schemas.microsoft.com/office/drawing/2014/main" id="{8A392FED-5EDC-4694-8A6C-8A91A9A58D04}"/>
                  </a:ext>
                </a:extLst>
              </p:cNvPr>
              <p:cNvSpPr txBox="1"/>
              <p:nvPr/>
            </p:nvSpPr>
            <p:spPr>
              <a:xfrm>
                <a:off x="5925645" y="4590513"/>
                <a:ext cx="153268" cy="15194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16" normalizeH="0" baseline="0" noProof="0" dirty="0">
                    <a:ln/>
                    <a:solidFill>
                      <a:srgbClr val="000000"/>
                    </a:solidFill>
                    <a:effectLst/>
                    <a:uLnTx/>
                    <a:uFillTx/>
                    <a:latin typeface="Arial"/>
                    <a:ea typeface="+mn-ea"/>
                    <a:cs typeface="Arial"/>
                    <a:sym typeface="Arial"/>
                    <a:rtl val="0"/>
                  </a:rPr>
                  <a:t>28</a:t>
                </a:r>
              </a:p>
            </p:txBody>
          </p:sp>
          <p:sp>
            <p:nvSpPr>
              <p:cNvPr id="458" name="TextBox 457">
                <a:extLst>
                  <a:ext uri="{FF2B5EF4-FFF2-40B4-BE49-F238E27FC236}">
                    <a16:creationId xmlns:a16="http://schemas.microsoft.com/office/drawing/2014/main" id="{50163D2F-C18A-4EAB-BD40-F197501BADFC}"/>
                  </a:ext>
                </a:extLst>
              </p:cNvPr>
              <p:cNvSpPr txBox="1"/>
              <p:nvPr/>
            </p:nvSpPr>
            <p:spPr>
              <a:xfrm>
                <a:off x="5767363" y="4587634"/>
                <a:ext cx="153268" cy="15194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16" normalizeH="0" baseline="0" noProof="0" dirty="0">
                    <a:ln/>
                    <a:solidFill>
                      <a:srgbClr val="000000"/>
                    </a:solidFill>
                    <a:effectLst/>
                    <a:uLnTx/>
                    <a:uFillTx/>
                    <a:latin typeface="Arial"/>
                    <a:ea typeface="+mn-ea"/>
                    <a:cs typeface="Arial"/>
                    <a:sym typeface="Arial"/>
                    <a:rtl val="0"/>
                  </a:rPr>
                  <a:t>32</a:t>
                </a:r>
              </a:p>
            </p:txBody>
          </p:sp>
          <p:sp>
            <p:nvSpPr>
              <p:cNvPr id="459" name="TextBox 458">
                <a:extLst>
                  <a:ext uri="{FF2B5EF4-FFF2-40B4-BE49-F238E27FC236}">
                    <a16:creationId xmlns:a16="http://schemas.microsoft.com/office/drawing/2014/main" id="{0CD50F99-247E-4C76-9BF0-88F9A82608E8}"/>
                  </a:ext>
                </a:extLst>
              </p:cNvPr>
              <p:cNvSpPr txBox="1"/>
              <p:nvPr/>
            </p:nvSpPr>
            <p:spPr>
              <a:xfrm>
                <a:off x="5607736" y="4587634"/>
                <a:ext cx="153268" cy="15194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16" normalizeH="0" baseline="0" noProof="0" dirty="0">
                    <a:ln/>
                    <a:solidFill>
                      <a:srgbClr val="000000"/>
                    </a:solidFill>
                    <a:effectLst/>
                    <a:uLnTx/>
                    <a:uFillTx/>
                    <a:latin typeface="Arial"/>
                    <a:ea typeface="+mn-ea"/>
                    <a:cs typeface="Arial"/>
                    <a:sym typeface="Arial"/>
                    <a:rtl val="0"/>
                  </a:rPr>
                  <a:t>37</a:t>
                </a:r>
              </a:p>
            </p:txBody>
          </p:sp>
          <p:sp>
            <p:nvSpPr>
              <p:cNvPr id="460" name="TextBox 459">
                <a:extLst>
                  <a:ext uri="{FF2B5EF4-FFF2-40B4-BE49-F238E27FC236}">
                    <a16:creationId xmlns:a16="http://schemas.microsoft.com/office/drawing/2014/main" id="{4E39BDAB-EA79-4E09-84A7-BF694F18AEBD}"/>
                  </a:ext>
                </a:extLst>
              </p:cNvPr>
              <p:cNvSpPr txBox="1"/>
              <p:nvPr/>
            </p:nvSpPr>
            <p:spPr>
              <a:xfrm>
                <a:off x="7539916" y="4580392"/>
                <a:ext cx="124447" cy="15194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16" normalizeH="0" baseline="0" noProof="0" dirty="0">
                    <a:ln/>
                    <a:solidFill>
                      <a:srgbClr val="000000"/>
                    </a:solidFill>
                    <a:effectLst/>
                    <a:uLnTx/>
                    <a:uFillTx/>
                    <a:latin typeface="Arial"/>
                    <a:ea typeface="+mn-ea"/>
                    <a:cs typeface="Arial"/>
                    <a:sym typeface="Arial"/>
                    <a:rtl val="0"/>
                  </a:rPr>
                  <a:t>5</a:t>
                </a:r>
              </a:p>
            </p:txBody>
          </p:sp>
          <p:sp>
            <p:nvSpPr>
              <p:cNvPr id="488" name="TextBox 487">
                <a:extLst>
                  <a:ext uri="{FF2B5EF4-FFF2-40B4-BE49-F238E27FC236}">
                    <a16:creationId xmlns:a16="http://schemas.microsoft.com/office/drawing/2014/main" id="{83FF3C34-16DD-4BCE-A7AA-00AD21FBE090}"/>
                  </a:ext>
                </a:extLst>
              </p:cNvPr>
              <p:cNvSpPr txBox="1"/>
              <p:nvPr/>
            </p:nvSpPr>
            <p:spPr>
              <a:xfrm>
                <a:off x="5452589" y="4589471"/>
                <a:ext cx="153268" cy="15194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16" normalizeH="0" baseline="0" noProof="0" dirty="0">
                    <a:ln/>
                    <a:solidFill>
                      <a:srgbClr val="000000"/>
                    </a:solidFill>
                    <a:effectLst/>
                    <a:uLnTx/>
                    <a:uFillTx/>
                    <a:latin typeface="Arial"/>
                    <a:ea typeface="+mn-ea"/>
                    <a:cs typeface="Arial"/>
                    <a:sym typeface="Arial"/>
                    <a:rtl val="0"/>
                  </a:rPr>
                  <a:t>44</a:t>
                </a:r>
              </a:p>
            </p:txBody>
          </p:sp>
        </p:grpSp>
        <p:grpSp>
          <p:nvGrpSpPr>
            <p:cNvPr id="317" name="Graphic 20802">
              <a:extLst>
                <a:ext uri="{FF2B5EF4-FFF2-40B4-BE49-F238E27FC236}">
                  <a16:creationId xmlns:a16="http://schemas.microsoft.com/office/drawing/2014/main" id="{F364B86E-B8A7-40A4-85DB-4593D112ACDD}"/>
                </a:ext>
              </a:extLst>
            </p:cNvPr>
            <p:cNvGrpSpPr/>
            <p:nvPr/>
          </p:nvGrpSpPr>
          <p:grpSpPr>
            <a:xfrm>
              <a:off x="6169550" y="3972018"/>
              <a:ext cx="2636720" cy="181277"/>
              <a:chOff x="5028964" y="4656717"/>
              <a:chExt cx="2636720" cy="181277"/>
            </a:xfrm>
            <a:solidFill>
              <a:srgbClr val="000000"/>
            </a:solidFill>
          </p:grpSpPr>
          <p:sp>
            <p:nvSpPr>
              <p:cNvPr id="403" name="TextBox 402">
                <a:extLst>
                  <a:ext uri="{FF2B5EF4-FFF2-40B4-BE49-F238E27FC236}">
                    <a16:creationId xmlns:a16="http://schemas.microsoft.com/office/drawing/2014/main" id="{773273D5-612B-491B-9A9D-5A7A0A73E3A1}"/>
                  </a:ext>
                </a:extLst>
              </p:cNvPr>
              <p:cNvSpPr txBox="1"/>
              <p:nvPr/>
            </p:nvSpPr>
            <p:spPr>
              <a:xfrm>
                <a:off x="5028964" y="4686053"/>
                <a:ext cx="324732" cy="15194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solidFill>
                      <a:srgbClr val="000000"/>
                    </a:solidFill>
                    <a:effectLst/>
                    <a:uLnTx/>
                    <a:uFillTx/>
                    <a:latin typeface="Arial"/>
                    <a:ea typeface="+mn-ea"/>
                    <a:cs typeface="Arial"/>
                    <a:sym typeface="Arial"/>
                    <a:rtl val="0"/>
                  </a:rPr>
                  <a:t>Sorafenib</a:t>
                </a:r>
              </a:p>
            </p:txBody>
          </p:sp>
          <p:sp>
            <p:nvSpPr>
              <p:cNvPr id="404" name="TextBox 403">
                <a:extLst>
                  <a:ext uri="{FF2B5EF4-FFF2-40B4-BE49-F238E27FC236}">
                    <a16:creationId xmlns:a16="http://schemas.microsoft.com/office/drawing/2014/main" id="{494E3DDD-FBBE-4662-AC91-F9840CD86704}"/>
                  </a:ext>
                </a:extLst>
              </p:cNvPr>
              <p:cNvSpPr txBox="1"/>
              <p:nvPr/>
            </p:nvSpPr>
            <p:spPr>
              <a:xfrm>
                <a:off x="5295115" y="4680045"/>
                <a:ext cx="153268" cy="15194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16" normalizeH="0" baseline="0" noProof="0" dirty="0">
                    <a:ln/>
                    <a:solidFill>
                      <a:srgbClr val="000000"/>
                    </a:solidFill>
                    <a:effectLst/>
                    <a:uLnTx/>
                    <a:uFillTx/>
                    <a:latin typeface="Arial"/>
                    <a:ea typeface="+mn-ea"/>
                    <a:cs typeface="Arial"/>
                    <a:sym typeface="Arial"/>
                    <a:rtl val="0"/>
                  </a:rPr>
                  <a:t>18</a:t>
                </a:r>
              </a:p>
            </p:txBody>
          </p:sp>
          <p:sp>
            <p:nvSpPr>
              <p:cNvPr id="405" name="TextBox 404">
                <a:extLst>
                  <a:ext uri="{FF2B5EF4-FFF2-40B4-BE49-F238E27FC236}">
                    <a16:creationId xmlns:a16="http://schemas.microsoft.com/office/drawing/2014/main" id="{87B9493C-D100-47F4-B836-075C3DC36E57}"/>
                  </a:ext>
                </a:extLst>
              </p:cNvPr>
              <p:cNvSpPr txBox="1"/>
              <p:nvPr/>
            </p:nvSpPr>
            <p:spPr>
              <a:xfrm>
                <a:off x="7213455" y="4664279"/>
                <a:ext cx="124447" cy="15194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16" normalizeH="0" baseline="0" noProof="0">
                    <a:ln/>
                    <a:solidFill>
                      <a:srgbClr val="000000"/>
                    </a:solidFill>
                    <a:effectLst/>
                    <a:uLnTx/>
                    <a:uFillTx/>
                    <a:latin typeface="Arial"/>
                    <a:ea typeface="+mn-ea"/>
                    <a:cs typeface="Arial"/>
                    <a:sym typeface="Arial"/>
                    <a:rtl val="0"/>
                  </a:rPr>
                  <a:t>0</a:t>
                </a:r>
              </a:p>
            </p:txBody>
          </p:sp>
          <p:sp>
            <p:nvSpPr>
              <p:cNvPr id="406" name="TextBox 405">
                <a:extLst>
                  <a:ext uri="{FF2B5EF4-FFF2-40B4-BE49-F238E27FC236}">
                    <a16:creationId xmlns:a16="http://schemas.microsoft.com/office/drawing/2014/main" id="{51E7914F-03BA-435D-A9EA-3529F9CD46B7}"/>
                  </a:ext>
                </a:extLst>
              </p:cNvPr>
              <p:cNvSpPr txBox="1"/>
              <p:nvPr/>
            </p:nvSpPr>
            <p:spPr>
              <a:xfrm>
                <a:off x="6906240" y="4661456"/>
                <a:ext cx="124447" cy="15194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16" normalizeH="0" baseline="0" noProof="0" dirty="0">
                    <a:ln/>
                    <a:solidFill>
                      <a:srgbClr val="000000"/>
                    </a:solidFill>
                    <a:effectLst/>
                    <a:uLnTx/>
                    <a:uFillTx/>
                    <a:latin typeface="Arial"/>
                    <a:ea typeface="+mn-ea"/>
                    <a:cs typeface="Arial"/>
                    <a:sym typeface="Arial"/>
                    <a:rtl val="0"/>
                  </a:rPr>
                  <a:t>2</a:t>
                </a:r>
              </a:p>
            </p:txBody>
          </p:sp>
          <p:sp>
            <p:nvSpPr>
              <p:cNvPr id="407" name="TextBox 406">
                <a:extLst>
                  <a:ext uri="{FF2B5EF4-FFF2-40B4-BE49-F238E27FC236}">
                    <a16:creationId xmlns:a16="http://schemas.microsoft.com/office/drawing/2014/main" id="{968F0591-9ACE-438C-ACE8-2E16E1167DC2}"/>
                  </a:ext>
                </a:extLst>
              </p:cNvPr>
              <p:cNvSpPr txBox="1"/>
              <p:nvPr/>
            </p:nvSpPr>
            <p:spPr>
              <a:xfrm>
                <a:off x="6749568" y="4656717"/>
                <a:ext cx="124447" cy="15194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16" normalizeH="0" baseline="0" noProof="0" dirty="0">
                    <a:ln/>
                    <a:solidFill>
                      <a:srgbClr val="000000"/>
                    </a:solidFill>
                    <a:effectLst/>
                    <a:uLnTx/>
                    <a:uFillTx/>
                    <a:latin typeface="Arial"/>
                    <a:ea typeface="+mn-ea"/>
                    <a:cs typeface="Arial"/>
                    <a:sym typeface="Arial"/>
                    <a:rtl val="0"/>
                  </a:rPr>
                  <a:t>2</a:t>
                </a:r>
              </a:p>
            </p:txBody>
          </p:sp>
          <p:sp>
            <p:nvSpPr>
              <p:cNvPr id="408" name="TextBox 407">
                <a:extLst>
                  <a:ext uri="{FF2B5EF4-FFF2-40B4-BE49-F238E27FC236}">
                    <a16:creationId xmlns:a16="http://schemas.microsoft.com/office/drawing/2014/main" id="{248FDF19-4C45-47B2-81F7-A7CF7DD06EA8}"/>
                  </a:ext>
                </a:extLst>
              </p:cNvPr>
              <p:cNvSpPr txBox="1"/>
              <p:nvPr/>
            </p:nvSpPr>
            <p:spPr>
              <a:xfrm>
                <a:off x="6589243" y="4662100"/>
                <a:ext cx="124447" cy="15194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16" normalizeH="0" baseline="0" noProof="0" dirty="0">
                    <a:ln/>
                    <a:solidFill>
                      <a:srgbClr val="000000"/>
                    </a:solidFill>
                    <a:effectLst/>
                    <a:uLnTx/>
                    <a:uFillTx/>
                    <a:latin typeface="Arial"/>
                    <a:ea typeface="+mn-ea"/>
                    <a:cs typeface="Arial"/>
                    <a:sym typeface="Arial"/>
                    <a:rtl val="0"/>
                  </a:rPr>
                  <a:t>2</a:t>
                </a:r>
              </a:p>
            </p:txBody>
          </p:sp>
          <p:sp>
            <p:nvSpPr>
              <p:cNvPr id="409" name="TextBox 408">
                <a:extLst>
                  <a:ext uri="{FF2B5EF4-FFF2-40B4-BE49-F238E27FC236}">
                    <a16:creationId xmlns:a16="http://schemas.microsoft.com/office/drawing/2014/main" id="{9CE35CD8-E350-4CDD-AA9D-169248D16340}"/>
                  </a:ext>
                </a:extLst>
              </p:cNvPr>
              <p:cNvSpPr txBox="1"/>
              <p:nvPr/>
            </p:nvSpPr>
            <p:spPr>
              <a:xfrm>
                <a:off x="6430890" y="4659692"/>
                <a:ext cx="124447" cy="15194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16" normalizeH="0" baseline="0" noProof="0" dirty="0">
                    <a:ln/>
                    <a:solidFill>
                      <a:srgbClr val="000000"/>
                    </a:solidFill>
                    <a:effectLst/>
                    <a:uLnTx/>
                    <a:uFillTx/>
                    <a:latin typeface="Arial"/>
                    <a:ea typeface="+mn-ea"/>
                    <a:cs typeface="Arial"/>
                    <a:sym typeface="Arial"/>
                    <a:rtl val="0"/>
                  </a:rPr>
                  <a:t>2</a:t>
                </a:r>
              </a:p>
            </p:txBody>
          </p:sp>
          <p:sp>
            <p:nvSpPr>
              <p:cNvPr id="410" name="TextBox 409">
                <a:extLst>
                  <a:ext uri="{FF2B5EF4-FFF2-40B4-BE49-F238E27FC236}">
                    <a16:creationId xmlns:a16="http://schemas.microsoft.com/office/drawing/2014/main" id="{BA2216A5-6487-480A-93E8-8801E0FD3E4E}"/>
                  </a:ext>
                </a:extLst>
              </p:cNvPr>
              <p:cNvSpPr txBox="1"/>
              <p:nvPr/>
            </p:nvSpPr>
            <p:spPr>
              <a:xfrm>
                <a:off x="6277452" y="4664797"/>
                <a:ext cx="124447" cy="15194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16" normalizeH="0" baseline="0" noProof="0" dirty="0">
                    <a:ln/>
                    <a:solidFill>
                      <a:srgbClr val="000000"/>
                    </a:solidFill>
                    <a:effectLst/>
                    <a:uLnTx/>
                    <a:uFillTx/>
                    <a:latin typeface="Arial"/>
                    <a:ea typeface="+mn-ea"/>
                    <a:cs typeface="Arial"/>
                    <a:sym typeface="Arial"/>
                    <a:rtl val="0"/>
                  </a:rPr>
                  <a:t>3</a:t>
                </a:r>
              </a:p>
            </p:txBody>
          </p:sp>
          <p:sp>
            <p:nvSpPr>
              <p:cNvPr id="411" name="TextBox 410">
                <a:extLst>
                  <a:ext uri="{FF2B5EF4-FFF2-40B4-BE49-F238E27FC236}">
                    <a16:creationId xmlns:a16="http://schemas.microsoft.com/office/drawing/2014/main" id="{76E82FD4-FD9D-4697-B7EE-57FB55B9D8CB}"/>
                  </a:ext>
                </a:extLst>
              </p:cNvPr>
              <p:cNvSpPr txBox="1"/>
              <p:nvPr/>
            </p:nvSpPr>
            <p:spPr>
              <a:xfrm>
                <a:off x="6119069" y="4664797"/>
                <a:ext cx="124447" cy="15194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16" normalizeH="0" baseline="0" noProof="0" dirty="0">
                    <a:ln/>
                    <a:solidFill>
                      <a:srgbClr val="000000"/>
                    </a:solidFill>
                    <a:effectLst/>
                    <a:uLnTx/>
                    <a:uFillTx/>
                    <a:latin typeface="Arial"/>
                    <a:ea typeface="+mn-ea"/>
                    <a:cs typeface="Arial"/>
                    <a:sym typeface="Arial"/>
                    <a:rtl val="0"/>
                  </a:rPr>
                  <a:t>3</a:t>
                </a:r>
              </a:p>
            </p:txBody>
          </p:sp>
          <p:sp>
            <p:nvSpPr>
              <p:cNvPr id="412" name="TextBox 411">
                <a:extLst>
                  <a:ext uri="{FF2B5EF4-FFF2-40B4-BE49-F238E27FC236}">
                    <a16:creationId xmlns:a16="http://schemas.microsoft.com/office/drawing/2014/main" id="{9D960FE2-872B-4266-93A9-D20418757FD1}"/>
                  </a:ext>
                </a:extLst>
              </p:cNvPr>
              <p:cNvSpPr txBox="1"/>
              <p:nvPr/>
            </p:nvSpPr>
            <p:spPr>
              <a:xfrm>
                <a:off x="5942048" y="4671708"/>
                <a:ext cx="124447" cy="15194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16" normalizeH="0" baseline="0" noProof="0" dirty="0">
                    <a:ln/>
                    <a:solidFill>
                      <a:srgbClr val="000000"/>
                    </a:solidFill>
                    <a:effectLst/>
                    <a:uLnTx/>
                    <a:uFillTx/>
                    <a:latin typeface="Arial"/>
                    <a:ea typeface="+mn-ea"/>
                    <a:cs typeface="Arial"/>
                    <a:sym typeface="Arial"/>
                    <a:rtl val="0"/>
                  </a:rPr>
                  <a:t>7</a:t>
                </a:r>
              </a:p>
            </p:txBody>
          </p:sp>
          <p:sp>
            <p:nvSpPr>
              <p:cNvPr id="413" name="TextBox 412">
                <a:extLst>
                  <a:ext uri="{FF2B5EF4-FFF2-40B4-BE49-F238E27FC236}">
                    <a16:creationId xmlns:a16="http://schemas.microsoft.com/office/drawing/2014/main" id="{1AF6D833-1F41-4A87-A24E-3DAE61387E48}"/>
                  </a:ext>
                </a:extLst>
              </p:cNvPr>
              <p:cNvSpPr txBox="1"/>
              <p:nvPr/>
            </p:nvSpPr>
            <p:spPr>
              <a:xfrm>
                <a:off x="5766626" y="4679392"/>
                <a:ext cx="149417" cy="15194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45" normalizeH="0" baseline="0" noProof="0" dirty="0">
                    <a:ln/>
                    <a:solidFill>
                      <a:srgbClr val="000000"/>
                    </a:solidFill>
                    <a:effectLst/>
                    <a:uLnTx/>
                    <a:uFillTx/>
                    <a:latin typeface="Arial"/>
                    <a:ea typeface="+mn-ea"/>
                    <a:cs typeface="Arial"/>
                    <a:sym typeface="Arial"/>
                    <a:rtl val="0"/>
                  </a:rPr>
                  <a:t>11</a:t>
                </a:r>
              </a:p>
            </p:txBody>
          </p:sp>
          <p:sp>
            <p:nvSpPr>
              <p:cNvPr id="415" name="TextBox 414">
                <a:extLst>
                  <a:ext uri="{FF2B5EF4-FFF2-40B4-BE49-F238E27FC236}">
                    <a16:creationId xmlns:a16="http://schemas.microsoft.com/office/drawing/2014/main" id="{88F888E8-D92B-4FEC-9732-E82B9B71A2DF}"/>
                  </a:ext>
                </a:extLst>
              </p:cNvPr>
              <p:cNvSpPr txBox="1"/>
              <p:nvPr/>
            </p:nvSpPr>
            <p:spPr>
              <a:xfrm>
                <a:off x="5602399" y="4680045"/>
                <a:ext cx="153268" cy="15194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16" normalizeH="0" baseline="0" noProof="0" dirty="0">
                    <a:ln/>
                    <a:solidFill>
                      <a:srgbClr val="000000"/>
                    </a:solidFill>
                    <a:effectLst/>
                    <a:uLnTx/>
                    <a:uFillTx/>
                    <a:latin typeface="Arial"/>
                    <a:ea typeface="+mn-ea"/>
                    <a:cs typeface="Arial"/>
                    <a:sym typeface="Arial"/>
                    <a:rtl val="0"/>
                  </a:rPr>
                  <a:t>14</a:t>
                </a:r>
              </a:p>
            </p:txBody>
          </p:sp>
          <p:sp>
            <p:nvSpPr>
              <p:cNvPr id="416" name="TextBox 415">
                <a:extLst>
                  <a:ext uri="{FF2B5EF4-FFF2-40B4-BE49-F238E27FC236}">
                    <a16:creationId xmlns:a16="http://schemas.microsoft.com/office/drawing/2014/main" id="{71BA3254-76E3-430E-90CB-77F59B565E38}"/>
                  </a:ext>
                </a:extLst>
              </p:cNvPr>
              <p:cNvSpPr txBox="1"/>
              <p:nvPr/>
            </p:nvSpPr>
            <p:spPr>
              <a:xfrm>
                <a:off x="7541237" y="4665503"/>
                <a:ext cx="124447" cy="15194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16" normalizeH="0" baseline="0" noProof="0" dirty="0">
                    <a:ln/>
                    <a:solidFill>
                      <a:srgbClr val="000000"/>
                    </a:solidFill>
                    <a:effectLst/>
                    <a:uLnTx/>
                    <a:uFillTx/>
                    <a:latin typeface="Arial"/>
                    <a:ea typeface="+mn-ea"/>
                    <a:cs typeface="Arial"/>
                    <a:sym typeface="Arial"/>
                    <a:rtl val="0"/>
                  </a:rPr>
                  <a:t>0</a:t>
                </a:r>
              </a:p>
            </p:txBody>
          </p:sp>
          <p:sp>
            <p:nvSpPr>
              <p:cNvPr id="417" name="TextBox 416">
                <a:extLst>
                  <a:ext uri="{FF2B5EF4-FFF2-40B4-BE49-F238E27FC236}">
                    <a16:creationId xmlns:a16="http://schemas.microsoft.com/office/drawing/2014/main" id="{39BDF7A8-3E71-42C8-85E3-D0E50B883EE4}"/>
                  </a:ext>
                </a:extLst>
              </p:cNvPr>
              <p:cNvSpPr txBox="1"/>
              <p:nvPr/>
            </p:nvSpPr>
            <p:spPr>
              <a:xfrm>
                <a:off x="7388608" y="4663205"/>
                <a:ext cx="124447" cy="15194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16" normalizeH="0" baseline="0" noProof="0">
                    <a:ln/>
                    <a:solidFill>
                      <a:srgbClr val="000000"/>
                    </a:solidFill>
                    <a:effectLst/>
                    <a:uLnTx/>
                    <a:uFillTx/>
                    <a:latin typeface="Arial"/>
                    <a:ea typeface="+mn-ea"/>
                    <a:cs typeface="Arial"/>
                    <a:sym typeface="Arial"/>
                    <a:rtl val="0"/>
                  </a:rPr>
                  <a:t>0</a:t>
                </a:r>
              </a:p>
            </p:txBody>
          </p:sp>
          <p:sp>
            <p:nvSpPr>
              <p:cNvPr id="428" name="TextBox 427">
                <a:extLst>
                  <a:ext uri="{FF2B5EF4-FFF2-40B4-BE49-F238E27FC236}">
                    <a16:creationId xmlns:a16="http://schemas.microsoft.com/office/drawing/2014/main" id="{93DCC0C4-09F5-4613-85F1-CC9230723B8B}"/>
                  </a:ext>
                </a:extLst>
              </p:cNvPr>
              <p:cNvSpPr txBox="1"/>
              <p:nvPr/>
            </p:nvSpPr>
            <p:spPr>
              <a:xfrm>
                <a:off x="7059240" y="4663205"/>
                <a:ext cx="124447" cy="15194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16" normalizeH="0" baseline="0" noProof="0">
                    <a:ln/>
                    <a:solidFill>
                      <a:srgbClr val="000000"/>
                    </a:solidFill>
                    <a:effectLst/>
                    <a:uLnTx/>
                    <a:uFillTx/>
                    <a:latin typeface="Arial"/>
                    <a:ea typeface="+mn-ea"/>
                    <a:cs typeface="Arial"/>
                    <a:sym typeface="Arial"/>
                    <a:rtl val="0"/>
                  </a:rPr>
                  <a:t>0</a:t>
                </a:r>
              </a:p>
            </p:txBody>
          </p:sp>
          <p:sp>
            <p:nvSpPr>
              <p:cNvPr id="440" name="TextBox 439">
                <a:extLst>
                  <a:ext uri="{FF2B5EF4-FFF2-40B4-BE49-F238E27FC236}">
                    <a16:creationId xmlns:a16="http://schemas.microsoft.com/office/drawing/2014/main" id="{02C8786D-54AD-407D-BECD-9106B611D85A}"/>
                  </a:ext>
                </a:extLst>
              </p:cNvPr>
              <p:cNvSpPr txBox="1"/>
              <p:nvPr/>
            </p:nvSpPr>
            <p:spPr>
              <a:xfrm>
                <a:off x="5453910" y="4674351"/>
                <a:ext cx="153268" cy="15194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16" normalizeH="0" baseline="0" noProof="0" dirty="0">
                    <a:ln/>
                    <a:solidFill>
                      <a:srgbClr val="000000"/>
                    </a:solidFill>
                    <a:effectLst/>
                    <a:uLnTx/>
                    <a:uFillTx/>
                    <a:latin typeface="Arial"/>
                    <a:ea typeface="+mn-ea"/>
                    <a:cs typeface="Arial"/>
                    <a:sym typeface="Arial"/>
                    <a:rtl val="0"/>
                  </a:rPr>
                  <a:t>18</a:t>
                </a:r>
              </a:p>
            </p:txBody>
          </p:sp>
        </p:grpSp>
        <p:sp>
          <p:nvSpPr>
            <p:cNvPr id="319" name="Freeform 30">
              <a:extLst>
                <a:ext uri="{FF2B5EF4-FFF2-40B4-BE49-F238E27FC236}">
                  <a16:creationId xmlns:a16="http://schemas.microsoft.com/office/drawing/2014/main" id="{2CBD9969-2B5F-42F2-AAF5-0624D2C1140F}"/>
                </a:ext>
              </a:extLst>
            </p:cNvPr>
            <p:cNvSpPr/>
            <p:nvPr/>
          </p:nvSpPr>
          <p:spPr>
            <a:xfrm>
              <a:off x="6529340" y="1795426"/>
              <a:ext cx="2333657" cy="1158078"/>
            </a:xfrm>
            <a:custGeom>
              <a:avLst/>
              <a:gdLst>
                <a:gd name="connsiteX0" fmla="*/ 0 w 2339056"/>
                <a:gd name="connsiteY0" fmla="*/ 0 h 1158078"/>
                <a:gd name="connsiteX1" fmla="*/ 151860 w 2339056"/>
                <a:gd name="connsiteY1" fmla="*/ 0 h 1158078"/>
                <a:gd name="connsiteX2" fmla="*/ 151860 w 2339056"/>
                <a:gd name="connsiteY2" fmla="*/ 41943 h 1158078"/>
                <a:gd name="connsiteX3" fmla="*/ 204406 w 2339056"/>
                <a:gd name="connsiteY3" fmla="*/ 41943 h 1158078"/>
                <a:gd name="connsiteX4" fmla="*/ 204406 w 2339056"/>
                <a:gd name="connsiteY4" fmla="*/ 197812 h 1158078"/>
                <a:gd name="connsiteX5" fmla="*/ 307911 w 2339056"/>
                <a:gd name="connsiteY5" fmla="*/ 197812 h 1158078"/>
                <a:gd name="connsiteX6" fmla="*/ 307911 w 2339056"/>
                <a:gd name="connsiteY6" fmla="*/ 323754 h 1158078"/>
                <a:gd name="connsiteX7" fmla="*/ 410170 w 2339056"/>
                <a:gd name="connsiteY7" fmla="*/ 323754 h 1158078"/>
                <a:gd name="connsiteX8" fmla="*/ 410170 w 2339056"/>
                <a:gd name="connsiteY8" fmla="*/ 359916 h 1158078"/>
                <a:gd name="connsiteX9" fmla="*/ 463735 w 2339056"/>
                <a:gd name="connsiteY9" fmla="*/ 359916 h 1158078"/>
                <a:gd name="connsiteX10" fmla="*/ 463735 w 2339056"/>
                <a:gd name="connsiteY10" fmla="*/ 402766 h 1158078"/>
                <a:gd name="connsiteX11" fmla="*/ 515600 w 2339056"/>
                <a:gd name="connsiteY11" fmla="*/ 402766 h 1158078"/>
                <a:gd name="connsiteX12" fmla="*/ 515600 w 2339056"/>
                <a:gd name="connsiteY12" fmla="*/ 485178 h 1158078"/>
                <a:gd name="connsiteX13" fmla="*/ 567353 w 2339056"/>
                <a:gd name="connsiteY13" fmla="*/ 485178 h 1158078"/>
                <a:gd name="connsiteX14" fmla="*/ 567353 w 2339056"/>
                <a:gd name="connsiteY14" fmla="*/ 524853 h 1158078"/>
                <a:gd name="connsiteX15" fmla="*/ 830192 w 2339056"/>
                <a:gd name="connsiteY15" fmla="*/ 524853 h 1158078"/>
                <a:gd name="connsiteX16" fmla="*/ 830192 w 2339056"/>
                <a:gd name="connsiteY16" fmla="*/ 570877 h 1158078"/>
                <a:gd name="connsiteX17" fmla="*/ 982053 w 2339056"/>
                <a:gd name="connsiteY17" fmla="*/ 570877 h 1158078"/>
                <a:gd name="connsiteX18" fmla="*/ 982053 w 2339056"/>
                <a:gd name="connsiteY18" fmla="*/ 614067 h 1158078"/>
                <a:gd name="connsiteX19" fmla="*/ 1034825 w 2339056"/>
                <a:gd name="connsiteY19" fmla="*/ 614067 h 1158078"/>
                <a:gd name="connsiteX20" fmla="*/ 1034825 w 2339056"/>
                <a:gd name="connsiteY20" fmla="*/ 710423 h 1158078"/>
                <a:gd name="connsiteX21" fmla="*/ 1088049 w 2339056"/>
                <a:gd name="connsiteY21" fmla="*/ 710423 h 1158078"/>
                <a:gd name="connsiteX22" fmla="*/ 1088049 w 2339056"/>
                <a:gd name="connsiteY22" fmla="*/ 755993 h 1158078"/>
                <a:gd name="connsiteX23" fmla="*/ 1348511 w 2339056"/>
                <a:gd name="connsiteY23" fmla="*/ 755993 h 1158078"/>
                <a:gd name="connsiteX24" fmla="*/ 1348511 w 2339056"/>
                <a:gd name="connsiteY24" fmla="*/ 805871 h 1158078"/>
                <a:gd name="connsiteX25" fmla="*/ 1868188 w 2339056"/>
                <a:gd name="connsiteY25" fmla="*/ 805871 h 1158078"/>
                <a:gd name="connsiteX26" fmla="*/ 1868188 w 2339056"/>
                <a:gd name="connsiteY26" fmla="*/ 886810 h 1158078"/>
                <a:gd name="connsiteX27" fmla="*/ 2177458 w 2339056"/>
                <a:gd name="connsiteY27" fmla="*/ 886810 h 1158078"/>
                <a:gd name="connsiteX28" fmla="*/ 2177458 w 2339056"/>
                <a:gd name="connsiteY28" fmla="*/ 1158078 h 1158078"/>
                <a:gd name="connsiteX29" fmla="*/ 2339057 w 2339056"/>
                <a:gd name="connsiteY29" fmla="*/ 1158078 h 1158078"/>
                <a:gd name="connsiteX0" fmla="*/ 0 w 2283144"/>
                <a:gd name="connsiteY0" fmla="*/ 0 h 1158078"/>
                <a:gd name="connsiteX1" fmla="*/ 151860 w 2283144"/>
                <a:gd name="connsiteY1" fmla="*/ 0 h 1158078"/>
                <a:gd name="connsiteX2" fmla="*/ 151860 w 2283144"/>
                <a:gd name="connsiteY2" fmla="*/ 41943 h 1158078"/>
                <a:gd name="connsiteX3" fmla="*/ 204406 w 2283144"/>
                <a:gd name="connsiteY3" fmla="*/ 41943 h 1158078"/>
                <a:gd name="connsiteX4" fmla="*/ 204406 w 2283144"/>
                <a:gd name="connsiteY4" fmla="*/ 197812 h 1158078"/>
                <a:gd name="connsiteX5" fmla="*/ 307911 w 2283144"/>
                <a:gd name="connsiteY5" fmla="*/ 197812 h 1158078"/>
                <a:gd name="connsiteX6" fmla="*/ 307911 w 2283144"/>
                <a:gd name="connsiteY6" fmla="*/ 323754 h 1158078"/>
                <a:gd name="connsiteX7" fmla="*/ 410170 w 2283144"/>
                <a:gd name="connsiteY7" fmla="*/ 323754 h 1158078"/>
                <a:gd name="connsiteX8" fmla="*/ 410170 w 2283144"/>
                <a:gd name="connsiteY8" fmla="*/ 359916 h 1158078"/>
                <a:gd name="connsiteX9" fmla="*/ 463735 w 2283144"/>
                <a:gd name="connsiteY9" fmla="*/ 359916 h 1158078"/>
                <a:gd name="connsiteX10" fmla="*/ 463735 w 2283144"/>
                <a:gd name="connsiteY10" fmla="*/ 402766 h 1158078"/>
                <a:gd name="connsiteX11" fmla="*/ 515600 w 2283144"/>
                <a:gd name="connsiteY11" fmla="*/ 402766 h 1158078"/>
                <a:gd name="connsiteX12" fmla="*/ 515600 w 2283144"/>
                <a:gd name="connsiteY12" fmla="*/ 485178 h 1158078"/>
                <a:gd name="connsiteX13" fmla="*/ 567353 w 2283144"/>
                <a:gd name="connsiteY13" fmla="*/ 485178 h 1158078"/>
                <a:gd name="connsiteX14" fmla="*/ 567353 w 2283144"/>
                <a:gd name="connsiteY14" fmla="*/ 524853 h 1158078"/>
                <a:gd name="connsiteX15" fmla="*/ 830192 w 2283144"/>
                <a:gd name="connsiteY15" fmla="*/ 524853 h 1158078"/>
                <a:gd name="connsiteX16" fmla="*/ 830192 w 2283144"/>
                <a:gd name="connsiteY16" fmla="*/ 570877 h 1158078"/>
                <a:gd name="connsiteX17" fmla="*/ 982053 w 2283144"/>
                <a:gd name="connsiteY17" fmla="*/ 570877 h 1158078"/>
                <a:gd name="connsiteX18" fmla="*/ 982053 w 2283144"/>
                <a:gd name="connsiteY18" fmla="*/ 614067 h 1158078"/>
                <a:gd name="connsiteX19" fmla="*/ 1034825 w 2283144"/>
                <a:gd name="connsiteY19" fmla="*/ 614067 h 1158078"/>
                <a:gd name="connsiteX20" fmla="*/ 1034825 w 2283144"/>
                <a:gd name="connsiteY20" fmla="*/ 710423 h 1158078"/>
                <a:gd name="connsiteX21" fmla="*/ 1088049 w 2283144"/>
                <a:gd name="connsiteY21" fmla="*/ 710423 h 1158078"/>
                <a:gd name="connsiteX22" fmla="*/ 1088049 w 2283144"/>
                <a:gd name="connsiteY22" fmla="*/ 755993 h 1158078"/>
                <a:gd name="connsiteX23" fmla="*/ 1348511 w 2283144"/>
                <a:gd name="connsiteY23" fmla="*/ 755993 h 1158078"/>
                <a:gd name="connsiteX24" fmla="*/ 1348511 w 2283144"/>
                <a:gd name="connsiteY24" fmla="*/ 805871 h 1158078"/>
                <a:gd name="connsiteX25" fmla="*/ 1868188 w 2283144"/>
                <a:gd name="connsiteY25" fmla="*/ 805871 h 1158078"/>
                <a:gd name="connsiteX26" fmla="*/ 1868188 w 2283144"/>
                <a:gd name="connsiteY26" fmla="*/ 886810 h 1158078"/>
                <a:gd name="connsiteX27" fmla="*/ 2177458 w 2283144"/>
                <a:gd name="connsiteY27" fmla="*/ 886810 h 1158078"/>
                <a:gd name="connsiteX28" fmla="*/ 2177458 w 2283144"/>
                <a:gd name="connsiteY28" fmla="*/ 1158078 h 1158078"/>
                <a:gd name="connsiteX29" fmla="*/ 2283144 w 2283144"/>
                <a:gd name="connsiteY29" fmla="*/ 1158078 h 1158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283144" h="1158078">
                  <a:moveTo>
                    <a:pt x="0" y="0"/>
                  </a:moveTo>
                  <a:lnTo>
                    <a:pt x="151860" y="0"/>
                  </a:lnTo>
                  <a:lnTo>
                    <a:pt x="151860" y="41943"/>
                  </a:lnTo>
                  <a:lnTo>
                    <a:pt x="204406" y="41943"/>
                  </a:lnTo>
                  <a:lnTo>
                    <a:pt x="204406" y="197812"/>
                  </a:lnTo>
                  <a:lnTo>
                    <a:pt x="307911" y="197812"/>
                  </a:lnTo>
                  <a:lnTo>
                    <a:pt x="307911" y="323754"/>
                  </a:lnTo>
                  <a:lnTo>
                    <a:pt x="410170" y="323754"/>
                  </a:lnTo>
                  <a:lnTo>
                    <a:pt x="410170" y="359916"/>
                  </a:lnTo>
                  <a:lnTo>
                    <a:pt x="463735" y="359916"/>
                  </a:lnTo>
                  <a:lnTo>
                    <a:pt x="463735" y="402766"/>
                  </a:lnTo>
                  <a:lnTo>
                    <a:pt x="515600" y="402766"/>
                  </a:lnTo>
                  <a:lnTo>
                    <a:pt x="515600" y="485178"/>
                  </a:lnTo>
                  <a:lnTo>
                    <a:pt x="567353" y="485178"/>
                  </a:lnTo>
                  <a:lnTo>
                    <a:pt x="567353" y="524853"/>
                  </a:lnTo>
                  <a:lnTo>
                    <a:pt x="830192" y="524853"/>
                  </a:lnTo>
                  <a:lnTo>
                    <a:pt x="830192" y="570877"/>
                  </a:lnTo>
                  <a:lnTo>
                    <a:pt x="982053" y="570877"/>
                  </a:lnTo>
                  <a:lnTo>
                    <a:pt x="982053" y="614067"/>
                  </a:lnTo>
                  <a:lnTo>
                    <a:pt x="1034825" y="614067"/>
                  </a:lnTo>
                  <a:lnTo>
                    <a:pt x="1034825" y="710423"/>
                  </a:lnTo>
                  <a:lnTo>
                    <a:pt x="1088049" y="710423"/>
                  </a:lnTo>
                  <a:lnTo>
                    <a:pt x="1088049" y="755993"/>
                  </a:lnTo>
                  <a:lnTo>
                    <a:pt x="1348511" y="755993"/>
                  </a:lnTo>
                  <a:lnTo>
                    <a:pt x="1348511" y="805871"/>
                  </a:lnTo>
                  <a:lnTo>
                    <a:pt x="1868188" y="805871"/>
                  </a:lnTo>
                  <a:lnTo>
                    <a:pt x="1868188" y="886810"/>
                  </a:lnTo>
                  <a:lnTo>
                    <a:pt x="2177458" y="886810"/>
                  </a:lnTo>
                  <a:lnTo>
                    <a:pt x="2177458" y="1158078"/>
                  </a:lnTo>
                  <a:lnTo>
                    <a:pt x="2283144" y="1158078"/>
                  </a:lnTo>
                </a:path>
              </a:pathLst>
            </a:custGeom>
            <a:noFill/>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nvGrpSpPr>
            <p:cNvPr id="320" name="Graphic 20802">
              <a:extLst>
                <a:ext uri="{FF2B5EF4-FFF2-40B4-BE49-F238E27FC236}">
                  <a16:creationId xmlns:a16="http://schemas.microsoft.com/office/drawing/2014/main" id="{24FC33F2-2F06-41DF-9509-95A138D95BC3}"/>
                </a:ext>
              </a:extLst>
            </p:cNvPr>
            <p:cNvGrpSpPr/>
            <p:nvPr/>
          </p:nvGrpSpPr>
          <p:grpSpPr>
            <a:xfrm>
              <a:off x="8845520" y="2939108"/>
              <a:ext cx="29400" cy="28793"/>
              <a:chOff x="7709391" y="3623913"/>
              <a:chExt cx="28764" cy="28793"/>
            </a:xfrm>
          </p:grpSpPr>
          <p:sp>
            <p:nvSpPr>
              <p:cNvPr id="401" name="Freeform 86">
                <a:extLst>
                  <a:ext uri="{FF2B5EF4-FFF2-40B4-BE49-F238E27FC236}">
                    <a16:creationId xmlns:a16="http://schemas.microsoft.com/office/drawing/2014/main" id="{6EA37EB9-C936-4752-A213-3A5EA1362920}"/>
                  </a:ext>
                </a:extLst>
              </p:cNvPr>
              <p:cNvSpPr/>
              <p:nvPr/>
            </p:nvSpPr>
            <p:spPr>
              <a:xfrm>
                <a:off x="7723773" y="3623913"/>
                <a:ext cx="11324" cy="28793"/>
              </a:xfrm>
              <a:custGeom>
                <a:avLst/>
                <a:gdLst>
                  <a:gd name="connsiteX0" fmla="*/ 0 w 11324"/>
                  <a:gd name="connsiteY0" fmla="*/ 0 h 28793"/>
                  <a:gd name="connsiteX1" fmla="*/ 0 w 11324"/>
                  <a:gd name="connsiteY1" fmla="*/ 28793 h 28793"/>
                </a:gdLst>
                <a:ahLst/>
                <a:cxnLst>
                  <a:cxn ang="0">
                    <a:pos x="connsiteX0" y="connsiteY0"/>
                  </a:cxn>
                  <a:cxn ang="0">
                    <a:pos x="connsiteX1" y="connsiteY1"/>
                  </a:cxn>
                </a:cxnLst>
                <a:rect l="l" t="t" r="r" b="b"/>
                <a:pathLst>
                  <a:path w="11324" h="28793">
                    <a:moveTo>
                      <a:pt x="0" y="0"/>
                    </a:moveTo>
                    <a:lnTo>
                      <a:pt x="0" y="28793"/>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2" name="Freeform 87">
                <a:extLst>
                  <a:ext uri="{FF2B5EF4-FFF2-40B4-BE49-F238E27FC236}">
                    <a16:creationId xmlns:a16="http://schemas.microsoft.com/office/drawing/2014/main" id="{9CF38894-33B6-42E5-9221-80C551A5C90D}"/>
                  </a:ext>
                </a:extLst>
              </p:cNvPr>
              <p:cNvSpPr/>
              <p:nvPr/>
            </p:nvSpPr>
            <p:spPr>
              <a:xfrm>
                <a:off x="7709391" y="3638309"/>
                <a:ext cx="28764" cy="11335"/>
              </a:xfrm>
              <a:custGeom>
                <a:avLst/>
                <a:gdLst>
                  <a:gd name="connsiteX0" fmla="*/ 0 w 28764"/>
                  <a:gd name="connsiteY0" fmla="*/ 0 h 11335"/>
                  <a:gd name="connsiteX1" fmla="*/ 28764 w 28764"/>
                  <a:gd name="connsiteY1" fmla="*/ 0 h 11335"/>
                </a:gdLst>
                <a:ahLst/>
                <a:cxnLst>
                  <a:cxn ang="0">
                    <a:pos x="connsiteX0" y="connsiteY0"/>
                  </a:cxn>
                  <a:cxn ang="0">
                    <a:pos x="connsiteX1" y="connsiteY1"/>
                  </a:cxn>
                </a:cxnLst>
                <a:rect l="l" t="t" r="r" b="b"/>
                <a:pathLst>
                  <a:path w="28764" h="11335">
                    <a:moveTo>
                      <a:pt x="0" y="0"/>
                    </a:moveTo>
                    <a:lnTo>
                      <a:pt x="28764" y="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321" name="Graphic 20802">
              <a:extLst>
                <a:ext uri="{FF2B5EF4-FFF2-40B4-BE49-F238E27FC236}">
                  <a16:creationId xmlns:a16="http://schemas.microsoft.com/office/drawing/2014/main" id="{AB80B20B-6144-451B-A09A-5A297E892B2B}"/>
                </a:ext>
              </a:extLst>
            </p:cNvPr>
            <p:cNvGrpSpPr/>
            <p:nvPr/>
          </p:nvGrpSpPr>
          <p:grpSpPr>
            <a:xfrm>
              <a:off x="8740272" y="2667952"/>
              <a:ext cx="29284" cy="28679"/>
              <a:chOff x="7550509" y="3352757"/>
              <a:chExt cx="28650" cy="28679"/>
            </a:xfrm>
          </p:grpSpPr>
          <p:sp>
            <p:nvSpPr>
              <p:cNvPr id="399" name="Freeform 84">
                <a:extLst>
                  <a:ext uri="{FF2B5EF4-FFF2-40B4-BE49-F238E27FC236}">
                    <a16:creationId xmlns:a16="http://schemas.microsoft.com/office/drawing/2014/main" id="{10E41ADA-039A-409A-A29C-8FA98C029EAC}"/>
                  </a:ext>
                </a:extLst>
              </p:cNvPr>
              <p:cNvSpPr/>
              <p:nvPr/>
            </p:nvSpPr>
            <p:spPr>
              <a:xfrm>
                <a:off x="7564891" y="3352757"/>
                <a:ext cx="11324" cy="28679"/>
              </a:xfrm>
              <a:custGeom>
                <a:avLst/>
                <a:gdLst>
                  <a:gd name="connsiteX0" fmla="*/ 0 w 11324"/>
                  <a:gd name="connsiteY0" fmla="*/ 0 h 28679"/>
                  <a:gd name="connsiteX1" fmla="*/ 0 w 11324"/>
                  <a:gd name="connsiteY1" fmla="*/ 28680 h 28679"/>
                </a:gdLst>
                <a:ahLst/>
                <a:cxnLst>
                  <a:cxn ang="0">
                    <a:pos x="connsiteX0" y="connsiteY0"/>
                  </a:cxn>
                  <a:cxn ang="0">
                    <a:pos x="connsiteX1" y="connsiteY1"/>
                  </a:cxn>
                </a:cxnLst>
                <a:rect l="l" t="t" r="r" b="b"/>
                <a:pathLst>
                  <a:path w="11324" h="28679">
                    <a:moveTo>
                      <a:pt x="0" y="0"/>
                    </a:moveTo>
                    <a:lnTo>
                      <a:pt x="0" y="2868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0" name="Freeform 85">
                <a:extLst>
                  <a:ext uri="{FF2B5EF4-FFF2-40B4-BE49-F238E27FC236}">
                    <a16:creationId xmlns:a16="http://schemas.microsoft.com/office/drawing/2014/main" id="{90DD4821-81D5-4F52-8DE5-DD885A8A0E1C}"/>
                  </a:ext>
                </a:extLst>
              </p:cNvPr>
              <p:cNvSpPr/>
              <p:nvPr/>
            </p:nvSpPr>
            <p:spPr>
              <a:xfrm>
                <a:off x="7550509" y="3367041"/>
                <a:ext cx="28650" cy="11335"/>
              </a:xfrm>
              <a:custGeom>
                <a:avLst/>
                <a:gdLst>
                  <a:gd name="connsiteX0" fmla="*/ 0 w 28650"/>
                  <a:gd name="connsiteY0" fmla="*/ 0 h 11335"/>
                  <a:gd name="connsiteX1" fmla="*/ 28651 w 28650"/>
                  <a:gd name="connsiteY1" fmla="*/ 0 h 11335"/>
                </a:gdLst>
                <a:ahLst/>
                <a:cxnLst>
                  <a:cxn ang="0">
                    <a:pos x="connsiteX0" y="connsiteY0"/>
                  </a:cxn>
                  <a:cxn ang="0">
                    <a:pos x="connsiteX1" y="connsiteY1"/>
                  </a:cxn>
                </a:cxnLst>
                <a:rect l="l" t="t" r="r" b="b"/>
                <a:pathLst>
                  <a:path w="28650" h="11335">
                    <a:moveTo>
                      <a:pt x="0" y="0"/>
                    </a:moveTo>
                    <a:lnTo>
                      <a:pt x="28651" y="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322" name="Graphic 20802">
              <a:extLst>
                <a:ext uri="{FF2B5EF4-FFF2-40B4-BE49-F238E27FC236}">
                  <a16:creationId xmlns:a16="http://schemas.microsoft.com/office/drawing/2014/main" id="{B459CC96-6F9C-4CEE-9823-3C4272C78B02}"/>
                </a:ext>
              </a:extLst>
            </p:cNvPr>
            <p:cNvGrpSpPr/>
            <p:nvPr/>
          </p:nvGrpSpPr>
          <p:grpSpPr>
            <a:xfrm>
              <a:off x="8688533" y="2667952"/>
              <a:ext cx="29284" cy="28679"/>
              <a:chOff x="7499889" y="3352757"/>
              <a:chExt cx="28650" cy="28679"/>
            </a:xfrm>
          </p:grpSpPr>
          <p:sp>
            <p:nvSpPr>
              <p:cNvPr id="397" name="Freeform 82">
                <a:extLst>
                  <a:ext uri="{FF2B5EF4-FFF2-40B4-BE49-F238E27FC236}">
                    <a16:creationId xmlns:a16="http://schemas.microsoft.com/office/drawing/2014/main" id="{11734A5D-5741-4896-91F7-17030C340ED1}"/>
                  </a:ext>
                </a:extLst>
              </p:cNvPr>
              <p:cNvSpPr/>
              <p:nvPr/>
            </p:nvSpPr>
            <p:spPr>
              <a:xfrm>
                <a:off x="7514271" y="3352757"/>
                <a:ext cx="11324" cy="28679"/>
              </a:xfrm>
              <a:custGeom>
                <a:avLst/>
                <a:gdLst>
                  <a:gd name="connsiteX0" fmla="*/ 0 w 11324"/>
                  <a:gd name="connsiteY0" fmla="*/ 0 h 28679"/>
                  <a:gd name="connsiteX1" fmla="*/ 0 w 11324"/>
                  <a:gd name="connsiteY1" fmla="*/ 28680 h 28679"/>
                </a:gdLst>
                <a:ahLst/>
                <a:cxnLst>
                  <a:cxn ang="0">
                    <a:pos x="connsiteX0" y="connsiteY0"/>
                  </a:cxn>
                  <a:cxn ang="0">
                    <a:pos x="connsiteX1" y="connsiteY1"/>
                  </a:cxn>
                </a:cxnLst>
                <a:rect l="l" t="t" r="r" b="b"/>
                <a:pathLst>
                  <a:path w="11324" h="28679">
                    <a:moveTo>
                      <a:pt x="0" y="0"/>
                    </a:moveTo>
                    <a:lnTo>
                      <a:pt x="0" y="2868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8" name="Freeform 83">
                <a:extLst>
                  <a:ext uri="{FF2B5EF4-FFF2-40B4-BE49-F238E27FC236}">
                    <a16:creationId xmlns:a16="http://schemas.microsoft.com/office/drawing/2014/main" id="{B42C7A77-EC41-4C18-A0E1-090BBF2B37D5}"/>
                  </a:ext>
                </a:extLst>
              </p:cNvPr>
              <p:cNvSpPr/>
              <p:nvPr/>
            </p:nvSpPr>
            <p:spPr>
              <a:xfrm>
                <a:off x="7499889" y="3367041"/>
                <a:ext cx="28650" cy="11335"/>
              </a:xfrm>
              <a:custGeom>
                <a:avLst/>
                <a:gdLst>
                  <a:gd name="connsiteX0" fmla="*/ 0 w 28650"/>
                  <a:gd name="connsiteY0" fmla="*/ 0 h 11335"/>
                  <a:gd name="connsiteX1" fmla="*/ 28651 w 28650"/>
                  <a:gd name="connsiteY1" fmla="*/ 0 h 11335"/>
                </a:gdLst>
                <a:ahLst/>
                <a:cxnLst>
                  <a:cxn ang="0">
                    <a:pos x="connsiteX0" y="connsiteY0"/>
                  </a:cxn>
                  <a:cxn ang="0">
                    <a:pos x="connsiteX1" y="connsiteY1"/>
                  </a:cxn>
                </a:cxnLst>
                <a:rect l="l" t="t" r="r" b="b"/>
                <a:pathLst>
                  <a:path w="28650" h="11335">
                    <a:moveTo>
                      <a:pt x="0" y="0"/>
                    </a:moveTo>
                    <a:lnTo>
                      <a:pt x="28651" y="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323" name="Graphic 20802">
              <a:extLst>
                <a:ext uri="{FF2B5EF4-FFF2-40B4-BE49-F238E27FC236}">
                  <a16:creationId xmlns:a16="http://schemas.microsoft.com/office/drawing/2014/main" id="{AACC42B6-9B9E-465B-B554-96A8DCF13B2A}"/>
                </a:ext>
              </a:extLst>
            </p:cNvPr>
            <p:cNvGrpSpPr/>
            <p:nvPr/>
          </p:nvGrpSpPr>
          <p:grpSpPr>
            <a:xfrm>
              <a:off x="8528567" y="2667952"/>
              <a:ext cx="29284" cy="28679"/>
              <a:chOff x="7343386" y="3352757"/>
              <a:chExt cx="28650" cy="28679"/>
            </a:xfrm>
          </p:grpSpPr>
          <p:sp>
            <p:nvSpPr>
              <p:cNvPr id="395" name="Freeform 80">
                <a:extLst>
                  <a:ext uri="{FF2B5EF4-FFF2-40B4-BE49-F238E27FC236}">
                    <a16:creationId xmlns:a16="http://schemas.microsoft.com/office/drawing/2014/main" id="{80DA0D33-0CA0-48C6-A726-09954A38CDA5}"/>
                  </a:ext>
                </a:extLst>
              </p:cNvPr>
              <p:cNvSpPr/>
              <p:nvPr/>
            </p:nvSpPr>
            <p:spPr>
              <a:xfrm>
                <a:off x="7357768" y="3352757"/>
                <a:ext cx="11324" cy="28679"/>
              </a:xfrm>
              <a:custGeom>
                <a:avLst/>
                <a:gdLst>
                  <a:gd name="connsiteX0" fmla="*/ 0 w 11324"/>
                  <a:gd name="connsiteY0" fmla="*/ 0 h 28679"/>
                  <a:gd name="connsiteX1" fmla="*/ 0 w 11324"/>
                  <a:gd name="connsiteY1" fmla="*/ 28680 h 28679"/>
                </a:gdLst>
                <a:ahLst/>
                <a:cxnLst>
                  <a:cxn ang="0">
                    <a:pos x="connsiteX0" y="connsiteY0"/>
                  </a:cxn>
                  <a:cxn ang="0">
                    <a:pos x="connsiteX1" y="connsiteY1"/>
                  </a:cxn>
                </a:cxnLst>
                <a:rect l="l" t="t" r="r" b="b"/>
                <a:pathLst>
                  <a:path w="11324" h="28679">
                    <a:moveTo>
                      <a:pt x="0" y="0"/>
                    </a:moveTo>
                    <a:lnTo>
                      <a:pt x="0" y="2868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6" name="Freeform 81">
                <a:extLst>
                  <a:ext uri="{FF2B5EF4-FFF2-40B4-BE49-F238E27FC236}">
                    <a16:creationId xmlns:a16="http://schemas.microsoft.com/office/drawing/2014/main" id="{E112EA4E-6C0C-48AD-818C-FEDEDBE68F6C}"/>
                  </a:ext>
                </a:extLst>
              </p:cNvPr>
              <p:cNvSpPr/>
              <p:nvPr/>
            </p:nvSpPr>
            <p:spPr>
              <a:xfrm>
                <a:off x="7343386" y="3367041"/>
                <a:ext cx="28650" cy="11335"/>
              </a:xfrm>
              <a:custGeom>
                <a:avLst/>
                <a:gdLst>
                  <a:gd name="connsiteX0" fmla="*/ 0 w 28650"/>
                  <a:gd name="connsiteY0" fmla="*/ 0 h 11335"/>
                  <a:gd name="connsiteX1" fmla="*/ 28651 w 28650"/>
                  <a:gd name="connsiteY1" fmla="*/ 0 h 11335"/>
                </a:gdLst>
                <a:ahLst/>
                <a:cxnLst>
                  <a:cxn ang="0">
                    <a:pos x="connsiteX0" y="connsiteY0"/>
                  </a:cxn>
                  <a:cxn ang="0">
                    <a:pos x="connsiteX1" y="connsiteY1"/>
                  </a:cxn>
                </a:cxnLst>
                <a:rect l="l" t="t" r="r" b="b"/>
                <a:pathLst>
                  <a:path w="28650" h="11335">
                    <a:moveTo>
                      <a:pt x="0" y="0"/>
                    </a:moveTo>
                    <a:lnTo>
                      <a:pt x="28651" y="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324" name="Graphic 20802">
              <a:extLst>
                <a:ext uri="{FF2B5EF4-FFF2-40B4-BE49-F238E27FC236}">
                  <a16:creationId xmlns:a16="http://schemas.microsoft.com/office/drawing/2014/main" id="{976BE593-151E-45F6-B189-2C3F451114AF}"/>
                </a:ext>
              </a:extLst>
            </p:cNvPr>
            <p:cNvGrpSpPr/>
            <p:nvPr/>
          </p:nvGrpSpPr>
          <p:grpSpPr>
            <a:xfrm>
              <a:off x="8424277" y="2667952"/>
              <a:ext cx="29284" cy="28679"/>
              <a:chOff x="7241353" y="3352757"/>
              <a:chExt cx="28650" cy="28679"/>
            </a:xfrm>
          </p:grpSpPr>
          <p:sp>
            <p:nvSpPr>
              <p:cNvPr id="393" name="Freeform 78">
                <a:extLst>
                  <a:ext uri="{FF2B5EF4-FFF2-40B4-BE49-F238E27FC236}">
                    <a16:creationId xmlns:a16="http://schemas.microsoft.com/office/drawing/2014/main" id="{8A2D8991-7C2F-4326-8F1F-F40522660C51}"/>
                  </a:ext>
                </a:extLst>
              </p:cNvPr>
              <p:cNvSpPr/>
              <p:nvPr/>
            </p:nvSpPr>
            <p:spPr>
              <a:xfrm>
                <a:off x="7255622" y="3352757"/>
                <a:ext cx="11324" cy="28679"/>
              </a:xfrm>
              <a:custGeom>
                <a:avLst/>
                <a:gdLst>
                  <a:gd name="connsiteX0" fmla="*/ 0 w 11324"/>
                  <a:gd name="connsiteY0" fmla="*/ 0 h 28679"/>
                  <a:gd name="connsiteX1" fmla="*/ 0 w 11324"/>
                  <a:gd name="connsiteY1" fmla="*/ 28680 h 28679"/>
                </a:gdLst>
                <a:ahLst/>
                <a:cxnLst>
                  <a:cxn ang="0">
                    <a:pos x="connsiteX0" y="connsiteY0"/>
                  </a:cxn>
                  <a:cxn ang="0">
                    <a:pos x="connsiteX1" y="connsiteY1"/>
                  </a:cxn>
                </a:cxnLst>
                <a:rect l="l" t="t" r="r" b="b"/>
                <a:pathLst>
                  <a:path w="11324" h="28679">
                    <a:moveTo>
                      <a:pt x="0" y="0"/>
                    </a:moveTo>
                    <a:lnTo>
                      <a:pt x="0" y="2868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4" name="Freeform 79">
                <a:extLst>
                  <a:ext uri="{FF2B5EF4-FFF2-40B4-BE49-F238E27FC236}">
                    <a16:creationId xmlns:a16="http://schemas.microsoft.com/office/drawing/2014/main" id="{286E1A55-D1A5-4A4A-ADD6-90FB7EAD0C0A}"/>
                  </a:ext>
                </a:extLst>
              </p:cNvPr>
              <p:cNvSpPr/>
              <p:nvPr/>
            </p:nvSpPr>
            <p:spPr>
              <a:xfrm>
                <a:off x="7241353" y="3367041"/>
                <a:ext cx="28650" cy="11335"/>
              </a:xfrm>
              <a:custGeom>
                <a:avLst/>
                <a:gdLst>
                  <a:gd name="connsiteX0" fmla="*/ 0 w 28650"/>
                  <a:gd name="connsiteY0" fmla="*/ 0 h 11335"/>
                  <a:gd name="connsiteX1" fmla="*/ 28651 w 28650"/>
                  <a:gd name="connsiteY1" fmla="*/ 0 h 11335"/>
                </a:gdLst>
                <a:ahLst/>
                <a:cxnLst>
                  <a:cxn ang="0">
                    <a:pos x="connsiteX0" y="connsiteY0"/>
                  </a:cxn>
                  <a:cxn ang="0">
                    <a:pos x="connsiteX1" y="connsiteY1"/>
                  </a:cxn>
                </a:cxnLst>
                <a:rect l="l" t="t" r="r" b="b"/>
                <a:pathLst>
                  <a:path w="28650" h="11335">
                    <a:moveTo>
                      <a:pt x="0" y="0"/>
                    </a:moveTo>
                    <a:lnTo>
                      <a:pt x="28651" y="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325" name="Graphic 20802">
              <a:extLst>
                <a:ext uri="{FF2B5EF4-FFF2-40B4-BE49-F238E27FC236}">
                  <a16:creationId xmlns:a16="http://schemas.microsoft.com/office/drawing/2014/main" id="{34AB2629-4BE7-4CAD-8D94-672B8B9F4750}"/>
                </a:ext>
              </a:extLst>
            </p:cNvPr>
            <p:cNvGrpSpPr/>
            <p:nvPr/>
          </p:nvGrpSpPr>
          <p:grpSpPr>
            <a:xfrm>
              <a:off x="8370337" y="2586900"/>
              <a:ext cx="29399" cy="28679"/>
              <a:chOff x="7188581" y="3271705"/>
              <a:chExt cx="28763" cy="28679"/>
            </a:xfrm>
          </p:grpSpPr>
          <p:sp>
            <p:nvSpPr>
              <p:cNvPr id="391" name="Freeform 76">
                <a:extLst>
                  <a:ext uri="{FF2B5EF4-FFF2-40B4-BE49-F238E27FC236}">
                    <a16:creationId xmlns:a16="http://schemas.microsoft.com/office/drawing/2014/main" id="{3DAF1E2C-99C6-4621-B5CE-61C128898C21}"/>
                  </a:ext>
                </a:extLst>
              </p:cNvPr>
              <p:cNvSpPr/>
              <p:nvPr/>
            </p:nvSpPr>
            <p:spPr>
              <a:xfrm>
                <a:off x="7202963" y="3271705"/>
                <a:ext cx="11324" cy="28679"/>
              </a:xfrm>
              <a:custGeom>
                <a:avLst/>
                <a:gdLst>
                  <a:gd name="connsiteX0" fmla="*/ 0 w 11324"/>
                  <a:gd name="connsiteY0" fmla="*/ 0 h 28679"/>
                  <a:gd name="connsiteX1" fmla="*/ 0 w 11324"/>
                  <a:gd name="connsiteY1" fmla="*/ 28680 h 28679"/>
                </a:gdLst>
                <a:ahLst/>
                <a:cxnLst>
                  <a:cxn ang="0">
                    <a:pos x="connsiteX0" y="connsiteY0"/>
                  </a:cxn>
                  <a:cxn ang="0">
                    <a:pos x="connsiteX1" y="connsiteY1"/>
                  </a:cxn>
                </a:cxnLst>
                <a:rect l="l" t="t" r="r" b="b"/>
                <a:pathLst>
                  <a:path w="11324" h="28679">
                    <a:moveTo>
                      <a:pt x="0" y="0"/>
                    </a:moveTo>
                    <a:lnTo>
                      <a:pt x="0" y="2868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2" name="Freeform 77">
                <a:extLst>
                  <a:ext uri="{FF2B5EF4-FFF2-40B4-BE49-F238E27FC236}">
                    <a16:creationId xmlns:a16="http://schemas.microsoft.com/office/drawing/2014/main" id="{B6514A47-CB6B-4517-996C-6004E00E4733}"/>
                  </a:ext>
                </a:extLst>
              </p:cNvPr>
              <p:cNvSpPr/>
              <p:nvPr/>
            </p:nvSpPr>
            <p:spPr>
              <a:xfrm>
                <a:off x="7188581" y="3285989"/>
                <a:ext cx="28763" cy="11335"/>
              </a:xfrm>
              <a:custGeom>
                <a:avLst/>
                <a:gdLst>
                  <a:gd name="connsiteX0" fmla="*/ 0 w 28763"/>
                  <a:gd name="connsiteY0" fmla="*/ 0 h 11335"/>
                  <a:gd name="connsiteX1" fmla="*/ 28764 w 28763"/>
                  <a:gd name="connsiteY1" fmla="*/ 0 h 11335"/>
                </a:gdLst>
                <a:ahLst/>
                <a:cxnLst>
                  <a:cxn ang="0">
                    <a:pos x="connsiteX0" y="connsiteY0"/>
                  </a:cxn>
                  <a:cxn ang="0">
                    <a:pos x="connsiteX1" y="connsiteY1"/>
                  </a:cxn>
                </a:cxnLst>
                <a:rect l="l" t="t" r="r" b="b"/>
                <a:pathLst>
                  <a:path w="28763" h="11335">
                    <a:moveTo>
                      <a:pt x="0" y="0"/>
                    </a:moveTo>
                    <a:lnTo>
                      <a:pt x="28764" y="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326" name="Graphic 20802">
              <a:extLst>
                <a:ext uri="{FF2B5EF4-FFF2-40B4-BE49-F238E27FC236}">
                  <a16:creationId xmlns:a16="http://schemas.microsoft.com/office/drawing/2014/main" id="{7E883BDB-71A0-48B2-9DA0-D80AB2237DDD}"/>
                </a:ext>
              </a:extLst>
            </p:cNvPr>
            <p:cNvGrpSpPr/>
            <p:nvPr/>
          </p:nvGrpSpPr>
          <p:grpSpPr>
            <a:xfrm>
              <a:off x="8264773" y="2586900"/>
              <a:ext cx="29284" cy="28679"/>
              <a:chOff x="7085302" y="3271705"/>
              <a:chExt cx="28650" cy="28679"/>
            </a:xfrm>
          </p:grpSpPr>
          <p:sp>
            <p:nvSpPr>
              <p:cNvPr id="389" name="Freeform 74">
                <a:extLst>
                  <a:ext uri="{FF2B5EF4-FFF2-40B4-BE49-F238E27FC236}">
                    <a16:creationId xmlns:a16="http://schemas.microsoft.com/office/drawing/2014/main" id="{FF4B98C3-4879-4A3D-829A-6F8C00EA8801}"/>
                  </a:ext>
                </a:extLst>
              </p:cNvPr>
              <p:cNvSpPr/>
              <p:nvPr/>
            </p:nvSpPr>
            <p:spPr>
              <a:xfrm>
                <a:off x="7099571" y="3271705"/>
                <a:ext cx="11324" cy="28679"/>
              </a:xfrm>
              <a:custGeom>
                <a:avLst/>
                <a:gdLst>
                  <a:gd name="connsiteX0" fmla="*/ 0 w 11324"/>
                  <a:gd name="connsiteY0" fmla="*/ 0 h 28679"/>
                  <a:gd name="connsiteX1" fmla="*/ 0 w 11324"/>
                  <a:gd name="connsiteY1" fmla="*/ 28680 h 28679"/>
                </a:gdLst>
                <a:ahLst/>
                <a:cxnLst>
                  <a:cxn ang="0">
                    <a:pos x="connsiteX0" y="connsiteY0"/>
                  </a:cxn>
                  <a:cxn ang="0">
                    <a:pos x="connsiteX1" y="connsiteY1"/>
                  </a:cxn>
                </a:cxnLst>
                <a:rect l="l" t="t" r="r" b="b"/>
                <a:pathLst>
                  <a:path w="11324" h="28679">
                    <a:moveTo>
                      <a:pt x="0" y="0"/>
                    </a:moveTo>
                    <a:lnTo>
                      <a:pt x="0" y="2868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0" name="Freeform 75">
                <a:extLst>
                  <a:ext uri="{FF2B5EF4-FFF2-40B4-BE49-F238E27FC236}">
                    <a16:creationId xmlns:a16="http://schemas.microsoft.com/office/drawing/2014/main" id="{45C8649A-6A43-4FAF-A6CE-77F786F314D1}"/>
                  </a:ext>
                </a:extLst>
              </p:cNvPr>
              <p:cNvSpPr/>
              <p:nvPr/>
            </p:nvSpPr>
            <p:spPr>
              <a:xfrm>
                <a:off x="7085302" y="3285989"/>
                <a:ext cx="28650" cy="11335"/>
              </a:xfrm>
              <a:custGeom>
                <a:avLst/>
                <a:gdLst>
                  <a:gd name="connsiteX0" fmla="*/ 0 w 28650"/>
                  <a:gd name="connsiteY0" fmla="*/ 0 h 11335"/>
                  <a:gd name="connsiteX1" fmla="*/ 28651 w 28650"/>
                  <a:gd name="connsiteY1" fmla="*/ 0 h 11335"/>
                </a:gdLst>
                <a:ahLst/>
                <a:cxnLst>
                  <a:cxn ang="0">
                    <a:pos x="connsiteX0" y="connsiteY0"/>
                  </a:cxn>
                  <a:cxn ang="0">
                    <a:pos x="connsiteX1" y="connsiteY1"/>
                  </a:cxn>
                </a:cxnLst>
                <a:rect l="l" t="t" r="r" b="b"/>
                <a:pathLst>
                  <a:path w="28650" h="11335">
                    <a:moveTo>
                      <a:pt x="0" y="0"/>
                    </a:moveTo>
                    <a:lnTo>
                      <a:pt x="28651" y="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327" name="Graphic 20802">
              <a:extLst>
                <a:ext uri="{FF2B5EF4-FFF2-40B4-BE49-F238E27FC236}">
                  <a16:creationId xmlns:a16="http://schemas.microsoft.com/office/drawing/2014/main" id="{9B63F684-AB3D-4D0C-894E-21576B79FD3A}"/>
                </a:ext>
              </a:extLst>
            </p:cNvPr>
            <p:cNvGrpSpPr/>
            <p:nvPr/>
          </p:nvGrpSpPr>
          <p:grpSpPr>
            <a:xfrm>
              <a:off x="8103766" y="2586900"/>
              <a:ext cx="29399" cy="28679"/>
              <a:chOff x="6927780" y="3271705"/>
              <a:chExt cx="28763" cy="28679"/>
            </a:xfrm>
          </p:grpSpPr>
          <p:sp>
            <p:nvSpPr>
              <p:cNvPr id="387" name="Freeform 72">
                <a:extLst>
                  <a:ext uri="{FF2B5EF4-FFF2-40B4-BE49-F238E27FC236}">
                    <a16:creationId xmlns:a16="http://schemas.microsoft.com/office/drawing/2014/main" id="{E7EE32E2-9FCC-488C-A953-5A611642FB3B}"/>
                  </a:ext>
                </a:extLst>
              </p:cNvPr>
              <p:cNvSpPr/>
              <p:nvPr/>
            </p:nvSpPr>
            <p:spPr>
              <a:xfrm>
                <a:off x="6942162" y="3271705"/>
                <a:ext cx="11324" cy="28679"/>
              </a:xfrm>
              <a:custGeom>
                <a:avLst/>
                <a:gdLst>
                  <a:gd name="connsiteX0" fmla="*/ 0 w 11324"/>
                  <a:gd name="connsiteY0" fmla="*/ 0 h 28679"/>
                  <a:gd name="connsiteX1" fmla="*/ 0 w 11324"/>
                  <a:gd name="connsiteY1" fmla="*/ 28680 h 28679"/>
                </a:gdLst>
                <a:ahLst/>
                <a:cxnLst>
                  <a:cxn ang="0">
                    <a:pos x="connsiteX0" y="connsiteY0"/>
                  </a:cxn>
                  <a:cxn ang="0">
                    <a:pos x="connsiteX1" y="connsiteY1"/>
                  </a:cxn>
                </a:cxnLst>
                <a:rect l="l" t="t" r="r" b="b"/>
                <a:pathLst>
                  <a:path w="11324" h="28679">
                    <a:moveTo>
                      <a:pt x="0" y="0"/>
                    </a:moveTo>
                    <a:lnTo>
                      <a:pt x="0" y="2868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8" name="Freeform 73">
                <a:extLst>
                  <a:ext uri="{FF2B5EF4-FFF2-40B4-BE49-F238E27FC236}">
                    <a16:creationId xmlns:a16="http://schemas.microsoft.com/office/drawing/2014/main" id="{D47CF961-388A-4402-95FC-F92BDB1017BA}"/>
                  </a:ext>
                </a:extLst>
              </p:cNvPr>
              <p:cNvSpPr/>
              <p:nvPr/>
            </p:nvSpPr>
            <p:spPr>
              <a:xfrm>
                <a:off x="6927780" y="3285989"/>
                <a:ext cx="28763" cy="11335"/>
              </a:xfrm>
              <a:custGeom>
                <a:avLst/>
                <a:gdLst>
                  <a:gd name="connsiteX0" fmla="*/ 0 w 28763"/>
                  <a:gd name="connsiteY0" fmla="*/ 0 h 11335"/>
                  <a:gd name="connsiteX1" fmla="*/ 28764 w 28763"/>
                  <a:gd name="connsiteY1" fmla="*/ 0 h 11335"/>
                </a:gdLst>
                <a:ahLst/>
                <a:cxnLst>
                  <a:cxn ang="0">
                    <a:pos x="connsiteX0" y="connsiteY0"/>
                  </a:cxn>
                  <a:cxn ang="0">
                    <a:pos x="connsiteX1" y="connsiteY1"/>
                  </a:cxn>
                </a:cxnLst>
                <a:rect l="l" t="t" r="r" b="b"/>
                <a:pathLst>
                  <a:path w="28763" h="11335">
                    <a:moveTo>
                      <a:pt x="0" y="0"/>
                    </a:moveTo>
                    <a:lnTo>
                      <a:pt x="28764" y="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328" name="Graphic 20802">
              <a:extLst>
                <a:ext uri="{FF2B5EF4-FFF2-40B4-BE49-F238E27FC236}">
                  <a16:creationId xmlns:a16="http://schemas.microsoft.com/office/drawing/2014/main" id="{BC5B49BC-27C8-4E30-AC39-7506F628E1D8}"/>
                </a:ext>
              </a:extLst>
            </p:cNvPr>
            <p:cNvGrpSpPr/>
            <p:nvPr/>
          </p:nvGrpSpPr>
          <p:grpSpPr>
            <a:xfrm>
              <a:off x="7998550" y="2586900"/>
              <a:ext cx="29284" cy="28679"/>
              <a:chOff x="6824841" y="3271705"/>
              <a:chExt cx="28650" cy="28679"/>
            </a:xfrm>
          </p:grpSpPr>
          <p:sp>
            <p:nvSpPr>
              <p:cNvPr id="385" name="Freeform 70">
                <a:extLst>
                  <a:ext uri="{FF2B5EF4-FFF2-40B4-BE49-F238E27FC236}">
                    <a16:creationId xmlns:a16="http://schemas.microsoft.com/office/drawing/2014/main" id="{F8945454-C62B-4944-A84E-3E3E1E8C038D}"/>
                  </a:ext>
                </a:extLst>
              </p:cNvPr>
              <p:cNvSpPr/>
              <p:nvPr/>
            </p:nvSpPr>
            <p:spPr>
              <a:xfrm>
                <a:off x="6839110" y="3271705"/>
                <a:ext cx="11324" cy="28679"/>
              </a:xfrm>
              <a:custGeom>
                <a:avLst/>
                <a:gdLst>
                  <a:gd name="connsiteX0" fmla="*/ 0 w 11324"/>
                  <a:gd name="connsiteY0" fmla="*/ 0 h 28679"/>
                  <a:gd name="connsiteX1" fmla="*/ 0 w 11324"/>
                  <a:gd name="connsiteY1" fmla="*/ 28680 h 28679"/>
                </a:gdLst>
                <a:ahLst/>
                <a:cxnLst>
                  <a:cxn ang="0">
                    <a:pos x="connsiteX0" y="connsiteY0"/>
                  </a:cxn>
                  <a:cxn ang="0">
                    <a:pos x="connsiteX1" y="connsiteY1"/>
                  </a:cxn>
                </a:cxnLst>
                <a:rect l="l" t="t" r="r" b="b"/>
                <a:pathLst>
                  <a:path w="11324" h="28679">
                    <a:moveTo>
                      <a:pt x="0" y="0"/>
                    </a:moveTo>
                    <a:lnTo>
                      <a:pt x="0" y="2868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6" name="Freeform 71">
                <a:extLst>
                  <a:ext uri="{FF2B5EF4-FFF2-40B4-BE49-F238E27FC236}">
                    <a16:creationId xmlns:a16="http://schemas.microsoft.com/office/drawing/2014/main" id="{C8DAE7A8-B4F3-47A4-957E-5F0EF0E60A8D}"/>
                  </a:ext>
                </a:extLst>
              </p:cNvPr>
              <p:cNvSpPr/>
              <p:nvPr/>
            </p:nvSpPr>
            <p:spPr>
              <a:xfrm>
                <a:off x="6824841" y="3285989"/>
                <a:ext cx="28650" cy="11335"/>
              </a:xfrm>
              <a:custGeom>
                <a:avLst/>
                <a:gdLst>
                  <a:gd name="connsiteX0" fmla="*/ 0 w 28650"/>
                  <a:gd name="connsiteY0" fmla="*/ 0 h 11335"/>
                  <a:gd name="connsiteX1" fmla="*/ 28651 w 28650"/>
                  <a:gd name="connsiteY1" fmla="*/ 0 h 11335"/>
                </a:gdLst>
                <a:ahLst/>
                <a:cxnLst>
                  <a:cxn ang="0">
                    <a:pos x="connsiteX0" y="connsiteY0"/>
                  </a:cxn>
                  <a:cxn ang="0">
                    <a:pos x="connsiteX1" y="connsiteY1"/>
                  </a:cxn>
                </a:cxnLst>
                <a:rect l="l" t="t" r="r" b="b"/>
                <a:pathLst>
                  <a:path w="28650" h="11335">
                    <a:moveTo>
                      <a:pt x="0" y="0"/>
                    </a:moveTo>
                    <a:lnTo>
                      <a:pt x="28651" y="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329" name="Graphic 20802">
              <a:extLst>
                <a:ext uri="{FF2B5EF4-FFF2-40B4-BE49-F238E27FC236}">
                  <a16:creationId xmlns:a16="http://schemas.microsoft.com/office/drawing/2014/main" id="{7A660FC8-5851-45E5-8407-348AEDD49F59}"/>
                </a:ext>
              </a:extLst>
            </p:cNvPr>
            <p:cNvGrpSpPr/>
            <p:nvPr/>
          </p:nvGrpSpPr>
          <p:grpSpPr>
            <a:xfrm>
              <a:off x="7892870" y="2586900"/>
              <a:ext cx="29399" cy="28679"/>
              <a:chOff x="6721449" y="3271705"/>
              <a:chExt cx="28763" cy="28679"/>
            </a:xfrm>
          </p:grpSpPr>
          <p:sp>
            <p:nvSpPr>
              <p:cNvPr id="383" name="Freeform 68">
                <a:extLst>
                  <a:ext uri="{FF2B5EF4-FFF2-40B4-BE49-F238E27FC236}">
                    <a16:creationId xmlns:a16="http://schemas.microsoft.com/office/drawing/2014/main" id="{78514190-3110-4620-8E9D-5C9CF6B7135F}"/>
                  </a:ext>
                </a:extLst>
              </p:cNvPr>
              <p:cNvSpPr/>
              <p:nvPr/>
            </p:nvSpPr>
            <p:spPr>
              <a:xfrm>
                <a:off x="6735831" y="3271705"/>
                <a:ext cx="11324" cy="28679"/>
              </a:xfrm>
              <a:custGeom>
                <a:avLst/>
                <a:gdLst>
                  <a:gd name="connsiteX0" fmla="*/ 0 w 11324"/>
                  <a:gd name="connsiteY0" fmla="*/ 0 h 28679"/>
                  <a:gd name="connsiteX1" fmla="*/ 0 w 11324"/>
                  <a:gd name="connsiteY1" fmla="*/ 28680 h 28679"/>
                </a:gdLst>
                <a:ahLst/>
                <a:cxnLst>
                  <a:cxn ang="0">
                    <a:pos x="connsiteX0" y="connsiteY0"/>
                  </a:cxn>
                  <a:cxn ang="0">
                    <a:pos x="connsiteX1" y="connsiteY1"/>
                  </a:cxn>
                </a:cxnLst>
                <a:rect l="l" t="t" r="r" b="b"/>
                <a:pathLst>
                  <a:path w="11324" h="28679">
                    <a:moveTo>
                      <a:pt x="0" y="0"/>
                    </a:moveTo>
                    <a:lnTo>
                      <a:pt x="0" y="2868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4" name="Freeform 69">
                <a:extLst>
                  <a:ext uri="{FF2B5EF4-FFF2-40B4-BE49-F238E27FC236}">
                    <a16:creationId xmlns:a16="http://schemas.microsoft.com/office/drawing/2014/main" id="{8D48E7A1-55CB-4478-BCCE-EC4AD3EDDC93}"/>
                  </a:ext>
                </a:extLst>
              </p:cNvPr>
              <p:cNvSpPr/>
              <p:nvPr/>
            </p:nvSpPr>
            <p:spPr>
              <a:xfrm>
                <a:off x="6721449" y="3285989"/>
                <a:ext cx="28763" cy="11335"/>
              </a:xfrm>
              <a:custGeom>
                <a:avLst/>
                <a:gdLst>
                  <a:gd name="connsiteX0" fmla="*/ 0 w 28763"/>
                  <a:gd name="connsiteY0" fmla="*/ 0 h 11335"/>
                  <a:gd name="connsiteX1" fmla="*/ 28764 w 28763"/>
                  <a:gd name="connsiteY1" fmla="*/ 0 h 11335"/>
                </a:gdLst>
                <a:ahLst/>
                <a:cxnLst>
                  <a:cxn ang="0">
                    <a:pos x="connsiteX0" y="connsiteY0"/>
                  </a:cxn>
                  <a:cxn ang="0">
                    <a:pos x="connsiteX1" y="connsiteY1"/>
                  </a:cxn>
                </a:cxnLst>
                <a:rect l="l" t="t" r="r" b="b"/>
                <a:pathLst>
                  <a:path w="28763" h="11335">
                    <a:moveTo>
                      <a:pt x="0" y="0"/>
                    </a:moveTo>
                    <a:lnTo>
                      <a:pt x="28764" y="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330" name="Graphic 20802">
              <a:extLst>
                <a:ext uri="{FF2B5EF4-FFF2-40B4-BE49-F238E27FC236}">
                  <a16:creationId xmlns:a16="http://schemas.microsoft.com/office/drawing/2014/main" id="{46FD8347-B8CD-4163-9257-54FDE3580E31}"/>
                </a:ext>
              </a:extLst>
            </p:cNvPr>
            <p:cNvGrpSpPr/>
            <p:nvPr/>
          </p:nvGrpSpPr>
          <p:grpSpPr>
            <a:xfrm>
              <a:off x="7680239" y="2537249"/>
              <a:ext cx="29399" cy="28679"/>
              <a:chOff x="6513420" y="3222054"/>
              <a:chExt cx="28763" cy="28679"/>
            </a:xfrm>
          </p:grpSpPr>
          <p:sp>
            <p:nvSpPr>
              <p:cNvPr id="381" name="Freeform 66">
                <a:extLst>
                  <a:ext uri="{FF2B5EF4-FFF2-40B4-BE49-F238E27FC236}">
                    <a16:creationId xmlns:a16="http://schemas.microsoft.com/office/drawing/2014/main" id="{23E8E956-88BB-4E29-9BEA-FE068F6CE094}"/>
                  </a:ext>
                </a:extLst>
              </p:cNvPr>
              <p:cNvSpPr/>
              <p:nvPr/>
            </p:nvSpPr>
            <p:spPr>
              <a:xfrm>
                <a:off x="6527802" y="3222054"/>
                <a:ext cx="11324" cy="28679"/>
              </a:xfrm>
              <a:custGeom>
                <a:avLst/>
                <a:gdLst>
                  <a:gd name="connsiteX0" fmla="*/ 0 w 11324"/>
                  <a:gd name="connsiteY0" fmla="*/ 0 h 28679"/>
                  <a:gd name="connsiteX1" fmla="*/ 0 w 11324"/>
                  <a:gd name="connsiteY1" fmla="*/ 28680 h 28679"/>
                </a:gdLst>
                <a:ahLst/>
                <a:cxnLst>
                  <a:cxn ang="0">
                    <a:pos x="connsiteX0" y="connsiteY0"/>
                  </a:cxn>
                  <a:cxn ang="0">
                    <a:pos x="connsiteX1" y="connsiteY1"/>
                  </a:cxn>
                </a:cxnLst>
                <a:rect l="l" t="t" r="r" b="b"/>
                <a:pathLst>
                  <a:path w="11324" h="28679">
                    <a:moveTo>
                      <a:pt x="0" y="0"/>
                    </a:moveTo>
                    <a:lnTo>
                      <a:pt x="0" y="2868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2" name="Freeform 67">
                <a:extLst>
                  <a:ext uri="{FF2B5EF4-FFF2-40B4-BE49-F238E27FC236}">
                    <a16:creationId xmlns:a16="http://schemas.microsoft.com/office/drawing/2014/main" id="{D580CCA2-1A7C-49C0-97B3-5C8122A31A67}"/>
                  </a:ext>
                </a:extLst>
              </p:cNvPr>
              <p:cNvSpPr/>
              <p:nvPr/>
            </p:nvSpPr>
            <p:spPr>
              <a:xfrm>
                <a:off x="6513420" y="3236337"/>
                <a:ext cx="28763" cy="11335"/>
              </a:xfrm>
              <a:custGeom>
                <a:avLst/>
                <a:gdLst>
                  <a:gd name="connsiteX0" fmla="*/ 0 w 28763"/>
                  <a:gd name="connsiteY0" fmla="*/ 0 h 11335"/>
                  <a:gd name="connsiteX1" fmla="*/ 28764 w 28763"/>
                  <a:gd name="connsiteY1" fmla="*/ 0 h 11335"/>
                </a:gdLst>
                <a:ahLst/>
                <a:cxnLst>
                  <a:cxn ang="0">
                    <a:pos x="connsiteX0" y="connsiteY0"/>
                  </a:cxn>
                  <a:cxn ang="0">
                    <a:pos x="connsiteX1" y="connsiteY1"/>
                  </a:cxn>
                </a:cxnLst>
                <a:rect l="l" t="t" r="r" b="b"/>
                <a:pathLst>
                  <a:path w="28763" h="11335">
                    <a:moveTo>
                      <a:pt x="0" y="0"/>
                    </a:moveTo>
                    <a:lnTo>
                      <a:pt x="28764" y="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331" name="Graphic 20802">
              <a:extLst>
                <a:ext uri="{FF2B5EF4-FFF2-40B4-BE49-F238E27FC236}">
                  <a16:creationId xmlns:a16="http://schemas.microsoft.com/office/drawing/2014/main" id="{0B34088D-746E-447C-9C98-4EF841AE42CA}"/>
                </a:ext>
              </a:extLst>
            </p:cNvPr>
            <p:cNvGrpSpPr/>
            <p:nvPr/>
          </p:nvGrpSpPr>
          <p:grpSpPr>
            <a:xfrm>
              <a:off x="7467260" y="2352020"/>
              <a:ext cx="29400" cy="28793"/>
              <a:chOff x="6305051" y="3036825"/>
              <a:chExt cx="28764" cy="28793"/>
            </a:xfrm>
          </p:grpSpPr>
          <p:sp>
            <p:nvSpPr>
              <p:cNvPr id="379" name="Freeform 64">
                <a:extLst>
                  <a:ext uri="{FF2B5EF4-FFF2-40B4-BE49-F238E27FC236}">
                    <a16:creationId xmlns:a16="http://schemas.microsoft.com/office/drawing/2014/main" id="{E88F9F4F-EFF0-4A7D-9FAF-294725E8F023}"/>
                  </a:ext>
                </a:extLst>
              </p:cNvPr>
              <p:cNvSpPr/>
              <p:nvPr/>
            </p:nvSpPr>
            <p:spPr>
              <a:xfrm>
                <a:off x="6319433" y="3036825"/>
                <a:ext cx="11324" cy="28793"/>
              </a:xfrm>
              <a:custGeom>
                <a:avLst/>
                <a:gdLst>
                  <a:gd name="connsiteX0" fmla="*/ 0 w 11324"/>
                  <a:gd name="connsiteY0" fmla="*/ 0 h 28793"/>
                  <a:gd name="connsiteX1" fmla="*/ 0 w 11324"/>
                  <a:gd name="connsiteY1" fmla="*/ 28793 h 28793"/>
                </a:gdLst>
                <a:ahLst/>
                <a:cxnLst>
                  <a:cxn ang="0">
                    <a:pos x="connsiteX0" y="connsiteY0"/>
                  </a:cxn>
                  <a:cxn ang="0">
                    <a:pos x="connsiteX1" y="connsiteY1"/>
                  </a:cxn>
                </a:cxnLst>
                <a:rect l="l" t="t" r="r" b="b"/>
                <a:pathLst>
                  <a:path w="11324" h="28793">
                    <a:moveTo>
                      <a:pt x="0" y="0"/>
                    </a:moveTo>
                    <a:lnTo>
                      <a:pt x="0" y="28793"/>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0" name="Freeform 65">
                <a:extLst>
                  <a:ext uri="{FF2B5EF4-FFF2-40B4-BE49-F238E27FC236}">
                    <a16:creationId xmlns:a16="http://schemas.microsoft.com/office/drawing/2014/main" id="{BD8FC3BF-2303-439D-8039-E68371477FC8}"/>
                  </a:ext>
                </a:extLst>
              </p:cNvPr>
              <p:cNvSpPr/>
              <p:nvPr/>
            </p:nvSpPr>
            <p:spPr>
              <a:xfrm>
                <a:off x="6305051" y="3051222"/>
                <a:ext cx="28764" cy="11335"/>
              </a:xfrm>
              <a:custGeom>
                <a:avLst/>
                <a:gdLst>
                  <a:gd name="connsiteX0" fmla="*/ 0 w 28764"/>
                  <a:gd name="connsiteY0" fmla="*/ 0 h 11335"/>
                  <a:gd name="connsiteX1" fmla="*/ 28764 w 28764"/>
                  <a:gd name="connsiteY1" fmla="*/ 0 h 11335"/>
                </a:gdLst>
                <a:ahLst/>
                <a:cxnLst>
                  <a:cxn ang="0">
                    <a:pos x="connsiteX0" y="connsiteY0"/>
                  </a:cxn>
                  <a:cxn ang="0">
                    <a:pos x="connsiteX1" y="connsiteY1"/>
                  </a:cxn>
                </a:cxnLst>
                <a:rect l="l" t="t" r="r" b="b"/>
                <a:pathLst>
                  <a:path w="28764" h="11335">
                    <a:moveTo>
                      <a:pt x="0" y="0"/>
                    </a:moveTo>
                    <a:lnTo>
                      <a:pt x="28764" y="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332" name="Graphic 20802">
              <a:extLst>
                <a:ext uri="{FF2B5EF4-FFF2-40B4-BE49-F238E27FC236}">
                  <a16:creationId xmlns:a16="http://schemas.microsoft.com/office/drawing/2014/main" id="{D329038E-E971-48AC-92C4-9AD6474100CC}"/>
                </a:ext>
              </a:extLst>
            </p:cNvPr>
            <p:cNvGrpSpPr/>
            <p:nvPr/>
          </p:nvGrpSpPr>
          <p:grpSpPr>
            <a:xfrm>
              <a:off x="7415751" y="2352020"/>
              <a:ext cx="29284" cy="28793"/>
              <a:chOff x="6254657" y="3036825"/>
              <a:chExt cx="28650" cy="28793"/>
            </a:xfrm>
          </p:grpSpPr>
          <p:sp>
            <p:nvSpPr>
              <p:cNvPr id="377" name="Freeform 62">
                <a:extLst>
                  <a:ext uri="{FF2B5EF4-FFF2-40B4-BE49-F238E27FC236}">
                    <a16:creationId xmlns:a16="http://schemas.microsoft.com/office/drawing/2014/main" id="{9AD9F51B-FFF6-4EF3-A7C0-F555F06A45CE}"/>
                  </a:ext>
                </a:extLst>
              </p:cNvPr>
              <p:cNvSpPr/>
              <p:nvPr/>
            </p:nvSpPr>
            <p:spPr>
              <a:xfrm>
                <a:off x="6269039" y="3036825"/>
                <a:ext cx="11324" cy="28793"/>
              </a:xfrm>
              <a:custGeom>
                <a:avLst/>
                <a:gdLst>
                  <a:gd name="connsiteX0" fmla="*/ 0 w 11324"/>
                  <a:gd name="connsiteY0" fmla="*/ 0 h 28793"/>
                  <a:gd name="connsiteX1" fmla="*/ 0 w 11324"/>
                  <a:gd name="connsiteY1" fmla="*/ 28793 h 28793"/>
                </a:gdLst>
                <a:ahLst/>
                <a:cxnLst>
                  <a:cxn ang="0">
                    <a:pos x="connsiteX0" y="connsiteY0"/>
                  </a:cxn>
                  <a:cxn ang="0">
                    <a:pos x="connsiteX1" y="connsiteY1"/>
                  </a:cxn>
                </a:cxnLst>
                <a:rect l="l" t="t" r="r" b="b"/>
                <a:pathLst>
                  <a:path w="11324" h="28793">
                    <a:moveTo>
                      <a:pt x="0" y="0"/>
                    </a:moveTo>
                    <a:lnTo>
                      <a:pt x="0" y="28793"/>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8" name="Freeform 63">
                <a:extLst>
                  <a:ext uri="{FF2B5EF4-FFF2-40B4-BE49-F238E27FC236}">
                    <a16:creationId xmlns:a16="http://schemas.microsoft.com/office/drawing/2014/main" id="{41E66A2E-462D-456E-B25D-03C51F9FDDA4}"/>
                  </a:ext>
                </a:extLst>
              </p:cNvPr>
              <p:cNvSpPr/>
              <p:nvPr/>
            </p:nvSpPr>
            <p:spPr>
              <a:xfrm>
                <a:off x="6254657" y="3051222"/>
                <a:ext cx="28650" cy="11335"/>
              </a:xfrm>
              <a:custGeom>
                <a:avLst/>
                <a:gdLst>
                  <a:gd name="connsiteX0" fmla="*/ 0 w 28650"/>
                  <a:gd name="connsiteY0" fmla="*/ 0 h 11335"/>
                  <a:gd name="connsiteX1" fmla="*/ 28651 w 28650"/>
                  <a:gd name="connsiteY1" fmla="*/ 0 h 11335"/>
                </a:gdLst>
                <a:ahLst/>
                <a:cxnLst>
                  <a:cxn ang="0">
                    <a:pos x="connsiteX0" y="connsiteY0"/>
                  </a:cxn>
                  <a:cxn ang="0">
                    <a:pos x="connsiteX1" y="connsiteY1"/>
                  </a:cxn>
                </a:cxnLst>
                <a:rect l="l" t="t" r="r" b="b"/>
                <a:pathLst>
                  <a:path w="28650" h="11335">
                    <a:moveTo>
                      <a:pt x="0" y="0"/>
                    </a:moveTo>
                    <a:lnTo>
                      <a:pt x="28651" y="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333" name="Graphic 20802">
              <a:extLst>
                <a:ext uri="{FF2B5EF4-FFF2-40B4-BE49-F238E27FC236}">
                  <a16:creationId xmlns:a16="http://schemas.microsoft.com/office/drawing/2014/main" id="{6CA55DFE-9920-431A-9CA6-8E6AAD7868BB}"/>
                </a:ext>
              </a:extLst>
            </p:cNvPr>
            <p:cNvGrpSpPr/>
            <p:nvPr/>
          </p:nvGrpSpPr>
          <p:grpSpPr>
            <a:xfrm>
              <a:off x="7201846" y="2305883"/>
              <a:ext cx="29400" cy="28679"/>
              <a:chOff x="6045382" y="2990688"/>
              <a:chExt cx="28764" cy="28679"/>
            </a:xfrm>
          </p:grpSpPr>
          <p:sp>
            <p:nvSpPr>
              <p:cNvPr id="375" name="Freeform 60">
                <a:extLst>
                  <a:ext uri="{FF2B5EF4-FFF2-40B4-BE49-F238E27FC236}">
                    <a16:creationId xmlns:a16="http://schemas.microsoft.com/office/drawing/2014/main" id="{7095DBB3-E93D-46C5-BB2F-F10BBE9D7332}"/>
                  </a:ext>
                </a:extLst>
              </p:cNvPr>
              <p:cNvSpPr/>
              <p:nvPr/>
            </p:nvSpPr>
            <p:spPr>
              <a:xfrm>
                <a:off x="6059764" y="2990688"/>
                <a:ext cx="11324" cy="28679"/>
              </a:xfrm>
              <a:custGeom>
                <a:avLst/>
                <a:gdLst>
                  <a:gd name="connsiteX0" fmla="*/ 0 w 11324"/>
                  <a:gd name="connsiteY0" fmla="*/ 0 h 28679"/>
                  <a:gd name="connsiteX1" fmla="*/ 0 w 11324"/>
                  <a:gd name="connsiteY1" fmla="*/ 28680 h 28679"/>
                </a:gdLst>
                <a:ahLst/>
                <a:cxnLst>
                  <a:cxn ang="0">
                    <a:pos x="connsiteX0" y="connsiteY0"/>
                  </a:cxn>
                  <a:cxn ang="0">
                    <a:pos x="connsiteX1" y="connsiteY1"/>
                  </a:cxn>
                </a:cxnLst>
                <a:rect l="l" t="t" r="r" b="b"/>
                <a:pathLst>
                  <a:path w="11324" h="28679">
                    <a:moveTo>
                      <a:pt x="0" y="0"/>
                    </a:moveTo>
                    <a:lnTo>
                      <a:pt x="0" y="2868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6" name="Freeform 61">
                <a:extLst>
                  <a:ext uri="{FF2B5EF4-FFF2-40B4-BE49-F238E27FC236}">
                    <a16:creationId xmlns:a16="http://schemas.microsoft.com/office/drawing/2014/main" id="{94FB4967-40D3-45BB-BDEE-1AA31726B2B0}"/>
                  </a:ext>
                </a:extLst>
              </p:cNvPr>
              <p:cNvSpPr/>
              <p:nvPr/>
            </p:nvSpPr>
            <p:spPr>
              <a:xfrm>
                <a:off x="6045382" y="3005084"/>
                <a:ext cx="28764" cy="11335"/>
              </a:xfrm>
              <a:custGeom>
                <a:avLst/>
                <a:gdLst>
                  <a:gd name="connsiteX0" fmla="*/ 0 w 28764"/>
                  <a:gd name="connsiteY0" fmla="*/ 0 h 11335"/>
                  <a:gd name="connsiteX1" fmla="*/ 28764 w 28764"/>
                  <a:gd name="connsiteY1" fmla="*/ 0 h 11335"/>
                </a:gdLst>
                <a:ahLst/>
                <a:cxnLst>
                  <a:cxn ang="0">
                    <a:pos x="connsiteX0" y="connsiteY0"/>
                  </a:cxn>
                  <a:cxn ang="0">
                    <a:pos x="connsiteX1" y="connsiteY1"/>
                  </a:cxn>
                </a:cxnLst>
                <a:rect l="l" t="t" r="r" b="b"/>
                <a:pathLst>
                  <a:path w="28764" h="11335">
                    <a:moveTo>
                      <a:pt x="0" y="0"/>
                    </a:moveTo>
                    <a:lnTo>
                      <a:pt x="28764" y="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334" name="Graphic 20802">
              <a:extLst>
                <a:ext uri="{FF2B5EF4-FFF2-40B4-BE49-F238E27FC236}">
                  <a16:creationId xmlns:a16="http://schemas.microsoft.com/office/drawing/2014/main" id="{9988A2B4-7994-4F3E-9CF3-CA025BAFB137}"/>
                </a:ext>
              </a:extLst>
            </p:cNvPr>
            <p:cNvGrpSpPr/>
            <p:nvPr/>
          </p:nvGrpSpPr>
          <p:grpSpPr>
            <a:xfrm>
              <a:off x="6933770" y="2140945"/>
              <a:ext cx="29400" cy="28679"/>
              <a:chOff x="5783109" y="2825750"/>
              <a:chExt cx="28764" cy="28679"/>
            </a:xfrm>
          </p:grpSpPr>
          <p:sp>
            <p:nvSpPr>
              <p:cNvPr id="373" name="Freeform 58">
                <a:extLst>
                  <a:ext uri="{FF2B5EF4-FFF2-40B4-BE49-F238E27FC236}">
                    <a16:creationId xmlns:a16="http://schemas.microsoft.com/office/drawing/2014/main" id="{23003637-3E5C-4267-8283-51CEA347E167}"/>
                  </a:ext>
                </a:extLst>
              </p:cNvPr>
              <p:cNvSpPr/>
              <p:nvPr/>
            </p:nvSpPr>
            <p:spPr>
              <a:xfrm>
                <a:off x="5797491" y="2825750"/>
                <a:ext cx="11324" cy="28679"/>
              </a:xfrm>
              <a:custGeom>
                <a:avLst/>
                <a:gdLst>
                  <a:gd name="connsiteX0" fmla="*/ 0 w 11324"/>
                  <a:gd name="connsiteY0" fmla="*/ 0 h 28679"/>
                  <a:gd name="connsiteX1" fmla="*/ 0 w 11324"/>
                  <a:gd name="connsiteY1" fmla="*/ 28680 h 28679"/>
                </a:gdLst>
                <a:ahLst/>
                <a:cxnLst>
                  <a:cxn ang="0">
                    <a:pos x="connsiteX0" y="connsiteY0"/>
                  </a:cxn>
                  <a:cxn ang="0">
                    <a:pos x="connsiteX1" y="connsiteY1"/>
                  </a:cxn>
                </a:cxnLst>
                <a:rect l="l" t="t" r="r" b="b"/>
                <a:pathLst>
                  <a:path w="11324" h="28679">
                    <a:moveTo>
                      <a:pt x="0" y="0"/>
                    </a:moveTo>
                    <a:lnTo>
                      <a:pt x="0" y="2868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4" name="Freeform 59">
                <a:extLst>
                  <a:ext uri="{FF2B5EF4-FFF2-40B4-BE49-F238E27FC236}">
                    <a16:creationId xmlns:a16="http://schemas.microsoft.com/office/drawing/2014/main" id="{745DE3CB-EF61-490F-98D0-3B7FA4DE4718}"/>
                  </a:ext>
                </a:extLst>
              </p:cNvPr>
              <p:cNvSpPr/>
              <p:nvPr/>
            </p:nvSpPr>
            <p:spPr>
              <a:xfrm>
                <a:off x="5783109" y="2840033"/>
                <a:ext cx="28764" cy="11335"/>
              </a:xfrm>
              <a:custGeom>
                <a:avLst/>
                <a:gdLst>
                  <a:gd name="connsiteX0" fmla="*/ 0 w 28764"/>
                  <a:gd name="connsiteY0" fmla="*/ 0 h 11335"/>
                  <a:gd name="connsiteX1" fmla="*/ 28764 w 28764"/>
                  <a:gd name="connsiteY1" fmla="*/ 0 h 11335"/>
                </a:gdLst>
                <a:ahLst/>
                <a:cxnLst>
                  <a:cxn ang="0">
                    <a:pos x="connsiteX0" y="connsiteY0"/>
                  </a:cxn>
                  <a:cxn ang="0">
                    <a:pos x="connsiteX1" y="connsiteY1"/>
                  </a:cxn>
                </a:cxnLst>
                <a:rect l="l" t="t" r="r" b="b"/>
                <a:pathLst>
                  <a:path w="28764" h="11335">
                    <a:moveTo>
                      <a:pt x="0" y="0"/>
                    </a:moveTo>
                    <a:lnTo>
                      <a:pt x="28764" y="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335" name="Graphic 20802">
              <a:extLst>
                <a:ext uri="{FF2B5EF4-FFF2-40B4-BE49-F238E27FC236}">
                  <a16:creationId xmlns:a16="http://schemas.microsoft.com/office/drawing/2014/main" id="{2634ABF6-E9E1-4225-839F-5EA86502B6D3}"/>
                </a:ext>
              </a:extLst>
            </p:cNvPr>
            <p:cNvGrpSpPr/>
            <p:nvPr/>
          </p:nvGrpSpPr>
          <p:grpSpPr>
            <a:xfrm>
              <a:off x="6723685" y="1939279"/>
              <a:ext cx="29399" cy="28679"/>
              <a:chOff x="5577571" y="2624084"/>
              <a:chExt cx="28763" cy="28679"/>
            </a:xfrm>
          </p:grpSpPr>
          <p:sp>
            <p:nvSpPr>
              <p:cNvPr id="371" name="Freeform 56">
                <a:extLst>
                  <a:ext uri="{FF2B5EF4-FFF2-40B4-BE49-F238E27FC236}">
                    <a16:creationId xmlns:a16="http://schemas.microsoft.com/office/drawing/2014/main" id="{5328AFC7-D7B3-486B-9429-A624743214EF}"/>
                  </a:ext>
                </a:extLst>
              </p:cNvPr>
              <p:cNvSpPr/>
              <p:nvPr/>
            </p:nvSpPr>
            <p:spPr>
              <a:xfrm>
                <a:off x="5591953" y="2624084"/>
                <a:ext cx="11324" cy="28679"/>
              </a:xfrm>
              <a:custGeom>
                <a:avLst/>
                <a:gdLst>
                  <a:gd name="connsiteX0" fmla="*/ 0 w 11324"/>
                  <a:gd name="connsiteY0" fmla="*/ 0 h 28679"/>
                  <a:gd name="connsiteX1" fmla="*/ 0 w 11324"/>
                  <a:gd name="connsiteY1" fmla="*/ 28680 h 28679"/>
                </a:gdLst>
                <a:ahLst/>
                <a:cxnLst>
                  <a:cxn ang="0">
                    <a:pos x="connsiteX0" y="connsiteY0"/>
                  </a:cxn>
                  <a:cxn ang="0">
                    <a:pos x="connsiteX1" y="connsiteY1"/>
                  </a:cxn>
                </a:cxnLst>
                <a:rect l="l" t="t" r="r" b="b"/>
                <a:pathLst>
                  <a:path w="11324" h="28679">
                    <a:moveTo>
                      <a:pt x="0" y="0"/>
                    </a:moveTo>
                    <a:lnTo>
                      <a:pt x="0" y="2868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2" name="Freeform 57">
                <a:extLst>
                  <a:ext uri="{FF2B5EF4-FFF2-40B4-BE49-F238E27FC236}">
                    <a16:creationId xmlns:a16="http://schemas.microsoft.com/office/drawing/2014/main" id="{0C75A8D1-573E-4D77-BF72-DC550FF0C72B}"/>
                  </a:ext>
                </a:extLst>
              </p:cNvPr>
              <p:cNvSpPr/>
              <p:nvPr/>
            </p:nvSpPr>
            <p:spPr>
              <a:xfrm>
                <a:off x="5577571" y="2638367"/>
                <a:ext cx="28763" cy="11335"/>
              </a:xfrm>
              <a:custGeom>
                <a:avLst/>
                <a:gdLst>
                  <a:gd name="connsiteX0" fmla="*/ 0 w 28763"/>
                  <a:gd name="connsiteY0" fmla="*/ 0 h 11335"/>
                  <a:gd name="connsiteX1" fmla="*/ 28764 w 28763"/>
                  <a:gd name="connsiteY1" fmla="*/ 0 h 11335"/>
                </a:gdLst>
                <a:ahLst/>
                <a:cxnLst>
                  <a:cxn ang="0">
                    <a:pos x="connsiteX0" y="connsiteY0"/>
                  </a:cxn>
                  <a:cxn ang="0">
                    <a:pos x="connsiteX1" y="connsiteY1"/>
                  </a:cxn>
                </a:cxnLst>
                <a:rect l="l" t="t" r="r" b="b"/>
                <a:pathLst>
                  <a:path w="28763" h="11335">
                    <a:moveTo>
                      <a:pt x="0" y="0"/>
                    </a:moveTo>
                    <a:lnTo>
                      <a:pt x="28764" y="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336" name="Graphic 20802">
              <a:extLst>
                <a:ext uri="{FF2B5EF4-FFF2-40B4-BE49-F238E27FC236}">
                  <a16:creationId xmlns:a16="http://schemas.microsoft.com/office/drawing/2014/main" id="{641ECA35-9228-4EBF-9272-B8FF93B6190A}"/>
                </a:ext>
              </a:extLst>
            </p:cNvPr>
            <p:cNvGrpSpPr/>
            <p:nvPr/>
          </p:nvGrpSpPr>
          <p:grpSpPr>
            <a:xfrm>
              <a:off x="6669861" y="1823086"/>
              <a:ext cx="29399" cy="28679"/>
              <a:chOff x="5524912" y="2507891"/>
              <a:chExt cx="28763" cy="28679"/>
            </a:xfrm>
          </p:grpSpPr>
          <p:sp>
            <p:nvSpPr>
              <p:cNvPr id="369" name="Freeform 54">
                <a:extLst>
                  <a:ext uri="{FF2B5EF4-FFF2-40B4-BE49-F238E27FC236}">
                    <a16:creationId xmlns:a16="http://schemas.microsoft.com/office/drawing/2014/main" id="{2894EFD9-D079-407C-8A5E-9ABBAC789217}"/>
                  </a:ext>
                </a:extLst>
              </p:cNvPr>
              <p:cNvSpPr/>
              <p:nvPr/>
            </p:nvSpPr>
            <p:spPr>
              <a:xfrm>
                <a:off x="5539294" y="2507891"/>
                <a:ext cx="11324" cy="28679"/>
              </a:xfrm>
              <a:custGeom>
                <a:avLst/>
                <a:gdLst>
                  <a:gd name="connsiteX0" fmla="*/ 0 w 11324"/>
                  <a:gd name="connsiteY0" fmla="*/ 0 h 28679"/>
                  <a:gd name="connsiteX1" fmla="*/ 0 w 11324"/>
                  <a:gd name="connsiteY1" fmla="*/ 28680 h 28679"/>
                </a:gdLst>
                <a:ahLst/>
                <a:cxnLst>
                  <a:cxn ang="0">
                    <a:pos x="connsiteX0" y="connsiteY0"/>
                  </a:cxn>
                  <a:cxn ang="0">
                    <a:pos x="connsiteX1" y="connsiteY1"/>
                  </a:cxn>
                </a:cxnLst>
                <a:rect l="l" t="t" r="r" b="b"/>
                <a:pathLst>
                  <a:path w="11324" h="28679">
                    <a:moveTo>
                      <a:pt x="0" y="0"/>
                    </a:moveTo>
                    <a:lnTo>
                      <a:pt x="0" y="2868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0" name="Freeform 55">
                <a:extLst>
                  <a:ext uri="{FF2B5EF4-FFF2-40B4-BE49-F238E27FC236}">
                    <a16:creationId xmlns:a16="http://schemas.microsoft.com/office/drawing/2014/main" id="{24099BAA-9220-4001-BF67-09774F88CBE0}"/>
                  </a:ext>
                </a:extLst>
              </p:cNvPr>
              <p:cNvSpPr/>
              <p:nvPr/>
            </p:nvSpPr>
            <p:spPr>
              <a:xfrm>
                <a:off x="5524912" y="2522287"/>
                <a:ext cx="28763" cy="11335"/>
              </a:xfrm>
              <a:custGeom>
                <a:avLst/>
                <a:gdLst>
                  <a:gd name="connsiteX0" fmla="*/ 0 w 28763"/>
                  <a:gd name="connsiteY0" fmla="*/ 0 h 11335"/>
                  <a:gd name="connsiteX1" fmla="*/ 28764 w 28763"/>
                  <a:gd name="connsiteY1" fmla="*/ 0 h 11335"/>
                </a:gdLst>
                <a:ahLst/>
                <a:cxnLst>
                  <a:cxn ang="0">
                    <a:pos x="connsiteX0" y="connsiteY0"/>
                  </a:cxn>
                  <a:cxn ang="0">
                    <a:pos x="connsiteX1" y="connsiteY1"/>
                  </a:cxn>
                </a:cxnLst>
                <a:rect l="l" t="t" r="r" b="b"/>
                <a:pathLst>
                  <a:path w="28763" h="11335">
                    <a:moveTo>
                      <a:pt x="0" y="0"/>
                    </a:moveTo>
                    <a:lnTo>
                      <a:pt x="28764" y="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337" name="Graphic 20802">
              <a:extLst>
                <a:ext uri="{FF2B5EF4-FFF2-40B4-BE49-F238E27FC236}">
                  <a16:creationId xmlns:a16="http://schemas.microsoft.com/office/drawing/2014/main" id="{6FF2D516-9BF0-4107-934D-EDB435090103}"/>
                </a:ext>
              </a:extLst>
            </p:cNvPr>
            <p:cNvGrpSpPr/>
            <p:nvPr/>
          </p:nvGrpSpPr>
          <p:grpSpPr>
            <a:xfrm>
              <a:off x="6617079" y="1781143"/>
              <a:ext cx="29284" cy="28679"/>
              <a:chOff x="5473273" y="2465948"/>
              <a:chExt cx="28650" cy="28679"/>
            </a:xfrm>
          </p:grpSpPr>
          <p:sp>
            <p:nvSpPr>
              <p:cNvPr id="367" name="Freeform 52">
                <a:extLst>
                  <a:ext uri="{FF2B5EF4-FFF2-40B4-BE49-F238E27FC236}">
                    <a16:creationId xmlns:a16="http://schemas.microsoft.com/office/drawing/2014/main" id="{3949C597-CD90-42F6-9119-67E88407836B}"/>
                  </a:ext>
                </a:extLst>
              </p:cNvPr>
              <p:cNvSpPr/>
              <p:nvPr/>
            </p:nvSpPr>
            <p:spPr>
              <a:xfrm>
                <a:off x="5487655" y="2465948"/>
                <a:ext cx="11324" cy="28679"/>
              </a:xfrm>
              <a:custGeom>
                <a:avLst/>
                <a:gdLst>
                  <a:gd name="connsiteX0" fmla="*/ 0 w 11324"/>
                  <a:gd name="connsiteY0" fmla="*/ 0 h 28679"/>
                  <a:gd name="connsiteX1" fmla="*/ 0 w 11324"/>
                  <a:gd name="connsiteY1" fmla="*/ 28680 h 28679"/>
                </a:gdLst>
                <a:ahLst/>
                <a:cxnLst>
                  <a:cxn ang="0">
                    <a:pos x="connsiteX0" y="connsiteY0"/>
                  </a:cxn>
                  <a:cxn ang="0">
                    <a:pos x="connsiteX1" y="connsiteY1"/>
                  </a:cxn>
                </a:cxnLst>
                <a:rect l="l" t="t" r="r" b="b"/>
                <a:pathLst>
                  <a:path w="11324" h="28679">
                    <a:moveTo>
                      <a:pt x="0" y="0"/>
                    </a:moveTo>
                    <a:lnTo>
                      <a:pt x="0" y="2868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8" name="Freeform 53">
                <a:extLst>
                  <a:ext uri="{FF2B5EF4-FFF2-40B4-BE49-F238E27FC236}">
                    <a16:creationId xmlns:a16="http://schemas.microsoft.com/office/drawing/2014/main" id="{B5ADB5A7-F80B-4B3A-9B56-3A5E206CCF1F}"/>
                  </a:ext>
                </a:extLst>
              </p:cNvPr>
              <p:cNvSpPr/>
              <p:nvPr/>
            </p:nvSpPr>
            <p:spPr>
              <a:xfrm>
                <a:off x="5473273" y="2480231"/>
                <a:ext cx="28650" cy="11335"/>
              </a:xfrm>
              <a:custGeom>
                <a:avLst/>
                <a:gdLst>
                  <a:gd name="connsiteX0" fmla="*/ 0 w 28650"/>
                  <a:gd name="connsiteY0" fmla="*/ 0 h 11335"/>
                  <a:gd name="connsiteX1" fmla="*/ 28651 w 28650"/>
                  <a:gd name="connsiteY1" fmla="*/ 0 h 11335"/>
                </a:gdLst>
                <a:ahLst/>
                <a:cxnLst>
                  <a:cxn ang="0">
                    <a:pos x="connsiteX0" y="connsiteY0"/>
                  </a:cxn>
                  <a:cxn ang="0">
                    <a:pos x="connsiteX1" y="connsiteY1"/>
                  </a:cxn>
                </a:cxnLst>
                <a:rect l="l" t="t" r="r" b="b"/>
                <a:pathLst>
                  <a:path w="28650" h="11335">
                    <a:moveTo>
                      <a:pt x="0" y="0"/>
                    </a:moveTo>
                    <a:lnTo>
                      <a:pt x="28651" y="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338" name="Graphic 20802">
              <a:extLst>
                <a:ext uri="{FF2B5EF4-FFF2-40B4-BE49-F238E27FC236}">
                  <a16:creationId xmlns:a16="http://schemas.microsoft.com/office/drawing/2014/main" id="{7AE44F6D-E55A-4363-A707-868CA57A4F88}"/>
                </a:ext>
              </a:extLst>
            </p:cNvPr>
            <p:cNvGrpSpPr/>
            <p:nvPr/>
          </p:nvGrpSpPr>
          <p:grpSpPr>
            <a:xfrm>
              <a:off x="6564992" y="1781143"/>
              <a:ext cx="29400" cy="28679"/>
              <a:chOff x="5422313" y="2465948"/>
              <a:chExt cx="28764" cy="28679"/>
            </a:xfrm>
          </p:grpSpPr>
          <p:sp>
            <p:nvSpPr>
              <p:cNvPr id="365" name="Freeform 50">
                <a:extLst>
                  <a:ext uri="{FF2B5EF4-FFF2-40B4-BE49-F238E27FC236}">
                    <a16:creationId xmlns:a16="http://schemas.microsoft.com/office/drawing/2014/main" id="{E3894C6F-2071-44E9-86F0-58CA8923665E}"/>
                  </a:ext>
                </a:extLst>
              </p:cNvPr>
              <p:cNvSpPr/>
              <p:nvPr/>
            </p:nvSpPr>
            <p:spPr>
              <a:xfrm>
                <a:off x="5436695" y="2465948"/>
                <a:ext cx="11324" cy="28679"/>
              </a:xfrm>
              <a:custGeom>
                <a:avLst/>
                <a:gdLst>
                  <a:gd name="connsiteX0" fmla="*/ 0 w 11324"/>
                  <a:gd name="connsiteY0" fmla="*/ 0 h 28679"/>
                  <a:gd name="connsiteX1" fmla="*/ 0 w 11324"/>
                  <a:gd name="connsiteY1" fmla="*/ 28680 h 28679"/>
                </a:gdLst>
                <a:ahLst/>
                <a:cxnLst>
                  <a:cxn ang="0">
                    <a:pos x="connsiteX0" y="connsiteY0"/>
                  </a:cxn>
                  <a:cxn ang="0">
                    <a:pos x="connsiteX1" y="connsiteY1"/>
                  </a:cxn>
                </a:cxnLst>
                <a:rect l="l" t="t" r="r" b="b"/>
                <a:pathLst>
                  <a:path w="11324" h="28679">
                    <a:moveTo>
                      <a:pt x="0" y="0"/>
                    </a:moveTo>
                    <a:lnTo>
                      <a:pt x="0" y="2868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6" name="Freeform 51">
                <a:extLst>
                  <a:ext uri="{FF2B5EF4-FFF2-40B4-BE49-F238E27FC236}">
                    <a16:creationId xmlns:a16="http://schemas.microsoft.com/office/drawing/2014/main" id="{E7E9A7C8-34C0-40D9-BB97-EF7FF5310874}"/>
                  </a:ext>
                </a:extLst>
              </p:cNvPr>
              <p:cNvSpPr/>
              <p:nvPr/>
            </p:nvSpPr>
            <p:spPr>
              <a:xfrm>
                <a:off x="5422313" y="2480231"/>
                <a:ext cx="28764" cy="11335"/>
              </a:xfrm>
              <a:custGeom>
                <a:avLst/>
                <a:gdLst>
                  <a:gd name="connsiteX0" fmla="*/ 0 w 28764"/>
                  <a:gd name="connsiteY0" fmla="*/ 0 h 11335"/>
                  <a:gd name="connsiteX1" fmla="*/ 28764 w 28764"/>
                  <a:gd name="connsiteY1" fmla="*/ 0 h 11335"/>
                </a:gdLst>
                <a:ahLst/>
                <a:cxnLst>
                  <a:cxn ang="0">
                    <a:pos x="connsiteX0" y="connsiteY0"/>
                  </a:cxn>
                  <a:cxn ang="0">
                    <a:pos x="connsiteX1" y="connsiteY1"/>
                  </a:cxn>
                </a:cxnLst>
                <a:rect l="l" t="t" r="r" b="b"/>
                <a:pathLst>
                  <a:path w="28764" h="11335">
                    <a:moveTo>
                      <a:pt x="0" y="0"/>
                    </a:moveTo>
                    <a:lnTo>
                      <a:pt x="28764" y="0"/>
                    </a:lnTo>
                  </a:path>
                </a:pathLst>
              </a:custGeom>
              <a:ln w="6350" cap="flat">
                <a:solidFill>
                  <a:srgbClr val="D8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339" name="Graphic 20802">
              <a:extLst>
                <a:ext uri="{FF2B5EF4-FFF2-40B4-BE49-F238E27FC236}">
                  <a16:creationId xmlns:a16="http://schemas.microsoft.com/office/drawing/2014/main" id="{CB27E41D-5E02-4403-B489-C1D33EC201BE}"/>
                </a:ext>
              </a:extLst>
            </p:cNvPr>
            <p:cNvGrpSpPr/>
            <p:nvPr/>
          </p:nvGrpSpPr>
          <p:grpSpPr>
            <a:xfrm>
              <a:off x="6676216" y="1782842"/>
              <a:ext cx="1461797" cy="1583123"/>
              <a:chOff x="5534309" y="2467647"/>
              <a:chExt cx="1428707" cy="1583123"/>
            </a:xfrm>
            <a:noFill/>
          </p:grpSpPr>
          <p:sp>
            <p:nvSpPr>
              <p:cNvPr id="359" name="Freeform 23">
                <a:extLst>
                  <a:ext uri="{FF2B5EF4-FFF2-40B4-BE49-F238E27FC236}">
                    <a16:creationId xmlns:a16="http://schemas.microsoft.com/office/drawing/2014/main" id="{3ACABA3F-B974-4D2E-9574-63B349C3BB25}"/>
                  </a:ext>
                </a:extLst>
              </p:cNvPr>
              <p:cNvSpPr/>
              <p:nvPr/>
            </p:nvSpPr>
            <p:spPr>
              <a:xfrm>
                <a:off x="5534309" y="2480231"/>
                <a:ext cx="1409322" cy="1562317"/>
              </a:xfrm>
              <a:custGeom>
                <a:avLst/>
                <a:gdLst>
                  <a:gd name="connsiteX0" fmla="*/ 0 w 1409322"/>
                  <a:gd name="connsiteY0" fmla="*/ 0 h 1562317"/>
                  <a:gd name="connsiteX1" fmla="*/ 57528 w 1409322"/>
                  <a:gd name="connsiteY1" fmla="*/ 0 h 1562317"/>
                  <a:gd name="connsiteX2" fmla="*/ 57528 w 1409322"/>
                  <a:gd name="connsiteY2" fmla="*/ 103497 h 1562317"/>
                  <a:gd name="connsiteX3" fmla="*/ 111092 w 1409322"/>
                  <a:gd name="connsiteY3" fmla="*/ 103497 h 1562317"/>
                  <a:gd name="connsiteX4" fmla="*/ 111092 w 1409322"/>
                  <a:gd name="connsiteY4" fmla="*/ 206541 h 1562317"/>
                  <a:gd name="connsiteX5" fmla="*/ 161033 w 1409322"/>
                  <a:gd name="connsiteY5" fmla="*/ 206541 h 1562317"/>
                  <a:gd name="connsiteX6" fmla="*/ 161033 w 1409322"/>
                  <a:gd name="connsiteY6" fmla="*/ 525647 h 1562317"/>
                  <a:gd name="connsiteX7" fmla="*/ 315385 w 1409322"/>
                  <a:gd name="connsiteY7" fmla="*/ 525647 h 1562317"/>
                  <a:gd name="connsiteX8" fmla="*/ 315385 w 1409322"/>
                  <a:gd name="connsiteY8" fmla="*/ 740123 h 1562317"/>
                  <a:gd name="connsiteX9" fmla="*/ 421721 w 1409322"/>
                  <a:gd name="connsiteY9" fmla="*/ 740123 h 1562317"/>
                  <a:gd name="connsiteX10" fmla="*/ 421721 w 1409322"/>
                  <a:gd name="connsiteY10" fmla="*/ 857563 h 1562317"/>
                  <a:gd name="connsiteX11" fmla="*/ 474493 w 1409322"/>
                  <a:gd name="connsiteY11" fmla="*/ 857563 h 1562317"/>
                  <a:gd name="connsiteX12" fmla="*/ 474493 w 1409322"/>
                  <a:gd name="connsiteY12" fmla="*/ 997222 h 1562317"/>
                  <a:gd name="connsiteX13" fmla="*/ 525339 w 1409322"/>
                  <a:gd name="connsiteY13" fmla="*/ 997222 h 1562317"/>
                  <a:gd name="connsiteX14" fmla="*/ 525339 w 1409322"/>
                  <a:gd name="connsiteY14" fmla="*/ 1136427 h 1562317"/>
                  <a:gd name="connsiteX15" fmla="*/ 577885 w 1409322"/>
                  <a:gd name="connsiteY15" fmla="*/ 1136427 h 1562317"/>
                  <a:gd name="connsiteX16" fmla="*/ 577885 w 1409322"/>
                  <a:gd name="connsiteY16" fmla="*/ 1274498 h 1562317"/>
                  <a:gd name="connsiteX17" fmla="*/ 838233 w 1409322"/>
                  <a:gd name="connsiteY17" fmla="*/ 1274498 h 1562317"/>
                  <a:gd name="connsiteX18" fmla="*/ 838233 w 1409322"/>
                  <a:gd name="connsiteY18" fmla="*/ 1414384 h 1562317"/>
                  <a:gd name="connsiteX19" fmla="*/ 1409323 w 1409322"/>
                  <a:gd name="connsiteY19" fmla="*/ 1414384 h 1562317"/>
                  <a:gd name="connsiteX20" fmla="*/ 1409323 w 1409322"/>
                  <a:gd name="connsiteY20" fmla="*/ 1562318 h 1562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409322" h="1562317">
                    <a:moveTo>
                      <a:pt x="0" y="0"/>
                    </a:moveTo>
                    <a:lnTo>
                      <a:pt x="57528" y="0"/>
                    </a:lnTo>
                    <a:lnTo>
                      <a:pt x="57528" y="103497"/>
                    </a:lnTo>
                    <a:lnTo>
                      <a:pt x="111092" y="103497"/>
                    </a:lnTo>
                    <a:lnTo>
                      <a:pt x="111092" y="206541"/>
                    </a:lnTo>
                    <a:lnTo>
                      <a:pt x="161033" y="206541"/>
                    </a:lnTo>
                    <a:lnTo>
                      <a:pt x="161033" y="525647"/>
                    </a:lnTo>
                    <a:lnTo>
                      <a:pt x="315385" y="525647"/>
                    </a:lnTo>
                    <a:lnTo>
                      <a:pt x="315385" y="740123"/>
                    </a:lnTo>
                    <a:lnTo>
                      <a:pt x="421721" y="740123"/>
                    </a:lnTo>
                    <a:lnTo>
                      <a:pt x="421721" y="857563"/>
                    </a:lnTo>
                    <a:lnTo>
                      <a:pt x="474493" y="857563"/>
                    </a:lnTo>
                    <a:lnTo>
                      <a:pt x="474493" y="997222"/>
                    </a:lnTo>
                    <a:lnTo>
                      <a:pt x="525339" y="997222"/>
                    </a:lnTo>
                    <a:lnTo>
                      <a:pt x="525339" y="1136427"/>
                    </a:lnTo>
                    <a:lnTo>
                      <a:pt x="577885" y="1136427"/>
                    </a:lnTo>
                    <a:lnTo>
                      <a:pt x="577885" y="1274498"/>
                    </a:lnTo>
                    <a:lnTo>
                      <a:pt x="838233" y="1274498"/>
                    </a:lnTo>
                    <a:lnTo>
                      <a:pt x="838233" y="1414384"/>
                    </a:lnTo>
                    <a:lnTo>
                      <a:pt x="1409323" y="1414384"/>
                    </a:lnTo>
                    <a:lnTo>
                      <a:pt x="1409323" y="1562318"/>
                    </a:lnTo>
                  </a:path>
                </a:pathLst>
              </a:custGeom>
              <a:noFill/>
              <a:ln w="9525" cap="flat">
                <a:solidFill>
                  <a:srgbClr val="4F74C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60" name="Freeform 24">
                <a:extLst>
                  <a:ext uri="{FF2B5EF4-FFF2-40B4-BE49-F238E27FC236}">
                    <a16:creationId xmlns:a16="http://schemas.microsoft.com/office/drawing/2014/main" id="{FCBC86F1-1AB7-4BE8-91DE-35BA40BA521E}"/>
                  </a:ext>
                </a:extLst>
              </p:cNvPr>
              <p:cNvSpPr/>
              <p:nvPr/>
            </p:nvSpPr>
            <p:spPr>
              <a:xfrm>
                <a:off x="5575244" y="2467647"/>
                <a:ext cx="35185" cy="36000"/>
              </a:xfrm>
              <a:custGeom>
                <a:avLst/>
                <a:gdLst>
                  <a:gd name="connsiteX0" fmla="*/ 26952 w 26952"/>
                  <a:gd name="connsiteY0" fmla="*/ 13490 h 26979"/>
                  <a:gd name="connsiteX1" fmla="*/ 13476 w 26952"/>
                  <a:gd name="connsiteY1" fmla="*/ 26980 h 26979"/>
                  <a:gd name="connsiteX2" fmla="*/ 0 w 26952"/>
                  <a:gd name="connsiteY2" fmla="*/ 13490 h 26979"/>
                  <a:gd name="connsiteX3" fmla="*/ 13476 w 26952"/>
                  <a:gd name="connsiteY3" fmla="*/ 0 h 26979"/>
                  <a:gd name="connsiteX4" fmla="*/ 26952 w 26952"/>
                  <a:gd name="connsiteY4" fmla="*/ 13490 h 26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52" h="26979">
                    <a:moveTo>
                      <a:pt x="26952" y="13490"/>
                    </a:moveTo>
                    <a:cubicBezTo>
                      <a:pt x="26952" y="20940"/>
                      <a:pt x="20919" y="26980"/>
                      <a:pt x="13476" y="26980"/>
                    </a:cubicBezTo>
                    <a:cubicBezTo>
                      <a:pt x="6033" y="26980"/>
                      <a:pt x="0" y="20940"/>
                      <a:pt x="0" y="13490"/>
                    </a:cubicBezTo>
                    <a:cubicBezTo>
                      <a:pt x="0" y="6040"/>
                      <a:pt x="6033" y="0"/>
                      <a:pt x="13476" y="0"/>
                    </a:cubicBezTo>
                    <a:cubicBezTo>
                      <a:pt x="20919" y="0"/>
                      <a:pt x="26952" y="6040"/>
                      <a:pt x="26952" y="13490"/>
                    </a:cubicBezTo>
                    <a:close/>
                  </a:path>
                </a:pathLst>
              </a:custGeom>
              <a:noFill/>
              <a:ln w="6350" cap="flat">
                <a:solidFill>
                  <a:srgbClr val="4F74C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1" name="Freeform 25">
                <a:extLst>
                  <a:ext uri="{FF2B5EF4-FFF2-40B4-BE49-F238E27FC236}">
                    <a16:creationId xmlns:a16="http://schemas.microsoft.com/office/drawing/2014/main" id="{5BDF93AB-AFB9-4CEA-B731-B3F4F148B23E}"/>
                  </a:ext>
                </a:extLst>
              </p:cNvPr>
              <p:cNvSpPr/>
              <p:nvPr/>
            </p:nvSpPr>
            <p:spPr>
              <a:xfrm>
                <a:off x="5576150" y="2570124"/>
                <a:ext cx="35185" cy="36000"/>
              </a:xfrm>
              <a:custGeom>
                <a:avLst/>
                <a:gdLst>
                  <a:gd name="connsiteX0" fmla="*/ 26952 w 26952"/>
                  <a:gd name="connsiteY0" fmla="*/ 13490 h 26979"/>
                  <a:gd name="connsiteX1" fmla="*/ 13476 w 26952"/>
                  <a:gd name="connsiteY1" fmla="*/ 26980 h 26979"/>
                  <a:gd name="connsiteX2" fmla="*/ 0 w 26952"/>
                  <a:gd name="connsiteY2" fmla="*/ 13490 h 26979"/>
                  <a:gd name="connsiteX3" fmla="*/ 13476 w 26952"/>
                  <a:gd name="connsiteY3" fmla="*/ 0 h 26979"/>
                  <a:gd name="connsiteX4" fmla="*/ 26952 w 26952"/>
                  <a:gd name="connsiteY4" fmla="*/ 13490 h 26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52" h="26979">
                    <a:moveTo>
                      <a:pt x="26952" y="13490"/>
                    </a:moveTo>
                    <a:cubicBezTo>
                      <a:pt x="26952" y="20940"/>
                      <a:pt x="20919" y="26980"/>
                      <a:pt x="13476" y="26980"/>
                    </a:cubicBezTo>
                    <a:cubicBezTo>
                      <a:pt x="6033" y="26980"/>
                      <a:pt x="0" y="20940"/>
                      <a:pt x="0" y="13490"/>
                    </a:cubicBezTo>
                    <a:cubicBezTo>
                      <a:pt x="0" y="6040"/>
                      <a:pt x="6033" y="0"/>
                      <a:pt x="13476" y="0"/>
                    </a:cubicBezTo>
                    <a:cubicBezTo>
                      <a:pt x="20919" y="0"/>
                      <a:pt x="26952" y="6040"/>
                      <a:pt x="26952" y="13490"/>
                    </a:cubicBezTo>
                    <a:close/>
                  </a:path>
                </a:pathLst>
              </a:custGeom>
              <a:noFill/>
              <a:ln w="6350" cap="flat">
                <a:solidFill>
                  <a:srgbClr val="4F74C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2" name="Freeform 26">
                <a:extLst>
                  <a:ext uri="{FF2B5EF4-FFF2-40B4-BE49-F238E27FC236}">
                    <a16:creationId xmlns:a16="http://schemas.microsoft.com/office/drawing/2014/main" id="{BE20668B-CACA-4936-9B19-3C234912AB8B}"/>
                  </a:ext>
                </a:extLst>
              </p:cNvPr>
              <p:cNvSpPr/>
              <p:nvPr/>
            </p:nvSpPr>
            <p:spPr>
              <a:xfrm>
                <a:off x="5939437" y="3204936"/>
                <a:ext cx="35185" cy="36000"/>
              </a:xfrm>
              <a:custGeom>
                <a:avLst/>
                <a:gdLst>
                  <a:gd name="connsiteX0" fmla="*/ 26952 w 26952"/>
                  <a:gd name="connsiteY0" fmla="*/ 13490 h 26979"/>
                  <a:gd name="connsiteX1" fmla="*/ 13476 w 26952"/>
                  <a:gd name="connsiteY1" fmla="*/ 26980 h 26979"/>
                  <a:gd name="connsiteX2" fmla="*/ 0 w 26952"/>
                  <a:gd name="connsiteY2" fmla="*/ 13490 h 26979"/>
                  <a:gd name="connsiteX3" fmla="*/ 13476 w 26952"/>
                  <a:gd name="connsiteY3" fmla="*/ 0 h 26979"/>
                  <a:gd name="connsiteX4" fmla="*/ 26952 w 26952"/>
                  <a:gd name="connsiteY4" fmla="*/ 13490 h 26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52" h="26979">
                    <a:moveTo>
                      <a:pt x="26952" y="13490"/>
                    </a:moveTo>
                    <a:cubicBezTo>
                      <a:pt x="26952" y="20940"/>
                      <a:pt x="20919" y="26980"/>
                      <a:pt x="13476" y="26980"/>
                    </a:cubicBezTo>
                    <a:cubicBezTo>
                      <a:pt x="6033" y="26980"/>
                      <a:pt x="0" y="20940"/>
                      <a:pt x="0" y="13490"/>
                    </a:cubicBezTo>
                    <a:cubicBezTo>
                      <a:pt x="0" y="6040"/>
                      <a:pt x="6033" y="0"/>
                      <a:pt x="13476" y="0"/>
                    </a:cubicBezTo>
                    <a:cubicBezTo>
                      <a:pt x="20919" y="0"/>
                      <a:pt x="26952" y="6040"/>
                      <a:pt x="26952" y="13490"/>
                    </a:cubicBezTo>
                    <a:close/>
                  </a:path>
                </a:pathLst>
              </a:custGeom>
              <a:noFill/>
              <a:ln w="6350" cap="flat">
                <a:solidFill>
                  <a:srgbClr val="4F74C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63" name="Freeform 27">
                <a:extLst>
                  <a:ext uri="{FF2B5EF4-FFF2-40B4-BE49-F238E27FC236}">
                    <a16:creationId xmlns:a16="http://schemas.microsoft.com/office/drawing/2014/main" id="{C6E1B4AD-9B26-47A3-9280-B75449AAA2EE}"/>
                  </a:ext>
                </a:extLst>
              </p:cNvPr>
              <p:cNvSpPr/>
              <p:nvPr/>
            </p:nvSpPr>
            <p:spPr>
              <a:xfrm>
                <a:off x="5992661" y="3323623"/>
                <a:ext cx="35185" cy="36000"/>
              </a:xfrm>
              <a:custGeom>
                <a:avLst/>
                <a:gdLst>
                  <a:gd name="connsiteX0" fmla="*/ 26952 w 26952"/>
                  <a:gd name="connsiteY0" fmla="*/ 13490 h 26979"/>
                  <a:gd name="connsiteX1" fmla="*/ 13476 w 26952"/>
                  <a:gd name="connsiteY1" fmla="*/ 26980 h 26979"/>
                  <a:gd name="connsiteX2" fmla="*/ 0 w 26952"/>
                  <a:gd name="connsiteY2" fmla="*/ 13490 h 26979"/>
                  <a:gd name="connsiteX3" fmla="*/ 13476 w 26952"/>
                  <a:gd name="connsiteY3" fmla="*/ 0 h 26979"/>
                  <a:gd name="connsiteX4" fmla="*/ 26952 w 26952"/>
                  <a:gd name="connsiteY4" fmla="*/ 13490 h 26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52" h="26979">
                    <a:moveTo>
                      <a:pt x="26952" y="13490"/>
                    </a:moveTo>
                    <a:cubicBezTo>
                      <a:pt x="26952" y="20940"/>
                      <a:pt x="20919" y="26980"/>
                      <a:pt x="13476" y="26980"/>
                    </a:cubicBezTo>
                    <a:cubicBezTo>
                      <a:pt x="6033" y="26980"/>
                      <a:pt x="0" y="20940"/>
                      <a:pt x="0" y="13490"/>
                    </a:cubicBezTo>
                    <a:cubicBezTo>
                      <a:pt x="0" y="6040"/>
                      <a:pt x="6033" y="0"/>
                      <a:pt x="13476" y="0"/>
                    </a:cubicBezTo>
                    <a:cubicBezTo>
                      <a:pt x="20919" y="0"/>
                      <a:pt x="26952" y="6040"/>
                      <a:pt x="26952" y="13490"/>
                    </a:cubicBezTo>
                    <a:close/>
                  </a:path>
                </a:pathLst>
              </a:custGeom>
              <a:noFill/>
              <a:ln w="6350" cap="flat">
                <a:solidFill>
                  <a:srgbClr val="4F74C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4" name="Freeform 28">
                <a:extLst>
                  <a:ext uri="{FF2B5EF4-FFF2-40B4-BE49-F238E27FC236}">
                    <a16:creationId xmlns:a16="http://schemas.microsoft.com/office/drawing/2014/main" id="{EE807593-BC8A-42ED-82C4-E0B045ABD66A}"/>
                  </a:ext>
                </a:extLst>
              </p:cNvPr>
              <p:cNvSpPr/>
              <p:nvPr/>
            </p:nvSpPr>
            <p:spPr>
              <a:xfrm>
                <a:off x="6927831" y="4014770"/>
                <a:ext cx="35185" cy="36000"/>
              </a:xfrm>
              <a:custGeom>
                <a:avLst/>
                <a:gdLst>
                  <a:gd name="connsiteX0" fmla="*/ 26952 w 26952"/>
                  <a:gd name="connsiteY0" fmla="*/ 13490 h 26979"/>
                  <a:gd name="connsiteX1" fmla="*/ 13476 w 26952"/>
                  <a:gd name="connsiteY1" fmla="*/ 26980 h 26979"/>
                  <a:gd name="connsiteX2" fmla="*/ 0 w 26952"/>
                  <a:gd name="connsiteY2" fmla="*/ 13490 h 26979"/>
                  <a:gd name="connsiteX3" fmla="*/ 13476 w 26952"/>
                  <a:gd name="connsiteY3" fmla="*/ 0 h 26979"/>
                  <a:gd name="connsiteX4" fmla="*/ 26952 w 26952"/>
                  <a:gd name="connsiteY4" fmla="*/ 13490 h 26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52" h="26979">
                    <a:moveTo>
                      <a:pt x="26952" y="13490"/>
                    </a:moveTo>
                    <a:cubicBezTo>
                      <a:pt x="26952" y="20940"/>
                      <a:pt x="20919" y="26980"/>
                      <a:pt x="13476" y="26980"/>
                    </a:cubicBezTo>
                    <a:cubicBezTo>
                      <a:pt x="6034" y="26980"/>
                      <a:pt x="0" y="20940"/>
                      <a:pt x="0" y="13490"/>
                    </a:cubicBezTo>
                    <a:cubicBezTo>
                      <a:pt x="0" y="6040"/>
                      <a:pt x="6033" y="0"/>
                      <a:pt x="13476" y="0"/>
                    </a:cubicBezTo>
                    <a:cubicBezTo>
                      <a:pt x="20919" y="0"/>
                      <a:pt x="26952" y="6039"/>
                      <a:pt x="26952" y="13490"/>
                    </a:cubicBezTo>
                    <a:close/>
                  </a:path>
                </a:pathLst>
              </a:custGeom>
              <a:noFill/>
              <a:ln w="6350" cap="flat">
                <a:solidFill>
                  <a:srgbClr val="4F74C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341" name="Group 340">
              <a:extLst>
                <a:ext uri="{FF2B5EF4-FFF2-40B4-BE49-F238E27FC236}">
                  <a16:creationId xmlns:a16="http://schemas.microsoft.com/office/drawing/2014/main" id="{D83DEEDE-61A9-4A48-B52D-5BEDC856566A}"/>
                </a:ext>
              </a:extLst>
            </p:cNvPr>
            <p:cNvGrpSpPr/>
            <p:nvPr/>
          </p:nvGrpSpPr>
          <p:grpSpPr>
            <a:xfrm>
              <a:off x="6525377" y="3551474"/>
              <a:ext cx="2229156" cy="25845"/>
              <a:chOff x="6525377" y="3551474"/>
              <a:chExt cx="2229156" cy="25845"/>
            </a:xfrm>
          </p:grpSpPr>
          <p:sp>
            <p:nvSpPr>
              <p:cNvPr id="343" name="Freeform 223">
                <a:extLst>
                  <a:ext uri="{FF2B5EF4-FFF2-40B4-BE49-F238E27FC236}">
                    <a16:creationId xmlns:a16="http://schemas.microsoft.com/office/drawing/2014/main" id="{BBA70E96-809C-442B-B6FC-A3E728920310}"/>
                  </a:ext>
                </a:extLst>
              </p:cNvPr>
              <p:cNvSpPr/>
              <p:nvPr/>
            </p:nvSpPr>
            <p:spPr>
              <a:xfrm>
                <a:off x="6525377" y="3551474"/>
                <a:ext cx="0" cy="25845"/>
              </a:xfrm>
              <a:custGeom>
                <a:avLst/>
                <a:gdLst>
                  <a:gd name="connsiteX0" fmla="*/ 0 w 11324"/>
                  <a:gd name="connsiteY0" fmla="*/ 0 h 25845"/>
                  <a:gd name="connsiteX1" fmla="*/ 0 w 11324"/>
                  <a:gd name="connsiteY1" fmla="*/ 25846 h 25845"/>
                </a:gdLst>
                <a:ahLst/>
                <a:cxnLst>
                  <a:cxn ang="0">
                    <a:pos x="connsiteX0" y="connsiteY0"/>
                  </a:cxn>
                  <a:cxn ang="0">
                    <a:pos x="connsiteX1" y="connsiteY1"/>
                  </a:cxn>
                </a:cxnLst>
                <a:rect l="l" t="t" r="r" b="b"/>
                <a:pathLst>
                  <a:path w="11324" h="25845">
                    <a:moveTo>
                      <a:pt x="0" y="0"/>
                    </a:moveTo>
                    <a:lnTo>
                      <a:pt x="0" y="25846"/>
                    </a:lnTo>
                  </a:path>
                </a:pathLst>
              </a:custGeom>
              <a:ln w="63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4" name="Freeform 223">
                <a:extLst>
                  <a:ext uri="{FF2B5EF4-FFF2-40B4-BE49-F238E27FC236}">
                    <a16:creationId xmlns:a16="http://schemas.microsoft.com/office/drawing/2014/main" id="{B7B9AD24-DDB0-4E81-BE44-317A1FC62B12}"/>
                  </a:ext>
                </a:extLst>
              </p:cNvPr>
              <p:cNvSpPr/>
              <p:nvPr/>
            </p:nvSpPr>
            <p:spPr>
              <a:xfrm>
                <a:off x="6684602" y="3551474"/>
                <a:ext cx="0" cy="25845"/>
              </a:xfrm>
              <a:custGeom>
                <a:avLst/>
                <a:gdLst>
                  <a:gd name="connsiteX0" fmla="*/ 0 w 11324"/>
                  <a:gd name="connsiteY0" fmla="*/ 0 h 25845"/>
                  <a:gd name="connsiteX1" fmla="*/ 0 w 11324"/>
                  <a:gd name="connsiteY1" fmla="*/ 25846 h 25845"/>
                </a:gdLst>
                <a:ahLst/>
                <a:cxnLst>
                  <a:cxn ang="0">
                    <a:pos x="connsiteX0" y="connsiteY0"/>
                  </a:cxn>
                  <a:cxn ang="0">
                    <a:pos x="connsiteX1" y="connsiteY1"/>
                  </a:cxn>
                </a:cxnLst>
                <a:rect l="l" t="t" r="r" b="b"/>
                <a:pathLst>
                  <a:path w="11324" h="25845">
                    <a:moveTo>
                      <a:pt x="0" y="0"/>
                    </a:moveTo>
                    <a:lnTo>
                      <a:pt x="0" y="25846"/>
                    </a:lnTo>
                  </a:path>
                </a:pathLst>
              </a:custGeom>
              <a:ln w="63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5" name="Freeform 223">
                <a:extLst>
                  <a:ext uri="{FF2B5EF4-FFF2-40B4-BE49-F238E27FC236}">
                    <a16:creationId xmlns:a16="http://schemas.microsoft.com/office/drawing/2014/main" id="{2A7A70CB-3F2E-4ADE-B471-12321158E1FB}"/>
                  </a:ext>
                </a:extLst>
              </p:cNvPr>
              <p:cNvSpPr/>
              <p:nvPr/>
            </p:nvSpPr>
            <p:spPr>
              <a:xfrm>
                <a:off x="6843827" y="3551474"/>
                <a:ext cx="0" cy="25845"/>
              </a:xfrm>
              <a:custGeom>
                <a:avLst/>
                <a:gdLst>
                  <a:gd name="connsiteX0" fmla="*/ 0 w 11324"/>
                  <a:gd name="connsiteY0" fmla="*/ 0 h 25845"/>
                  <a:gd name="connsiteX1" fmla="*/ 0 w 11324"/>
                  <a:gd name="connsiteY1" fmla="*/ 25846 h 25845"/>
                </a:gdLst>
                <a:ahLst/>
                <a:cxnLst>
                  <a:cxn ang="0">
                    <a:pos x="connsiteX0" y="connsiteY0"/>
                  </a:cxn>
                  <a:cxn ang="0">
                    <a:pos x="connsiteX1" y="connsiteY1"/>
                  </a:cxn>
                </a:cxnLst>
                <a:rect l="l" t="t" r="r" b="b"/>
                <a:pathLst>
                  <a:path w="11324" h="25845">
                    <a:moveTo>
                      <a:pt x="0" y="0"/>
                    </a:moveTo>
                    <a:lnTo>
                      <a:pt x="0" y="25846"/>
                    </a:lnTo>
                  </a:path>
                </a:pathLst>
              </a:custGeom>
              <a:ln w="63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6" name="Freeform 223">
                <a:extLst>
                  <a:ext uri="{FF2B5EF4-FFF2-40B4-BE49-F238E27FC236}">
                    <a16:creationId xmlns:a16="http://schemas.microsoft.com/office/drawing/2014/main" id="{E3134A1E-062D-4572-8B18-AC6AF53A7B2E}"/>
                  </a:ext>
                </a:extLst>
              </p:cNvPr>
              <p:cNvSpPr/>
              <p:nvPr/>
            </p:nvSpPr>
            <p:spPr>
              <a:xfrm>
                <a:off x="7003052" y="3551474"/>
                <a:ext cx="0" cy="25845"/>
              </a:xfrm>
              <a:custGeom>
                <a:avLst/>
                <a:gdLst>
                  <a:gd name="connsiteX0" fmla="*/ 0 w 11324"/>
                  <a:gd name="connsiteY0" fmla="*/ 0 h 25845"/>
                  <a:gd name="connsiteX1" fmla="*/ 0 w 11324"/>
                  <a:gd name="connsiteY1" fmla="*/ 25846 h 25845"/>
                </a:gdLst>
                <a:ahLst/>
                <a:cxnLst>
                  <a:cxn ang="0">
                    <a:pos x="connsiteX0" y="connsiteY0"/>
                  </a:cxn>
                  <a:cxn ang="0">
                    <a:pos x="connsiteX1" y="connsiteY1"/>
                  </a:cxn>
                </a:cxnLst>
                <a:rect l="l" t="t" r="r" b="b"/>
                <a:pathLst>
                  <a:path w="11324" h="25845">
                    <a:moveTo>
                      <a:pt x="0" y="0"/>
                    </a:moveTo>
                    <a:lnTo>
                      <a:pt x="0" y="25846"/>
                    </a:lnTo>
                  </a:path>
                </a:pathLst>
              </a:custGeom>
              <a:ln w="63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7" name="Freeform 223">
                <a:extLst>
                  <a:ext uri="{FF2B5EF4-FFF2-40B4-BE49-F238E27FC236}">
                    <a16:creationId xmlns:a16="http://schemas.microsoft.com/office/drawing/2014/main" id="{F7B04D1A-F2E7-41C5-91F2-DAF3B4196D1D}"/>
                  </a:ext>
                </a:extLst>
              </p:cNvPr>
              <p:cNvSpPr/>
              <p:nvPr/>
            </p:nvSpPr>
            <p:spPr>
              <a:xfrm>
                <a:off x="7162277" y="3551474"/>
                <a:ext cx="0" cy="25845"/>
              </a:xfrm>
              <a:custGeom>
                <a:avLst/>
                <a:gdLst>
                  <a:gd name="connsiteX0" fmla="*/ 0 w 11324"/>
                  <a:gd name="connsiteY0" fmla="*/ 0 h 25845"/>
                  <a:gd name="connsiteX1" fmla="*/ 0 w 11324"/>
                  <a:gd name="connsiteY1" fmla="*/ 25846 h 25845"/>
                </a:gdLst>
                <a:ahLst/>
                <a:cxnLst>
                  <a:cxn ang="0">
                    <a:pos x="connsiteX0" y="connsiteY0"/>
                  </a:cxn>
                  <a:cxn ang="0">
                    <a:pos x="connsiteX1" y="connsiteY1"/>
                  </a:cxn>
                </a:cxnLst>
                <a:rect l="l" t="t" r="r" b="b"/>
                <a:pathLst>
                  <a:path w="11324" h="25845">
                    <a:moveTo>
                      <a:pt x="0" y="0"/>
                    </a:moveTo>
                    <a:lnTo>
                      <a:pt x="0" y="25846"/>
                    </a:lnTo>
                  </a:path>
                </a:pathLst>
              </a:custGeom>
              <a:ln w="63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8" name="Freeform 223">
                <a:extLst>
                  <a:ext uri="{FF2B5EF4-FFF2-40B4-BE49-F238E27FC236}">
                    <a16:creationId xmlns:a16="http://schemas.microsoft.com/office/drawing/2014/main" id="{92B55F8A-3BAE-4C84-90B5-CC46BF45B78B}"/>
                  </a:ext>
                </a:extLst>
              </p:cNvPr>
              <p:cNvSpPr/>
              <p:nvPr/>
            </p:nvSpPr>
            <p:spPr>
              <a:xfrm>
                <a:off x="7321502" y="3551474"/>
                <a:ext cx="0" cy="25845"/>
              </a:xfrm>
              <a:custGeom>
                <a:avLst/>
                <a:gdLst>
                  <a:gd name="connsiteX0" fmla="*/ 0 w 11324"/>
                  <a:gd name="connsiteY0" fmla="*/ 0 h 25845"/>
                  <a:gd name="connsiteX1" fmla="*/ 0 w 11324"/>
                  <a:gd name="connsiteY1" fmla="*/ 25846 h 25845"/>
                </a:gdLst>
                <a:ahLst/>
                <a:cxnLst>
                  <a:cxn ang="0">
                    <a:pos x="connsiteX0" y="connsiteY0"/>
                  </a:cxn>
                  <a:cxn ang="0">
                    <a:pos x="connsiteX1" y="connsiteY1"/>
                  </a:cxn>
                </a:cxnLst>
                <a:rect l="l" t="t" r="r" b="b"/>
                <a:pathLst>
                  <a:path w="11324" h="25845">
                    <a:moveTo>
                      <a:pt x="0" y="0"/>
                    </a:moveTo>
                    <a:lnTo>
                      <a:pt x="0" y="25846"/>
                    </a:lnTo>
                  </a:path>
                </a:pathLst>
              </a:custGeom>
              <a:ln w="63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9" name="Freeform 223">
                <a:extLst>
                  <a:ext uri="{FF2B5EF4-FFF2-40B4-BE49-F238E27FC236}">
                    <a16:creationId xmlns:a16="http://schemas.microsoft.com/office/drawing/2014/main" id="{016C2578-967F-4C95-AFB0-3DB1C589F66C}"/>
                  </a:ext>
                </a:extLst>
              </p:cNvPr>
              <p:cNvSpPr/>
              <p:nvPr/>
            </p:nvSpPr>
            <p:spPr>
              <a:xfrm>
                <a:off x="7480727" y="3551474"/>
                <a:ext cx="0" cy="25845"/>
              </a:xfrm>
              <a:custGeom>
                <a:avLst/>
                <a:gdLst>
                  <a:gd name="connsiteX0" fmla="*/ 0 w 11324"/>
                  <a:gd name="connsiteY0" fmla="*/ 0 h 25845"/>
                  <a:gd name="connsiteX1" fmla="*/ 0 w 11324"/>
                  <a:gd name="connsiteY1" fmla="*/ 25846 h 25845"/>
                </a:gdLst>
                <a:ahLst/>
                <a:cxnLst>
                  <a:cxn ang="0">
                    <a:pos x="connsiteX0" y="connsiteY0"/>
                  </a:cxn>
                  <a:cxn ang="0">
                    <a:pos x="connsiteX1" y="connsiteY1"/>
                  </a:cxn>
                </a:cxnLst>
                <a:rect l="l" t="t" r="r" b="b"/>
                <a:pathLst>
                  <a:path w="11324" h="25845">
                    <a:moveTo>
                      <a:pt x="0" y="0"/>
                    </a:moveTo>
                    <a:lnTo>
                      <a:pt x="0" y="25846"/>
                    </a:lnTo>
                  </a:path>
                </a:pathLst>
              </a:custGeom>
              <a:ln w="63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0" name="Freeform 223">
                <a:extLst>
                  <a:ext uri="{FF2B5EF4-FFF2-40B4-BE49-F238E27FC236}">
                    <a16:creationId xmlns:a16="http://schemas.microsoft.com/office/drawing/2014/main" id="{5F1ABD2B-AFF2-4D94-BAE8-7E166ABEE846}"/>
                  </a:ext>
                </a:extLst>
              </p:cNvPr>
              <p:cNvSpPr/>
              <p:nvPr/>
            </p:nvSpPr>
            <p:spPr>
              <a:xfrm>
                <a:off x="7639952" y="3551474"/>
                <a:ext cx="0" cy="25845"/>
              </a:xfrm>
              <a:custGeom>
                <a:avLst/>
                <a:gdLst>
                  <a:gd name="connsiteX0" fmla="*/ 0 w 11324"/>
                  <a:gd name="connsiteY0" fmla="*/ 0 h 25845"/>
                  <a:gd name="connsiteX1" fmla="*/ 0 w 11324"/>
                  <a:gd name="connsiteY1" fmla="*/ 25846 h 25845"/>
                </a:gdLst>
                <a:ahLst/>
                <a:cxnLst>
                  <a:cxn ang="0">
                    <a:pos x="connsiteX0" y="connsiteY0"/>
                  </a:cxn>
                  <a:cxn ang="0">
                    <a:pos x="connsiteX1" y="connsiteY1"/>
                  </a:cxn>
                </a:cxnLst>
                <a:rect l="l" t="t" r="r" b="b"/>
                <a:pathLst>
                  <a:path w="11324" h="25845">
                    <a:moveTo>
                      <a:pt x="0" y="0"/>
                    </a:moveTo>
                    <a:lnTo>
                      <a:pt x="0" y="25846"/>
                    </a:lnTo>
                  </a:path>
                </a:pathLst>
              </a:custGeom>
              <a:ln w="63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1" name="Freeform 223">
                <a:extLst>
                  <a:ext uri="{FF2B5EF4-FFF2-40B4-BE49-F238E27FC236}">
                    <a16:creationId xmlns:a16="http://schemas.microsoft.com/office/drawing/2014/main" id="{992CCCC1-362D-4643-947F-35BC1AA385AE}"/>
                  </a:ext>
                </a:extLst>
              </p:cNvPr>
              <p:cNvSpPr/>
              <p:nvPr/>
            </p:nvSpPr>
            <p:spPr>
              <a:xfrm>
                <a:off x="7799177" y="3551474"/>
                <a:ext cx="0" cy="25845"/>
              </a:xfrm>
              <a:custGeom>
                <a:avLst/>
                <a:gdLst>
                  <a:gd name="connsiteX0" fmla="*/ 0 w 11324"/>
                  <a:gd name="connsiteY0" fmla="*/ 0 h 25845"/>
                  <a:gd name="connsiteX1" fmla="*/ 0 w 11324"/>
                  <a:gd name="connsiteY1" fmla="*/ 25846 h 25845"/>
                </a:gdLst>
                <a:ahLst/>
                <a:cxnLst>
                  <a:cxn ang="0">
                    <a:pos x="connsiteX0" y="connsiteY0"/>
                  </a:cxn>
                  <a:cxn ang="0">
                    <a:pos x="connsiteX1" y="connsiteY1"/>
                  </a:cxn>
                </a:cxnLst>
                <a:rect l="l" t="t" r="r" b="b"/>
                <a:pathLst>
                  <a:path w="11324" h="25845">
                    <a:moveTo>
                      <a:pt x="0" y="0"/>
                    </a:moveTo>
                    <a:lnTo>
                      <a:pt x="0" y="25846"/>
                    </a:lnTo>
                  </a:path>
                </a:pathLst>
              </a:custGeom>
              <a:ln w="63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2" name="Freeform 223">
                <a:extLst>
                  <a:ext uri="{FF2B5EF4-FFF2-40B4-BE49-F238E27FC236}">
                    <a16:creationId xmlns:a16="http://schemas.microsoft.com/office/drawing/2014/main" id="{E1438805-DA33-41A7-99D4-8B0BCE25F4E2}"/>
                  </a:ext>
                </a:extLst>
              </p:cNvPr>
              <p:cNvSpPr/>
              <p:nvPr/>
            </p:nvSpPr>
            <p:spPr>
              <a:xfrm>
                <a:off x="7958402" y="3551474"/>
                <a:ext cx="0" cy="25845"/>
              </a:xfrm>
              <a:custGeom>
                <a:avLst/>
                <a:gdLst>
                  <a:gd name="connsiteX0" fmla="*/ 0 w 11324"/>
                  <a:gd name="connsiteY0" fmla="*/ 0 h 25845"/>
                  <a:gd name="connsiteX1" fmla="*/ 0 w 11324"/>
                  <a:gd name="connsiteY1" fmla="*/ 25846 h 25845"/>
                </a:gdLst>
                <a:ahLst/>
                <a:cxnLst>
                  <a:cxn ang="0">
                    <a:pos x="connsiteX0" y="connsiteY0"/>
                  </a:cxn>
                  <a:cxn ang="0">
                    <a:pos x="connsiteX1" y="connsiteY1"/>
                  </a:cxn>
                </a:cxnLst>
                <a:rect l="l" t="t" r="r" b="b"/>
                <a:pathLst>
                  <a:path w="11324" h="25845">
                    <a:moveTo>
                      <a:pt x="0" y="0"/>
                    </a:moveTo>
                    <a:lnTo>
                      <a:pt x="0" y="25846"/>
                    </a:lnTo>
                  </a:path>
                </a:pathLst>
              </a:custGeom>
              <a:ln w="63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3" name="Freeform 223">
                <a:extLst>
                  <a:ext uri="{FF2B5EF4-FFF2-40B4-BE49-F238E27FC236}">
                    <a16:creationId xmlns:a16="http://schemas.microsoft.com/office/drawing/2014/main" id="{71A6DB87-CCEB-46AD-AB69-2E2BCF6473EC}"/>
                  </a:ext>
                </a:extLst>
              </p:cNvPr>
              <p:cNvSpPr/>
              <p:nvPr/>
            </p:nvSpPr>
            <p:spPr>
              <a:xfrm>
                <a:off x="8117627" y="3551474"/>
                <a:ext cx="0" cy="25845"/>
              </a:xfrm>
              <a:custGeom>
                <a:avLst/>
                <a:gdLst>
                  <a:gd name="connsiteX0" fmla="*/ 0 w 11324"/>
                  <a:gd name="connsiteY0" fmla="*/ 0 h 25845"/>
                  <a:gd name="connsiteX1" fmla="*/ 0 w 11324"/>
                  <a:gd name="connsiteY1" fmla="*/ 25846 h 25845"/>
                </a:gdLst>
                <a:ahLst/>
                <a:cxnLst>
                  <a:cxn ang="0">
                    <a:pos x="connsiteX0" y="connsiteY0"/>
                  </a:cxn>
                  <a:cxn ang="0">
                    <a:pos x="connsiteX1" y="connsiteY1"/>
                  </a:cxn>
                </a:cxnLst>
                <a:rect l="l" t="t" r="r" b="b"/>
                <a:pathLst>
                  <a:path w="11324" h="25845">
                    <a:moveTo>
                      <a:pt x="0" y="0"/>
                    </a:moveTo>
                    <a:lnTo>
                      <a:pt x="0" y="25846"/>
                    </a:lnTo>
                  </a:path>
                </a:pathLst>
              </a:custGeom>
              <a:ln w="63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4" name="Freeform 223">
                <a:extLst>
                  <a:ext uri="{FF2B5EF4-FFF2-40B4-BE49-F238E27FC236}">
                    <a16:creationId xmlns:a16="http://schemas.microsoft.com/office/drawing/2014/main" id="{46A39EAF-87C7-4D15-A600-920F45928C4D}"/>
                  </a:ext>
                </a:extLst>
              </p:cNvPr>
              <p:cNvSpPr/>
              <p:nvPr/>
            </p:nvSpPr>
            <p:spPr>
              <a:xfrm>
                <a:off x="8276852" y="3551474"/>
                <a:ext cx="0" cy="25845"/>
              </a:xfrm>
              <a:custGeom>
                <a:avLst/>
                <a:gdLst>
                  <a:gd name="connsiteX0" fmla="*/ 0 w 11324"/>
                  <a:gd name="connsiteY0" fmla="*/ 0 h 25845"/>
                  <a:gd name="connsiteX1" fmla="*/ 0 w 11324"/>
                  <a:gd name="connsiteY1" fmla="*/ 25846 h 25845"/>
                </a:gdLst>
                <a:ahLst/>
                <a:cxnLst>
                  <a:cxn ang="0">
                    <a:pos x="connsiteX0" y="connsiteY0"/>
                  </a:cxn>
                  <a:cxn ang="0">
                    <a:pos x="connsiteX1" y="connsiteY1"/>
                  </a:cxn>
                </a:cxnLst>
                <a:rect l="l" t="t" r="r" b="b"/>
                <a:pathLst>
                  <a:path w="11324" h="25845">
                    <a:moveTo>
                      <a:pt x="0" y="0"/>
                    </a:moveTo>
                    <a:lnTo>
                      <a:pt x="0" y="25846"/>
                    </a:lnTo>
                  </a:path>
                </a:pathLst>
              </a:custGeom>
              <a:ln w="63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5" name="Freeform 223">
                <a:extLst>
                  <a:ext uri="{FF2B5EF4-FFF2-40B4-BE49-F238E27FC236}">
                    <a16:creationId xmlns:a16="http://schemas.microsoft.com/office/drawing/2014/main" id="{34E97A36-5B14-44BE-A3DF-D11F22AB7688}"/>
                  </a:ext>
                </a:extLst>
              </p:cNvPr>
              <p:cNvSpPr/>
              <p:nvPr/>
            </p:nvSpPr>
            <p:spPr>
              <a:xfrm>
                <a:off x="8436077" y="3551474"/>
                <a:ext cx="0" cy="25845"/>
              </a:xfrm>
              <a:custGeom>
                <a:avLst/>
                <a:gdLst>
                  <a:gd name="connsiteX0" fmla="*/ 0 w 11324"/>
                  <a:gd name="connsiteY0" fmla="*/ 0 h 25845"/>
                  <a:gd name="connsiteX1" fmla="*/ 0 w 11324"/>
                  <a:gd name="connsiteY1" fmla="*/ 25846 h 25845"/>
                </a:gdLst>
                <a:ahLst/>
                <a:cxnLst>
                  <a:cxn ang="0">
                    <a:pos x="connsiteX0" y="connsiteY0"/>
                  </a:cxn>
                  <a:cxn ang="0">
                    <a:pos x="connsiteX1" y="connsiteY1"/>
                  </a:cxn>
                </a:cxnLst>
                <a:rect l="l" t="t" r="r" b="b"/>
                <a:pathLst>
                  <a:path w="11324" h="25845">
                    <a:moveTo>
                      <a:pt x="0" y="0"/>
                    </a:moveTo>
                    <a:lnTo>
                      <a:pt x="0" y="25846"/>
                    </a:lnTo>
                  </a:path>
                </a:pathLst>
              </a:custGeom>
              <a:ln w="63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6" name="Freeform 223">
                <a:extLst>
                  <a:ext uri="{FF2B5EF4-FFF2-40B4-BE49-F238E27FC236}">
                    <a16:creationId xmlns:a16="http://schemas.microsoft.com/office/drawing/2014/main" id="{E4EB19DB-106C-4652-89EF-F27D6ED5EDED}"/>
                  </a:ext>
                </a:extLst>
              </p:cNvPr>
              <p:cNvSpPr/>
              <p:nvPr/>
            </p:nvSpPr>
            <p:spPr>
              <a:xfrm>
                <a:off x="8595302" y="3551474"/>
                <a:ext cx="0" cy="25845"/>
              </a:xfrm>
              <a:custGeom>
                <a:avLst/>
                <a:gdLst>
                  <a:gd name="connsiteX0" fmla="*/ 0 w 11324"/>
                  <a:gd name="connsiteY0" fmla="*/ 0 h 25845"/>
                  <a:gd name="connsiteX1" fmla="*/ 0 w 11324"/>
                  <a:gd name="connsiteY1" fmla="*/ 25846 h 25845"/>
                </a:gdLst>
                <a:ahLst/>
                <a:cxnLst>
                  <a:cxn ang="0">
                    <a:pos x="connsiteX0" y="connsiteY0"/>
                  </a:cxn>
                  <a:cxn ang="0">
                    <a:pos x="connsiteX1" y="connsiteY1"/>
                  </a:cxn>
                </a:cxnLst>
                <a:rect l="l" t="t" r="r" b="b"/>
                <a:pathLst>
                  <a:path w="11324" h="25845">
                    <a:moveTo>
                      <a:pt x="0" y="0"/>
                    </a:moveTo>
                    <a:lnTo>
                      <a:pt x="0" y="25846"/>
                    </a:lnTo>
                  </a:path>
                </a:pathLst>
              </a:custGeom>
              <a:ln w="63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7" name="Freeform 223">
                <a:extLst>
                  <a:ext uri="{FF2B5EF4-FFF2-40B4-BE49-F238E27FC236}">
                    <a16:creationId xmlns:a16="http://schemas.microsoft.com/office/drawing/2014/main" id="{5741B7C6-90CE-4308-B16E-E6B3EE31EC43}"/>
                  </a:ext>
                </a:extLst>
              </p:cNvPr>
              <p:cNvSpPr/>
              <p:nvPr/>
            </p:nvSpPr>
            <p:spPr>
              <a:xfrm>
                <a:off x="8754533" y="3551474"/>
                <a:ext cx="0" cy="25845"/>
              </a:xfrm>
              <a:custGeom>
                <a:avLst/>
                <a:gdLst>
                  <a:gd name="connsiteX0" fmla="*/ 0 w 11324"/>
                  <a:gd name="connsiteY0" fmla="*/ 0 h 25845"/>
                  <a:gd name="connsiteX1" fmla="*/ 0 w 11324"/>
                  <a:gd name="connsiteY1" fmla="*/ 25846 h 25845"/>
                </a:gdLst>
                <a:ahLst/>
                <a:cxnLst>
                  <a:cxn ang="0">
                    <a:pos x="connsiteX0" y="connsiteY0"/>
                  </a:cxn>
                  <a:cxn ang="0">
                    <a:pos x="connsiteX1" y="connsiteY1"/>
                  </a:cxn>
                </a:cxnLst>
                <a:rect l="l" t="t" r="r" b="b"/>
                <a:pathLst>
                  <a:path w="11324" h="25845">
                    <a:moveTo>
                      <a:pt x="0" y="0"/>
                    </a:moveTo>
                    <a:lnTo>
                      <a:pt x="0" y="25846"/>
                    </a:lnTo>
                  </a:path>
                </a:pathLst>
              </a:custGeom>
              <a:ln w="63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342" name="Freeform 223">
              <a:extLst>
                <a:ext uri="{FF2B5EF4-FFF2-40B4-BE49-F238E27FC236}">
                  <a16:creationId xmlns:a16="http://schemas.microsoft.com/office/drawing/2014/main" id="{3BB896F5-D6F9-41E3-B74E-CAEB80963276}"/>
                </a:ext>
              </a:extLst>
            </p:cNvPr>
            <p:cNvSpPr/>
            <p:nvPr/>
          </p:nvSpPr>
          <p:spPr>
            <a:xfrm>
              <a:off x="8862902" y="3551474"/>
              <a:ext cx="0" cy="25845"/>
            </a:xfrm>
            <a:custGeom>
              <a:avLst/>
              <a:gdLst>
                <a:gd name="connsiteX0" fmla="*/ 0 w 11324"/>
                <a:gd name="connsiteY0" fmla="*/ 0 h 25845"/>
                <a:gd name="connsiteX1" fmla="*/ 0 w 11324"/>
                <a:gd name="connsiteY1" fmla="*/ 25846 h 25845"/>
              </a:gdLst>
              <a:ahLst/>
              <a:cxnLst>
                <a:cxn ang="0">
                  <a:pos x="connsiteX0" y="connsiteY0"/>
                </a:cxn>
                <a:cxn ang="0">
                  <a:pos x="connsiteX1" y="connsiteY1"/>
                </a:cxn>
              </a:cxnLst>
              <a:rect l="l" t="t" r="r" b="b"/>
              <a:pathLst>
                <a:path w="11324" h="25845">
                  <a:moveTo>
                    <a:pt x="0" y="0"/>
                  </a:moveTo>
                  <a:lnTo>
                    <a:pt x="0" y="25846"/>
                  </a:lnTo>
                </a:path>
              </a:pathLst>
            </a:custGeom>
            <a:ln w="63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cxnSp>
        <p:nvCxnSpPr>
          <p:cNvPr id="6" name="Straight Connector 5">
            <a:extLst>
              <a:ext uri="{FF2B5EF4-FFF2-40B4-BE49-F238E27FC236}">
                <a16:creationId xmlns:a16="http://schemas.microsoft.com/office/drawing/2014/main" id="{67B8E135-AE9C-4FCD-8236-505C19FCF802}"/>
              </a:ext>
            </a:extLst>
          </p:cNvPr>
          <p:cNvCxnSpPr/>
          <p:nvPr/>
        </p:nvCxnSpPr>
        <p:spPr>
          <a:xfrm>
            <a:off x="10168144" y="2039605"/>
            <a:ext cx="240000" cy="0"/>
          </a:xfrm>
          <a:prstGeom prst="line">
            <a:avLst/>
          </a:prstGeom>
          <a:ln>
            <a:solidFill>
              <a:srgbClr val="D8261C"/>
            </a:solidFill>
          </a:ln>
        </p:spPr>
        <p:style>
          <a:lnRef idx="1">
            <a:schemeClr val="accent1"/>
          </a:lnRef>
          <a:fillRef idx="0">
            <a:schemeClr val="accent1"/>
          </a:fillRef>
          <a:effectRef idx="0">
            <a:schemeClr val="accent1"/>
          </a:effectRef>
          <a:fontRef idx="minor">
            <a:schemeClr val="tx1"/>
          </a:fontRef>
        </p:style>
      </p:cxnSp>
      <p:cxnSp>
        <p:nvCxnSpPr>
          <p:cNvPr id="170" name="Straight Connector 169">
            <a:extLst>
              <a:ext uri="{FF2B5EF4-FFF2-40B4-BE49-F238E27FC236}">
                <a16:creationId xmlns:a16="http://schemas.microsoft.com/office/drawing/2014/main" id="{6051CD50-B8AE-4926-B975-2301A2E6B77D}"/>
              </a:ext>
            </a:extLst>
          </p:cNvPr>
          <p:cNvCxnSpPr/>
          <p:nvPr/>
        </p:nvCxnSpPr>
        <p:spPr>
          <a:xfrm>
            <a:off x="10172577" y="2249048"/>
            <a:ext cx="240000" cy="0"/>
          </a:xfrm>
          <a:prstGeom prst="line">
            <a:avLst/>
          </a:prstGeom>
          <a:ln>
            <a:solidFill>
              <a:srgbClr val="4F74C8"/>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91870DFD-F17A-447B-8054-A59DFCB0B9B2}"/>
              </a:ext>
            </a:extLst>
          </p:cNvPr>
          <p:cNvSpPr txBox="1"/>
          <p:nvPr/>
        </p:nvSpPr>
        <p:spPr>
          <a:xfrm>
            <a:off x="10324536" y="1909186"/>
            <a:ext cx="943749" cy="2358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33"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rPr>
              <a:t>Tislelizumab </a:t>
            </a:r>
          </a:p>
        </p:txBody>
      </p:sp>
      <p:sp>
        <p:nvSpPr>
          <p:cNvPr id="172" name="TextBox 171">
            <a:extLst>
              <a:ext uri="{FF2B5EF4-FFF2-40B4-BE49-F238E27FC236}">
                <a16:creationId xmlns:a16="http://schemas.microsoft.com/office/drawing/2014/main" id="{063B834F-67BB-48EE-9779-67179ECA9AC8}"/>
              </a:ext>
            </a:extLst>
          </p:cNvPr>
          <p:cNvSpPr txBox="1"/>
          <p:nvPr/>
        </p:nvSpPr>
        <p:spPr>
          <a:xfrm>
            <a:off x="10330602" y="2103236"/>
            <a:ext cx="943749" cy="2358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33"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rPr>
              <a:t>Sorafenib</a:t>
            </a:r>
          </a:p>
        </p:txBody>
      </p:sp>
      <p:sp>
        <p:nvSpPr>
          <p:cNvPr id="173" name="TextBox 172">
            <a:extLst>
              <a:ext uri="{FF2B5EF4-FFF2-40B4-BE49-F238E27FC236}">
                <a16:creationId xmlns:a16="http://schemas.microsoft.com/office/drawing/2014/main" id="{2B375C51-7008-46EF-A766-B6086855F84A}"/>
              </a:ext>
            </a:extLst>
          </p:cNvPr>
          <p:cNvSpPr txBox="1"/>
          <p:nvPr/>
        </p:nvSpPr>
        <p:spPr>
          <a:xfrm>
            <a:off x="7230726" y="1607087"/>
            <a:ext cx="4170207" cy="2974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prstClr val="black"/>
                </a:solidFill>
                <a:effectLst/>
                <a:uLnTx/>
                <a:uFillTx/>
                <a:latin typeface="Arial Narrow" panose="020B0606020202030204" pitchFamily="34" charset="0"/>
                <a:ea typeface="+mn-ea"/>
                <a:cs typeface="Helvetica" panose="020B0604020202020204" pitchFamily="34" charset="0"/>
              </a:rPr>
              <a:t>Duration of response</a:t>
            </a:r>
            <a:endParaRPr kumimoji="0" lang="en-US" sz="1333" b="0" i="0" u="none" strike="noStrike" kern="1200" cap="none" spc="0" normalizeH="0" baseline="30000" noProof="0" dirty="0">
              <a:ln>
                <a:noFill/>
              </a:ln>
              <a:solidFill>
                <a:prstClr val="black"/>
              </a:solidFill>
              <a:effectLst/>
              <a:uLnTx/>
              <a:uFillTx/>
              <a:latin typeface="Arial Narrow" panose="020B0606020202030204" pitchFamily="34" charset="0"/>
              <a:ea typeface="+mn-ea"/>
              <a:cs typeface="Helvetica" panose="020B0604020202020204" pitchFamily="34" charset="0"/>
            </a:endParaRPr>
          </a:p>
        </p:txBody>
      </p:sp>
      <p:sp>
        <p:nvSpPr>
          <p:cNvPr id="4" name="TextBox 3">
            <a:extLst>
              <a:ext uri="{FF2B5EF4-FFF2-40B4-BE49-F238E27FC236}">
                <a16:creationId xmlns:a16="http://schemas.microsoft.com/office/drawing/2014/main" id="{3BACC2F0-0DC5-00DA-A8D1-81563C4B55AE}"/>
              </a:ext>
            </a:extLst>
          </p:cNvPr>
          <p:cNvSpPr txBox="1"/>
          <p:nvPr/>
        </p:nvSpPr>
        <p:spPr>
          <a:xfrm>
            <a:off x="2220604" y="5830406"/>
            <a:ext cx="1430200"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panose="020B0604020202020204"/>
                <a:ea typeface="+mn-ea"/>
                <a:cs typeface="+mn-cs"/>
              </a:rPr>
              <a:t>Abstract LBA36</a:t>
            </a:r>
          </a:p>
        </p:txBody>
      </p:sp>
    </p:spTree>
    <p:extLst>
      <p:ext uri="{BB962C8B-B14F-4D97-AF65-F5344CB8AC3E}">
        <p14:creationId xmlns:p14="http://schemas.microsoft.com/office/powerpoint/2010/main" val="204044935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able 3">
            <a:extLst>
              <a:ext uri="{FF2B5EF4-FFF2-40B4-BE49-F238E27FC236}">
                <a16:creationId xmlns:a16="http://schemas.microsoft.com/office/drawing/2014/main" id="{A76CE386-F373-44A3-A1EB-C6FC9BFAE125}"/>
              </a:ext>
            </a:extLst>
          </p:cNvPr>
          <p:cNvGraphicFramePr>
            <a:graphicFrameLocks noGrp="1"/>
          </p:cNvGraphicFramePr>
          <p:nvPr/>
        </p:nvGraphicFramePr>
        <p:xfrm>
          <a:off x="6846116" y="1793694"/>
          <a:ext cx="4731541" cy="1298400"/>
        </p:xfrm>
        <a:graphic>
          <a:graphicData uri="http://schemas.openxmlformats.org/drawingml/2006/table">
            <a:tbl>
              <a:tblPr firstRow="1" bandRow="1">
                <a:tableStyleId>{7E9639D4-E3E2-4D34-9284-5A2195B3D0D7}</a:tableStyleId>
              </a:tblPr>
              <a:tblGrid>
                <a:gridCol w="1968000">
                  <a:extLst>
                    <a:ext uri="{9D8B030D-6E8A-4147-A177-3AD203B41FA5}">
                      <a16:colId xmlns:a16="http://schemas.microsoft.com/office/drawing/2014/main" val="2936321272"/>
                    </a:ext>
                  </a:extLst>
                </a:gridCol>
                <a:gridCol w="1358293">
                  <a:extLst>
                    <a:ext uri="{9D8B030D-6E8A-4147-A177-3AD203B41FA5}">
                      <a16:colId xmlns:a16="http://schemas.microsoft.com/office/drawing/2014/main" val="3977820761"/>
                    </a:ext>
                  </a:extLst>
                </a:gridCol>
                <a:gridCol w="1405248">
                  <a:extLst>
                    <a:ext uri="{9D8B030D-6E8A-4147-A177-3AD203B41FA5}">
                      <a16:colId xmlns:a16="http://schemas.microsoft.com/office/drawing/2014/main" val="2527792267"/>
                    </a:ext>
                  </a:extLst>
                </a:gridCol>
              </a:tblGrid>
              <a:tr h="461760">
                <a:tc>
                  <a:txBody>
                    <a:bodyPr/>
                    <a:lstStyle/>
                    <a:p>
                      <a:endParaRPr lang="en-US" sz="1200" dirty="0">
                        <a:latin typeface="Arial Narrow" panose="020B0606020202030204" pitchFamily="34" charset="0"/>
                        <a:cs typeface="Helvetica" panose="020B0604020202020204" pitchFamily="34" charset="0"/>
                      </a:endParaRPr>
                    </a:p>
                  </a:txBody>
                  <a:tcPr marL="64000" marR="64000" marT="48000" marB="48000">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dirty="0" err="1">
                          <a:latin typeface="Arial Narrow" panose="020B0606020202030204" pitchFamily="34" charset="0"/>
                          <a:cs typeface="Helvetica" panose="020B0604020202020204" pitchFamily="34" charset="0"/>
                        </a:rPr>
                        <a:t>Tislelizumab</a:t>
                      </a:r>
                      <a:endParaRPr lang="en-US" sz="1200" dirty="0">
                        <a:latin typeface="Arial Narrow" panose="020B0606020202030204" pitchFamily="34" charset="0"/>
                        <a:cs typeface="Helvetica" panose="020B0604020202020204" pitchFamily="34" charset="0"/>
                      </a:endParaRPr>
                    </a:p>
                    <a:p>
                      <a:pPr algn="ctr"/>
                      <a:r>
                        <a:rPr lang="en-US" sz="1200" dirty="0">
                          <a:latin typeface="Arial Narrow" panose="020B0606020202030204" pitchFamily="34" charset="0"/>
                          <a:cs typeface="Helvetica" panose="020B0604020202020204" pitchFamily="34" charset="0"/>
                        </a:rPr>
                        <a:t>(n</a:t>
                      </a:r>
                      <a:r>
                        <a:rPr lang="en-US" altLang="zh-CN" sz="1200" dirty="0">
                          <a:latin typeface="Arial Narrow" panose="020B0606020202030204" pitchFamily="34" charset="0"/>
                          <a:cs typeface="Helvetica" panose="020B0604020202020204" pitchFamily="34" charset="0"/>
                        </a:rPr>
                        <a:t>=342)</a:t>
                      </a:r>
                      <a:endParaRPr lang="en-US" sz="1200" dirty="0">
                        <a:latin typeface="Arial Narrow" panose="020B0606020202030204" pitchFamily="34" charset="0"/>
                        <a:cs typeface="Helvetica" panose="020B0604020202020204" pitchFamily="34" charset="0"/>
                      </a:endParaRPr>
                    </a:p>
                  </a:txBody>
                  <a:tcPr marL="64000" marR="64000" marT="48000" marB="48000">
                    <a:lnL>
                      <a:noFill/>
                    </a:lnL>
                    <a:lnR>
                      <a:noFill/>
                    </a:lnR>
                    <a:lnT w="9525" cap="flat" cmpd="sng" algn="ctr">
                      <a:noFill/>
                      <a:prstDash val="soli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8261C"/>
                    </a:solidFill>
                  </a:tcPr>
                </a:tc>
                <a:tc>
                  <a:txBody>
                    <a:bodyPr/>
                    <a:lstStyle/>
                    <a:p>
                      <a:pPr algn="ctr"/>
                      <a:r>
                        <a:rPr lang="en-US" sz="1200" dirty="0" err="1">
                          <a:latin typeface="Arial Narrow" panose="020B0606020202030204" pitchFamily="34" charset="0"/>
                          <a:cs typeface="Helvetica" panose="020B0604020202020204" pitchFamily="34" charset="0"/>
                        </a:rPr>
                        <a:t>Sorafenib</a:t>
                      </a:r>
                      <a:endParaRPr lang="en-US" sz="1200" dirty="0">
                        <a:latin typeface="Arial Narrow" panose="020B0606020202030204" pitchFamily="34" charset="0"/>
                        <a:cs typeface="Helvetica" panose="020B0604020202020204" pitchFamily="34" charset="0"/>
                      </a:endParaRPr>
                    </a:p>
                    <a:p>
                      <a:pPr algn="ctr"/>
                      <a:r>
                        <a:rPr lang="en-US" sz="1200" dirty="0">
                          <a:latin typeface="Arial Narrow" panose="020B0606020202030204" pitchFamily="34" charset="0"/>
                          <a:cs typeface="Helvetica" panose="020B0604020202020204" pitchFamily="34" charset="0"/>
                        </a:rPr>
                        <a:t>(n=332)</a:t>
                      </a:r>
                    </a:p>
                  </a:txBody>
                  <a:tcPr marL="64000" marR="64000" marT="48000" marB="48000">
                    <a:lnL>
                      <a:noFill/>
                    </a:lnL>
                    <a:lnR w="12700" cap="flat" cmpd="sng" algn="ctr">
                      <a:noFill/>
                      <a:prstDash val="solid"/>
                      <a:round/>
                      <a:headEnd type="none" w="med" len="med"/>
                      <a:tailEnd type="none" w="med" len="med"/>
                    </a:lnR>
                    <a:lnT w="9525" cap="flat" cmpd="sng" algn="ctr">
                      <a:noFill/>
                      <a:prstDash val="soli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4F74C8"/>
                    </a:solidFill>
                  </a:tcPr>
                </a:tc>
                <a:extLst>
                  <a:ext uri="{0D108BD9-81ED-4DB2-BD59-A6C34878D82A}">
                    <a16:rowId xmlns:a16="http://schemas.microsoft.com/office/drawing/2014/main" val="2860162417"/>
                  </a:ext>
                </a:extLst>
              </a:tr>
              <a:tr h="278880">
                <a:tc>
                  <a:txBody>
                    <a:bodyPr/>
                    <a:lstStyle/>
                    <a:p>
                      <a:r>
                        <a:rPr lang="en-US" sz="1200" dirty="0">
                          <a:latin typeface="Arial Narrow" panose="020B0606020202030204" pitchFamily="34" charset="0"/>
                          <a:cs typeface="Helvetica" panose="020B0604020202020204" pitchFamily="34" charset="0"/>
                        </a:rPr>
                        <a:t>Events, n (%)</a:t>
                      </a:r>
                    </a:p>
                  </a:txBody>
                  <a:tcPr marL="64000" marR="64000" marT="48000" marB="48000">
                    <a:lnL w="12700" cap="flat" cmpd="sng" algn="ctr">
                      <a:noFill/>
                      <a:prstDash val="solid"/>
                      <a:round/>
                      <a:headEnd type="none" w="med" len="med"/>
                      <a:tailEnd type="none" w="med" len="med"/>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defTabSz="914377" rtl="0" eaLnBrk="1" latinLnBrk="0" hangingPunct="1">
                        <a:lnSpc>
                          <a:spcPts val="1265"/>
                        </a:lnSpc>
                        <a:spcBef>
                          <a:spcPts val="0"/>
                        </a:spcBef>
                        <a:spcAft>
                          <a:spcPts val="0"/>
                        </a:spcAft>
                      </a:pPr>
                      <a:r>
                        <a:rPr lang="en-US" sz="1200" b="0" i="0" u="none" strike="noStrike" cap="none" dirty="0">
                          <a:solidFill>
                            <a:schemeClr val="tx1"/>
                          </a:solidFill>
                          <a:latin typeface="Arial Narrow" panose="020B0606020202030204" pitchFamily="34" charset="0"/>
                          <a:ea typeface="+mn-ea"/>
                          <a:cs typeface="Helvetica" panose="020B0604020202020204" pitchFamily="34" charset="0"/>
                          <a:sym typeface="Arial"/>
                        </a:rPr>
                        <a:t>273 (79.8)</a:t>
                      </a:r>
                    </a:p>
                  </a:txBody>
                  <a:tcPr marL="0" marR="0" marT="0" marB="0">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defTabSz="914377" rtl="0" eaLnBrk="1" latinLnBrk="0" hangingPunct="1">
                        <a:lnSpc>
                          <a:spcPts val="1265"/>
                        </a:lnSpc>
                        <a:spcBef>
                          <a:spcPts val="0"/>
                        </a:spcBef>
                        <a:spcAft>
                          <a:spcPts val="0"/>
                        </a:spcAft>
                      </a:pPr>
                      <a:r>
                        <a:rPr lang="en-US" sz="1200" b="0" i="0" u="none" strike="noStrike" cap="none" dirty="0">
                          <a:solidFill>
                            <a:schemeClr val="tx1"/>
                          </a:solidFill>
                          <a:latin typeface="Arial Narrow" panose="020B0606020202030204" pitchFamily="34" charset="0"/>
                          <a:ea typeface="+mn-ea"/>
                          <a:cs typeface="Helvetica" panose="020B0604020202020204" pitchFamily="34" charset="0"/>
                          <a:sym typeface="Arial"/>
                        </a:rPr>
                        <a:t>220 (66.3)</a:t>
                      </a:r>
                    </a:p>
                  </a:txBody>
                  <a:tcPr marL="0" marR="0" marT="0" marB="0">
                    <a:lnL>
                      <a:noFill/>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64606734"/>
                  </a:ext>
                </a:extLst>
              </a:tr>
              <a:tr h="278880">
                <a:tc>
                  <a:txBody>
                    <a:bodyPr/>
                    <a:lstStyle/>
                    <a:p>
                      <a:r>
                        <a:rPr lang="en-US" sz="1200" b="1" dirty="0">
                          <a:latin typeface="Arial Narrow" panose="020B0606020202030204" pitchFamily="34" charset="0"/>
                          <a:cs typeface="Helvetica" panose="020B0604020202020204" pitchFamily="34" charset="0"/>
                        </a:rPr>
                        <a:t>Median PFS, </a:t>
                      </a:r>
                      <a:r>
                        <a:rPr lang="en-US" sz="1200" dirty="0">
                          <a:latin typeface="Arial Narrow" panose="020B0606020202030204" pitchFamily="34" charset="0"/>
                          <a:cs typeface="Helvetica" panose="020B0604020202020204" pitchFamily="34" charset="0"/>
                        </a:rPr>
                        <a:t>months (95% CI)</a:t>
                      </a:r>
                    </a:p>
                  </a:txBody>
                  <a:tcPr marL="64000" marR="64000" marT="48000" marB="48000">
                    <a:lnL w="12700" cap="flat" cmpd="sng" algn="ctr">
                      <a:noFill/>
                      <a:prstDash val="solid"/>
                      <a:round/>
                      <a:headEnd type="none" w="med" len="med"/>
                      <a:tailEnd type="none" w="med" len="med"/>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defTabSz="914377" rtl="0" eaLnBrk="1" latinLnBrk="0" hangingPunct="1">
                        <a:lnSpc>
                          <a:spcPts val="1265"/>
                        </a:lnSpc>
                        <a:spcBef>
                          <a:spcPts val="0"/>
                        </a:spcBef>
                        <a:spcAft>
                          <a:spcPts val="0"/>
                        </a:spcAft>
                      </a:pPr>
                      <a:r>
                        <a:rPr lang="en-US" sz="1200" b="1" i="0" u="none" strike="noStrike" cap="none" dirty="0">
                          <a:solidFill>
                            <a:schemeClr val="tx1"/>
                          </a:solidFill>
                          <a:latin typeface="Arial Narrow" panose="020B0606020202030204" pitchFamily="34" charset="0"/>
                          <a:ea typeface="+mn-ea"/>
                          <a:cs typeface="Helvetica" panose="020B0604020202020204" pitchFamily="34" charset="0"/>
                          <a:sym typeface="Arial"/>
                        </a:rPr>
                        <a:t>2.2</a:t>
                      </a:r>
                      <a:r>
                        <a:rPr lang="en-US" sz="1200" b="0" i="0" u="none" strike="noStrike" cap="none" dirty="0">
                          <a:solidFill>
                            <a:schemeClr val="tx1"/>
                          </a:solidFill>
                          <a:latin typeface="Arial Narrow" panose="020B0606020202030204" pitchFamily="34" charset="0"/>
                          <a:ea typeface="+mn-ea"/>
                          <a:cs typeface="Helvetica" panose="020B0604020202020204" pitchFamily="34" charset="0"/>
                          <a:sym typeface="Arial"/>
                        </a:rPr>
                        <a:t> (2.1, 3.5)</a:t>
                      </a:r>
                    </a:p>
                  </a:txBody>
                  <a:tcPr marL="0" marR="0" marT="0" marB="0">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defTabSz="914377" rtl="0" eaLnBrk="1" latinLnBrk="0" hangingPunct="1">
                        <a:lnSpc>
                          <a:spcPts val="1265"/>
                        </a:lnSpc>
                        <a:spcBef>
                          <a:spcPts val="0"/>
                        </a:spcBef>
                        <a:spcAft>
                          <a:spcPts val="0"/>
                        </a:spcAft>
                      </a:pPr>
                      <a:r>
                        <a:rPr lang="en-US" sz="1200" b="1" i="0" u="none" strike="noStrike" cap="none" dirty="0">
                          <a:solidFill>
                            <a:schemeClr val="tx1"/>
                          </a:solidFill>
                          <a:latin typeface="Arial Narrow" panose="020B0606020202030204" pitchFamily="34" charset="0"/>
                          <a:ea typeface="+mn-ea"/>
                          <a:cs typeface="Helvetica" panose="020B0604020202020204" pitchFamily="34" charset="0"/>
                          <a:sym typeface="Arial"/>
                        </a:rPr>
                        <a:t>3.6</a:t>
                      </a:r>
                      <a:r>
                        <a:rPr lang="en-US" sz="1200" b="0" i="0" u="none" strike="noStrike" cap="none" dirty="0">
                          <a:solidFill>
                            <a:schemeClr val="tx1"/>
                          </a:solidFill>
                          <a:latin typeface="Arial Narrow" panose="020B0606020202030204" pitchFamily="34" charset="0"/>
                          <a:ea typeface="+mn-ea"/>
                          <a:cs typeface="Helvetica" panose="020B0604020202020204" pitchFamily="34" charset="0"/>
                          <a:sym typeface="Arial"/>
                        </a:rPr>
                        <a:t> (2.2, 4.1)</a:t>
                      </a:r>
                    </a:p>
                  </a:txBody>
                  <a:tcPr marL="0" marR="0" marT="0" marB="0">
                    <a:lnL>
                      <a:noFill/>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94352809"/>
                  </a:ext>
                </a:extLst>
              </a:tr>
              <a:tr h="278880">
                <a:tc>
                  <a:txBody>
                    <a:bodyPr/>
                    <a:lstStyle/>
                    <a:p>
                      <a:r>
                        <a:rPr lang="en-US" sz="1200" b="1" dirty="0">
                          <a:latin typeface="Arial Narrow" panose="020B0606020202030204" pitchFamily="34" charset="0"/>
                          <a:cs typeface="Helvetica" panose="020B0604020202020204" pitchFamily="34" charset="0"/>
                        </a:rPr>
                        <a:t>Stratified HR </a:t>
                      </a:r>
                      <a:r>
                        <a:rPr lang="en-US" sz="1200" dirty="0">
                          <a:latin typeface="Arial Narrow" panose="020B0606020202030204" pitchFamily="34" charset="0"/>
                          <a:cs typeface="Helvetica" panose="020B0604020202020204" pitchFamily="34" charset="0"/>
                        </a:rPr>
                        <a:t>(95% CI)</a:t>
                      </a:r>
                      <a:r>
                        <a:rPr lang="en-US" sz="1200" baseline="30000" dirty="0">
                          <a:latin typeface="Arial Narrow" panose="020B0606020202030204" pitchFamily="34" charset="0"/>
                          <a:cs typeface="Helvetica" panose="020B0604020202020204" pitchFamily="34" charset="0"/>
                        </a:rPr>
                        <a:t>a</a:t>
                      </a:r>
                      <a:r>
                        <a:rPr lang="en-US" sz="1200" dirty="0">
                          <a:latin typeface="Arial Narrow" panose="020B0606020202030204" pitchFamily="34" charset="0"/>
                          <a:cs typeface="Helvetica" panose="020B0604020202020204" pitchFamily="34" charset="0"/>
                        </a:rPr>
                        <a:t> </a:t>
                      </a:r>
                      <a:endParaRPr lang="en-US" sz="1200" strike="noStrike" baseline="30000" dirty="0">
                        <a:latin typeface="Arial Narrow" panose="020B0606020202030204" pitchFamily="34" charset="0"/>
                        <a:cs typeface="Helvetica" panose="020B0604020202020204" pitchFamily="34" charset="0"/>
                      </a:endParaRPr>
                    </a:p>
                  </a:txBody>
                  <a:tcPr marL="64000" marR="64000" marT="48000" marB="48000">
                    <a:lnL w="12700" cap="flat" cmpd="sng" algn="ctr">
                      <a:noFill/>
                      <a:prstDash val="solid"/>
                      <a:round/>
                      <a:headEnd type="none" w="med" len="med"/>
                      <a:tailEnd type="none" w="med" len="med"/>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ctr" defTabSz="914378" rtl="0" eaLnBrk="1" fontAlgn="auto" latinLnBrk="0" hangingPunct="1">
                        <a:lnSpc>
                          <a:spcPct val="100000"/>
                        </a:lnSpc>
                        <a:spcBef>
                          <a:spcPts val="0"/>
                        </a:spcBef>
                        <a:spcAft>
                          <a:spcPts val="0"/>
                        </a:spcAft>
                        <a:buClrTx/>
                        <a:buSzTx/>
                        <a:buFontTx/>
                        <a:buNone/>
                        <a:tabLst/>
                        <a:defRPr/>
                      </a:pPr>
                      <a:r>
                        <a:rPr lang="en-US" sz="1200" b="1" i="0" u="none" strike="noStrike" cap="none" dirty="0">
                          <a:solidFill>
                            <a:schemeClr val="tx1"/>
                          </a:solidFill>
                          <a:latin typeface="Arial Narrow" panose="020B0606020202030204" pitchFamily="34" charset="0"/>
                          <a:ea typeface="+mn-ea"/>
                          <a:cs typeface="Helvetica" panose="020B0604020202020204" pitchFamily="34" charset="0"/>
                          <a:sym typeface="Arial"/>
                        </a:rPr>
                        <a:t>1.10</a:t>
                      </a:r>
                      <a:r>
                        <a:rPr lang="en-US" sz="1200" b="0" i="0" u="none" strike="noStrike" cap="none" dirty="0">
                          <a:solidFill>
                            <a:schemeClr val="tx1"/>
                          </a:solidFill>
                          <a:latin typeface="Arial Narrow" panose="020B0606020202030204" pitchFamily="34" charset="0"/>
                          <a:ea typeface="+mn-ea"/>
                          <a:cs typeface="Helvetica" panose="020B0604020202020204" pitchFamily="34" charset="0"/>
                          <a:sym typeface="Arial"/>
                        </a:rPr>
                        <a:t> (0.92, 1.33)</a:t>
                      </a:r>
                    </a:p>
                  </a:txBody>
                  <a:tcPr marL="64000" marR="64000" marT="48000" marB="48000">
                    <a:lnL>
                      <a:noFill/>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a:endParaRPr lang="en-US" sz="1100"/>
                    </a:p>
                  </a:txBody>
                  <a:tcPr>
                    <a:lnR w="12700" cap="flat" cmpd="sng" algn="ctr">
                      <a:noFill/>
                      <a:prstDash val="solid"/>
                      <a:round/>
                      <a:headEnd type="none" w="med" len="med"/>
                      <a:tailEnd type="none" w="med" len="med"/>
                    </a:lnR>
                  </a:tcPr>
                </a:tc>
                <a:extLst>
                  <a:ext uri="{0D108BD9-81ED-4DB2-BD59-A6C34878D82A}">
                    <a16:rowId xmlns:a16="http://schemas.microsoft.com/office/drawing/2014/main" val="1567654780"/>
                  </a:ext>
                </a:extLst>
              </a:tr>
            </a:tbl>
          </a:graphicData>
        </a:graphic>
      </p:graphicFrame>
      <p:sp>
        <p:nvSpPr>
          <p:cNvPr id="2" name="Subtitle 1"/>
          <p:cNvSpPr>
            <a:spLocks noGrp="1"/>
          </p:cNvSpPr>
          <p:nvPr>
            <p:ph type="subTitle" idx="2"/>
          </p:nvPr>
        </p:nvSpPr>
        <p:spPr>
          <a:xfrm>
            <a:off x="479999" y="951536"/>
            <a:ext cx="11213200" cy="600000"/>
          </a:xfrm>
        </p:spPr>
        <p:txBody>
          <a:bodyPr/>
          <a:lstStyle/>
          <a:p>
            <a:r>
              <a:rPr lang="en-GB" sz="2267" dirty="0"/>
              <a:t>The median PFS was longer with sorafenib versus tislelizumab</a:t>
            </a:r>
          </a:p>
        </p:txBody>
      </p:sp>
      <p:sp>
        <p:nvSpPr>
          <p:cNvPr id="3" name="Title 2"/>
          <p:cNvSpPr>
            <a:spLocks noGrp="1"/>
          </p:cNvSpPr>
          <p:nvPr>
            <p:ph type="ctrTitle"/>
          </p:nvPr>
        </p:nvSpPr>
        <p:spPr>
          <a:xfrm>
            <a:off x="479999" y="324309"/>
            <a:ext cx="11213020" cy="576000"/>
          </a:xfrm>
        </p:spPr>
        <p:txBody>
          <a:bodyPr/>
          <a:lstStyle/>
          <a:p>
            <a:r>
              <a:rPr lang="en-GB" dirty="0"/>
              <a:t>RATIONALE-301: Progression-Free Survival by IRC</a:t>
            </a:r>
          </a:p>
        </p:txBody>
      </p:sp>
      <p:sp>
        <p:nvSpPr>
          <p:cNvPr id="5" name="Text Placeholder 4"/>
          <p:cNvSpPr>
            <a:spLocks noGrp="1"/>
          </p:cNvSpPr>
          <p:nvPr>
            <p:ph type="body" idx="12"/>
          </p:nvPr>
        </p:nvSpPr>
        <p:spPr>
          <a:xfrm>
            <a:off x="2360388" y="6019800"/>
            <a:ext cx="3201037" cy="235962"/>
          </a:xfrm>
        </p:spPr>
        <p:txBody>
          <a:bodyPr/>
          <a:lstStyle/>
          <a:p>
            <a:r>
              <a:rPr lang="en-GB" dirty="0"/>
              <a:t>Masatoshi Kudo</a:t>
            </a:r>
          </a:p>
        </p:txBody>
      </p:sp>
      <p:sp>
        <p:nvSpPr>
          <p:cNvPr id="7" name="TextBox 6"/>
          <p:cNvSpPr txBox="1"/>
          <p:nvPr/>
        </p:nvSpPr>
        <p:spPr>
          <a:xfrm>
            <a:off x="490231" y="5322699"/>
            <a:ext cx="11348035" cy="52302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33" b="0" i="0" u="none" strike="noStrike" kern="1200" cap="none" spc="0" normalizeH="0" baseline="0" noProof="0" dirty="0">
                <a:ln>
                  <a:noFill/>
                </a:ln>
                <a:solidFill>
                  <a:srgbClr val="4472C4"/>
                </a:solidFill>
                <a:effectLst/>
                <a:uLnTx/>
                <a:uFillTx/>
                <a:latin typeface="Arial" panose="020B0604020202020204"/>
                <a:ea typeface="+mn-ea"/>
                <a:cs typeface="+mn-cs"/>
              </a:rPr>
              <a:t>Data </a:t>
            </a:r>
            <a:r>
              <a:rPr kumimoji="0" lang="en-GB" sz="933" b="0" i="0" u="none" strike="noStrike" kern="1200" cap="none" spc="0" normalizeH="0" baseline="0" noProof="0" dirty="0" err="1">
                <a:ln>
                  <a:noFill/>
                </a:ln>
                <a:solidFill>
                  <a:srgbClr val="4472C4"/>
                </a:solidFill>
                <a:effectLst/>
                <a:uLnTx/>
                <a:uFillTx/>
                <a:latin typeface="Arial" panose="020B0604020202020204"/>
                <a:ea typeface="+mn-ea"/>
                <a:cs typeface="+mn-cs"/>
              </a:rPr>
              <a:t>cutoff</a:t>
            </a:r>
            <a:r>
              <a:rPr kumimoji="0" lang="en-GB" sz="933" b="0" i="0" u="none" strike="noStrike" kern="1200" cap="none" spc="0" normalizeH="0" baseline="0" noProof="0" dirty="0">
                <a:ln>
                  <a:noFill/>
                </a:ln>
                <a:solidFill>
                  <a:srgbClr val="4472C4"/>
                </a:solidFill>
                <a:effectLst/>
                <a:uLnTx/>
                <a:uFillTx/>
                <a:latin typeface="Arial" panose="020B0604020202020204"/>
                <a:ea typeface="+mn-ea"/>
                <a:cs typeface="+mn-cs"/>
              </a:rPr>
              <a:t>: July 11, 2022. PFS was assessed in the ITT population. </a:t>
            </a:r>
            <a:r>
              <a:rPr kumimoji="0" lang="en-GB" sz="933" b="0" i="0" u="none" strike="noStrike" kern="1200" cap="none" spc="0" normalizeH="0" baseline="30000" noProof="0" dirty="0" err="1">
                <a:ln>
                  <a:noFill/>
                </a:ln>
                <a:solidFill>
                  <a:srgbClr val="4472C4"/>
                </a:solidFill>
                <a:effectLst/>
                <a:uLnTx/>
                <a:uFillTx/>
                <a:latin typeface="Arial" panose="020B0604020202020204"/>
                <a:ea typeface="+mn-ea"/>
                <a:cs typeface="+mn-cs"/>
              </a:rPr>
              <a:t>a</a:t>
            </a:r>
            <a:r>
              <a:rPr kumimoji="0" lang="en-GB" sz="933" b="0" i="0" u="none" strike="noStrike" kern="1200" cap="none" spc="0" normalizeH="0" baseline="0" noProof="0" dirty="0" err="1">
                <a:ln>
                  <a:noFill/>
                </a:ln>
                <a:solidFill>
                  <a:srgbClr val="4472C4"/>
                </a:solidFill>
                <a:effectLst/>
                <a:uLnTx/>
                <a:uFillTx/>
                <a:latin typeface="Arial" panose="020B0604020202020204"/>
                <a:ea typeface="+mn-ea"/>
                <a:cs typeface="+mn-cs"/>
              </a:rPr>
              <a:t>HR</a:t>
            </a:r>
            <a:r>
              <a:rPr kumimoji="0" lang="en-GB" sz="933" b="0" i="0" u="none" strike="noStrike" kern="1200" cap="none" spc="0" normalizeH="0" baseline="0" noProof="0" dirty="0">
                <a:ln>
                  <a:noFill/>
                </a:ln>
                <a:solidFill>
                  <a:srgbClr val="4472C4"/>
                </a:solidFill>
                <a:effectLst/>
                <a:uLnTx/>
                <a:uFillTx/>
                <a:latin typeface="Arial" panose="020B0604020202020204"/>
                <a:ea typeface="+mn-ea"/>
                <a:cs typeface="+mn-cs"/>
              </a:rPr>
              <a:t> was based on a Cox proportional hazard model including treatment as a covariate, geography (Asia [including Japan] vs rest of world [EU/US]), macrovascular invasion and/or extrahepatic spread (present vs absent), </a:t>
            </a:r>
            <a:r>
              <a:rPr kumimoji="0" lang="en-GB" sz="933" b="0" i="0" u="none" strike="noStrike" kern="1200" cap="none" spc="0" normalizeH="0" baseline="0" noProof="0" dirty="0" err="1">
                <a:ln>
                  <a:noFill/>
                </a:ln>
                <a:solidFill>
                  <a:srgbClr val="4472C4"/>
                </a:solidFill>
                <a:effectLst/>
                <a:uLnTx/>
                <a:uFillTx/>
                <a:latin typeface="Arial" panose="020B0604020202020204"/>
                <a:ea typeface="+mn-ea"/>
                <a:cs typeface="+mn-cs"/>
              </a:rPr>
              <a:t>etiology</a:t>
            </a:r>
            <a:r>
              <a:rPr kumimoji="0" lang="en-GB" sz="933" b="0" i="0" u="none" strike="noStrike" kern="1200" cap="none" spc="0" normalizeH="0" baseline="0" noProof="0" dirty="0">
                <a:ln>
                  <a:noFill/>
                </a:ln>
                <a:solidFill>
                  <a:srgbClr val="4472C4"/>
                </a:solidFill>
                <a:effectLst/>
                <a:uLnTx/>
                <a:uFillTx/>
                <a:latin typeface="Arial" panose="020B0604020202020204"/>
                <a:ea typeface="+mn-ea"/>
                <a:cs typeface="+mn-cs"/>
              </a:rPr>
              <a:t> (HCV vs other), and ECOG PS (0 vs 1) as stratification factors. Abbreviations: CI, confidence interval; ECOG PS, European Cooperative Oncology Group performance status; HCV, hepatitis C virus; HR, hazard ratio; IRC, independent review committee; ITT, intent-to-treat; PFS, progression-free survival. </a:t>
            </a:r>
          </a:p>
        </p:txBody>
      </p:sp>
      <p:grpSp>
        <p:nvGrpSpPr>
          <p:cNvPr id="12" name="Graphic 20656">
            <a:extLst>
              <a:ext uri="{FF2B5EF4-FFF2-40B4-BE49-F238E27FC236}">
                <a16:creationId xmlns:a16="http://schemas.microsoft.com/office/drawing/2014/main" id="{D799B7BB-9477-431D-834F-2297F32C4882}"/>
              </a:ext>
            </a:extLst>
          </p:cNvPr>
          <p:cNvGrpSpPr/>
          <p:nvPr/>
        </p:nvGrpSpPr>
        <p:grpSpPr>
          <a:xfrm>
            <a:off x="3278614" y="1602762"/>
            <a:ext cx="410691" cy="2593536"/>
            <a:chOff x="4246988" y="939205"/>
            <a:chExt cx="191992" cy="1906848"/>
          </a:xfrm>
          <a:solidFill>
            <a:srgbClr val="000000"/>
          </a:solidFill>
        </p:grpSpPr>
        <p:sp>
          <p:nvSpPr>
            <p:cNvPr id="313" name="TextBox 312">
              <a:extLst>
                <a:ext uri="{FF2B5EF4-FFF2-40B4-BE49-F238E27FC236}">
                  <a16:creationId xmlns:a16="http://schemas.microsoft.com/office/drawing/2014/main" id="{9AEBD0D9-9DBB-48AC-AC1A-191498E0B7F9}"/>
                </a:ext>
              </a:extLst>
            </p:cNvPr>
            <p:cNvSpPr txBox="1"/>
            <p:nvPr/>
          </p:nvSpPr>
          <p:spPr>
            <a:xfrm>
              <a:off x="4316098" y="2657433"/>
              <a:ext cx="121550" cy="1886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solidFill>
                    <a:srgbClr val="000000"/>
                  </a:solidFill>
                  <a:effectLst/>
                  <a:uLnTx/>
                  <a:uFillTx/>
                  <a:latin typeface="Arial"/>
                  <a:ea typeface="+mn-ea"/>
                  <a:cs typeface="Arial"/>
                  <a:sym typeface="Arial"/>
                  <a:rtl val="0"/>
                </a:rPr>
                <a:t>0</a:t>
              </a:r>
            </a:p>
          </p:txBody>
        </p:sp>
        <p:sp>
          <p:nvSpPr>
            <p:cNvPr id="314" name="TextBox 313">
              <a:extLst>
                <a:ext uri="{FF2B5EF4-FFF2-40B4-BE49-F238E27FC236}">
                  <a16:creationId xmlns:a16="http://schemas.microsoft.com/office/drawing/2014/main" id="{7A76474F-4319-4FCB-ABFD-9AC8B06FCF45}"/>
                </a:ext>
              </a:extLst>
            </p:cNvPr>
            <p:cNvSpPr txBox="1"/>
            <p:nvPr/>
          </p:nvSpPr>
          <p:spPr>
            <a:xfrm>
              <a:off x="4277626" y="1111784"/>
              <a:ext cx="156770" cy="1886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solidFill>
                    <a:srgbClr val="000000"/>
                  </a:solidFill>
                  <a:effectLst/>
                  <a:uLnTx/>
                  <a:uFillTx/>
                  <a:latin typeface="Arial"/>
                  <a:ea typeface="+mn-ea"/>
                  <a:cs typeface="Arial"/>
                  <a:sym typeface="Arial"/>
                  <a:rtl val="0"/>
                </a:rPr>
                <a:t>90</a:t>
              </a:r>
            </a:p>
          </p:txBody>
        </p:sp>
        <p:sp>
          <p:nvSpPr>
            <p:cNvPr id="315" name="TextBox 314">
              <a:extLst>
                <a:ext uri="{FF2B5EF4-FFF2-40B4-BE49-F238E27FC236}">
                  <a16:creationId xmlns:a16="http://schemas.microsoft.com/office/drawing/2014/main" id="{1068FE47-60F3-41ED-A2B5-EE498B822600}"/>
                </a:ext>
              </a:extLst>
            </p:cNvPr>
            <p:cNvSpPr txBox="1"/>
            <p:nvPr/>
          </p:nvSpPr>
          <p:spPr>
            <a:xfrm>
              <a:off x="4277626" y="1283574"/>
              <a:ext cx="156770" cy="1886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solidFill>
                    <a:srgbClr val="000000"/>
                  </a:solidFill>
                  <a:effectLst/>
                  <a:uLnTx/>
                  <a:uFillTx/>
                  <a:latin typeface="Arial"/>
                  <a:ea typeface="+mn-ea"/>
                  <a:cs typeface="Arial"/>
                  <a:sym typeface="Arial"/>
                  <a:rtl val="0"/>
                </a:rPr>
                <a:t>80</a:t>
              </a:r>
            </a:p>
          </p:txBody>
        </p:sp>
        <p:sp>
          <p:nvSpPr>
            <p:cNvPr id="316" name="TextBox 315">
              <a:extLst>
                <a:ext uri="{FF2B5EF4-FFF2-40B4-BE49-F238E27FC236}">
                  <a16:creationId xmlns:a16="http://schemas.microsoft.com/office/drawing/2014/main" id="{9BF459CF-8BB2-4A9D-9DE3-842E329FE907}"/>
                </a:ext>
              </a:extLst>
            </p:cNvPr>
            <p:cNvSpPr txBox="1"/>
            <p:nvPr/>
          </p:nvSpPr>
          <p:spPr>
            <a:xfrm>
              <a:off x="4277626" y="1455249"/>
              <a:ext cx="156770" cy="1886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solidFill>
                    <a:srgbClr val="000000"/>
                  </a:solidFill>
                  <a:effectLst/>
                  <a:uLnTx/>
                  <a:uFillTx/>
                  <a:latin typeface="Arial"/>
                  <a:ea typeface="+mn-ea"/>
                  <a:cs typeface="Arial"/>
                  <a:sym typeface="Arial"/>
                  <a:rtl val="0"/>
                </a:rPr>
                <a:t>70</a:t>
              </a:r>
            </a:p>
          </p:txBody>
        </p:sp>
        <p:sp>
          <p:nvSpPr>
            <p:cNvPr id="317" name="TextBox 316">
              <a:extLst>
                <a:ext uri="{FF2B5EF4-FFF2-40B4-BE49-F238E27FC236}">
                  <a16:creationId xmlns:a16="http://schemas.microsoft.com/office/drawing/2014/main" id="{8844CC53-F166-462C-9CDB-20D801A3D5E6}"/>
                </a:ext>
              </a:extLst>
            </p:cNvPr>
            <p:cNvSpPr txBox="1"/>
            <p:nvPr/>
          </p:nvSpPr>
          <p:spPr>
            <a:xfrm>
              <a:off x="4277626" y="1627039"/>
              <a:ext cx="156770" cy="1886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solidFill>
                    <a:srgbClr val="000000"/>
                  </a:solidFill>
                  <a:effectLst/>
                  <a:uLnTx/>
                  <a:uFillTx/>
                  <a:latin typeface="Arial"/>
                  <a:ea typeface="+mn-ea"/>
                  <a:cs typeface="Arial"/>
                  <a:sym typeface="Arial"/>
                  <a:rtl val="0"/>
                </a:rPr>
                <a:t>60</a:t>
              </a:r>
            </a:p>
          </p:txBody>
        </p:sp>
        <p:sp>
          <p:nvSpPr>
            <p:cNvPr id="318" name="TextBox 317">
              <a:extLst>
                <a:ext uri="{FF2B5EF4-FFF2-40B4-BE49-F238E27FC236}">
                  <a16:creationId xmlns:a16="http://schemas.microsoft.com/office/drawing/2014/main" id="{8012863A-A828-4908-919F-C0EC1246F120}"/>
                </a:ext>
              </a:extLst>
            </p:cNvPr>
            <p:cNvSpPr txBox="1"/>
            <p:nvPr/>
          </p:nvSpPr>
          <p:spPr>
            <a:xfrm>
              <a:off x="4277626" y="1798714"/>
              <a:ext cx="156770" cy="1886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solidFill>
                    <a:srgbClr val="000000"/>
                  </a:solidFill>
                  <a:effectLst/>
                  <a:uLnTx/>
                  <a:uFillTx/>
                  <a:latin typeface="Arial"/>
                  <a:ea typeface="+mn-ea"/>
                  <a:cs typeface="Arial"/>
                  <a:sym typeface="Arial"/>
                  <a:rtl val="0"/>
                </a:rPr>
                <a:t>50</a:t>
              </a:r>
            </a:p>
          </p:txBody>
        </p:sp>
        <p:sp>
          <p:nvSpPr>
            <p:cNvPr id="319" name="TextBox 318">
              <a:extLst>
                <a:ext uri="{FF2B5EF4-FFF2-40B4-BE49-F238E27FC236}">
                  <a16:creationId xmlns:a16="http://schemas.microsoft.com/office/drawing/2014/main" id="{79E159CD-B38A-4172-AB6A-649E2C921EF1}"/>
                </a:ext>
              </a:extLst>
            </p:cNvPr>
            <p:cNvSpPr txBox="1"/>
            <p:nvPr/>
          </p:nvSpPr>
          <p:spPr>
            <a:xfrm>
              <a:off x="4277626" y="1970503"/>
              <a:ext cx="156770" cy="1886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solidFill>
                    <a:srgbClr val="000000"/>
                  </a:solidFill>
                  <a:effectLst/>
                  <a:uLnTx/>
                  <a:uFillTx/>
                  <a:latin typeface="Arial"/>
                  <a:ea typeface="+mn-ea"/>
                  <a:cs typeface="Arial"/>
                  <a:sym typeface="Arial"/>
                  <a:rtl val="0"/>
                </a:rPr>
                <a:t>40</a:t>
              </a:r>
            </a:p>
          </p:txBody>
        </p:sp>
        <p:sp>
          <p:nvSpPr>
            <p:cNvPr id="320" name="TextBox 319">
              <a:extLst>
                <a:ext uri="{FF2B5EF4-FFF2-40B4-BE49-F238E27FC236}">
                  <a16:creationId xmlns:a16="http://schemas.microsoft.com/office/drawing/2014/main" id="{7C9FAE54-6CFA-45F9-BD9D-FFBBD4BC68BA}"/>
                </a:ext>
              </a:extLst>
            </p:cNvPr>
            <p:cNvSpPr txBox="1"/>
            <p:nvPr/>
          </p:nvSpPr>
          <p:spPr>
            <a:xfrm>
              <a:off x="4277626" y="2142293"/>
              <a:ext cx="156770" cy="1886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solidFill>
                    <a:srgbClr val="000000"/>
                  </a:solidFill>
                  <a:effectLst/>
                  <a:uLnTx/>
                  <a:uFillTx/>
                  <a:latin typeface="Arial"/>
                  <a:ea typeface="+mn-ea"/>
                  <a:cs typeface="Arial"/>
                  <a:sym typeface="Arial"/>
                  <a:rtl val="0"/>
                </a:rPr>
                <a:t>30</a:t>
              </a:r>
            </a:p>
          </p:txBody>
        </p:sp>
        <p:sp>
          <p:nvSpPr>
            <p:cNvPr id="321" name="TextBox 320">
              <a:extLst>
                <a:ext uri="{FF2B5EF4-FFF2-40B4-BE49-F238E27FC236}">
                  <a16:creationId xmlns:a16="http://schemas.microsoft.com/office/drawing/2014/main" id="{594153C3-8224-47EB-8C71-CE38BBFC32CD}"/>
                </a:ext>
              </a:extLst>
            </p:cNvPr>
            <p:cNvSpPr txBox="1"/>
            <p:nvPr/>
          </p:nvSpPr>
          <p:spPr>
            <a:xfrm>
              <a:off x="4277626" y="2313968"/>
              <a:ext cx="156770" cy="1886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solidFill>
                    <a:srgbClr val="000000"/>
                  </a:solidFill>
                  <a:effectLst/>
                  <a:uLnTx/>
                  <a:uFillTx/>
                  <a:latin typeface="Arial"/>
                  <a:ea typeface="+mn-ea"/>
                  <a:cs typeface="Arial"/>
                  <a:sym typeface="Arial"/>
                  <a:rtl val="0"/>
                </a:rPr>
                <a:t>20</a:t>
              </a:r>
            </a:p>
          </p:txBody>
        </p:sp>
        <p:sp>
          <p:nvSpPr>
            <p:cNvPr id="322" name="TextBox 321">
              <a:extLst>
                <a:ext uri="{FF2B5EF4-FFF2-40B4-BE49-F238E27FC236}">
                  <a16:creationId xmlns:a16="http://schemas.microsoft.com/office/drawing/2014/main" id="{7A09B7D6-DD1A-4BED-A16E-E5B115AB90CA}"/>
                </a:ext>
              </a:extLst>
            </p:cNvPr>
            <p:cNvSpPr txBox="1"/>
            <p:nvPr/>
          </p:nvSpPr>
          <p:spPr>
            <a:xfrm>
              <a:off x="4277626" y="2485758"/>
              <a:ext cx="156770" cy="1886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solidFill>
                    <a:prstClr val="black"/>
                  </a:solidFill>
                  <a:effectLst/>
                  <a:uLnTx/>
                  <a:uFillTx/>
                  <a:latin typeface="Arial" panose="020B0604020202020204"/>
                  <a:ea typeface="+mn-ea"/>
                  <a:cs typeface="+mn-cs"/>
                  <a:rtl val="0"/>
                </a:rPr>
                <a:t>10</a:t>
              </a:r>
              <a:endParaRPr kumimoji="0" lang="en-US" sz="1067" b="0" i="0" u="none" strike="noStrike" kern="1200" cap="none" spc="0" normalizeH="0" baseline="0" noProof="0" dirty="0">
                <a:ln/>
                <a:solidFill>
                  <a:srgbClr val="000000"/>
                </a:solidFill>
                <a:effectLst/>
                <a:uLnTx/>
                <a:uFillTx/>
                <a:latin typeface="Arial"/>
                <a:ea typeface="+mn-ea"/>
                <a:cs typeface="Arial"/>
                <a:sym typeface="Arial"/>
                <a:rtl val="0"/>
              </a:endParaRPr>
            </a:p>
          </p:txBody>
        </p:sp>
        <p:sp>
          <p:nvSpPr>
            <p:cNvPr id="323" name="TextBox 322">
              <a:extLst>
                <a:ext uri="{FF2B5EF4-FFF2-40B4-BE49-F238E27FC236}">
                  <a16:creationId xmlns:a16="http://schemas.microsoft.com/office/drawing/2014/main" id="{07F279A4-C8D1-40AB-BFF5-7F27F6E521A4}"/>
                </a:ext>
              </a:extLst>
            </p:cNvPr>
            <p:cNvSpPr txBox="1"/>
            <p:nvPr/>
          </p:nvSpPr>
          <p:spPr>
            <a:xfrm>
              <a:off x="4246988" y="939205"/>
              <a:ext cx="191992" cy="1886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solidFill>
                    <a:srgbClr val="000000"/>
                  </a:solidFill>
                  <a:effectLst/>
                  <a:uLnTx/>
                  <a:uFillTx/>
                  <a:latin typeface="Arial"/>
                  <a:ea typeface="+mn-ea"/>
                  <a:cs typeface="Arial"/>
                  <a:sym typeface="Arial"/>
                  <a:rtl val="0"/>
                </a:rPr>
                <a:t>100</a:t>
              </a:r>
            </a:p>
          </p:txBody>
        </p:sp>
      </p:grpSp>
      <p:sp>
        <p:nvSpPr>
          <p:cNvPr id="13" name="TextBox 12">
            <a:extLst>
              <a:ext uri="{FF2B5EF4-FFF2-40B4-BE49-F238E27FC236}">
                <a16:creationId xmlns:a16="http://schemas.microsoft.com/office/drawing/2014/main" id="{D692DF23-D15C-4207-ABEF-AAAF9D00A0C9}"/>
              </a:ext>
            </a:extLst>
          </p:cNvPr>
          <p:cNvSpPr txBox="1"/>
          <p:nvPr/>
        </p:nvSpPr>
        <p:spPr>
          <a:xfrm>
            <a:off x="5630237" y="4280288"/>
            <a:ext cx="1122102" cy="25654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15" normalizeH="0" baseline="0" noProof="0" dirty="0">
                <a:ln/>
                <a:solidFill>
                  <a:srgbClr val="000000"/>
                </a:solidFill>
                <a:effectLst/>
                <a:uLnTx/>
                <a:uFillTx/>
                <a:latin typeface="Arial"/>
                <a:ea typeface="+mn-ea"/>
                <a:cs typeface="Arial"/>
                <a:sym typeface="Arial"/>
                <a:rtl val="0"/>
              </a:rPr>
              <a:t>T</a:t>
            </a:r>
            <a:r>
              <a:rPr kumimoji="0" lang="en-US" sz="1067" b="1" i="0" u="none" strike="noStrike" kern="1200" cap="none" spc="0" normalizeH="0" baseline="0" noProof="0" dirty="0">
                <a:ln/>
                <a:solidFill>
                  <a:srgbClr val="000000"/>
                </a:solidFill>
                <a:effectLst/>
                <a:uLnTx/>
                <a:uFillTx/>
                <a:latin typeface="Arial"/>
                <a:ea typeface="+mn-ea"/>
                <a:cs typeface="Arial"/>
                <a:sym typeface="Arial"/>
                <a:rtl val="0"/>
              </a:rPr>
              <a:t>ime (months)</a:t>
            </a:r>
          </a:p>
        </p:txBody>
      </p:sp>
      <p:sp>
        <p:nvSpPr>
          <p:cNvPr id="14" name="TextBox 13">
            <a:extLst>
              <a:ext uri="{FF2B5EF4-FFF2-40B4-BE49-F238E27FC236}">
                <a16:creationId xmlns:a16="http://schemas.microsoft.com/office/drawing/2014/main" id="{38C36435-4FEB-4CAE-8999-CFAE60B7156E}"/>
              </a:ext>
            </a:extLst>
          </p:cNvPr>
          <p:cNvSpPr txBox="1"/>
          <p:nvPr/>
        </p:nvSpPr>
        <p:spPr>
          <a:xfrm rot="16200000">
            <a:off x="2198656" y="2705047"/>
            <a:ext cx="1826141" cy="420756"/>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dirty="0">
                <a:ln/>
                <a:solidFill>
                  <a:srgbClr val="000000"/>
                </a:solidFill>
                <a:effectLst/>
                <a:uLnTx/>
                <a:uFillTx/>
                <a:latin typeface="Arial"/>
                <a:ea typeface="+mn-ea"/>
                <a:cs typeface="Arial"/>
                <a:sym typeface="Arial"/>
                <a:rtl val="0"/>
              </a:rPr>
              <a:t>Progression-</a:t>
            </a:r>
            <a:r>
              <a:rPr kumimoji="0" lang="en-US" sz="1067" b="1" i="0" u="none" strike="noStrike" kern="1200" cap="none" spc="0" normalizeH="0" baseline="0" noProof="0" dirty="0">
                <a:ln/>
                <a:solidFill>
                  <a:prstClr val="black"/>
                </a:solidFill>
                <a:effectLst/>
                <a:uLnTx/>
                <a:uFillTx/>
                <a:latin typeface="Arial" panose="020B0604020202020204"/>
                <a:ea typeface="+mn-ea"/>
                <a:cs typeface="+mn-cs"/>
                <a:rtl val="0"/>
              </a:rPr>
              <a:t>free surviva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dirty="0">
                <a:ln/>
                <a:solidFill>
                  <a:srgbClr val="000000"/>
                </a:solidFill>
                <a:effectLst/>
                <a:uLnTx/>
                <a:uFillTx/>
                <a:latin typeface="Arial"/>
                <a:ea typeface="+mn-ea"/>
                <a:cs typeface="Arial"/>
                <a:sym typeface="Arial"/>
                <a:rtl val="0"/>
              </a:rPr>
              <a:t>probability (%)</a:t>
            </a:r>
          </a:p>
        </p:txBody>
      </p:sp>
      <p:grpSp>
        <p:nvGrpSpPr>
          <p:cNvPr id="15" name="Graphic 20656">
            <a:extLst>
              <a:ext uri="{FF2B5EF4-FFF2-40B4-BE49-F238E27FC236}">
                <a16:creationId xmlns:a16="http://schemas.microsoft.com/office/drawing/2014/main" id="{9E7E876A-4587-40FB-8165-6CB993A2AF5A}"/>
              </a:ext>
            </a:extLst>
          </p:cNvPr>
          <p:cNvGrpSpPr/>
          <p:nvPr/>
        </p:nvGrpSpPr>
        <p:grpSpPr>
          <a:xfrm>
            <a:off x="3735374" y="4108995"/>
            <a:ext cx="5125917" cy="256545"/>
            <a:chOff x="4481012" y="2789029"/>
            <a:chExt cx="2396286" cy="188620"/>
          </a:xfrm>
          <a:solidFill>
            <a:srgbClr val="000000"/>
          </a:solidFill>
        </p:grpSpPr>
        <p:sp>
          <p:nvSpPr>
            <p:cNvPr id="297" name="TextBox 296">
              <a:extLst>
                <a:ext uri="{FF2B5EF4-FFF2-40B4-BE49-F238E27FC236}">
                  <a16:creationId xmlns:a16="http://schemas.microsoft.com/office/drawing/2014/main" id="{E7B97578-F356-406C-8394-C67C76657B45}"/>
                </a:ext>
              </a:extLst>
            </p:cNvPr>
            <p:cNvSpPr txBox="1"/>
            <p:nvPr/>
          </p:nvSpPr>
          <p:spPr>
            <a:xfrm>
              <a:off x="4481012" y="2789029"/>
              <a:ext cx="121550" cy="1886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solidFill>
                    <a:srgbClr val="000000"/>
                  </a:solidFill>
                  <a:effectLst/>
                  <a:uLnTx/>
                  <a:uFillTx/>
                  <a:latin typeface="Arial"/>
                  <a:ea typeface="+mn-ea"/>
                  <a:cs typeface="Arial"/>
                  <a:sym typeface="Arial"/>
                  <a:rtl val="0"/>
                </a:rPr>
                <a:t>0</a:t>
              </a:r>
            </a:p>
          </p:txBody>
        </p:sp>
        <p:sp>
          <p:nvSpPr>
            <p:cNvPr id="298" name="TextBox 297">
              <a:extLst>
                <a:ext uri="{FF2B5EF4-FFF2-40B4-BE49-F238E27FC236}">
                  <a16:creationId xmlns:a16="http://schemas.microsoft.com/office/drawing/2014/main" id="{A081F037-3343-4130-9DB7-B129B5101A7A}"/>
                </a:ext>
              </a:extLst>
            </p:cNvPr>
            <p:cNvSpPr txBox="1"/>
            <p:nvPr/>
          </p:nvSpPr>
          <p:spPr>
            <a:xfrm>
              <a:off x="6720528" y="2789029"/>
              <a:ext cx="156770" cy="1886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solidFill>
                    <a:srgbClr val="000000"/>
                  </a:solidFill>
                  <a:effectLst/>
                  <a:uLnTx/>
                  <a:uFillTx/>
                  <a:latin typeface="Arial"/>
                  <a:ea typeface="+mn-ea"/>
                  <a:cs typeface="Arial"/>
                  <a:sym typeface="Arial"/>
                  <a:rtl val="0"/>
                </a:rPr>
                <a:t>45</a:t>
              </a:r>
            </a:p>
          </p:txBody>
        </p:sp>
        <p:sp>
          <p:nvSpPr>
            <p:cNvPr id="299" name="TextBox 298">
              <a:extLst>
                <a:ext uri="{FF2B5EF4-FFF2-40B4-BE49-F238E27FC236}">
                  <a16:creationId xmlns:a16="http://schemas.microsoft.com/office/drawing/2014/main" id="{4038C820-218D-41AE-BBFC-5EB59612FE23}"/>
                </a:ext>
              </a:extLst>
            </p:cNvPr>
            <p:cNvSpPr txBox="1"/>
            <p:nvPr/>
          </p:nvSpPr>
          <p:spPr>
            <a:xfrm>
              <a:off x="6569913" y="2789029"/>
              <a:ext cx="156770" cy="1886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solidFill>
                    <a:srgbClr val="000000"/>
                  </a:solidFill>
                  <a:effectLst/>
                  <a:uLnTx/>
                  <a:uFillTx/>
                  <a:latin typeface="Arial"/>
                  <a:ea typeface="+mn-ea"/>
                  <a:cs typeface="Arial"/>
                  <a:sym typeface="Arial"/>
                  <a:rtl val="0"/>
                </a:rPr>
                <a:t>42</a:t>
              </a:r>
            </a:p>
          </p:txBody>
        </p:sp>
        <p:sp>
          <p:nvSpPr>
            <p:cNvPr id="300" name="TextBox 299">
              <a:extLst>
                <a:ext uri="{FF2B5EF4-FFF2-40B4-BE49-F238E27FC236}">
                  <a16:creationId xmlns:a16="http://schemas.microsoft.com/office/drawing/2014/main" id="{09B3D571-4185-4251-B683-9051C46A9AEE}"/>
                </a:ext>
              </a:extLst>
            </p:cNvPr>
            <p:cNvSpPr txBox="1"/>
            <p:nvPr/>
          </p:nvSpPr>
          <p:spPr>
            <a:xfrm>
              <a:off x="6419411" y="2789029"/>
              <a:ext cx="156770" cy="1886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solidFill>
                    <a:srgbClr val="000000"/>
                  </a:solidFill>
                  <a:effectLst/>
                  <a:uLnTx/>
                  <a:uFillTx/>
                  <a:latin typeface="Arial"/>
                  <a:ea typeface="+mn-ea"/>
                  <a:cs typeface="Arial"/>
                  <a:sym typeface="Arial"/>
                  <a:rtl val="0"/>
                </a:rPr>
                <a:t>39</a:t>
              </a:r>
            </a:p>
          </p:txBody>
        </p:sp>
        <p:sp>
          <p:nvSpPr>
            <p:cNvPr id="301" name="TextBox 300">
              <a:extLst>
                <a:ext uri="{FF2B5EF4-FFF2-40B4-BE49-F238E27FC236}">
                  <a16:creationId xmlns:a16="http://schemas.microsoft.com/office/drawing/2014/main" id="{E931D3F3-26DD-4F92-B467-02C5A790A86C}"/>
                </a:ext>
              </a:extLst>
            </p:cNvPr>
            <p:cNvSpPr txBox="1"/>
            <p:nvPr/>
          </p:nvSpPr>
          <p:spPr>
            <a:xfrm>
              <a:off x="6268797" y="2789029"/>
              <a:ext cx="156770" cy="1886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solidFill>
                    <a:srgbClr val="000000"/>
                  </a:solidFill>
                  <a:effectLst/>
                  <a:uLnTx/>
                  <a:uFillTx/>
                  <a:latin typeface="Arial"/>
                  <a:ea typeface="+mn-ea"/>
                  <a:cs typeface="Arial"/>
                  <a:sym typeface="Arial"/>
                  <a:rtl val="0"/>
                </a:rPr>
                <a:t>36</a:t>
              </a:r>
            </a:p>
          </p:txBody>
        </p:sp>
        <p:sp>
          <p:nvSpPr>
            <p:cNvPr id="302" name="TextBox 301">
              <a:extLst>
                <a:ext uri="{FF2B5EF4-FFF2-40B4-BE49-F238E27FC236}">
                  <a16:creationId xmlns:a16="http://schemas.microsoft.com/office/drawing/2014/main" id="{5B7FC8EE-0F4A-4C75-B8D6-C22998085257}"/>
                </a:ext>
              </a:extLst>
            </p:cNvPr>
            <p:cNvSpPr txBox="1"/>
            <p:nvPr/>
          </p:nvSpPr>
          <p:spPr>
            <a:xfrm>
              <a:off x="6118295" y="2789029"/>
              <a:ext cx="156770" cy="1886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solidFill>
                    <a:srgbClr val="000000"/>
                  </a:solidFill>
                  <a:effectLst/>
                  <a:uLnTx/>
                  <a:uFillTx/>
                  <a:latin typeface="Arial"/>
                  <a:ea typeface="+mn-ea"/>
                  <a:cs typeface="Arial"/>
                  <a:sym typeface="Arial"/>
                  <a:rtl val="0"/>
                </a:rPr>
                <a:t>33</a:t>
              </a:r>
            </a:p>
          </p:txBody>
        </p:sp>
        <p:sp>
          <p:nvSpPr>
            <p:cNvPr id="303" name="TextBox 302">
              <a:extLst>
                <a:ext uri="{FF2B5EF4-FFF2-40B4-BE49-F238E27FC236}">
                  <a16:creationId xmlns:a16="http://schemas.microsoft.com/office/drawing/2014/main" id="{7F7C1F51-4EDE-4F17-BB38-92A97E99ABB9}"/>
                </a:ext>
              </a:extLst>
            </p:cNvPr>
            <p:cNvSpPr txBox="1"/>
            <p:nvPr/>
          </p:nvSpPr>
          <p:spPr>
            <a:xfrm>
              <a:off x="5967681" y="2789029"/>
              <a:ext cx="156770" cy="1886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solidFill>
                    <a:srgbClr val="000000"/>
                  </a:solidFill>
                  <a:effectLst/>
                  <a:uLnTx/>
                  <a:uFillTx/>
                  <a:latin typeface="Arial"/>
                  <a:ea typeface="+mn-ea"/>
                  <a:cs typeface="Arial"/>
                  <a:sym typeface="Arial"/>
                  <a:rtl val="0"/>
                </a:rPr>
                <a:t>30</a:t>
              </a:r>
            </a:p>
          </p:txBody>
        </p:sp>
        <p:sp>
          <p:nvSpPr>
            <p:cNvPr id="304" name="TextBox 303">
              <a:extLst>
                <a:ext uri="{FF2B5EF4-FFF2-40B4-BE49-F238E27FC236}">
                  <a16:creationId xmlns:a16="http://schemas.microsoft.com/office/drawing/2014/main" id="{8C34AA8D-1123-4189-9BFA-ABABA9D9C762}"/>
                </a:ext>
              </a:extLst>
            </p:cNvPr>
            <p:cNvSpPr txBox="1"/>
            <p:nvPr/>
          </p:nvSpPr>
          <p:spPr>
            <a:xfrm>
              <a:off x="5817179" y="2789029"/>
              <a:ext cx="156770" cy="1886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solidFill>
                    <a:srgbClr val="000000"/>
                  </a:solidFill>
                  <a:effectLst/>
                  <a:uLnTx/>
                  <a:uFillTx/>
                  <a:latin typeface="Arial"/>
                  <a:ea typeface="+mn-ea"/>
                  <a:cs typeface="Arial"/>
                  <a:sym typeface="Arial"/>
                  <a:rtl val="0"/>
                </a:rPr>
                <a:t>27</a:t>
              </a:r>
            </a:p>
          </p:txBody>
        </p:sp>
        <p:sp>
          <p:nvSpPr>
            <p:cNvPr id="305" name="TextBox 304">
              <a:extLst>
                <a:ext uri="{FF2B5EF4-FFF2-40B4-BE49-F238E27FC236}">
                  <a16:creationId xmlns:a16="http://schemas.microsoft.com/office/drawing/2014/main" id="{B13A5AC4-AE8B-495F-A4F5-F97626346CD3}"/>
                </a:ext>
              </a:extLst>
            </p:cNvPr>
            <p:cNvSpPr txBox="1"/>
            <p:nvPr/>
          </p:nvSpPr>
          <p:spPr>
            <a:xfrm>
              <a:off x="5666565" y="2789029"/>
              <a:ext cx="156770" cy="1886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solidFill>
                    <a:srgbClr val="000000"/>
                  </a:solidFill>
                  <a:effectLst/>
                  <a:uLnTx/>
                  <a:uFillTx/>
                  <a:latin typeface="Arial"/>
                  <a:ea typeface="+mn-ea"/>
                  <a:cs typeface="Arial"/>
                  <a:sym typeface="Arial"/>
                  <a:rtl val="0"/>
                </a:rPr>
                <a:t>24</a:t>
              </a:r>
            </a:p>
          </p:txBody>
        </p:sp>
        <p:sp>
          <p:nvSpPr>
            <p:cNvPr id="306" name="TextBox 305">
              <a:extLst>
                <a:ext uri="{FF2B5EF4-FFF2-40B4-BE49-F238E27FC236}">
                  <a16:creationId xmlns:a16="http://schemas.microsoft.com/office/drawing/2014/main" id="{C130AF44-2FC2-4108-BA65-72143C07E21E}"/>
                </a:ext>
              </a:extLst>
            </p:cNvPr>
            <p:cNvSpPr txBox="1"/>
            <p:nvPr/>
          </p:nvSpPr>
          <p:spPr>
            <a:xfrm>
              <a:off x="5516063" y="2789029"/>
              <a:ext cx="156770" cy="1886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solidFill>
                    <a:srgbClr val="000000"/>
                  </a:solidFill>
                  <a:effectLst/>
                  <a:uLnTx/>
                  <a:uFillTx/>
                  <a:latin typeface="Arial"/>
                  <a:ea typeface="+mn-ea"/>
                  <a:cs typeface="Arial"/>
                  <a:sym typeface="Arial"/>
                  <a:rtl val="0"/>
                </a:rPr>
                <a:t>21</a:t>
              </a:r>
            </a:p>
          </p:txBody>
        </p:sp>
        <p:sp>
          <p:nvSpPr>
            <p:cNvPr id="307" name="TextBox 306">
              <a:extLst>
                <a:ext uri="{FF2B5EF4-FFF2-40B4-BE49-F238E27FC236}">
                  <a16:creationId xmlns:a16="http://schemas.microsoft.com/office/drawing/2014/main" id="{A6F4DFB6-FC15-4AF0-ABB5-F31E74348165}"/>
                </a:ext>
              </a:extLst>
            </p:cNvPr>
            <p:cNvSpPr txBox="1"/>
            <p:nvPr/>
          </p:nvSpPr>
          <p:spPr>
            <a:xfrm>
              <a:off x="5365449" y="2789029"/>
              <a:ext cx="156770" cy="1886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solidFill>
                    <a:srgbClr val="000000"/>
                  </a:solidFill>
                  <a:effectLst/>
                  <a:uLnTx/>
                  <a:uFillTx/>
                  <a:latin typeface="Arial"/>
                  <a:ea typeface="+mn-ea"/>
                  <a:cs typeface="Arial"/>
                  <a:sym typeface="Arial"/>
                  <a:rtl val="0"/>
                </a:rPr>
                <a:t>18</a:t>
              </a:r>
            </a:p>
          </p:txBody>
        </p:sp>
        <p:sp>
          <p:nvSpPr>
            <p:cNvPr id="308" name="TextBox 307">
              <a:extLst>
                <a:ext uri="{FF2B5EF4-FFF2-40B4-BE49-F238E27FC236}">
                  <a16:creationId xmlns:a16="http://schemas.microsoft.com/office/drawing/2014/main" id="{A4230EEF-7567-47DC-900A-8B7D973B30FC}"/>
                </a:ext>
              </a:extLst>
            </p:cNvPr>
            <p:cNvSpPr txBox="1"/>
            <p:nvPr/>
          </p:nvSpPr>
          <p:spPr>
            <a:xfrm>
              <a:off x="5214947" y="2789029"/>
              <a:ext cx="156770" cy="1886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solidFill>
                    <a:srgbClr val="000000"/>
                  </a:solidFill>
                  <a:effectLst/>
                  <a:uLnTx/>
                  <a:uFillTx/>
                  <a:latin typeface="Arial"/>
                  <a:ea typeface="+mn-ea"/>
                  <a:cs typeface="Arial"/>
                  <a:sym typeface="Arial"/>
                  <a:rtl val="0"/>
                </a:rPr>
                <a:t>15</a:t>
              </a:r>
            </a:p>
          </p:txBody>
        </p:sp>
        <p:sp>
          <p:nvSpPr>
            <p:cNvPr id="309" name="TextBox 308">
              <a:extLst>
                <a:ext uri="{FF2B5EF4-FFF2-40B4-BE49-F238E27FC236}">
                  <a16:creationId xmlns:a16="http://schemas.microsoft.com/office/drawing/2014/main" id="{965BB79B-3184-44AE-8E54-1A06DA0C4732}"/>
                </a:ext>
              </a:extLst>
            </p:cNvPr>
            <p:cNvSpPr txBox="1"/>
            <p:nvPr/>
          </p:nvSpPr>
          <p:spPr>
            <a:xfrm>
              <a:off x="5064333" y="2789029"/>
              <a:ext cx="156770" cy="1886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solidFill>
                    <a:srgbClr val="000000"/>
                  </a:solidFill>
                  <a:effectLst/>
                  <a:uLnTx/>
                  <a:uFillTx/>
                  <a:latin typeface="Arial"/>
                  <a:ea typeface="+mn-ea"/>
                  <a:cs typeface="Arial"/>
                  <a:sym typeface="Arial"/>
                  <a:rtl val="0"/>
                </a:rPr>
                <a:t>12</a:t>
              </a:r>
            </a:p>
          </p:txBody>
        </p:sp>
        <p:sp>
          <p:nvSpPr>
            <p:cNvPr id="310" name="TextBox 309">
              <a:extLst>
                <a:ext uri="{FF2B5EF4-FFF2-40B4-BE49-F238E27FC236}">
                  <a16:creationId xmlns:a16="http://schemas.microsoft.com/office/drawing/2014/main" id="{A996ED5C-498B-4500-BDFE-2BCA681903D2}"/>
                </a:ext>
              </a:extLst>
            </p:cNvPr>
            <p:cNvSpPr txBox="1"/>
            <p:nvPr/>
          </p:nvSpPr>
          <p:spPr>
            <a:xfrm>
              <a:off x="4932630" y="2789029"/>
              <a:ext cx="121550" cy="1886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solidFill>
                    <a:srgbClr val="000000"/>
                  </a:solidFill>
                  <a:effectLst/>
                  <a:uLnTx/>
                  <a:uFillTx/>
                  <a:latin typeface="Arial"/>
                  <a:ea typeface="+mn-ea"/>
                  <a:cs typeface="Arial"/>
                  <a:sym typeface="Arial"/>
                  <a:rtl val="0"/>
                </a:rPr>
                <a:t>9</a:t>
              </a:r>
            </a:p>
          </p:txBody>
        </p:sp>
        <p:sp>
          <p:nvSpPr>
            <p:cNvPr id="311" name="TextBox 310">
              <a:extLst>
                <a:ext uri="{FF2B5EF4-FFF2-40B4-BE49-F238E27FC236}">
                  <a16:creationId xmlns:a16="http://schemas.microsoft.com/office/drawing/2014/main" id="{6431767C-90B3-4FA9-AAF2-1C47CE0C337C}"/>
                </a:ext>
              </a:extLst>
            </p:cNvPr>
            <p:cNvSpPr txBox="1"/>
            <p:nvPr/>
          </p:nvSpPr>
          <p:spPr>
            <a:xfrm>
              <a:off x="4782128" y="2789029"/>
              <a:ext cx="121550" cy="1886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solidFill>
                    <a:srgbClr val="000000"/>
                  </a:solidFill>
                  <a:effectLst/>
                  <a:uLnTx/>
                  <a:uFillTx/>
                  <a:latin typeface="Arial"/>
                  <a:ea typeface="+mn-ea"/>
                  <a:cs typeface="Arial"/>
                  <a:sym typeface="Arial"/>
                  <a:rtl val="0"/>
                </a:rPr>
                <a:t>6</a:t>
              </a:r>
            </a:p>
          </p:txBody>
        </p:sp>
        <p:sp>
          <p:nvSpPr>
            <p:cNvPr id="312" name="TextBox 311">
              <a:extLst>
                <a:ext uri="{FF2B5EF4-FFF2-40B4-BE49-F238E27FC236}">
                  <a16:creationId xmlns:a16="http://schemas.microsoft.com/office/drawing/2014/main" id="{92FE3056-23EC-4061-A9F8-2E63CED06124}"/>
                </a:ext>
              </a:extLst>
            </p:cNvPr>
            <p:cNvSpPr txBox="1"/>
            <p:nvPr/>
          </p:nvSpPr>
          <p:spPr>
            <a:xfrm>
              <a:off x="4631514" y="2789029"/>
              <a:ext cx="121550" cy="1886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solidFill>
                    <a:srgbClr val="000000"/>
                  </a:solidFill>
                  <a:effectLst/>
                  <a:uLnTx/>
                  <a:uFillTx/>
                  <a:latin typeface="Arial"/>
                  <a:ea typeface="+mn-ea"/>
                  <a:cs typeface="Arial"/>
                  <a:sym typeface="Arial"/>
                  <a:rtl val="0"/>
                </a:rPr>
                <a:t>3</a:t>
              </a:r>
            </a:p>
          </p:txBody>
        </p:sp>
      </p:grpSp>
      <p:grpSp>
        <p:nvGrpSpPr>
          <p:cNvPr id="16" name="Graphic 20656">
            <a:extLst>
              <a:ext uri="{FF2B5EF4-FFF2-40B4-BE49-F238E27FC236}">
                <a16:creationId xmlns:a16="http://schemas.microsoft.com/office/drawing/2014/main" id="{945DCE85-4AC2-43A2-A103-6AA84616ADDD}"/>
              </a:ext>
            </a:extLst>
          </p:cNvPr>
          <p:cNvGrpSpPr/>
          <p:nvPr/>
        </p:nvGrpSpPr>
        <p:grpSpPr>
          <a:xfrm>
            <a:off x="2950572" y="4706672"/>
            <a:ext cx="5879041" cy="259015"/>
            <a:chOff x="4112629" y="3215493"/>
            <a:chExt cx="2748360" cy="190436"/>
          </a:xfrm>
          <a:solidFill>
            <a:srgbClr val="000000"/>
          </a:solidFill>
        </p:grpSpPr>
        <p:sp>
          <p:nvSpPr>
            <p:cNvPr id="280" name="TextBox 279">
              <a:extLst>
                <a:ext uri="{FF2B5EF4-FFF2-40B4-BE49-F238E27FC236}">
                  <a16:creationId xmlns:a16="http://schemas.microsoft.com/office/drawing/2014/main" id="{7C727EFD-59B1-4542-A022-1383F80107CB}"/>
                </a:ext>
              </a:extLst>
            </p:cNvPr>
            <p:cNvSpPr txBox="1"/>
            <p:nvPr/>
          </p:nvSpPr>
          <p:spPr>
            <a:xfrm>
              <a:off x="4443189" y="3215493"/>
              <a:ext cx="191991" cy="1886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solidFill>
                    <a:srgbClr val="000000"/>
                  </a:solidFill>
                  <a:effectLst/>
                  <a:uLnTx/>
                  <a:uFillTx/>
                  <a:latin typeface="Arial"/>
                  <a:ea typeface="+mn-ea"/>
                  <a:cs typeface="Arial"/>
                  <a:sym typeface="Arial"/>
                  <a:rtl val="0"/>
                </a:rPr>
                <a:t>332</a:t>
              </a:r>
            </a:p>
          </p:txBody>
        </p:sp>
        <p:sp>
          <p:nvSpPr>
            <p:cNvPr id="281" name="TextBox 280">
              <a:extLst>
                <a:ext uri="{FF2B5EF4-FFF2-40B4-BE49-F238E27FC236}">
                  <a16:creationId xmlns:a16="http://schemas.microsoft.com/office/drawing/2014/main" id="{10D151C1-4313-468C-933C-EFE52DEE8D7F}"/>
                </a:ext>
              </a:extLst>
            </p:cNvPr>
            <p:cNvSpPr txBox="1"/>
            <p:nvPr/>
          </p:nvSpPr>
          <p:spPr>
            <a:xfrm>
              <a:off x="6739439" y="3215493"/>
              <a:ext cx="121550" cy="1886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solidFill>
                    <a:srgbClr val="000000"/>
                  </a:solidFill>
                  <a:effectLst/>
                  <a:uLnTx/>
                  <a:uFillTx/>
                  <a:latin typeface="Arial"/>
                  <a:ea typeface="+mn-ea"/>
                  <a:cs typeface="Arial"/>
                  <a:sym typeface="Arial"/>
                  <a:rtl val="0"/>
                </a:rPr>
                <a:t>0</a:t>
              </a:r>
            </a:p>
          </p:txBody>
        </p:sp>
        <p:sp>
          <p:nvSpPr>
            <p:cNvPr id="282" name="TextBox 281">
              <a:extLst>
                <a:ext uri="{FF2B5EF4-FFF2-40B4-BE49-F238E27FC236}">
                  <a16:creationId xmlns:a16="http://schemas.microsoft.com/office/drawing/2014/main" id="{CBBC644F-3E57-43B8-A8A4-B167AF6E32E2}"/>
                </a:ext>
              </a:extLst>
            </p:cNvPr>
            <p:cNvSpPr txBox="1"/>
            <p:nvPr/>
          </p:nvSpPr>
          <p:spPr>
            <a:xfrm>
              <a:off x="6588825" y="3215493"/>
              <a:ext cx="121550" cy="1886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solidFill>
                    <a:srgbClr val="000000"/>
                  </a:solidFill>
                  <a:effectLst/>
                  <a:uLnTx/>
                  <a:uFillTx/>
                  <a:latin typeface="Arial"/>
                  <a:ea typeface="+mn-ea"/>
                  <a:cs typeface="Arial"/>
                  <a:sym typeface="Arial"/>
                  <a:rtl val="0"/>
                </a:rPr>
                <a:t>0</a:t>
              </a:r>
            </a:p>
          </p:txBody>
        </p:sp>
        <p:sp>
          <p:nvSpPr>
            <p:cNvPr id="283" name="TextBox 282">
              <a:extLst>
                <a:ext uri="{FF2B5EF4-FFF2-40B4-BE49-F238E27FC236}">
                  <a16:creationId xmlns:a16="http://schemas.microsoft.com/office/drawing/2014/main" id="{24C0314D-21C7-4E4E-9AF1-2D5FDE22D4C1}"/>
                </a:ext>
              </a:extLst>
            </p:cNvPr>
            <p:cNvSpPr txBox="1"/>
            <p:nvPr/>
          </p:nvSpPr>
          <p:spPr>
            <a:xfrm>
              <a:off x="6438323" y="3215493"/>
              <a:ext cx="121550" cy="1886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solidFill>
                    <a:srgbClr val="000000"/>
                  </a:solidFill>
                  <a:effectLst/>
                  <a:uLnTx/>
                  <a:uFillTx/>
                  <a:latin typeface="Arial"/>
                  <a:ea typeface="+mn-ea"/>
                  <a:cs typeface="Arial"/>
                  <a:sym typeface="Arial"/>
                  <a:rtl val="0"/>
                </a:rPr>
                <a:t>0</a:t>
              </a:r>
            </a:p>
          </p:txBody>
        </p:sp>
        <p:sp>
          <p:nvSpPr>
            <p:cNvPr id="284" name="TextBox 283">
              <a:extLst>
                <a:ext uri="{FF2B5EF4-FFF2-40B4-BE49-F238E27FC236}">
                  <a16:creationId xmlns:a16="http://schemas.microsoft.com/office/drawing/2014/main" id="{A17C57AC-C579-491B-8F47-766F50941DAA}"/>
                </a:ext>
              </a:extLst>
            </p:cNvPr>
            <p:cNvSpPr txBox="1"/>
            <p:nvPr/>
          </p:nvSpPr>
          <p:spPr>
            <a:xfrm>
              <a:off x="6287709" y="3215493"/>
              <a:ext cx="121550" cy="1886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solidFill>
                    <a:srgbClr val="000000"/>
                  </a:solidFill>
                  <a:effectLst/>
                  <a:uLnTx/>
                  <a:uFillTx/>
                  <a:latin typeface="Arial"/>
                  <a:ea typeface="+mn-ea"/>
                  <a:cs typeface="Arial"/>
                  <a:sym typeface="Arial"/>
                  <a:rtl val="0"/>
                </a:rPr>
                <a:t>0</a:t>
              </a:r>
            </a:p>
          </p:txBody>
        </p:sp>
        <p:sp>
          <p:nvSpPr>
            <p:cNvPr id="285" name="TextBox 284">
              <a:extLst>
                <a:ext uri="{FF2B5EF4-FFF2-40B4-BE49-F238E27FC236}">
                  <a16:creationId xmlns:a16="http://schemas.microsoft.com/office/drawing/2014/main" id="{F98D2FBC-1309-499E-ACE0-4948F31EC7A4}"/>
                </a:ext>
              </a:extLst>
            </p:cNvPr>
            <p:cNvSpPr txBox="1"/>
            <p:nvPr/>
          </p:nvSpPr>
          <p:spPr>
            <a:xfrm>
              <a:off x="6137207" y="3215493"/>
              <a:ext cx="121550" cy="1886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solidFill>
                    <a:srgbClr val="000000"/>
                  </a:solidFill>
                  <a:effectLst/>
                  <a:uLnTx/>
                  <a:uFillTx/>
                  <a:latin typeface="Arial"/>
                  <a:ea typeface="+mn-ea"/>
                  <a:cs typeface="Arial"/>
                  <a:sym typeface="Arial"/>
                  <a:rtl val="0"/>
                </a:rPr>
                <a:t>1</a:t>
              </a:r>
            </a:p>
          </p:txBody>
        </p:sp>
        <p:sp>
          <p:nvSpPr>
            <p:cNvPr id="286" name="TextBox 285">
              <a:extLst>
                <a:ext uri="{FF2B5EF4-FFF2-40B4-BE49-F238E27FC236}">
                  <a16:creationId xmlns:a16="http://schemas.microsoft.com/office/drawing/2014/main" id="{319D3B59-F320-4A29-9168-25B18AE03923}"/>
                </a:ext>
              </a:extLst>
            </p:cNvPr>
            <p:cNvSpPr txBox="1"/>
            <p:nvPr/>
          </p:nvSpPr>
          <p:spPr>
            <a:xfrm>
              <a:off x="5986593" y="3215493"/>
              <a:ext cx="121550" cy="1886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solidFill>
                    <a:srgbClr val="000000"/>
                  </a:solidFill>
                  <a:effectLst/>
                  <a:uLnTx/>
                  <a:uFillTx/>
                  <a:latin typeface="Arial"/>
                  <a:ea typeface="+mn-ea"/>
                  <a:cs typeface="Arial"/>
                  <a:sym typeface="Arial"/>
                  <a:rtl val="0"/>
                </a:rPr>
                <a:t>4</a:t>
              </a:r>
            </a:p>
          </p:txBody>
        </p:sp>
        <p:sp>
          <p:nvSpPr>
            <p:cNvPr id="287" name="TextBox 286">
              <a:extLst>
                <a:ext uri="{FF2B5EF4-FFF2-40B4-BE49-F238E27FC236}">
                  <a16:creationId xmlns:a16="http://schemas.microsoft.com/office/drawing/2014/main" id="{D9457186-B79A-4A87-A451-20F57C2544B8}"/>
                </a:ext>
              </a:extLst>
            </p:cNvPr>
            <p:cNvSpPr txBox="1"/>
            <p:nvPr/>
          </p:nvSpPr>
          <p:spPr>
            <a:xfrm>
              <a:off x="5836091" y="3215493"/>
              <a:ext cx="121550" cy="1886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solidFill>
                    <a:srgbClr val="000000"/>
                  </a:solidFill>
                  <a:effectLst/>
                  <a:uLnTx/>
                  <a:uFillTx/>
                  <a:latin typeface="Arial"/>
                  <a:ea typeface="+mn-ea"/>
                  <a:cs typeface="Arial"/>
                  <a:sym typeface="Arial"/>
                  <a:rtl val="0"/>
                </a:rPr>
                <a:t>5</a:t>
              </a:r>
            </a:p>
          </p:txBody>
        </p:sp>
        <p:sp>
          <p:nvSpPr>
            <p:cNvPr id="288" name="TextBox 287">
              <a:extLst>
                <a:ext uri="{FF2B5EF4-FFF2-40B4-BE49-F238E27FC236}">
                  <a16:creationId xmlns:a16="http://schemas.microsoft.com/office/drawing/2014/main" id="{B8DAFD82-1E09-4B71-B5F1-2286E56E5AAF}"/>
                </a:ext>
              </a:extLst>
            </p:cNvPr>
            <p:cNvSpPr txBox="1"/>
            <p:nvPr/>
          </p:nvSpPr>
          <p:spPr>
            <a:xfrm>
              <a:off x="5685476" y="3215493"/>
              <a:ext cx="121550" cy="1886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solidFill>
                    <a:srgbClr val="000000"/>
                  </a:solidFill>
                  <a:effectLst/>
                  <a:uLnTx/>
                  <a:uFillTx/>
                  <a:latin typeface="Arial"/>
                  <a:ea typeface="+mn-ea"/>
                  <a:cs typeface="Arial"/>
                  <a:sym typeface="Arial"/>
                  <a:rtl val="0"/>
                </a:rPr>
                <a:t>6</a:t>
              </a:r>
            </a:p>
          </p:txBody>
        </p:sp>
        <p:sp>
          <p:nvSpPr>
            <p:cNvPr id="289" name="TextBox 288">
              <a:extLst>
                <a:ext uri="{FF2B5EF4-FFF2-40B4-BE49-F238E27FC236}">
                  <a16:creationId xmlns:a16="http://schemas.microsoft.com/office/drawing/2014/main" id="{02B2723E-ECDD-406E-99E6-470246916F05}"/>
                </a:ext>
              </a:extLst>
            </p:cNvPr>
            <p:cNvSpPr txBox="1"/>
            <p:nvPr/>
          </p:nvSpPr>
          <p:spPr>
            <a:xfrm>
              <a:off x="5534862" y="3215493"/>
              <a:ext cx="121550" cy="1886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solidFill>
                    <a:srgbClr val="000000"/>
                  </a:solidFill>
                  <a:effectLst/>
                  <a:uLnTx/>
                  <a:uFillTx/>
                  <a:latin typeface="Arial"/>
                  <a:ea typeface="+mn-ea"/>
                  <a:cs typeface="Arial"/>
                  <a:sym typeface="Arial"/>
                  <a:rtl val="0"/>
                </a:rPr>
                <a:t>7</a:t>
              </a:r>
            </a:p>
          </p:txBody>
        </p:sp>
        <p:sp>
          <p:nvSpPr>
            <p:cNvPr id="290" name="TextBox 289">
              <a:extLst>
                <a:ext uri="{FF2B5EF4-FFF2-40B4-BE49-F238E27FC236}">
                  <a16:creationId xmlns:a16="http://schemas.microsoft.com/office/drawing/2014/main" id="{851C4B82-5A00-47EC-A79E-161D3E41BB57}"/>
                </a:ext>
              </a:extLst>
            </p:cNvPr>
            <p:cNvSpPr txBox="1"/>
            <p:nvPr/>
          </p:nvSpPr>
          <p:spPr>
            <a:xfrm>
              <a:off x="5365449" y="3215493"/>
              <a:ext cx="156770" cy="1886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solidFill>
                    <a:srgbClr val="000000"/>
                  </a:solidFill>
                  <a:effectLst/>
                  <a:uLnTx/>
                  <a:uFillTx/>
                  <a:latin typeface="Arial"/>
                  <a:ea typeface="+mn-ea"/>
                  <a:cs typeface="Arial"/>
                  <a:sym typeface="Arial"/>
                  <a:rtl val="0"/>
                </a:rPr>
                <a:t>12</a:t>
              </a:r>
            </a:p>
          </p:txBody>
        </p:sp>
        <p:sp>
          <p:nvSpPr>
            <p:cNvPr id="291" name="TextBox 290">
              <a:extLst>
                <a:ext uri="{FF2B5EF4-FFF2-40B4-BE49-F238E27FC236}">
                  <a16:creationId xmlns:a16="http://schemas.microsoft.com/office/drawing/2014/main" id="{ED16CC78-8B5A-4A60-AF6A-8662AEB4DA5C}"/>
                </a:ext>
              </a:extLst>
            </p:cNvPr>
            <p:cNvSpPr txBox="1"/>
            <p:nvPr/>
          </p:nvSpPr>
          <p:spPr>
            <a:xfrm>
              <a:off x="5214947" y="3215493"/>
              <a:ext cx="156770" cy="1886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solidFill>
                    <a:srgbClr val="000000"/>
                  </a:solidFill>
                  <a:effectLst/>
                  <a:uLnTx/>
                  <a:uFillTx/>
                  <a:latin typeface="Arial"/>
                  <a:ea typeface="+mn-ea"/>
                  <a:cs typeface="Arial"/>
                  <a:sym typeface="Arial"/>
                  <a:rtl val="0"/>
                </a:rPr>
                <a:t>17</a:t>
              </a:r>
            </a:p>
          </p:txBody>
        </p:sp>
        <p:sp>
          <p:nvSpPr>
            <p:cNvPr id="292" name="TextBox 291">
              <a:extLst>
                <a:ext uri="{FF2B5EF4-FFF2-40B4-BE49-F238E27FC236}">
                  <a16:creationId xmlns:a16="http://schemas.microsoft.com/office/drawing/2014/main" id="{DBB0DF65-5E98-4AC0-9440-41511D94DE13}"/>
                </a:ext>
              </a:extLst>
            </p:cNvPr>
            <p:cNvSpPr txBox="1"/>
            <p:nvPr/>
          </p:nvSpPr>
          <p:spPr>
            <a:xfrm>
              <a:off x="5064333" y="3215493"/>
              <a:ext cx="156770" cy="1886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solidFill>
                    <a:srgbClr val="000000"/>
                  </a:solidFill>
                  <a:effectLst/>
                  <a:uLnTx/>
                  <a:uFillTx/>
                  <a:latin typeface="Arial"/>
                  <a:ea typeface="+mn-ea"/>
                  <a:cs typeface="Arial"/>
                  <a:sym typeface="Arial"/>
                  <a:rtl val="0"/>
                </a:rPr>
                <a:t>26</a:t>
              </a:r>
            </a:p>
          </p:txBody>
        </p:sp>
        <p:sp>
          <p:nvSpPr>
            <p:cNvPr id="293" name="TextBox 292">
              <a:extLst>
                <a:ext uri="{FF2B5EF4-FFF2-40B4-BE49-F238E27FC236}">
                  <a16:creationId xmlns:a16="http://schemas.microsoft.com/office/drawing/2014/main" id="{3B5E5635-0785-4865-848D-401562A70193}"/>
                </a:ext>
              </a:extLst>
            </p:cNvPr>
            <p:cNvSpPr txBox="1"/>
            <p:nvPr/>
          </p:nvSpPr>
          <p:spPr>
            <a:xfrm>
              <a:off x="4913831" y="3215493"/>
              <a:ext cx="156770" cy="1886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solidFill>
                    <a:srgbClr val="000000"/>
                  </a:solidFill>
                  <a:effectLst/>
                  <a:uLnTx/>
                  <a:uFillTx/>
                  <a:latin typeface="Arial"/>
                  <a:ea typeface="+mn-ea"/>
                  <a:cs typeface="Arial"/>
                  <a:sym typeface="Arial"/>
                  <a:rtl val="0"/>
                </a:rPr>
                <a:t>38</a:t>
              </a:r>
            </a:p>
          </p:txBody>
        </p:sp>
        <p:sp>
          <p:nvSpPr>
            <p:cNvPr id="294" name="TextBox 293">
              <a:extLst>
                <a:ext uri="{FF2B5EF4-FFF2-40B4-BE49-F238E27FC236}">
                  <a16:creationId xmlns:a16="http://schemas.microsoft.com/office/drawing/2014/main" id="{BE911728-A500-4504-AE81-5FE518E3D972}"/>
                </a:ext>
              </a:extLst>
            </p:cNvPr>
            <p:cNvSpPr txBox="1"/>
            <p:nvPr/>
          </p:nvSpPr>
          <p:spPr>
            <a:xfrm>
              <a:off x="4763217" y="3215493"/>
              <a:ext cx="156770" cy="1886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solidFill>
                    <a:srgbClr val="000000"/>
                  </a:solidFill>
                  <a:effectLst/>
                  <a:uLnTx/>
                  <a:uFillTx/>
                  <a:latin typeface="Arial"/>
                  <a:ea typeface="+mn-ea"/>
                  <a:cs typeface="Arial"/>
                  <a:sym typeface="Arial"/>
                  <a:rtl val="0"/>
                </a:rPr>
                <a:t>79</a:t>
              </a:r>
            </a:p>
          </p:txBody>
        </p:sp>
        <p:sp>
          <p:nvSpPr>
            <p:cNvPr id="295" name="TextBox 294">
              <a:extLst>
                <a:ext uri="{FF2B5EF4-FFF2-40B4-BE49-F238E27FC236}">
                  <a16:creationId xmlns:a16="http://schemas.microsoft.com/office/drawing/2014/main" id="{06373445-9E92-4FD9-AD80-E8A0FD447E7C}"/>
                </a:ext>
              </a:extLst>
            </p:cNvPr>
            <p:cNvSpPr txBox="1"/>
            <p:nvPr/>
          </p:nvSpPr>
          <p:spPr>
            <a:xfrm>
              <a:off x="4593803" y="3215493"/>
              <a:ext cx="191991" cy="1886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solidFill>
                    <a:srgbClr val="000000"/>
                  </a:solidFill>
                  <a:effectLst/>
                  <a:uLnTx/>
                  <a:uFillTx/>
                  <a:latin typeface="Arial"/>
                  <a:ea typeface="+mn-ea"/>
                  <a:cs typeface="Arial"/>
                  <a:sym typeface="Arial"/>
                  <a:rtl val="0"/>
                </a:rPr>
                <a:t>124</a:t>
              </a:r>
            </a:p>
          </p:txBody>
        </p:sp>
        <p:sp>
          <p:nvSpPr>
            <p:cNvPr id="296" name="TextBox 295">
              <a:extLst>
                <a:ext uri="{FF2B5EF4-FFF2-40B4-BE49-F238E27FC236}">
                  <a16:creationId xmlns:a16="http://schemas.microsoft.com/office/drawing/2014/main" id="{019A4DF4-6640-406A-AB0F-C7B5DA68644D}"/>
                </a:ext>
              </a:extLst>
            </p:cNvPr>
            <p:cNvSpPr txBox="1"/>
            <p:nvPr/>
          </p:nvSpPr>
          <p:spPr>
            <a:xfrm>
              <a:off x="4112629" y="3217309"/>
              <a:ext cx="358353" cy="1886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solidFill>
                    <a:srgbClr val="000000"/>
                  </a:solidFill>
                  <a:effectLst/>
                  <a:uLnTx/>
                  <a:uFillTx/>
                  <a:latin typeface="Arial"/>
                  <a:ea typeface="+mn-ea"/>
                  <a:cs typeface="Arial"/>
                  <a:sym typeface="Arial"/>
                  <a:rtl val="0"/>
                </a:rPr>
                <a:t>Sorafenib</a:t>
              </a:r>
            </a:p>
          </p:txBody>
        </p:sp>
      </p:grpSp>
      <p:grpSp>
        <p:nvGrpSpPr>
          <p:cNvPr id="17" name="Graphic 20656">
            <a:extLst>
              <a:ext uri="{FF2B5EF4-FFF2-40B4-BE49-F238E27FC236}">
                <a16:creationId xmlns:a16="http://schemas.microsoft.com/office/drawing/2014/main" id="{35C4A683-BAC4-4AB0-8FD0-1CC8231776FA}"/>
              </a:ext>
            </a:extLst>
          </p:cNvPr>
          <p:cNvGrpSpPr/>
          <p:nvPr/>
        </p:nvGrpSpPr>
        <p:grpSpPr>
          <a:xfrm>
            <a:off x="2785605" y="4582815"/>
            <a:ext cx="6044007" cy="259170"/>
            <a:chOff x="4035510" y="3124773"/>
            <a:chExt cx="2825479" cy="190550"/>
          </a:xfrm>
          <a:solidFill>
            <a:srgbClr val="000000"/>
          </a:solidFill>
        </p:grpSpPr>
        <p:sp>
          <p:nvSpPr>
            <p:cNvPr id="262" name="TextBox 261">
              <a:extLst>
                <a:ext uri="{FF2B5EF4-FFF2-40B4-BE49-F238E27FC236}">
                  <a16:creationId xmlns:a16="http://schemas.microsoft.com/office/drawing/2014/main" id="{F8D48F9C-2E0B-4310-AC1A-F0304102AA8A}"/>
                </a:ext>
              </a:extLst>
            </p:cNvPr>
            <p:cNvSpPr txBox="1"/>
            <p:nvPr/>
          </p:nvSpPr>
          <p:spPr>
            <a:xfrm>
              <a:off x="4443189" y="3124773"/>
              <a:ext cx="191991" cy="1886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solidFill>
                    <a:srgbClr val="000000"/>
                  </a:solidFill>
                  <a:effectLst/>
                  <a:uLnTx/>
                  <a:uFillTx/>
                  <a:latin typeface="Arial"/>
                  <a:ea typeface="+mn-ea"/>
                  <a:cs typeface="Arial"/>
                  <a:sym typeface="Arial"/>
                  <a:rtl val="0"/>
                </a:rPr>
                <a:t>342</a:t>
              </a:r>
            </a:p>
          </p:txBody>
        </p:sp>
        <p:sp>
          <p:nvSpPr>
            <p:cNvPr id="263" name="TextBox 262">
              <a:extLst>
                <a:ext uri="{FF2B5EF4-FFF2-40B4-BE49-F238E27FC236}">
                  <a16:creationId xmlns:a16="http://schemas.microsoft.com/office/drawing/2014/main" id="{0ADABA66-CB64-4099-9D09-EB763B212030}"/>
                </a:ext>
              </a:extLst>
            </p:cNvPr>
            <p:cNvSpPr txBox="1"/>
            <p:nvPr/>
          </p:nvSpPr>
          <p:spPr>
            <a:xfrm>
              <a:off x="6739439" y="3124773"/>
              <a:ext cx="121550" cy="1886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solidFill>
                    <a:srgbClr val="000000"/>
                  </a:solidFill>
                  <a:effectLst/>
                  <a:uLnTx/>
                  <a:uFillTx/>
                  <a:latin typeface="Arial"/>
                  <a:ea typeface="+mn-ea"/>
                  <a:cs typeface="Arial"/>
                  <a:sym typeface="Arial"/>
                  <a:rtl val="0"/>
                </a:rPr>
                <a:t>4</a:t>
              </a:r>
            </a:p>
          </p:txBody>
        </p:sp>
        <p:sp>
          <p:nvSpPr>
            <p:cNvPr id="264" name="TextBox 263">
              <a:extLst>
                <a:ext uri="{FF2B5EF4-FFF2-40B4-BE49-F238E27FC236}">
                  <a16:creationId xmlns:a16="http://schemas.microsoft.com/office/drawing/2014/main" id="{14450166-2F30-470F-A803-DA4CD7217E9E}"/>
                </a:ext>
              </a:extLst>
            </p:cNvPr>
            <p:cNvSpPr txBox="1"/>
            <p:nvPr/>
          </p:nvSpPr>
          <p:spPr>
            <a:xfrm>
              <a:off x="6588825" y="3124773"/>
              <a:ext cx="121550" cy="1886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solidFill>
                    <a:srgbClr val="000000"/>
                  </a:solidFill>
                  <a:effectLst/>
                  <a:uLnTx/>
                  <a:uFillTx/>
                  <a:latin typeface="Arial"/>
                  <a:ea typeface="+mn-ea"/>
                  <a:cs typeface="Arial"/>
                  <a:sym typeface="Arial"/>
                  <a:rtl val="0"/>
                </a:rPr>
                <a:t>7</a:t>
              </a:r>
            </a:p>
          </p:txBody>
        </p:sp>
        <p:sp>
          <p:nvSpPr>
            <p:cNvPr id="265" name="TextBox 264">
              <a:extLst>
                <a:ext uri="{FF2B5EF4-FFF2-40B4-BE49-F238E27FC236}">
                  <a16:creationId xmlns:a16="http://schemas.microsoft.com/office/drawing/2014/main" id="{AE10BB2C-CEC2-4549-B8EB-2F16B98555F7}"/>
                </a:ext>
              </a:extLst>
            </p:cNvPr>
            <p:cNvSpPr txBox="1"/>
            <p:nvPr/>
          </p:nvSpPr>
          <p:spPr>
            <a:xfrm>
              <a:off x="6421903" y="3124773"/>
              <a:ext cx="118612" cy="1886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49" normalizeH="0" baseline="0" noProof="0">
                  <a:ln/>
                  <a:solidFill>
                    <a:srgbClr val="000000"/>
                  </a:solidFill>
                  <a:effectLst/>
                  <a:uLnTx/>
                  <a:uFillTx/>
                  <a:latin typeface="Arial"/>
                  <a:ea typeface="+mn-ea"/>
                  <a:cs typeface="Arial"/>
                  <a:sym typeface="Arial"/>
                  <a:rtl val="0"/>
                </a:rPr>
                <a:t>1</a:t>
              </a:r>
            </a:p>
          </p:txBody>
        </p:sp>
        <p:sp>
          <p:nvSpPr>
            <p:cNvPr id="266" name="TextBox 265">
              <a:extLst>
                <a:ext uri="{FF2B5EF4-FFF2-40B4-BE49-F238E27FC236}">
                  <a16:creationId xmlns:a16="http://schemas.microsoft.com/office/drawing/2014/main" id="{CEDAABA9-86BF-4A79-889E-E5DF3BFAEA8C}"/>
                </a:ext>
              </a:extLst>
            </p:cNvPr>
            <p:cNvSpPr txBox="1"/>
            <p:nvPr/>
          </p:nvSpPr>
          <p:spPr>
            <a:xfrm>
              <a:off x="6454630" y="3124773"/>
              <a:ext cx="121550" cy="1886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solidFill>
                    <a:srgbClr val="000000"/>
                  </a:solidFill>
                  <a:effectLst/>
                  <a:uLnTx/>
                  <a:uFillTx/>
                  <a:latin typeface="Arial"/>
                  <a:ea typeface="+mn-ea"/>
                  <a:cs typeface="Arial"/>
                  <a:sym typeface="Arial"/>
                  <a:rtl val="0"/>
                </a:rPr>
                <a:t>1</a:t>
              </a:r>
            </a:p>
          </p:txBody>
        </p:sp>
        <p:sp>
          <p:nvSpPr>
            <p:cNvPr id="267" name="TextBox 266">
              <a:extLst>
                <a:ext uri="{FF2B5EF4-FFF2-40B4-BE49-F238E27FC236}">
                  <a16:creationId xmlns:a16="http://schemas.microsoft.com/office/drawing/2014/main" id="{AB3DCCE4-7C56-4DBE-8C4F-6CA17B76EFE2}"/>
                </a:ext>
              </a:extLst>
            </p:cNvPr>
            <p:cNvSpPr txBox="1"/>
            <p:nvPr/>
          </p:nvSpPr>
          <p:spPr>
            <a:xfrm>
              <a:off x="6268797" y="3124773"/>
              <a:ext cx="156770" cy="1886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solidFill>
                    <a:srgbClr val="000000"/>
                  </a:solidFill>
                  <a:effectLst/>
                  <a:uLnTx/>
                  <a:uFillTx/>
                  <a:latin typeface="Arial"/>
                  <a:ea typeface="+mn-ea"/>
                  <a:cs typeface="Arial"/>
                  <a:sym typeface="Arial"/>
                  <a:rtl val="0"/>
                </a:rPr>
                <a:t>16</a:t>
              </a:r>
            </a:p>
          </p:txBody>
        </p:sp>
        <p:sp>
          <p:nvSpPr>
            <p:cNvPr id="268" name="TextBox 267">
              <a:extLst>
                <a:ext uri="{FF2B5EF4-FFF2-40B4-BE49-F238E27FC236}">
                  <a16:creationId xmlns:a16="http://schemas.microsoft.com/office/drawing/2014/main" id="{9CAE626C-615D-4E48-A3C0-A5691A8609E7}"/>
                </a:ext>
              </a:extLst>
            </p:cNvPr>
            <p:cNvSpPr txBox="1"/>
            <p:nvPr/>
          </p:nvSpPr>
          <p:spPr>
            <a:xfrm>
              <a:off x="6118295" y="3124773"/>
              <a:ext cx="156770" cy="1886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solidFill>
                    <a:srgbClr val="000000"/>
                  </a:solidFill>
                  <a:effectLst/>
                  <a:uLnTx/>
                  <a:uFillTx/>
                  <a:latin typeface="Arial"/>
                  <a:ea typeface="+mn-ea"/>
                  <a:cs typeface="Arial"/>
                  <a:sym typeface="Arial"/>
                  <a:rtl val="0"/>
                </a:rPr>
                <a:t>19</a:t>
              </a:r>
            </a:p>
          </p:txBody>
        </p:sp>
        <p:sp>
          <p:nvSpPr>
            <p:cNvPr id="269" name="TextBox 268">
              <a:extLst>
                <a:ext uri="{FF2B5EF4-FFF2-40B4-BE49-F238E27FC236}">
                  <a16:creationId xmlns:a16="http://schemas.microsoft.com/office/drawing/2014/main" id="{BDF71911-193E-45E5-B235-4D82D57B3140}"/>
                </a:ext>
              </a:extLst>
            </p:cNvPr>
            <p:cNvSpPr txBox="1"/>
            <p:nvPr/>
          </p:nvSpPr>
          <p:spPr>
            <a:xfrm>
              <a:off x="5967681" y="3124773"/>
              <a:ext cx="156770" cy="1886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solidFill>
                    <a:srgbClr val="000000"/>
                  </a:solidFill>
                  <a:effectLst/>
                  <a:uLnTx/>
                  <a:uFillTx/>
                  <a:latin typeface="Arial"/>
                  <a:ea typeface="+mn-ea"/>
                  <a:cs typeface="Arial"/>
                  <a:sym typeface="Arial"/>
                  <a:rtl val="0"/>
                </a:rPr>
                <a:t>22</a:t>
              </a:r>
            </a:p>
          </p:txBody>
        </p:sp>
        <p:sp>
          <p:nvSpPr>
            <p:cNvPr id="270" name="TextBox 269">
              <a:extLst>
                <a:ext uri="{FF2B5EF4-FFF2-40B4-BE49-F238E27FC236}">
                  <a16:creationId xmlns:a16="http://schemas.microsoft.com/office/drawing/2014/main" id="{7FEDE706-C57C-467F-8E33-438BAC8E7524}"/>
                </a:ext>
              </a:extLst>
            </p:cNvPr>
            <p:cNvSpPr txBox="1"/>
            <p:nvPr/>
          </p:nvSpPr>
          <p:spPr>
            <a:xfrm>
              <a:off x="5817179" y="3124773"/>
              <a:ext cx="156770" cy="1886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solidFill>
                    <a:srgbClr val="000000"/>
                  </a:solidFill>
                  <a:effectLst/>
                  <a:uLnTx/>
                  <a:uFillTx/>
                  <a:latin typeface="Arial"/>
                  <a:ea typeface="+mn-ea"/>
                  <a:cs typeface="Arial"/>
                  <a:sym typeface="Arial"/>
                  <a:rtl val="0"/>
                </a:rPr>
                <a:t>25</a:t>
              </a:r>
            </a:p>
          </p:txBody>
        </p:sp>
        <p:sp>
          <p:nvSpPr>
            <p:cNvPr id="271" name="TextBox 270">
              <a:extLst>
                <a:ext uri="{FF2B5EF4-FFF2-40B4-BE49-F238E27FC236}">
                  <a16:creationId xmlns:a16="http://schemas.microsoft.com/office/drawing/2014/main" id="{302DDB70-6088-4FFC-A973-4EB26029E4C6}"/>
                </a:ext>
              </a:extLst>
            </p:cNvPr>
            <p:cNvSpPr txBox="1"/>
            <p:nvPr/>
          </p:nvSpPr>
          <p:spPr>
            <a:xfrm>
              <a:off x="5666565" y="3124773"/>
              <a:ext cx="156770" cy="1886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solidFill>
                    <a:srgbClr val="000000"/>
                  </a:solidFill>
                  <a:effectLst/>
                  <a:uLnTx/>
                  <a:uFillTx/>
                  <a:latin typeface="Arial"/>
                  <a:ea typeface="+mn-ea"/>
                  <a:cs typeface="Arial"/>
                  <a:sym typeface="Arial"/>
                  <a:rtl val="0"/>
                </a:rPr>
                <a:t>30</a:t>
              </a:r>
            </a:p>
          </p:txBody>
        </p:sp>
        <p:sp>
          <p:nvSpPr>
            <p:cNvPr id="272" name="TextBox 271">
              <a:extLst>
                <a:ext uri="{FF2B5EF4-FFF2-40B4-BE49-F238E27FC236}">
                  <a16:creationId xmlns:a16="http://schemas.microsoft.com/office/drawing/2014/main" id="{84493B3D-B2BC-4966-A747-0A0633B13F68}"/>
                </a:ext>
              </a:extLst>
            </p:cNvPr>
            <p:cNvSpPr txBox="1"/>
            <p:nvPr/>
          </p:nvSpPr>
          <p:spPr>
            <a:xfrm>
              <a:off x="5516063" y="3124773"/>
              <a:ext cx="156770" cy="1886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solidFill>
                    <a:srgbClr val="000000"/>
                  </a:solidFill>
                  <a:effectLst/>
                  <a:uLnTx/>
                  <a:uFillTx/>
                  <a:latin typeface="Arial"/>
                  <a:ea typeface="+mn-ea"/>
                  <a:cs typeface="Arial"/>
                  <a:sym typeface="Arial"/>
                  <a:rtl val="0"/>
                </a:rPr>
                <a:t>32</a:t>
              </a:r>
            </a:p>
          </p:txBody>
        </p:sp>
        <p:sp>
          <p:nvSpPr>
            <p:cNvPr id="273" name="TextBox 272">
              <a:extLst>
                <a:ext uri="{FF2B5EF4-FFF2-40B4-BE49-F238E27FC236}">
                  <a16:creationId xmlns:a16="http://schemas.microsoft.com/office/drawing/2014/main" id="{C98705EE-9816-49AC-B566-6FCAB07BA414}"/>
                </a:ext>
              </a:extLst>
            </p:cNvPr>
            <p:cNvSpPr txBox="1"/>
            <p:nvPr/>
          </p:nvSpPr>
          <p:spPr>
            <a:xfrm>
              <a:off x="5365449" y="3124773"/>
              <a:ext cx="156770" cy="1886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solidFill>
                    <a:srgbClr val="000000"/>
                  </a:solidFill>
                  <a:effectLst/>
                  <a:uLnTx/>
                  <a:uFillTx/>
                  <a:latin typeface="Arial"/>
                  <a:ea typeface="+mn-ea"/>
                  <a:cs typeface="Arial"/>
                  <a:sym typeface="Arial"/>
                  <a:rtl val="0"/>
                </a:rPr>
                <a:t>38</a:t>
              </a:r>
            </a:p>
          </p:txBody>
        </p:sp>
        <p:sp>
          <p:nvSpPr>
            <p:cNvPr id="274" name="TextBox 273">
              <a:extLst>
                <a:ext uri="{FF2B5EF4-FFF2-40B4-BE49-F238E27FC236}">
                  <a16:creationId xmlns:a16="http://schemas.microsoft.com/office/drawing/2014/main" id="{45D200D4-C6FC-4D7C-A3BC-5CECE8057E2D}"/>
                </a:ext>
              </a:extLst>
            </p:cNvPr>
            <p:cNvSpPr txBox="1"/>
            <p:nvPr/>
          </p:nvSpPr>
          <p:spPr>
            <a:xfrm>
              <a:off x="5214947" y="3124773"/>
              <a:ext cx="156770" cy="1886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solidFill>
                    <a:srgbClr val="000000"/>
                  </a:solidFill>
                  <a:effectLst/>
                  <a:uLnTx/>
                  <a:uFillTx/>
                  <a:latin typeface="Arial"/>
                  <a:ea typeface="+mn-ea"/>
                  <a:cs typeface="Arial"/>
                  <a:sym typeface="Arial"/>
                  <a:rtl val="0"/>
                </a:rPr>
                <a:t>41</a:t>
              </a:r>
            </a:p>
          </p:txBody>
        </p:sp>
        <p:sp>
          <p:nvSpPr>
            <p:cNvPr id="275" name="TextBox 274">
              <a:extLst>
                <a:ext uri="{FF2B5EF4-FFF2-40B4-BE49-F238E27FC236}">
                  <a16:creationId xmlns:a16="http://schemas.microsoft.com/office/drawing/2014/main" id="{8DF5958C-E9BB-4E09-B9B6-A0AD2BBEEBEC}"/>
                </a:ext>
              </a:extLst>
            </p:cNvPr>
            <p:cNvSpPr txBox="1"/>
            <p:nvPr/>
          </p:nvSpPr>
          <p:spPr>
            <a:xfrm>
              <a:off x="5064333" y="3124773"/>
              <a:ext cx="156770" cy="1886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solidFill>
                    <a:srgbClr val="000000"/>
                  </a:solidFill>
                  <a:effectLst/>
                  <a:uLnTx/>
                  <a:uFillTx/>
                  <a:latin typeface="Arial"/>
                  <a:ea typeface="+mn-ea"/>
                  <a:cs typeface="Arial"/>
                  <a:sym typeface="Arial"/>
                  <a:rtl val="0"/>
                </a:rPr>
                <a:t>47</a:t>
              </a:r>
            </a:p>
          </p:txBody>
        </p:sp>
        <p:sp>
          <p:nvSpPr>
            <p:cNvPr id="276" name="TextBox 275">
              <a:extLst>
                <a:ext uri="{FF2B5EF4-FFF2-40B4-BE49-F238E27FC236}">
                  <a16:creationId xmlns:a16="http://schemas.microsoft.com/office/drawing/2014/main" id="{1A8FC7D3-21C4-4B68-9F5F-965781852F5C}"/>
                </a:ext>
              </a:extLst>
            </p:cNvPr>
            <p:cNvSpPr txBox="1"/>
            <p:nvPr/>
          </p:nvSpPr>
          <p:spPr>
            <a:xfrm>
              <a:off x="4913831" y="3124773"/>
              <a:ext cx="156770" cy="1886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solidFill>
                    <a:srgbClr val="000000"/>
                  </a:solidFill>
                  <a:effectLst/>
                  <a:uLnTx/>
                  <a:uFillTx/>
                  <a:latin typeface="Arial"/>
                  <a:ea typeface="+mn-ea"/>
                  <a:cs typeface="Arial"/>
                  <a:sym typeface="Arial"/>
                  <a:rtl val="0"/>
                </a:rPr>
                <a:t>54</a:t>
              </a:r>
            </a:p>
          </p:txBody>
        </p:sp>
        <p:sp>
          <p:nvSpPr>
            <p:cNvPr id="277" name="TextBox 276">
              <a:extLst>
                <a:ext uri="{FF2B5EF4-FFF2-40B4-BE49-F238E27FC236}">
                  <a16:creationId xmlns:a16="http://schemas.microsoft.com/office/drawing/2014/main" id="{9DAD17E5-D3AF-4AD5-9DA8-EC678A8364CC}"/>
                </a:ext>
              </a:extLst>
            </p:cNvPr>
            <p:cNvSpPr txBox="1"/>
            <p:nvPr/>
          </p:nvSpPr>
          <p:spPr>
            <a:xfrm>
              <a:off x="4763217" y="3124773"/>
              <a:ext cx="156770" cy="1886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solidFill>
                    <a:srgbClr val="000000"/>
                  </a:solidFill>
                  <a:effectLst/>
                  <a:uLnTx/>
                  <a:uFillTx/>
                  <a:latin typeface="Arial"/>
                  <a:ea typeface="+mn-ea"/>
                  <a:cs typeface="Arial"/>
                  <a:sym typeface="Arial"/>
                  <a:rtl val="0"/>
                </a:rPr>
                <a:t>79</a:t>
              </a:r>
            </a:p>
          </p:txBody>
        </p:sp>
        <p:sp>
          <p:nvSpPr>
            <p:cNvPr id="278" name="TextBox 277">
              <a:extLst>
                <a:ext uri="{FF2B5EF4-FFF2-40B4-BE49-F238E27FC236}">
                  <a16:creationId xmlns:a16="http://schemas.microsoft.com/office/drawing/2014/main" id="{E8F2CDB0-773B-4162-87B7-5B6A283DCA8F}"/>
                </a:ext>
              </a:extLst>
            </p:cNvPr>
            <p:cNvSpPr txBox="1"/>
            <p:nvPr/>
          </p:nvSpPr>
          <p:spPr>
            <a:xfrm>
              <a:off x="4593803" y="3124773"/>
              <a:ext cx="191991" cy="1886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solidFill>
                    <a:srgbClr val="000000"/>
                  </a:solidFill>
                  <a:effectLst/>
                  <a:uLnTx/>
                  <a:uFillTx/>
                  <a:latin typeface="Arial"/>
                  <a:ea typeface="+mn-ea"/>
                  <a:cs typeface="Arial"/>
                  <a:sym typeface="Arial"/>
                  <a:rtl val="0"/>
                </a:rPr>
                <a:t>145</a:t>
              </a:r>
            </a:p>
          </p:txBody>
        </p:sp>
        <p:sp>
          <p:nvSpPr>
            <p:cNvPr id="279" name="TextBox 278">
              <a:extLst>
                <a:ext uri="{FF2B5EF4-FFF2-40B4-BE49-F238E27FC236}">
                  <a16:creationId xmlns:a16="http://schemas.microsoft.com/office/drawing/2014/main" id="{C9D88870-86D1-471A-86FA-589523BFFEEB}"/>
                </a:ext>
              </a:extLst>
            </p:cNvPr>
            <p:cNvSpPr txBox="1"/>
            <p:nvPr/>
          </p:nvSpPr>
          <p:spPr>
            <a:xfrm>
              <a:off x="4035510" y="3126703"/>
              <a:ext cx="439166" cy="1886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27" normalizeH="0" baseline="0" noProof="0" dirty="0">
                  <a:ln/>
                  <a:solidFill>
                    <a:srgbClr val="000000"/>
                  </a:solidFill>
                  <a:effectLst/>
                  <a:uLnTx/>
                  <a:uFillTx/>
                  <a:latin typeface="Arial"/>
                  <a:ea typeface="+mn-ea"/>
                  <a:cs typeface="Arial"/>
                  <a:sym typeface="Arial"/>
                  <a:rtl val="0"/>
                </a:rPr>
                <a:t>T</a:t>
              </a:r>
              <a:r>
                <a:rPr kumimoji="0" lang="en-US" sz="1067" b="0" i="0" u="none" strike="noStrike" kern="1200" cap="none" spc="0" normalizeH="0" baseline="0" noProof="0" dirty="0">
                  <a:ln/>
                  <a:solidFill>
                    <a:srgbClr val="000000"/>
                  </a:solidFill>
                  <a:effectLst/>
                  <a:uLnTx/>
                  <a:uFillTx/>
                  <a:latin typeface="Arial"/>
                  <a:ea typeface="+mn-ea"/>
                  <a:cs typeface="Arial"/>
                  <a:sym typeface="Arial"/>
                  <a:rtl val="0"/>
                </a:rPr>
                <a:t>islelizumab</a:t>
              </a:r>
            </a:p>
          </p:txBody>
        </p:sp>
      </p:grpSp>
      <p:sp>
        <p:nvSpPr>
          <p:cNvPr id="20" name="TextBox 19">
            <a:extLst>
              <a:ext uri="{FF2B5EF4-FFF2-40B4-BE49-F238E27FC236}">
                <a16:creationId xmlns:a16="http://schemas.microsoft.com/office/drawing/2014/main" id="{E27CD144-1D04-4D28-BC24-145C0BF9F9DC}"/>
              </a:ext>
            </a:extLst>
          </p:cNvPr>
          <p:cNvSpPr txBox="1"/>
          <p:nvPr/>
        </p:nvSpPr>
        <p:spPr>
          <a:xfrm>
            <a:off x="2575090" y="4309166"/>
            <a:ext cx="1911101" cy="25654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1" i="0" u="none" strike="noStrike" kern="1200" cap="none" spc="0" normalizeH="0" baseline="0" noProof="0" dirty="0">
                <a:ln/>
                <a:solidFill>
                  <a:srgbClr val="000000"/>
                </a:solidFill>
                <a:effectLst/>
                <a:uLnTx/>
                <a:uFillTx/>
                <a:latin typeface="Arial"/>
                <a:ea typeface="+mn-ea"/>
                <a:cs typeface="Arial"/>
                <a:sym typeface="Arial"/>
                <a:rtl val="0"/>
              </a:rPr>
              <a:t>Number of patients at risk:</a:t>
            </a:r>
          </a:p>
        </p:txBody>
      </p:sp>
      <p:grpSp>
        <p:nvGrpSpPr>
          <p:cNvPr id="21" name="Graphic 20656">
            <a:extLst>
              <a:ext uri="{FF2B5EF4-FFF2-40B4-BE49-F238E27FC236}">
                <a16:creationId xmlns:a16="http://schemas.microsoft.com/office/drawing/2014/main" id="{40661CCC-6A26-4CAB-BEDC-9E2FB46E0D34}"/>
              </a:ext>
            </a:extLst>
          </p:cNvPr>
          <p:cNvGrpSpPr/>
          <p:nvPr/>
        </p:nvGrpSpPr>
        <p:grpSpPr>
          <a:xfrm>
            <a:off x="3678853" y="1671134"/>
            <a:ext cx="5237260" cy="2475831"/>
            <a:chOff x="4494654" y="983672"/>
            <a:chExt cx="2448337" cy="1820307"/>
          </a:xfrm>
          <a:noFill/>
        </p:grpSpPr>
        <p:sp>
          <p:nvSpPr>
            <p:cNvPr id="217" name="Freeform 215">
              <a:extLst>
                <a:ext uri="{FF2B5EF4-FFF2-40B4-BE49-F238E27FC236}">
                  <a16:creationId xmlns:a16="http://schemas.microsoft.com/office/drawing/2014/main" id="{01993F6A-9F99-42B3-A008-949E84CC0BC4}"/>
                </a:ext>
              </a:extLst>
            </p:cNvPr>
            <p:cNvSpPr/>
            <p:nvPr/>
          </p:nvSpPr>
          <p:spPr>
            <a:xfrm>
              <a:off x="4520360" y="983672"/>
              <a:ext cx="2422630" cy="1794419"/>
            </a:xfrm>
            <a:custGeom>
              <a:avLst/>
              <a:gdLst>
                <a:gd name="connsiteX0" fmla="*/ 2422631 w 2422630"/>
                <a:gd name="connsiteY0" fmla="*/ 1794420 h 1794419"/>
                <a:gd name="connsiteX1" fmla="*/ 0 w 2422630"/>
                <a:gd name="connsiteY1" fmla="*/ 1794420 h 1794419"/>
                <a:gd name="connsiteX2" fmla="*/ 0 w 2422630"/>
                <a:gd name="connsiteY2" fmla="*/ 0 h 1794419"/>
              </a:gdLst>
              <a:ahLst/>
              <a:cxnLst>
                <a:cxn ang="0">
                  <a:pos x="connsiteX0" y="connsiteY0"/>
                </a:cxn>
                <a:cxn ang="0">
                  <a:pos x="connsiteX1" y="connsiteY1"/>
                </a:cxn>
                <a:cxn ang="0">
                  <a:pos x="connsiteX2" y="connsiteY2"/>
                </a:cxn>
              </a:cxnLst>
              <a:rect l="l" t="t" r="r" b="b"/>
              <a:pathLst>
                <a:path w="2422630" h="1794419">
                  <a:moveTo>
                    <a:pt x="2422631" y="1794420"/>
                  </a:moveTo>
                  <a:lnTo>
                    <a:pt x="0" y="1794420"/>
                  </a:lnTo>
                  <a:lnTo>
                    <a:pt x="0" y="0"/>
                  </a:lnTo>
                </a:path>
              </a:pathLst>
            </a:custGeom>
            <a:noFill/>
            <a:ln w="63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8" name="Freeform 216">
              <a:extLst>
                <a:ext uri="{FF2B5EF4-FFF2-40B4-BE49-F238E27FC236}">
                  <a16:creationId xmlns:a16="http://schemas.microsoft.com/office/drawing/2014/main" id="{2BEF3579-4DA5-4B4D-BE3E-51615ED128E1}"/>
                </a:ext>
              </a:extLst>
            </p:cNvPr>
            <p:cNvSpPr/>
            <p:nvPr/>
          </p:nvSpPr>
          <p:spPr>
            <a:xfrm>
              <a:off x="4591364" y="2778091"/>
              <a:ext cx="11324" cy="25887"/>
            </a:xfrm>
            <a:custGeom>
              <a:avLst/>
              <a:gdLst>
                <a:gd name="connsiteX0" fmla="*/ 0 w 11324"/>
                <a:gd name="connsiteY0" fmla="*/ 0 h 25887"/>
                <a:gd name="connsiteX1" fmla="*/ 0 w 11324"/>
                <a:gd name="connsiteY1" fmla="*/ 25888 h 25887"/>
              </a:gdLst>
              <a:ahLst/>
              <a:cxnLst>
                <a:cxn ang="0">
                  <a:pos x="connsiteX0" y="connsiteY0"/>
                </a:cxn>
                <a:cxn ang="0">
                  <a:pos x="connsiteX1" y="connsiteY1"/>
                </a:cxn>
              </a:cxnLst>
              <a:rect l="l" t="t" r="r" b="b"/>
              <a:pathLst>
                <a:path w="11324" h="25887">
                  <a:moveTo>
                    <a:pt x="0" y="0"/>
                  </a:moveTo>
                  <a:lnTo>
                    <a:pt x="0" y="25888"/>
                  </a:lnTo>
                </a:path>
              </a:pathLst>
            </a:custGeom>
            <a:ln w="63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9" name="Freeform 217">
              <a:extLst>
                <a:ext uri="{FF2B5EF4-FFF2-40B4-BE49-F238E27FC236}">
                  <a16:creationId xmlns:a16="http://schemas.microsoft.com/office/drawing/2014/main" id="{8356F9C0-D3CC-4F9B-8833-13F7782EE294}"/>
                </a:ext>
              </a:extLst>
            </p:cNvPr>
            <p:cNvSpPr/>
            <p:nvPr/>
          </p:nvSpPr>
          <p:spPr>
            <a:xfrm>
              <a:off x="4494654" y="2736648"/>
              <a:ext cx="25706" cy="11354"/>
            </a:xfrm>
            <a:custGeom>
              <a:avLst/>
              <a:gdLst>
                <a:gd name="connsiteX0" fmla="*/ 25706 w 25706"/>
                <a:gd name="connsiteY0" fmla="*/ 0 h 11354"/>
                <a:gd name="connsiteX1" fmla="*/ 0 w 25706"/>
                <a:gd name="connsiteY1" fmla="*/ 0 h 11354"/>
              </a:gdLst>
              <a:ahLst/>
              <a:cxnLst>
                <a:cxn ang="0">
                  <a:pos x="connsiteX0" y="connsiteY0"/>
                </a:cxn>
                <a:cxn ang="0">
                  <a:pos x="connsiteX1" y="connsiteY1"/>
                </a:cxn>
              </a:cxnLst>
              <a:rect l="l" t="t" r="r" b="b"/>
              <a:pathLst>
                <a:path w="25706" h="11354">
                  <a:moveTo>
                    <a:pt x="25706" y="0"/>
                  </a:moveTo>
                  <a:lnTo>
                    <a:pt x="0" y="0"/>
                  </a:lnTo>
                </a:path>
              </a:pathLst>
            </a:custGeom>
            <a:ln w="63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0" name="Freeform 218">
              <a:extLst>
                <a:ext uri="{FF2B5EF4-FFF2-40B4-BE49-F238E27FC236}">
                  <a16:creationId xmlns:a16="http://schemas.microsoft.com/office/drawing/2014/main" id="{FEC53AD6-7705-4993-9391-6968862B1BD2}"/>
                </a:ext>
              </a:extLst>
            </p:cNvPr>
            <p:cNvSpPr/>
            <p:nvPr/>
          </p:nvSpPr>
          <p:spPr>
            <a:xfrm>
              <a:off x="4494654" y="1190999"/>
              <a:ext cx="25706" cy="11354"/>
            </a:xfrm>
            <a:custGeom>
              <a:avLst/>
              <a:gdLst>
                <a:gd name="connsiteX0" fmla="*/ 25706 w 25706"/>
                <a:gd name="connsiteY0" fmla="*/ 0 h 11354"/>
                <a:gd name="connsiteX1" fmla="*/ 0 w 25706"/>
                <a:gd name="connsiteY1" fmla="*/ 0 h 11354"/>
              </a:gdLst>
              <a:ahLst/>
              <a:cxnLst>
                <a:cxn ang="0">
                  <a:pos x="connsiteX0" y="connsiteY0"/>
                </a:cxn>
                <a:cxn ang="0">
                  <a:pos x="connsiteX1" y="connsiteY1"/>
                </a:cxn>
              </a:cxnLst>
              <a:rect l="l" t="t" r="r" b="b"/>
              <a:pathLst>
                <a:path w="25706" h="11354">
                  <a:moveTo>
                    <a:pt x="25706" y="0"/>
                  </a:moveTo>
                  <a:lnTo>
                    <a:pt x="0" y="0"/>
                  </a:lnTo>
                </a:path>
              </a:pathLst>
            </a:custGeom>
            <a:ln w="63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1" name="Freeform 219">
              <a:extLst>
                <a:ext uri="{FF2B5EF4-FFF2-40B4-BE49-F238E27FC236}">
                  <a16:creationId xmlns:a16="http://schemas.microsoft.com/office/drawing/2014/main" id="{93DE1C1E-BC18-4375-9170-000183DBCEBE}"/>
                </a:ext>
              </a:extLst>
            </p:cNvPr>
            <p:cNvSpPr/>
            <p:nvPr/>
          </p:nvSpPr>
          <p:spPr>
            <a:xfrm>
              <a:off x="4494654" y="1362675"/>
              <a:ext cx="25706" cy="11354"/>
            </a:xfrm>
            <a:custGeom>
              <a:avLst/>
              <a:gdLst>
                <a:gd name="connsiteX0" fmla="*/ 25706 w 25706"/>
                <a:gd name="connsiteY0" fmla="*/ 0 h 11354"/>
                <a:gd name="connsiteX1" fmla="*/ 0 w 25706"/>
                <a:gd name="connsiteY1" fmla="*/ 0 h 11354"/>
              </a:gdLst>
              <a:ahLst/>
              <a:cxnLst>
                <a:cxn ang="0">
                  <a:pos x="connsiteX0" y="connsiteY0"/>
                </a:cxn>
                <a:cxn ang="0">
                  <a:pos x="connsiteX1" y="connsiteY1"/>
                </a:cxn>
              </a:cxnLst>
              <a:rect l="l" t="t" r="r" b="b"/>
              <a:pathLst>
                <a:path w="25706" h="11354">
                  <a:moveTo>
                    <a:pt x="25706" y="0"/>
                  </a:moveTo>
                  <a:lnTo>
                    <a:pt x="0" y="0"/>
                  </a:lnTo>
                </a:path>
              </a:pathLst>
            </a:custGeom>
            <a:ln w="63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2" name="Freeform 220">
              <a:extLst>
                <a:ext uri="{FF2B5EF4-FFF2-40B4-BE49-F238E27FC236}">
                  <a16:creationId xmlns:a16="http://schemas.microsoft.com/office/drawing/2014/main" id="{13C8A913-7682-49F3-9E60-19EF5A57396C}"/>
                </a:ext>
              </a:extLst>
            </p:cNvPr>
            <p:cNvSpPr/>
            <p:nvPr/>
          </p:nvSpPr>
          <p:spPr>
            <a:xfrm>
              <a:off x="4494654" y="1534464"/>
              <a:ext cx="25706" cy="11354"/>
            </a:xfrm>
            <a:custGeom>
              <a:avLst/>
              <a:gdLst>
                <a:gd name="connsiteX0" fmla="*/ 25706 w 25706"/>
                <a:gd name="connsiteY0" fmla="*/ 0 h 11354"/>
                <a:gd name="connsiteX1" fmla="*/ 0 w 25706"/>
                <a:gd name="connsiteY1" fmla="*/ 0 h 11354"/>
              </a:gdLst>
              <a:ahLst/>
              <a:cxnLst>
                <a:cxn ang="0">
                  <a:pos x="connsiteX0" y="connsiteY0"/>
                </a:cxn>
                <a:cxn ang="0">
                  <a:pos x="connsiteX1" y="connsiteY1"/>
                </a:cxn>
              </a:cxnLst>
              <a:rect l="l" t="t" r="r" b="b"/>
              <a:pathLst>
                <a:path w="25706" h="11354">
                  <a:moveTo>
                    <a:pt x="25706" y="0"/>
                  </a:moveTo>
                  <a:lnTo>
                    <a:pt x="0" y="0"/>
                  </a:lnTo>
                </a:path>
              </a:pathLst>
            </a:custGeom>
            <a:ln w="63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3" name="Freeform 221">
              <a:extLst>
                <a:ext uri="{FF2B5EF4-FFF2-40B4-BE49-F238E27FC236}">
                  <a16:creationId xmlns:a16="http://schemas.microsoft.com/office/drawing/2014/main" id="{E0863A20-5345-4DC0-A73E-7E338BF2C554}"/>
                </a:ext>
              </a:extLst>
            </p:cNvPr>
            <p:cNvSpPr/>
            <p:nvPr/>
          </p:nvSpPr>
          <p:spPr>
            <a:xfrm>
              <a:off x="4494654" y="1706254"/>
              <a:ext cx="25706" cy="11354"/>
            </a:xfrm>
            <a:custGeom>
              <a:avLst/>
              <a:gdLst>
                <a:gd name="connsiteX0" fmla="*/ 25706 w 25706"/>
                <a:gd name="connsiteY0" fmla="*/ 0 h 11354"/>
                <a:gd name="connsiteX1" fmla="*/ 0 w 25706"/>
                <a:gd name="connsiteY1" fmla="*/ 0 h 11354"/>
              </a:gdLst>
              <a:ahLst/>
              <a:cxnLst>
                <a:cxn ang="0">
                  <a:pos x="connsiteX0" y="connsiteY0"/>
                </a:cxn>
                <a:cxn ang="0">
                  <a:pos x="connsiteX1" y="connsiteY1"/>
                </a:cxn>
              </a:cxnLst>
              <a:rect l="l" t="t" r="r" b="b"/>
              <a:pathLst>
                <a:path w="25706" h="11354">
                  <a:moveTo>
                    <a:pt x="25706" y="0"/>
                  </a:moveTo>
                  <a:lnTo>
                    <a:pt x="0" y="0"/>
                  </a:lnTo>
                </a:path>
              </a:pathLst>
            </a:custGeom>
            <a:ln w="63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4" name="Freeform 222">
              <a:extLst>
                <a:ext uri="{FF2B5EF4-FFF2-40B4-BE49-F238E27FC236}">
                  <a16:creationId xmlns:a16="http://schemas.microsoft.com/office/drawing/2014/main" id="{E51EA84B-023B-46EF-AEC5-8365A63AC208}"/>
                </a:ext>
              </a:extLst>
            </p:cNvPr>
            <p:cNvSpPr/>
            <p:nvPr/>
          </p:nvSpPr>
          <p:spPr>
            <a:xfrm>
              <a:off x="4494654" y="1877929"/>
              <a:ext cx="25706" cy="11354"/>
            </a:xfrm>
            <a:custGeom>
              <a:avLst/>
              <a:gdLst>
                <a:gd name="connsiteX0" fmla="*/ 25706 w 25706"/>
                <a:gd name="connsiteY0" fmla="*/ 0 h 11354"/>
                <a:gd name="connsiteX1" fmla="*/ 0 w 25706"/>
                <a:gd name="connsiteY1" fmla="*/ 0 h 11354"/>
              </a:gdLst>
              <a:ahLst/>
              <a:cxnLst>
                <a:cxn ang="0">
                  <a:pos x="connsiteX0" y="connsiteY0"/>
                </a:cxn>
                <a:cxn ang="0">
                  <a:pos x="connsiteX1" y="connsiteY1"/>
                </a:cxn>
              </a:cxnLst>
              <a:rect l="l" t="t" r="r" b="b"/>
              <a:pathLst>
                <a:path w="25706" h="11354">
                  <a:moveTo>
                    <a:pt x="25706" y="0"/>
                  </a:moveTo>
                  <a:lnTo>
                    <a:pt x="0" y="0"/>
                  </a:lnTo>
                </a:path>
              </a:pathLst>
            </a:custGeom>
            <a:ln w="63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5" name="Freeform 223">
              <a:extLst>
                <a:ext uri="{FF2B5EF4-FFF2-40B4-BE49-F238E27FC236}">
                  <a16:creationId xmlns:a16="http://schemas.microsoft.com/office/drawing/2014/main" id="{4196784D-D353-495C-BB36-A0965FC3EAFB}"/>
                </a:ext>
              </a:extLst>
            </p:cNvPr>
            <p:cNvSpPr/>
            <p:nvPr/>
          </p:nvSpPr>
          <p:spPr>
            <a:xfrm>
              <a:off x="4494654" y="2049718"/>
              <a:ext cx="25706" cy="11354"/>
            </a:xfrm>
            <a:custGeom>
              <a:avLst/>
              <a:gdLst>
                <a:gd name="connsiteX0" fmla="*/ 25706 w 25706"/>
                <a:gd name="connsiteY0" fmla="*/ 0 h 11354"/>
                <a:gd name="connsiteX1" fmla="*/ 0 w 25706"/>
                <a:gd name="connsiteY1" fmla="*/ 0 h 11354"/>
              </a:gdLst>
              <a:ahLst/>
              <a:cxnLst>
                <a:cxn ang="0">
                  <a:pos x="connsiteX0" y="connsiteY0"/>
                </a:cxn>
                <a:cxn ang="0">
                  <a:pos x="connsiteX1" y="connsiteY1"/>
                </a:cxn>
              </a:cxnLst>
              <a:rect l="l" t="t" r="r" b="b"/>
              <a:pathLst>
                <a:path w="25706" h="11354">
                  <a:moveTo>
                    <a:pt x="25706" y="0"/>
                  </a:moveTo>
                  <a:lnTo>
                    <a:pt x="0" y="0"/>
                  </a:lnTo>
                </a:path>
              </a:pathLst>
            </a:custGeom>
            <a:ln w="63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6" name="Freeform 224">
              <a:extLst>
                <a:ext uri="{FF2B5EF4-FFF2-40B4-BE49-F238E27FC236}">
                  <a16:creationId xmlns:a16="http://schemas.microsoft.com/office/drawing/2014/main" id="{E0C0C93C-856C-47F1-B011-96B81C575BEB}"/>
                </a:ext>
              </a:extLst>
            </p:cNvPr>
            <p:cNvSpPr/>
            <p:nvPr/>
          </p:nvSpPr>
          <p:spPr>
            <a:xfrm>
              <a:off x="4494654" y="2221394"/>
              <a:ext cx="25706" cy="11354"/>
            </a:xfrm>
            <a:custGeom>
              <a:avLst/>
              <a:gdLst>
                <a:gd name="connsiteX0" fmla="*/ 25706 w 25706"/>
                <a:gd name="connsiteY0" fmla="*/ 0 h 11354"/>
                <a:gd name="connsiteX1" fmla="*/ 0 w 25706"/>
                <a:gd name="connsiteY1" fmla="*/ 0 h 11354"/>
              </a:gdLst>
              <a:ahLst/>
              <a:cxnLst>
                <a:cxn ang="0">
                  <a:pos x="connsiteX0" y="connsiteY0"/>
                </a:cxn>
                <a:cxn ang="0">
                  <a:pos x="connsiteX1" y="connsiteY1"/>
                </a:cxn>
              </a:cxnLst>
              <a:rect l="l" t="t" r="r" b="b"/>
              <a:pathLst>
                <a:path w="25706" h="11354">
                  <a:moveTo>
                    <a:pt x="25706" y="0"/>
                  </a:moveTo>
                  <a:lnTo>
                    <a:pt x="0" y="0"/>
                  </a:lnTo>
                </a:path>
              </a:pathLst>
            </a:custGeom>
            <a:ln w="63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7" name="Freeform 225">
              <a:extLst>
                <a:ext uri="{FF2B5EF4-FFF2-40B4-BE49-F238E27FC236}">
                  <a16:creationId xmlns:a16="http://schemas.microsoft.com/office/drawing/2014/main" id="{CA9E8DB8-D5E1-489F-9ECD-92C0649A01AF}"/>
                </a:ext>
              </a:extLst>
            </p:cNvPr>
            <p:cNvSpPr/>
            <p:nvPr/>
          </p:nvSpPr>
          <p:spPr>
            <a:xfrm>
              <a:off x="4494654" y="2393183"/>
              <a:ext cx="25706" cy="11354"/>
            </a:xfrm>
            <a:custGeom>
              <a:avLst/>
              <a:gdLst>
                <a:gd name="connsiteX0" fmla="*/ 25706 w 25706"/>
                <a:gd name="connsiteY0" fmla="*/ 0 h 11354"/>
                <a:gd name="connsiteX1" fmla="*/ 0 w 25706"/>
                <a:gd name="connsiteY1" fmla="*/ 0 h 11354"/>
              </a:gdLst>
              <a:ahLst/>
              <a:cxnLst>
                <a:cxn ang="0">
                  <a:pos x="connsiteX0" y="connsiteY0"/>
                </a:cxn>
                <a:cxn ang="0">
                  <a:pos x="connsiteX1" y="connsiteY1"/>
                </a:cxn>
              </a:cxnLst>
              <a:rect l="l" t="t" r="r" b="b"/>
              <a:pathLst>
                <a:path w="25706" h="11354">
                  <a:moveTo>
                    <a:pt x="25706" y="0"/>
                  </a:moveTo>
                  <a:lnTo>
                    <a:pt x="0" y="0"/>
                  </a:lnTo>
                </a:path>
              </a:pathLst>
            </a:custGeom>
            <a:ln w="63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8" name="Freeform 226">
              <a:extLst>
                <a:ext uri="{FF2B5EF4-FFF2-40B4-BE49-F238E27FC236}">
                  <a16:creationId xmlns:a16="http://schemas.microsoft.com/office/drawing/2014/main" id="{95911A77-0861-47E9-AA2A-229313DB4B03}"/>
                </a:ext>
              </a:extLst>
            </p:cNvPr>
            <p:cNvSpPr/>
            <p:nvPr/>
          </p:nvSpPr>
          <p:spPr>
            <a:xfrm>
              <a:off x="4494654" y="2564973"/>
              <a:ext cx="25706" cy="11354"/>
            </a:xfrm>
            <a:custGeom>
              <a:avLst/>
              <a:gdLst>
                <a:gd name="connsiteX0" fmla="*/ 25706 w 25706"/>
                <a:gd name="connsiteY0" fmla="*/ 0 h 11354"/>
                <a:gd name="connsiteX1" fmla="*/ 0 w 25706"/>
                <a:gd name="connsiteY1" fmla="*/ 0 h 11354"/>
              </a:gdLst>
              <a:ahLst/>
              <a:cxnLst>
                <a:cxn ang="0">
                  <a:pos x="connsiteX0" y="connsiteY0"/>
                </a:cxn>
                <a:cxn ang="0">
                  <a:pos x="connsiteX1" y="connsiteY1"/>
                </a:cxn>
              </a:cxnLst>
              <a:rect l="l" t="t" r="r" b="b"/>
              <a:pathLst>
                <a:path w="25706" h="11354">
                  <a:moveTo>
                    <a:pt x="25706" y="0"/>
                  </a:moveTo>
                  <a:lnTo>
                    <a:pt x="0" y="0"/>
                  </a:lnTo>
                </a:path>
              </a:pathLst>
            </a:custGeom>
            <a:ln w="63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9" name="Freeform 227">
              <a:extLst>
                <a:ext uri="{FF2B5EF4-FFF2-40B4-BE49-F238E27FC236}">
                  <a16:creationId xmlns:a16="http://schemas.microsoft.com/office/drawing/2014/main" id="{6A446A20-1F2F-42D5-8198-F2CDBD21E0FC}"/>
                </a:ext>
              </a:extLst>
            </p:cNvPr>
            <p:cNvSpPr/>
            <p:nvPr/>
          </p:nvSpPr>
          <p:spPr>
            <a:xfrm>
              <a:off x="4494654" y="1019210"/>
              <a:ext cx="25706" cy="11354"/>
            </a:xfrm>
            <a:custGeom>
              <a:avLst/>
              <a:gdLst>
                <a:gd name="connsiteX0" fmla="*/ 25706 w 25706"/>
                <a:gd name="connsiteY0" fmla="*/ 0 h 11354"/>
                <a:gd name="connsiteX1" fmla="*/ 0 w 25706"/>
                <a:gd name="connsiteY1" fmla="*/ 0 h 11354"/>
              </a:gdLst>
              <a:ahLst/>
              <a:cxnLst>
                <a:cxn ang="0">
                  <a:pos x="connsiteX0" y="connsiteY0"/>
                </a:cxn>
                <a:cxn ang="0">
                  <a:pos x="connsiteX1" y="connsiteY1"/>
                </a:cxn>
              </a:cxnLst>
              <a:rect l="l" t="t" r="r" b="b"/>
              <a:pathLst>
                <a:path w="25706" h="11354">
                  <a:moveTo>
                    <a:pt x="25706" y="0"/>
                  </a:moveTo>
                  <a:lnTo>
                    <a:pt x="0" y="0"/>
                  </a:lnTo>
                </a:path>
              </a:pathLst>
            </a:custGeom>
            <a:ln w="63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0" name="Freeform 228">
              <a:extLst>
                <a:ext uri="{FF2B5EF4-FFF2-40B4-BE49-F238E27FC236}">
                  <a16:creationId xmlns:a16="http://schemas.microsoft.com/office/drawing/2014/main" id="{0173286A-0676-4458-BC30-E0043FF6E9EE}"/>
                </a:ext>
              </a:extLst>
            </p:cNvPr>
            <p:cNvSpPr/>
            <p:nvPr/>
          </p:nvSpPr>
          <p:spPr>
            <a:xfrm>
              <a:off x="6699176" y="2778091"/>
              <a:ext cx="11324" cy="25887"/>
            </a:xfrm>
            <a:custGeom>
              <a:avLst/>
              <a:gdLst>
                <a:gd name="connsiteX0" fmla="*/ 0 w 11324"/>
                <a:gd name="connsiteY0" fmla="*/ 0 h 25887"/>
                <a:gd name="connsiteX1" fmla="*/ 0 w 11324"/>
                <a:gd name="connsiteY1" fmla="*/ 25888 h 25887"/>
              </a:gdLst>
              <a:ahLst/>
              <a:cxnLst>
                <a:cxn ang="0">
                  <a:pos x="connsiteX0" y="connsiteY0"/>
                </a:cxn>
                <a:cxn ang="0">
                  <a:pos x="connsiteX1" y="connsiteY1"/>
                </a:cxn>
              </a:cxnLst>
              <a:rect l="l" t="t" r="r" b="b"/>
              <a:pathLst>
                <a:path w="11324" h="25887">
                  <a:moveTo>
                    <a:pt x="0" y="0"/>
                  </a:moveTo>
                  <a:lnTo>
                    <a:pt x="0" y="25888"/>
                  </a:lnTo>
                </a:path>
              </a:pathLst>
            </a:custGeom>
            <a:ln w="63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1" name="Freeform 229">
              <a:extLst>
                <a:ext uri="{FF2B5EF4-FFF2-40B4-BE49-F238E27FC236}">
                  <a16:creationId xmlns:a16="http://schemas.microsoft.com/office/drawing/2014/main" id="{C2663092-BC9A-4AF6-B4F9-E52BFDBA5E1A}"/>
                </a:ext>
              </a:extLst>
            </p:cNvPr>
            <p:cNvSpPr/>
            <p:nvPr/>
          </p:nvSpPr>
          <p:spPr>
            <a:xfrm>
              <a:off x="6548675" y="2778091"/>
              <a:ext cx="11324" cy="25887"/>
            </a:xfrm>
            <a:custGeom>
              <a:avLst/>
              <a:gdLst>
                <a:gd name="connsiteX0" fmla="*/ 0 w 11324"/>
                <a:gd name="connsiteY0" fmla="*/ 0 h 25887"/>
                <a:gd name="connsiteX1" fmla="*/ 0 w 11324"/>
                <a:gd name="connsiteY1" fmla="*/ 25888 h 25887"/>
              </a:gdLst>
              <a:ahLst/>
              <a:cxnLst>
                <a:cxn ang="0">
                  <a:pos x="connsiteX0" y="connsiteY0"/>
                </a:cxn>
                <a:cxn ang="0">
                  <a:pos x="connsiteX1" y="connsiteY1"/>
                </a:cxn>
              </a:cxnLst>
              <a:rect l="l" t="t" r="r" b="b"/>
              <a:pathLst>
                <a:path w="11324" h="25887">
                  <a:moveTo>
                    <a:pt x="0" y="0"/>
                  </a:moveTo>
                  <a:lnTo>
                    <a:pt x="0" y="25888"/>
                  </a:lnTo>
                </a:path>
              </a:pathLst>
            </a:custGeom>
            <a:ln w="63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2" name="Freeform 230">
              <a:extLst>
                <a:ext uri="{FF2B5EF4-FFF2-40B4-BE49-F238E27FC236}">
                  <a16:creationId xmlns:a16="http://schemas.microsoft.com/office/drawing/2014/main" id="{DE53ED06-F728-4633-A70B-6A3C8D1642ED}"/>
                </a:ext>
              </a:extLst>
            </p:cNvPr>
            <p:cNvSpPr/>
            <p:nvPr/>
          </p:nvSpPr>
          <p:spPr>
            <a:xfrm>
              <a:off x="6398060" y="2778091"/>
              <a:ext cx="11324" cy="25887"/>
            </a:xfrm>
            <a:custGeom>
              <a:avLst/>
              <a:gdLst>
                <a:gd name="connsiteX0" fmla="*/ 0 w 11324"/>
                <a:gd name="connsiteY0" fmla="*/ 0 h 25887"/>
                <a:gd name="connsiteX1" fmla="*/ 0 w 11324"/>
                <a:gd name="connsiteY1" fmla="*/ 25888 h 25887"/>
              </a:gdLst>
              <a:ahLst/>
              <a:cxnLst>
                <a:cxn ang="0">
                  <a:pos x="connsiteX0" y="connsiteY0"/>
                </a:cxn>
                <a:cxn ang="0">
                  <a:pos x="connsiteX1" y="connsiteY1"/>
                </a:cxn>
              </a:cxnLst>
              <a:rect l="l" t="t" r="r" b="b"/>
              <a:pathLst>
                <a:path w="11324" h="25887">
                  <a:moveTo>
                    <a:pt x="0" y="0"/>
                  </a:moveTo>
                  <a:lnTo>
                    <a:pt x="0" y="25888"/>
                  </a:lnTo>
                </a:path>
              </a:pathLst>
            </a:custGeom>
            <a:ln w="63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3" name="Freeform 231">
              <a:extLst>
                <a:ext uri="{FF2B5EF4-FFF2-40B4-BE49-F238E27FC236}">
                  <a16:creationId xmlns:a16="http://schemas.microsoft.com/office/drawing/2014/main" id="{10DBFA8A-91BA-4D5A-9345-A30DB63A4BF4}"/>
                </a:ext>
              </a:extLst>
            </p:cNvPr>
            <p:cNvSpPr/>
            <p:nvPr/>
          </p:nvSpPr>
          <p:spPr>
            <a:xfrm>
              <a:off x="6247446" y="2778091"/>
              <a:ext cx="11324" cy="25887"/>
            </a:xfrm>
            <a:custGeom>
              <a:avLst/>
              <a:gdLst>
                <a:gd name="connsiteX0" fmla="*/ 0 w 11324"/>
                <a:gd name="connsiteY0" fmla="*/ 0 h 25887"/>
                <a:gd name="connsiteX1" fmla="*/ 0 w 11324"/>
                <a:gd name="connsiteY1" fmla="*/ 25888 h 25887"/>
              </a:gdLst>
              <a:ahLst/>
              <a:cxnLst>
                <a:cxn ang="0">
                  <a:pos x="connsiteX0" y="connsiteY0"/>
                </a:cxn>
                <a:cxn ang="0">
                  <a:pos x="connsiteX1" y="connsiteY1"/>
                </a:cxn>
              </a:cxnLst>
              <a:rect l="l" t="t" r="r" b="b"/>
              <a:pathLst>
                <a:path w="11324" h="25887">
                  <a:moveTo>
                    <a:pt x="0" y="0"/>
                  </a:moveTo>
                  <a:lnTo>
                    <a:pt x="0" y="25888"/>
                  </a:lnTo>
                </a:path>
              </a:pathLst>
            </a:custGeom>
            <a:ln w="63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4" name="Freeform 232">
              <a:extLst>
                <a:ext uri="{FF2B5EF4-FFF2-40B4-BE49-F238E27FC236}">
                  <a16:creationId xmlns:a16="http://schemas.microsoft.com/office/drawing/2014/main" id="{B96433DF-49A0-4707-B88A-98F08CBE75A2}"/>
                </a:ext>
              </a:extLst>
            </p:cNvPr>
            <p:cNvSpPr/>
            <p:nvPr/>
          </p:nvSpPr>
          <p:spPr>
            <a:xfrm>
              <a:off x="6096944" y="2778091"/>
              <a:ext cx="11324" cy="25887"/>
            </a:xfrm>
            <a:custGeom>
              <a:avLst/>
              <a:gdLst>
                <a:gd name="connsiteX0" fmla="*/ 0 w 11324"/>
                <a:gd name="connsiteY0" fmla="*/ 0 h 25887"/>
                <a:gd name="connsiteX1" fmla="*/ 0 w 11324"/>
                <a:gd name="connsiteY1" fmla="*/ 25888 h 25887"/>
              </a:gdLst>
              <a:ahLst/>
              <a:cxnLst>
                <a:cxn ang="0">
                  <a:pos x="connsiteX0" y="connsiteY0"/>
                </a:cxn>
                <a:cxn ang="0">
                  <a:pos x="connsiteX1" y="connsiteY1"/>
                </a:cxn>
              </a:cxnLst>
              <a:rect l="l" t="t" r="r" b="b"/>
              <a:pathLst>
                <a:path w="11324" h="25887">
                  <a:moveTo>
                    <a:pt x="0" y="0"/>
                  </a:moveTo>
                  <a:lnTo>
                    <a:pt x="0" y="25888"/>
                  </a:lnTo>
                </a:path>
              </a:pathLst>
            </a:custGeom>
            <a:ln w="63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5" name="Freeform 233">
              <a:extLst>
                <a:ext uri="{FF2B5EF4-FFF2-40B4-BE49-F238E27FC236}">
                  <a16:creationId xmlns:a16="http://schemas.microsoft.com/office/drawing/2014/main" id="{622B5E8D-6A06-43AD-8EED-78E4282F0FC8}"/>
                </a:ext>
              </a:extLst>
            </p:cNvPr>
            <p:cNvSpPr/>
            <p:nvPr/>
          </p:nvSpPr>
          <p:spPr>
            <a:xfrm>
              <a:off x="5946330" y="2778091"/>
              <a:ext cx="11324" cy="25887"/>
            </a:xfrm>
            <a:custGeom>
              <a:avLst/>
              <a:gdLst>
                <a:gd name="connsiteX0" fmla="*/ 0 w 11324"/>
                <a:gd name="connsiteY0" fmla="*/ 0 h 25887"/>
                <a:gd name="connsiteX1" fmla="*/ 0 w 11324"/>
                <a:gd name="connsiteY1" fmla="*/ 25888 h 25887"/>
              </a:gdLst>
              <a:ahLst/>
              <a:cxnLst>
                <a:cxn ang="0">
                  <a:pos x="connsiteX0" y="connsiteY0"/>
                </a:cxn>
                <a:cxn ang="0">
                  <a:pos x="connsiteX1" y="connsiteY1"/>
                </a:cxn>
              </a:cxnLst>
              <a:rect l="l" t="t" r="r" b="b"/>
              <a:pathLst>
                <a:path w="11324" h="25887">
                  <a:moveTo>
                    <a:pt x="0" y="0"/>
                  </a:moveTo>
                  <a:lnTo>
                    <a:pt x="0" y="25888"/>
                  </a:lnTo>
                </a:path>
              </a:pathLst>
            </a:custGeom>
            <a:ln w="63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6" name="Freeform 234">
              <a:extLst>
                <a:ext uri="{FF2B5EF4-FFF2-40B4-BE49-F238E27FC236}">
                  <a16:creationId xmlns:a16="http://schemas.microsoft.com/office/drawing/2014/main" id="{2A4E31AC-707F-4474-BC85-D68704766590}"/>
                </a:ext>
              </a:extLst>
            </p:cNvPr>
            <p:cNvSpPr/>
            <p:nvPr/>
          </p:nvSpPr>
          <p:spPr>
            <a:xfrm>
              <a:off x="5795828" y="2778091"/>
              <a:ext cx="11324" cy="25887"/>
            </a:xfrm>
            <a:custGeom>
              <a:avLst/>
              <a:gdLst>
                <a:gd name="connsiteX0" fmla="*/ 0 w 11324"/>
                <a:gd name="connsiteY0" fmla="*/ 0 h 25887"/>
                <a:gd name="connsiteX1" fmla="*/ 0 w 11324"/>
                <a:gd name="connsiteY1" fmla="*/ 25888 h 25887"/>
              </a:gdLst>
              <a:ahLst/>
              <a:cxnLst>
                <a:cxn ang="0">
                  <a:pos x="connsiteX0" y="connsiteY0"/>
                </a:cxn>
                <a:cxn ang="0">
                  <a:pos x="connsiteX1" y="connsiteY1"/>
                </a:cxn>
              </a:cxnLst>
              <a:rect l="l" t="t" r="r" b="b"/>
              <a:pathLst>
                <a:path w="11324" h="25887">
                  <a:moveTo>
                    <a:pt x="0" y="0"/>
                  </a:moveTo>
                  <a:lnTo>
                    <a:pt x="0" y="25888"/>
                  </a:lnTo>
                </a:path>
              </a:pathLst>
            </a:custGeom>
            <a:ln w="63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7" name="Freeform 235">
              <a:extLst>
                <a:ext uri="{FF2B5EF4-FFF2-40B4-BE49-F238E27FC236}">
                  <a16:creationId xmlns:a16="http://schemas.microsoft.com/office/drawing/2014/main" id="{C66937D4-C328-422D-A62D-385BF601D7C0}"/>
                </a:ext>
              </a:extLst>
            </p:cNvPr>
            <p:cNvSpPr/>
            <p:nvPr/>
          </p:nvSpPr>
          <p:spPr>
            <a:xfrm>
              <a:off x="5645214" y="2778091"/>
              <a:ext cx="11324" cy="25887"/>
            </a:xfrm>
            <a:custGeom>
              <a:avLst/>
              <a:gdLst>
                <a:gd name="connsiteX0" fmla="*/ 0 w 11324"/>
                <a:gd name="connsiteY0" fmla="*/ 0 h 25887"/>
                <a:gd name="connsiteX1" fmla="*/ 0 w 11324"/>
                <a:gd name="connsiteY1" fmla="*/ 25888 h 25887"/>
              </a:gdLst>
              <a:ahLst/>
              <a:cxnLst>
                <a:cxn ang="0">
                  <a:pos x="connsiteX0" y="connsiteY0"/>
                </a:cxn>
                <a:cxn ang="0">
                  <a:pos x="connsiteX1" y="connsiteY1"/>
                </a:cxn>
              </a:cxnLst>
              <a:rect l="l" t="t" r="r" b="b"/>
              <a:pathLst>
                <a:path w="11324" h="25887">
                  <a:moveTo>
                    <a:pt x="0" y="0"/>
                  </a:moveTo>
                  <a:lnTo>
                    <a:pt x="0" y="25888"/>
                  </a:lnTo>
                </a:path>
              </a:pathLst>
            </a:custGeom>
            <a:ln w="63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8" name="Freeform 236">
              <a:extLst>
                <a:ext uri="{FF2B5EF4-FFF2-40B4-BE49-F238E27FC236}">
                  <a16:creationId xmlns:a16="http://schemas.microsoft.com/office/drawing/2014/main" id="{F06BD126-835C-4144-A18D-B8D82C059557}"/>
                </a:ext>
              </a:extLst>
            </p:cNvPr>
            <p:cNvSpPr/>
            <p:nvPr/>
          </p:nvSpPr>
          <p:spPr>
            <a:xfrm>
              <a:off x="5494712" y="2778091"/>
              <a:ext cx="11324" cy="25887"/>
            </a:xfrm>
            <a:custGeom>
              <a:avLst/>
              <a:gdLst>
                <a:gd name="connsiteX0" fmla="*/ 0 w 11324"/>
                <a:gd name="connsiteY0" fmla="*/ 0 h 25887"/>
                <a:gd name="connsiteX1" fmla="*/ 0 w 11324"/>
                <a:gd name="connsiteY1" fmla="*/ 25888 h 25887"/>
              </a:gdLst>
              <a:ahLst/>
              <a:cxnLst>
                <a:cxn ang="0">
                  <a:pos x="connsiteX0" y="connsiteY0"/>
                </a:cxn>
                <a:cxn ang="0">
                  <a:pos x="connsiteX1" y="connsiteY1"/>
                </a:cxn>
              </a:cxnLst>
              <a:rect l="l" t="t" r="r" b="b"/>
              <a:pathLst>
                <a:path w="11324" h="25887">
                  <a:moveTo>
                    <a:pt x="0" y="0"/>
                  </a:moveTo>
                  <a:lnTo>
                    <a:pt x="0" y="25888"/>
                  </a:lnTo>
                </a:path>
              </a:pathLst>
            </a:custGeom>
            <a:ln w="63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9" name="Freeform 237">
              <a:extLst>
                <a:ext uri="{FF2B5EF4-FFF2-40B4-BE49-F238E27FC236}">
                  <a16:creationId xmlns:a16="http://schemas.microsoft.com/office/drawing/2014/main" id="{72371B22-4B71-475A-B7CD-DFB874095E9A}"/>
                </a:ext>
              </a:extLst>
            </p:cNvPr>
            <p:cNvSpPr/>
            <p:nvPr/>
          </p:nvSpPr>
          <p:spPr>
            <a:xfrm>
              <a:off x="5344098" y="2778091"/>
              <a:ext cx="11324" cy="25887"/>
            </a:xfrm>
            <a:custGeom>
              <a:avLst/>
              <a:gdLst>
                <a:gd name="connsiteX0" fmla="*/ 0 w 11324"/>
                <a:gd name="connsiteY0" fmla="*/ 0 h 25887"/>
                <a:gd name="connsiteX1" fmla="*/ 0 w 11324"/>
                <a:gd name="connsiteY1" fmla="*/ 25888 h 25887"/>
              </a:gdLst>
              <a:ahLst/>
              <a:cxnLst>
                <a:cxn ang="0">
                  <a:pos x="connsiteX0" y="connsiteY0"/>
                </a:cxn>
                <a:cxn ang="0">
                  <a:pos x="connsiteX1" y="connsiteY1"/>
                </a:cxn>
              </a:cxnLst>
              <a:rect l="l" t="t" r="r" b="b"/>
              <a:pathLst>
                <a:path w="11324" h="25887">
                  <a:moveTo>
                    <a:pt x="0" y="0"/>
                  </a:moveTo>
                  <a:lnTo>
                    <a:pt x="0" y="25888"/>
                  </a:lnTo>
                </a:path>
              </a:pathLst>
            </a:custGeom>
            <a:ln w="63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0" name="Freeform 238">
              <a:extLst>
                <a:ext uri="{FF2B5EF4-FFF2-40B4-BE49-F238E27FC236}">
                  <a16:creationId xmlns:a16="http://schemas.microsoft.com/office/drawing/2014/main" id="{828816EB-A92C-4443-9A4F-FF6601724EAC}"/>
                </a:ext>
              </a:extLst>
            </p:cNvPr>
            <p:cNvSpPr/>
            <p:nvPr/>
          </p:nvSpPr>
          <p:spPr>
            <a:xfrm>
              <a:off x="5193596" y="2778091"/>
              <a:ext cx="11324" cy="25887"/>
            </a:xfrm>
            <a:custGeom>
              <a:avLst/>
              <a:gdLst>
                <a:gd name="connsiteX0" fmla="*/ 0 w 11324"/>
                <a:gd name="connsiteY0" fmla="*/ 0 h 25887"/>
                <a:gd name="connsiteX1" fmla="*/ 0 w 11324"/>
                <a:gd name="connsiteY1" fmla="*/ 25888 h 25887"/>
              </a:gdLst>
              <a:ahLst/>
              <a:cxnLst>
                <a:cxn ang="0">
                  <a:pos x="connsiteX0" y="connsiteY0"/>
                </a:cxn>
                <a:cxn ang="0">
                  <a:pos x="connsiteX1" y="connsiteY1"/>
                </a:cxn>
              </a:cxnLst>
              <a:rect l="l" t="t" r="r" b="b"/>
              <a:pathLst>
                <a:path w="11324" h="25887">
                  <a:moveTo>
                    <a:pt x="0" y="0"/>
                  </a:moveTo>
                  <a:lnTo>
                    <a:pt x="0" y="25888"/>
                  </a:lnTo>
                </a:path>
              </a:pathLst>
            </a:custGeom>
            <a:ln w="63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1" name="Freeform 239">
              <a:extLst>
                <a:ext uri="{FF2B5EF4-FFF2-40B4-BE49-F238E27FC236}">
                  <a16:creationId xmlns:a16="http://schemas.microsoft.com/office/drawing/2014/main" id="{57887681-F7E2-431C-901C-7ADCA6C6DDD9}"/>
                </a:ext>
              </a:extLst>
            </p:cNvPr>
            <p:cNvSpPr/>
            <p:nvPr/>
          </p:nvSpPr>
          <p:spPr>
            <a:xfrm>
              <a:off x="5042982" y="2778091"/>
              <a:ext cx="11324" cy="25887"/>
            </a:xfrm>
            <a:custGeom>
              <a:avLst/>
              <a:gdLst>
                <a:gd name="connsiteX0" fmla="*/ 0 w 11324"/>
                <a:gd name="connsiteY0" fmla="*/ 0 h 25887"/>
                <a:gd name="connsiteX1" fmla="*/ 0 w 11324"/>
                <a:gd name="connsiteY1" fmla="*/ 25888 h 25887"/>
              </a:gdLst>
              <a:ahLst/>
              <a:cxnLst>
                <a:cxn ang="0">
                  <a:pos x="connsiteX0" y="connsiteY0"/>
                </a:cxn>
                <a:cxn ang="0">
                  <a:pos x="connsiteX1" y="connsiteY1"/>
                </a:cxn>
              </a:cxnLst>
              <a:rect l="l" t="t" r="r" b="b"/>
              <a:pathLst>
                <a:path w="11324" h="25887">
                  <a:moveTo>
                    <a:pt x="0" y="0"/>
                  </a:moveTo>
                  <a:lnTo>
                    <a:pt x="0" y="25888"/>
                  </a:lnTo>
                </a:path>
              </a:pathLst>
            </a:custGeom>
            <a:ln w="63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2" name="Freeform 240">
              <a:extLst>
                <a:ext uri="{FF2B5EF4-FFF2-40B4-BE49-F238E27FC236}">
                  <a16:creationId xmlns:a16="http://schemas.microsoft.com/office/drawing/2014/main" id="{11B27F8D-3FF2-4FC4-B718-1F8128F45BD0}"/>
                </a:ext>
              </a:extLst>
            </p:cNvPr>
            <p:cNvSpPr/>
            <p:nvPr/>
          </p:nvSpPr>
          <p:spPr>
            <a:xfrm>
              <a:off x="4892480" y="2778091"/>
              <a:ext cx="11324" cy="25887"/>
            </a:xfrm>
            <a:custGeom>
              <a:avLst/>
              <a:gdLst>
                <a:gd name="connsiteX0" fmla="*/ 0 w 11324"/>
                <a:gd name="connsiteY0" fmla="*/ 0 h 25887"/>
                <a:gd name="connsiteX1" fmla="*/ 0 w 11324"/>
                <a:gd name="connsiteY1" fmla="*/ 25888 h 25887"/>
              </a:gdLst>
              <a:ahLst/>
              <a:cxnLst>
                <a:cxn ang="0">
                  <a:pos x="connsiteX0" y="connsiteY0"/>
                </a:cxn>
                <a:cxn ang="0">
                  <a:pos x="connsiteX1" y="connsiteY1"/>
                </a:cxn>
              </a:cxnLst>
              <a:rect l="l" t="t" r="r" b="b"/>
              <a:pathLst>
                <a:path w="11324" h="25887">
                  <a:moveTo>
                    <a:pt x="0" y="0"/>
                  </a:moveTo>
                  <a:lnTo>
                    <a:pt x="0" y="25888"/>
                  </a:lnTo>
                </a:path>
              </a:pathLst>
            </a:custGeom>
            <a:ln w="63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3" name="Freeform 241">
              <a:extLst>
                <a:ext uri="{FF2B5EF4-FFF2-40B4-BE49-F238E27FC236}">
                  <a16:creationId xmlns:a16="http://schemas.microsoft.com/office/drawing/2014/main" id="{821011DE-9788-4CCF-9814-EC96352B4B91}"/>
                </a:ext>
              </a:extLst>
            </p:cNvPr>
            <p:cNvSpPr/>
            <p:nvPr/>
          </p:nvSpPr>
          <p:spPr>
            <a:xfrm>
              <a:off x="4741865" y="2778091"/>
              <a:ext cx="11324" cy="25887"/>
            </a:xfrm>
            <a:custGeom>
              <a:avLst/>
              <a:gdLst>
                <a:gd name="connsiteX0" fmla="*/ 0 w 11324"/>
                <a:gd name="connsiteY0" fmla="*/ 0 h 25887"/>
                <a:gd name="connsiteX1" fmla="*/ 0 w 11324"/>
                <a:gd name="connsiteY1" fmla="*/ 25888 h 25887"/>
              </a:gdLst>
              <a:ahLst/>
              <a:cxnLst>
                <a:cxn ang="0">
                  <a:pos x="connsiteX0" y="connsiteY0"/>
                </a:cxn>
                <a:cxn ang="0">
                  <a:pos x="connsiteX1" y="connsiteY1"/>
                </a:cxn>
              </a:cxnLst>
              <a:rect l="l" t="t" r="r" b="b"/>
              <a:pathLst>
                <a:path w="11324" h="25887">
                  <a:moveTo>
                    <a:pt x="0" y="0"/>
                  </a:moveTo>
                  <a:lnTo>
                    <a:pt x="0" y="25888"/>
                  </a:lnTo>
                </a:path>
              </a:pathLst>
            </a:custGeom>
            <a:ln w="63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4" name="Freeform 242">
              <a:extLst>
                <a:ext uri="{FF2B5EF4-FFF2-40B4-BE49-F238E27FC236}">
                  <a16:creationId xmlns:a16="http://schemas.microsoft.com/office/drawing/2014/main" id="{48B0AC31-13E3-4E30-84B4-6D753A1FA81E}"/>
                </a:ext>
              </a:extLst>
            </p:cNvPr>
            <p:cNvSpPr/>
            <p:nvPr/>
          </p:nvSpPr>
          <p:spPr>
            <a:xfrm>
              <a:off x="6849791" y="2778091"/>
              <a:ext cx="11324" cy="25887"/>
            </a:xfrm>
            <a:custGeom>
              <a:avLst/>
              <a:gdLst>
                <a:gd name="connsiteX0" fmla="*/ 0 w 11324"/>
                <a:gd name="connsiteY0" fmla="*/ 0 h 25887"/>
                <a:gd name="connsiteX1" fmla="*/ 0 w 11324"/>
                <a:gd name="connsiteY1" fmla="*/ 25888 h 25887"/>
              </a:gdLst>
              <a:ahLst/>
              <a:cxnLst>
                <a:cxn ang="0">
                  <a:pos x="connsiteX0" y="connsiteY0"/>
                </a:cxn>
                <a:cxn ang="0">
                  <a:pos x="connsiteX1" y="connsiteY1"/>
                </a:cxn>
              </a:cxnLst>
              <a:rect l="l" t="t" r="r" b="b"/>
              <a:pathLst>
                <a:path w="11324" h="25887">
                  <a:moveTo>
                    <a:pt x="0" y="0"/>
                  </a:moveTo>
                  <a:lnTo>
                    <a:pt x="0" y="25888"/>
                  </a:lnTo>
                </a:path>
              </a:pathLst>
            </a:custGeom>
            <a:ln w="63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22" name="Graphic 20656">
            <a:extLst>
              <a:ext uri="{FF2B5EF4-FFF2-40B4-BE49-F238E27FC236}">
                <a16:creationId xmlns:a16="http://schemas.microsoft.com/office/drawing/2014/main" id="{13FDB5B8-01CF-4AC2-9FD1-DC4B009F3EED}"/>
              </a:ext>
            </a:extLst>
          </p:cNvPr>
          <p:cNvGrpSpPr/>
          <p:nvPr/>
        </p:nvGrpSpPr>
        <p:grpSpPr>
          <a:xfrm>
            <a:off x="3862955" y="1703100"/>
            <a:ext cx="3825236" cy="2339468"/>
            <a:chOff x="4580719" y="1007175"/>
            <a:chExt cx="1788238" cy="1720049"/>
          </a:xfrm>
          <a:noFill/>
        </p:grpSpPr>
        <p:sp>
          <p:nvSpPr>
            <p:cNvPr id="173" name="Freeform 171">
              <a:extLst>
                <a:ext uri="{FF2B5EF4-FFF2-40B4-BE49-F238E27FC236}">
                  <a16:creationId xmlns:a16="http://schemas.microsoft.com/office/drawing/2014/main" id="{41ADF148-1660-4D7B-95F3-09DB72150716}"/>
                </a:ext>
              </a:extLst>
            </p:cNvPr>
            <p:cNvSpPr/>
            <p:nvPr/>
          </p:nvSpPr>
          <p:spPr>
            <a:xfrm>
              <a:off x="4609030" y="1020913"/>
              <a:ext cx="1745544" cy="1692118"/>
            </a:xfrm>
            <a:custGeom>
              <a:avLst/>
              <a:gdLst>
                <a:gd name="connsiteX0" fmla="*/ 0 w 1745544"/>
                <a:gd name="connsiteY0" fmla="*/ 0 h 1692118"/>
                <a:gd name="connsiteX1" fmla="*/ 5322 w 1745544"/>
                <a:gd name="connsiteY1" fmla="*/ 0 h 1692118"/>
                <a:gd name="connsiteX2" fmla="*/ 5322 w 1745544"/>
                <a:gd name="connsiteY2" fmla="*/ 9538 h 1692118"/>
                <a:gd name="connsiteX3" fmla="*/ 22875 w 1745544"/>
                <a:gd name="connsiteY3" fmla="*/ 9538 h 1692118"/>
                <a:gd name="connsiteX4" fmla="*/ 22875 w 1745544"/>
                <a:gd name="connsiteY4" fmla="*/ 24184 h 1692118"/>
                <a:gd name="connsiteX5" fmla="*/ 30010 w 1745544"/>
                <a:gd name="connsiteY5" fmla="*/ 24184 h 1692118"/>
                <a:gd name="connsiteX6" fmla="*/ 30010 w 1745544"/>
                <a:gd name="connsiteY6" fmla="*/ 38264 h 1692118"/>
                <a:gd name="connsiteX7" fmla="*/ 45411 w 1745544"/>
                <a:gd name="connsiteY7" fmla="*/ 38264 h 1692118"/>
                <a:gd name="connsiteX8" fmla="*/ 45411 w 1745544"/>
                <a:gd name="connsiteY8" fmla="*/ 45871 h 1692118"/>
                <a:gd name="connsiteX9" fmla="*/ 47336 w 1745544"/>
                <a:gd name="connsiteY9" fmla="*/ 45871 h 1692118"/>
                <a:gd name="connsiteX10" fmla="*/ 47336 w 1745544"/>
                <a:gd name="connsiteY10" fmla="*/ 57679 h 1692118"/>
                <a:gd name="connsiteX11" fmla="*/ 51979 w 1745544"/>
                <a:gd name="connsiteY11" fmla="*/ 57679 h 1692118"/>
                <a:gd name="connsiteX12" fmla="*/ 51979 w 1745544"/>
                <a:gd name="connsiteY12" fmla="*/ 67671 h 1692118"/>
                <a:gd name="connsiteX13" fmla="*/ 57075 w 1745544"/>
                <a:gd name="connsiteY13" fmla="*/ 67671 h 1692118"/>
                <a:gd name="connsiteX14" fmla="*/ 57075 w 1745544"/>
                <a:gd name="connsiteY14" fmla="*/ 84248 h 1692118"/>
                <a:gd name="connsiteX15" fmla="*/ 63870 w 1745544"/>
                <a:gd name="connsiteY15" fmla="*/ 84248 h 1692118"/>
                <a:gd name="connsiteX16" fmla="*/ 63870 w 1745544"/>
                <a:gd name="connsiteY16" fmla="*/ 98100 h 1692118"/>
                <a:gd name="connsiteX17" fmla="*/ 72136 w 1745544"/>
                <a:gd name="connsiteY17" fmla="*/ 98100 h 1692118"/>
                <a:gd name="connsiteX18" fmla="*/ 72136 w 1745544"/>
                <a:gd name="connsiteY18" fmla="*/ 108546 h 1692118"/>
                <a:gd name="connsiteX19" fmla="*/ 78025 w 1745544"/>
                <a:gd name="connsiteY19" fmla="*/ 108546 h 1692118"/>
                <a:gd name="connsiteX20" fmla="*/ 78025 w 1745544"/>
                <a:gd name="connsiteY20" fmla="*/ 234805 h 1692118"/>
                <a:gd name="connsiteX21" fmla="*/ 82555 w 1745544"/>
                <a:gd name="connsiteY21" fmla="*/ 234805 h 1692118"/>
                <a:gd name="connsiteX22" fmla="*/ 82555 w 1745544"/>
                <a:gd name="connsiteY22" fmla="*/ 257173 h 1692118"/>
                <a:gd name="connsiteX23" fmla="*/ 84593 w 1745544"/>
                <a:gd name="connsiteY23" fmla="*/ 257173 h 1692118"/>
                <a:gd name="connsiteX24" fmla="*/ 84593 w 1745544"/>
                <a:gd name="connsiteY24" fmla="*/ 288170 h 1692118"/>
                <a:gd name="connsiteX25" fmla="*/ 86858 w 1745544"/>
                <a:gd name="connsiteY25" fmla="*/ 288170 h 1692118"/>
                <a:gd name="connsiteX26" fmla="*/ 86858 w 1745544"/>
                <a:gd name="connsiteY26" fmla="*/ 346303 h 1692118"/>
                <a:gd name="connsiteX27" fmla="*/ 88217 w 1745544"/>
                <a:gd name="connsiteY27" fmla="*/ 346303 h 1692118"/>
                <a:gd name="connsiteX28" fmla="*/ 88217 w 1745544"/>
                <a:gd name="connsiteY28" fmla="*/ 426691 h 1692118"/>
                <a:gd name="connsiteX29" fmla="*/ 90142 w 1745544"/>
                <a:gd name="connsiteY29" fmla="*/ 426691 h 1692118"/>
                <a:gd name="connsiteX30" fmla="*/ 90142 w 1745544"/>
                <a:gd name="connsiteY30" fmla="*/ 657182 h 1692118"/>
                <a:gd name="connsiteX31" fmla="*/ 92860 w 1745544"/>
                <a:gd name="connsiteY31" fmla="*/ 657182 h 1692118"/>
                <a:gd name="connsiteX32" fmla="*/ 92860 w 1745544"/>
                <a:gd name="connsiteY32" fmla="*/ 764820 h 1692118"/>
                <a:gd name="connsiteX33" fmla="*/ 100221 w 1745544"/>
                <a:gd name="connsiteY33" fmla="*/ 764820 h 1692118"/>
                <a:gd name="connsiteX34" fmla="*/ 100221 w 1745544"/>
                <a:gd name="connsiteY34" fmla="*/ 773676 h 1692118"/>
                <a:gd name="connsiteX35" fmla="*/ 103165 w 1745544"/>
                <a:gd name="connsiteY35" fmla="*/ 773676 h 1692118"/>
                <a:gd name="connsiteX36" fmla="*/ 103165 w 1745544"/>
                <a:gd name="connsiteY36" fmla="*/ 792865 h 1692118"/>
                <a:gd name="connsiteX37" fmla="*/ 108488 w 1745544"/>
                <a:gd name="connsiteY37" fmla="*/ 792865 h 1692118"/>
                <a:gd name="connsiteX38" fmla="*/ 108488 w 1745544"/>
                <a:gd name="connsiteY38" fmla="*/ 804105 h 1692118"/>
                <a:gd name="connsiteX39" fmla="*/ 119812 w 1745544"/>
                <a:gd name="connsiteY39" fmla="*/ 804105 h 1692118"/>
                <a:gd name="connsiteX40" fmla="*/ 119812 w 1745544"/>
                <a:gd name="connsiteY40" fmla="*/ 826360 h 1692118"/>
                <a:gd name="connsiteX41" fmla="*/ 125248 w 1745544"/>
                <a:gd name="connsiteY41" fmla="*/ 826360 h 1692118"/>
                <a:gd name="connsiteX42" fmla="*/ 125248 w 1745544"/>
                <a:gd name="connsiteY42" fmla="*/ 839303 h 1692118"/>
                <a:gd name="connsiteX43" fmla="*/ 142914 w 1745544"/>
                <a:gd name="connsiteY43" fmla="*/ 839303 h 1692118"/>
                <a:gd name="connsiteX44" fmla="*/ 142914 w 1745544"/>
                <a:gd name="connsiteY44" fmla="*/ 848273 h 1692118"/>
                <a:gd name="connsiteX45" fmla="*/ 153559 w 1745544"/>
                <a:gd name="connsiteY45" fmla="*/ 848273 h 1692118"/>
                <a:gd name="connsiteX46" fmla="*/ 153559 w 1745544"/>
                <a:gd name="connsiteY46" fmla="*/ 853723 h 1692118"/>
                <a:gd name="connsiteX47" fmla="*/ 166582 w 1745544"/>
                <a:gd name="connsiteY47" fmla="*/ 853723 h 1692118"/>
                <a:gd name="connsiteX48" fmla="*/ 166582 w 1745544"/>
                <a:gd name="connsiteY48" fmla="*/ 875637 h 1692118"/>
                <a:gd name="connsiteX49" fmla="*/ 177906 w 1745544"/>
                <a:gd name="connsiteY49" fmla="*/ 875637 h 1692118"/>
                <a:gd name="connsiteX50" fmla="*/ 177906 w 1745544"/>
                <a:gd name="connsiteY50" fmla="*/ 887445 h 1692118"/>
                <a:gd name="connsiteX51" fmla="*/ 186173 w 1745544"/>
                <a:gd name="connsiteY51" fmla="*/ 887445 h 1692118"/>
                <a:gd name="connsiteX52" fmla="*/ 186173 w 1745544"/>
                <a:gd name="connsiteY52" fmla="*/ 909359 h 1692118"/>
                <a:gd name="connsiteX53" fmla="*/ 188778 w 1745544"/>
                <a:gd name="connsiteY53" fmla="*/ 909359 h 1692118"/>
                <a:gd name="connsiteX54" fmla="*/ 188778 w 1745544"/>
                <a:gd name="connsiteY54" fmla="*/ 937858 h 1692118"/>
                <a:gd name="connsiteX55" fmla="*/ 191722 w 1745544"/>
                <a:gd name="connsiteY55" fmla="*/ 937858 h 1692118"/>
                <a:gd name="connsiteX56" fmla="*/ 191722 w 1745544"/>
                <a:gd name="connsiteY56" fmla="*/ 1011660 h 1692118"/>
                <a:gd name="connsiteX57" fmla="*/ 193874 w 1745544"/>
                <a:gd name="connsiteY57" fmla="*/ 1011660 h 1692118"/>
                <a:gd name="connsiteX58" fmla="*/ 193874 w 1745544"/>
                <a:gd name="connsiteY58" fmla="*/ 1038570 h 1692118"/>
                <a:gd name="connsiteX59" fmla="*/ 198970 w 1745544"/>
                <a:gd name="connsiteY59" fmla="*/ 1038570 h 1692118"/>
                <a:gd name="connsiteX60" fmla="*/ 198970 w 1745544"/>
                <a:gd name="connsiteY60" fmla="*/ 1064003 h 1692118"/>
                <a:gd name="connsiteX61" fmla="*/ 206218 w 1745544"/>
                <a:gd name="connsiteY61" fmla="*/ 1064003 h 1692118"/>
                <a:gd name="connsiteX62" fmla="*/ 206218 w 1745544"/>
                <a:gd name="connsiteY62" fmla="*/ 1071951 h 1692118"/>
                <a:gd name="connsiteX63" fmla="*/ 250496 w 1745544"/>
                <a:gd name="connsiteY63" fmla="*/ 1071951 h 1692118"/>
                <a:gd name="connsiteX64" fmla="*/ 250496 w 1745544"/>
                <a:gd name="connsiteY64" fmla="*/ 1086257 h 1692118"/>
                <a:gd name="connsiteX65" fmla="*/ 255252 w 1745544"/>
                <a:gd name="connsiteY65" fmla="*/ 1086257 h 1692118"/>
                <a:gd name="connsiteX66" fmla="*/ 255252 w 1745544"/>
                <a:gd name="connsiteY66" fmla="*/ 1093184 h 1692118"/>
                <a:gd name="connsiteX67" fmla="*/ 266577 w 1745544"/>
                <a:gd name="connsiteY67" fmla="*/ 1093184 h 1692118"/>
                <a:gd name="connsiteX68" fmla="*/ 266577 w 1745544"/>
                <a:gd name="connsiteY68" fmla="*/ 1100450 h 1692118"/>
                <a:gd name="connsiteX69" fmla="*/ 288999 w 1745544"/>
                <a:gd name="connsiteY69" fmla="*/ 1100450 h 1692118"/>
                <a:gd name="connsiteX70" fmla="*/ 288999 w 1745544"/>
                <a:gd name="connsiteY70" fmla="*/ 1106468 h 1692118"/>
                <a:gd name="connsiteX71" fmla="*/ 293642 w 1745544"/>
                <a:gd name="connsiteY71" fmla="*/ 1106468 h 1692118"/>
                <a:gd name="connsiteX72" fmla="*/ 293642 w 1745544"/>
                <a:gd name="connsiteY72" fmla="*/ 1139168 h 1692118"/>
                <a:gd name="connsiteX73" fmla="*/ 298285 w 1745544"/>
                <a:gd name="connsiteY73" fmla="*/ 1139168 h 1692118"/>
                <a:gd name="connsiteX74" fmla="*/ 298285 w 1745544"/>
                <a:gd name="connsiteY74" fmla="*/ 1177545 h 1692118"/>
                <a:gd name="connsiteX75" fmla="*/ 300550 w 1745544"/>
                <a:gd name="connsiteY75" fmla="*/ 1177545 h 1692118"/>
                <a:gd name="connsiteX76" fmla="*/ 300550 w 1745544"/>
                <a:gd name="connsiteY76" fmla="*/ 1199345 h 1692118"/>
                <a:gd name="connsiteX77" fmla="*/ 311648 w 1745544"/>
                <a:gd name="connsiteY77" fmla="*/ 1199345 h 1692118"/>
                <a:gd name="connsiteX78" fmla="*/ 311648 w 1745544"/>
                <a:gd name="connsiteY78" fmla="*/ 1208883 h 1692118"/>
                <a:gd name="connsiteX79" fmla="*/ 339732 w 1745544"/>
                <a:gd name="connsiteY79" fmla="*/ 1208883 h 1692118"/>
                <a:gd name="connsiteX80" fmla="*/ 339732 w 1745544"/>
                <a:gd name="connsiteY80" fmla="*/ 1220918 h 1692118"/>
                <a:gd name="connsiteX81" fmla="*/ 347546 w 1745544"/>
                <a:gd name="connsiteY81" fmla="*/ 1220918 h 1692118"/>
                <a:gd name="connsiteX82" fmla="*/ 347546 w 1745544"/>
                <a:gd name="connsiteY82" fmla="*/ 1229093 h 1692118"/>
                <a:gd name="connsiteX83" fmla="*/ 362947 w 1745544"/>
                <a:gd name="connsiteY83" fmla="*/ 1229093 h 1692118"/>
                <a:gd name="connsiteX84" fmla="*/ 362947 w 1745544"/>
                <a:gd name="connsiteY84" fmla="*/ 1237609 h 1692118"/>
                <a:gd name="connsiteX85" fmla="*/ 392278 w 1745544"/>
                <a:gd name="connsiteY85" fmla="*/ 1237609 h 1692118"/>
                <a:gd name="connsiteX86" fmla="*/ 392278 w 1745544"/>
                <a:gd name="connsiteY86" fmla="*/ 1253505 h 1692118"/>
                <a:gd name="connsiteX87" fmla="*/ 396694 w 1745544"/>
                <a:gd name="connsiteY87" fmla="*/ 1253505 h 1692118"/>
                <a:gd name="connsiteX88" fmla="*/ 396694 w 1745544"/>
                <a:gd name="connsiteY88" fmla="*/ 1290293 h 1692118"/>
                <a:gd name="connsiteX89" fmla="*/ 400771 w 1745544"/>
                <a:gd name="connsiteY89" fmla="*/ 1290293 h 1692118"/>
                <a:gd name="connsiteX90" fmla="*/ 400771 w 1745544"/>
                <a:gd name="connsiteY90" fmla="*/ 1315045 h 1692118"/>
                <a:gd name="connsiteX91" fmla="*/ 498048 w 1745544"/>
                <a:gd name="connsiteY91" fmla="*/ 1315045 h 1692118"/>
                <a:gd name="connsiteX92" fmla="*/ 498048 w 1745544"/>
                <a:gd name="connsiteY92" fmla="*/ 1324015 h 1692118"/>
                <a:gd name="connsiteX93" fmla="*/ 501558 w 1745544"/>
                <a:gd name="connsiteY93" fmla="*/ 1324015 h 1692118"/>
                <a:gd name="connsiteX94" fmla="*/ 501558 w 1745544"/>
                <a:gd name="connsiteY94" fmla="*/ 1337413 h 1692118"/>
                <a:gd name="connsiteX95" fmla="*/ 503596 w 1745544"/>
                <a:gd name="connsiteY95" fmla="*/ 1337413 h 1692118"/>
                <a:gd name="connsiteX96" fmla="*/ 503596 w 1745544"/>
                <a:gd name="connsiteY96" fmla="*/ 1359894 h 1692118"/>
                <a:gd name="connsiteX97" fmla="*/ 507334 w 1745544"/>
                <a:gd name="connsiteY97" fmla="*/ 1359894 h 1692118"/>
                <a:gd name="connsiteX98" fmla="*/ 507334 w 1745544"/>
                <a:gd name="connsiteY98" fmla="*/ 1366366 h 1692118"/>
                <a:gd name="connsiteX99" fmla="*/ 511071 w 1745544"/>
                <a:gd name="connsiteY99" fmla="*/ 1366366 h 1692118"/>
                <a:gd name="connsiteX100" fmla="*/ 511071 w 1745544"/>
                <a:gd name="connsiteY100" fmla="*/ 1368864 h 1692118"/>
                <a:gd name="connsiteX101" fmla="*/ 517639 w 1745544"/>
                <a:gd name="connsiteY101" fmla="*/ 1368864 h 1692118"/>
                <a:gd name="connsiteX102" fmla="*/ 517639 w 1745544"/>
                <a:gd name="connsiteY102" fmla="*/ 1372724 h 1692118"/>
                <a:gd name="connsiteX103" fmla="*/ 524207 w 1745544"/>
                <a:gd name="connsiteY103" fmla="*/ 1372724 h 1692118"/>
                <a:gd name="connsiteX104" fmla="*/ 524207 w 1745544"/>
                <a:gd name="connsiteY104" fmla="*/ 1379423 h 1692118"/>
                <a:gd name="connsiteX105" fmla="*/ 549800 w 1745544"/>
                <a:gd name="connsiteY105" fmla="*/ 1379423 h 1692118"/>
                <a:gd name="connsiteX106" fmla="*/ 549800 w 1745544"/>
                <a:gd name="connsiteY106" fmla="*/ 1393162 h 1692118"/>
                <a:gd name="connsiteX107" fmla="*/ 577658 w 1745544"/>
                <a:gd name="connsiteY107" fmla="*/ 1393162 h 1692118"/>
                <a:gd name="connsiteX108" fmla="*/ 577658 w 1745544"/>
                <a:gd name="connsiteY108" fmla="*/ 1404857 h 1692118"/>
                <a:gd name="connsiteX109" fmla="*/ 621031 w 1745544"/>
                <a:gd name="connsiteY109" fmla="*/ 1404857 h 1692118"/>
                <a:gd name="connsiteX110" fmla="*/ 621031 w 1745544"/>
                <a:gd name="connsiteY110" fmla="*/ 1416665 h 1692118"/>
                <a:gd name="connsiteX111" fmla="*/ 632808 w 1745544"/>
                <a:gd name="connsiteY111" fmla="*/ 1416665 h 1692118"/>
                <a:gd name="connsiteX112" fmla="*/ 632808 w 1745544"/>
                <a:gd name="connsiteY112" fmla="*/ 1428928 h 1692118"/>
                <a:gd name="connsiteX113" fmla="*/ 640735 w 1745544"/>
                <a:gd name="connsiteY113" fmla="*/ 1428928 h 1692118"/>
                <a:gd name="connsiteX114" fmla="*/ 640735 w 1745544"/>
                <a:gd name="connsiteY114" fmla="*/ 1457200 h 1692118"/>
                <a:gd name="connsiteX115" fmla="*/ 643113 w 1745544"/>
                <a:gd name="connsiteY115" fmla="*/ 1457200 h 1692118"/>
                <a:gd name="connsiteX116" fmla="*/ 643113 w 1745544"/>
                <a:gd name="connsiteY116" fmla="*/ 1473550 h 1692118"/>
                <a:gd name="connsiteX117" fmla="*/ 651833 w 1745544"/>
                <a:gd name="connsiteY117" fmla="*/ 1473550 h 1692118"/>
                <a:gd name="connsiteX118" fmla="*/ 651833 w 1745544"/>
                <a:gd name="connsiteY118" fmla="*/ 1503298 h 1692118"/>
                <a:gd name="connsiteX119" fmla="*/ 738805 w 1745544"/>
                <a:gd name="connsiteY119" fmla="*/ 1503298 h 1692118"/>
                <a:gd name="connsiteX120" fmla="*/ 738805 w 1745544"/>
                <a:gd name="connsiteY120" fmla="*/ 1513176 h 1692118"/>
                <a:gd name="connsiteX121" fmla="*/ 781950 w 1745544"/>
                <a:gd name="connsiteY121" fmla="*/ 1513176 h 1692118"/>
                <a:gd name="connsiteX122" fmla="*/ 781950 w 1745544"/>
                <a:gd name="connsiteY122" fmla="*/ 1551440 h 1692118"/>
                <a:gd name="connsiteX123" fmla="*/ 912974 w 1745544"/>
                <a:gd name="connsiteY123" fmla="*/ 1551440 h 1692118"/>
                <a:gd name="connsiteX124" fmla="*/ 912974 w 1745544"/>
                <a:gd name="connsiteY124" fmla="*/ 1566881 h 1692118"/>
                <a:gd name="connsiteX125" fmla="*/ 919202 w 1745544"/>
                <a:gd name="connsiteY125" fmla="*/ 1566881 h 1692118"/>
                <a:gd name="connsiteX126" fmla="*/ 919202 w 1745544"/>
                <a:gd name="connsiteY126" fmla="*/ 1583685 h 1692118"/>
                <a:gd name="connsiteX127" fmla="*/ 923619 w 1745544"/>
                <a:gd name="connsiteY127" fmla="*/ 1583685 h 1692118"/>
                <a:gd name="connsiteX128" fmla="*/ 923619 w 1745544"/>
                <a:gd name="connsiteY128" fmla="*/ 1597424 h 1692118"/>
                <a:gd name="connsiteX129" fmla="*/ 935396 w 1745544"/>
                <a:gd name="connsiteY129" fmla="*/ 1597424 h 1692118"/>
                <a:gd name="connsiteX130" fmla="*/ 935396 w 1745544"/>
                <a:gd name="connsiteY130" fmla="*/ 1611049 h 1692118"/>
                <a:gd name="connsiteX131" fmla="*/ 1338092 w 1745544"/>
                <a:gd name="connsiteY131" fmla="*/ 1611049 h 1692118"/>
                <a:gd name="connsiteX132" fmla="*/ 1338092 w 1745544"/>
                <a:gd name="connsiteY132" fmla="*/ 1629329 h 1692118"/>
                <a:gd name="connsiteX133" fmla="*/ 1484630 w 1745544"/>
                <a:gd name="connsiteY133" fmla="*/ 1629329 h 1692118"/>
                <a:gd name="connsiteX134" fmla="*/ 1484630 w 1745544"/>
                <a:gd name="connsiteY134" fmla="*/ 1646588 h 1692118"/>
                <a:gd name="connsiteX135" fmla="*/ 1611803 w 1745544"/>
                <a:gd name="connsiteY135" fmla="*/ 1646588 h 1692118"/>
                <a:gd name="connsiteX136" fmla="*/ 1611803 w 1745544"/>
                <a:gd name="connsiteY136" fmla="*/ 1668274 h 1692118"/>
                <a:gd name="connsiteX137" fmla="*/ 1627431 w 1745544"/>
                <a:gd name="connsiteY137" fmla="*/ 1668274 h 1692118"/>
                <a:gd name="connsiteX138" fmla="*/ 1627431 w 1745544"/>
                <a:gd name="connsiteY138" fmla="*/ 1692118 h 1692118"/>
                <a:gd name="connsiteX139" fmla="*/ 1745544 w 1745544"/>
                <a:gd name="connsiteY139" fmla="*/ 1692118 h 1692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Lst>
              <a:rect l="l" t="t" r="r" b="b"/>
              <a:pathLst>
                <a:path w="1745544" h="1692118">
                  <a:moveTo>
                    <a:pt x="0" y="0"/>
                  </a:moveTo>
                  <a:lnTo>
                    <a:pt x="5322" y="0"/>
                  </a:lnTo>
                  <a:lnTo>
                    <a:pt x="5322" y="9538"/>
                  </a:lnTo>
                  <a:lnTo>
                    <a:pt x="22875" y="9538"/>
                  </a:lnTo>
                  <a:lnTo>
                    <a:pt x="22875" y="24184"/>
                  </a:lnTo>
                  <a:lnTo>
                    <a:pt x="30010" y="24184"/>
                  </a:lnTo>
                  <a:lnTo>
                    <a:pt x="30010" y="38264"/>
                  </a:lnTo>
                  <a:lnTo>
                    <a:pt x="45411" y="38264"/>
                  </a:lnTo>
                  <a:lnTo>
                    <a:pt x="45411" y="45871"/>
                  </a:lnTo>
                  <a:lnTo>
                    <a:pt x="47336" y="45871"/>
                  </a:lnTo>
                  <a:lnTo>
                    <a:pt x="47336" y="57679"/>
                  </a:lnTo>
                  <a:lnTo>
                    <a:pt x="51979" y="57679"/>
                  </a:lnTo>
                  <a:lnTo>
                    <a:pt x="51979" y="67671"/>
                  </a:lnTo>
                  <a:lnTo>
                    <a:pt x="57075" y="67671"/>
                  </a:lnTo>
                  <a:lnTo>
                    <a:pt x="57075" y="84248"/>
                  </a:lnTo>
                  <a:lnTo>
                    <a:pt x="63870" y="84248"/>
                  </a:lnTo>
                  <a:lnTo>
                    <a:pt x="63870" y="98100"/>
                  </a:lnTo>
                  <a:cubicBezTo>
                    <a:pt x="63870" y="98100"/>
                    <a:pt x="72136" y="98100"/>
                    <a:pt x="72136" y="98100"/>
                  </a:cubicBezTo>
                  <a:lnTo>
                    <a:pt x="72136" y="108546"/>
                  </a:lnTo>
                  <a:lnTo>
                    <a:pt x="78025" y="108546"/>
                  </a:lnTo>
                  <a:lnTo>
                    <a:pt x="78025" y="234805"/>
                  </a:lnTo>
                  <a:lnTo>
                    <a:pt x="82555" y="234805"/>
                  </a:lnTo>
                  <a:lnTo>
                    <a:pt x="82555" y="257173"/>
                  </a:lnTo>
                  <a:lnTo>
                    <a:pt x="84593" y="257173"/>
                  </a:lnTo>
                  <a:lnTo>
                    <a:pt x="84593" y="288170"/>
                  </a:lnTo>
                  <a:lnTo>
                    <a:pt x="86858" y="288170"/>
                  </a:lnTo>
                  <a:lnTo>
                    <a:pt x="86858" y="346303"/>
                  </a:lnTo>
                  <a:lnTo>
                    <a:pt x="88217" y="346303"/>
                  </a:lnTo>
                  <a:lnTo>
                    <a:pt x="88217" y="426691"/>
                  </a:lnTo>
                  <a:lnTo>
                    <a:pt x="90142" y="426691"/>
                  </a:lnTo>
                  <a:lnTo>
                    <a:pt x="90142" y="657182"/>
                  </a:lnTo>
                  <a:lnTo>
                    <a:pt x="92860" y="657182"/>
                  </a:lnTo>
                  <a:lnTo>
                    <a:pt x="92860" y="764820"/>
                  </a:lnTo>
                  <a:lnTo>
                    <a:pt x="100221" y="764820"/>
                  </a:lnTo>
                  <a:lnTo>
                    <a:pt x="100221" y="773676"/>
                  </a:lnTo>
                  <a:lnTo>
                    <a:pt x="103165" y="773676"/>
                  </a:lnTo>
                  <a:lnTo>
                    <a:pt x="103165" y="792865"/>
                  </a:lnTo>
                  <a:lnTo>
                    <a:pt x="108488" y="792865"/>
                  </a:lnTo>
                  <a:lnTo>
                    <a:pt x="108488" y="804105"/>
                  </a:lnTo>
                  <a:lnTo>
                    <a:pt x="119812" y="804105"/>
                  </a:lnTo>
                  <a:lnTo>
                    <a:pt x="119812" y="826360"/>
                  </a:lnTo>
                  <a:lnTo>
                    <a:pt x="125248" y="826360"/>
                  </a:lnTo>
                  <a:lnTo>
                    <a:pt x="125248" y="839303"/>
                  </a:lnTo>
                  <a:lnTo>
                    <a:pt x="142914" y="839303"/>
                  </a:lnTo>
                  <a:lnTo>
                    <a:pt x="142914" y="848273"/>
                  </a:lnTo>
                  <a:lnTo>
                    <a:pt x="153559" y="848273"/>
                  </a:lnTo>
                  <a:lnTo>
                    <a:pt x="153559" y="853723"/>
                  </a:lnTo>
                  <a:lnTo>
                    <a:pt x="166582" y="853723"/>
                  </a:lnTo>
                  <a:lnTo>
                    <a:pt x="166582" y="875637"/>
                  </a:lnTo>
                  <a:lnTo>
                    <a:pt x="177906" y="875637"/>
                  </a:lnTo>
                  <a:lnTo>
                    <a:pt x="177906" y="887445"/>
                  </a:lnTo>
                  <a:lnTo>
                    <a:pt x="186173" y="887445"/>
                  </a:lnTo>
                  <a:lnTo>
                    <a:pt x="186173" y="909359"/>
                  </a:lnTo>
                  <a:lnTo>
                    <a:pt x="188778" y="909359"/>
                  </a:lnTo>
                  <a:lnTo>
                    <a:pt x="188778" y="937858"/>
                  </a:lnTo>
                  <a:lnTo>
                    <a:pt x="191722" y="937858"/>
                  </a:lnTo>
                  <a:lnTo>
                    <a:pt x="191722" y="1011660"/>
                  </a:lnTo>
                  <a:lnTo>
                    <a:pt x="193874" y="1011660"/>
                  </a:lnTo>
                  <a:lnTo>
                    <a:pt x="193874" y="1038570"/>
                  </a:lnTo>
                  <a:lnTo>
                    <a:pt x="198970" y="1038570"/>
                  </a:lnTo>
                  <a:lnTo>
                    <a:pt x="198970" y="1064003"/>
                  </a:lnTo>
                  <a:lnTo>
                    <a:pt x="206218" y="1064003"/>
                  </a:lnTo>
                  <a:lnTo>
                    <a:pt x="206218" y="1071951"/>
                  </a:lnTo>
                  <a:lnTo>
                    <a:pt x="250496" y="1071951"/>
                  </a:lnTo>
                  <a:lnTo>
                    <a:pt x="250496" y="1086257"/>
                  </a:lnTo>
                  <a:lnTo>
                    <a:pt x="255252" y="1086257"/>
                  </a:lnTo>
                  <a:lnTo>
                    <a:pt x="255252" y="1093184"/>
                  </a:lnTo>
                  <a:lnTo>
                    <a:pt x="266577" y="1093184"/>
                  </a:lnTo>
                  <a:lnTo>
                    <a:pt x="266577" y="1100450"/>
                  </a:lnTo>
                  <a:lnTo>
                    <a:pt x="288999" y="1100450"/>
                  </a:lnTo>
                  <a:lnTo>
                    <a:pt x="288999" y="1106468"/>
                  </a:lnTo>
                  <a:lnTo>
                    <a:pt x="293642" y="1106468"/>
                  </a:lnTo>
                  <a:lnTo>
                    <a:pt x="293642" y="1139168"/>
                  </a:lnTo>
                  <a:lnTo>
                    <a:pt x="298285" y="1139168"/>
                  </a:lnTo>
                  <a:lnTo>
                    <a:pt x="298285" y="1177545"/>
                  </a:lnTo>
                  <a:lnTo>
                    <a:pt x="300550" y="1177545"/>
                  </a:lnTo>
                  <a:lnTo>
                    <a:pt x="300550" y="1199345"/>
                  </a:lnTo>
                  <a:lnTo>
                    <a:pt x="311648" y="1199345"/>
                  </a:lnTo>
                  <a:lnTo>
                    <a:pt x="311648" y="1208883"/>
                  </a:lnTo>
                  <a:lnTo>
                    <a:pt x="339732" y="1208883"/>
                  </a:lnTo>
                  <a:lnTo>
                    <a:pt x="339732" y="1220918"/>
                  </a:lnTo>
                  <a:lnTo>
                    <a:pt x="347546" y="1220918"/>
                  </a:lnTo>
                  <a:lnTo>
                    <a:pt x="347546" y="1229093"/>
                  </a:lnTo>
                  <a:lnTo>
                    <a:pt x="362947" y="1229093"/>
                  </a:lnTo>
                  <a:lnTo>
                    <a:pt x="362947" y="1237609"/>
                  </a:lnTo>
                  <a:lnTo>
                    <a:pt x="392278" y="1237609"/>
                  </a:lnTo>
                  <a:lnTo>
                    <a:pt x="392278" y="1253505"/>
                  </a:lnTo>
                  <a:lnTo>
                    <a:pt x="396694" y="1253505"/>
                  </a:lnTo>
                  <a:lnTo>
                    <a:pt x="396694" y="1290293"/>
                  </a:lnTo>
                  <a:lnTo>
                    <a:pt x="400771" y="1290293"/>
                  </a:lnTo>
                  <a:lnTo>
                    <a:pt x="400771" y="1315045"/>
                  </a:lnTo>
                  <a:lnTo>
                    <a:pt x="498048" y="1315045"/>
                  </a:lnTo>
                  <a:lnTo>
                    <a:pt x="498048" y="1324015"/>
                  </a:lnTo>
                  <a:lnTo>
                    <a:pt x="501558" y="1324015"/>
                  </a:lnTo>
                  <a:lnTo>
                    <a:pt x="501558" y="1337413"/>
                  </a:lnTo>
                  <a:lnTo>
                    <a:pt x="503596" y="1337413"/>
                  </a:lnTo>
                  <a:lnTo>
                    <a:pt x="503596" y="1359894"/>
                  </a:lnTo>
                  <a:lnTo>
                    <a:pt x="507334" y="1359894"/>
                  </a:lnTo>
                  <a:lnTo>
                    <a:pt x="507334" y="1366366"/>
                  </a:lnTo>
                  <a:lnTo>
                    <a:pt x="511071" y="1366366"/>
                  </a:lnTo>
                  <a:lnTo>
                    <a:pt x="511071" y="1368864"/>
                  </a:lnTo>
                  <a:lnTo>
                    <a:pt x="517639" y="1368864"/>
                  </a:lnTo>
                  <a:lnTo>
                    <a:pt x="517639" y="1372724"/>
                  </a:lnTo>
                  <a:lnTo>
                    <a:pt x="524207" y="1372724"/>
                  </a:lnTo>
                  <a:lnTo>
                    <a:pt x="524207" y="1379423"/>
                  </a:lnTo>
                  <a:lnTo>
                    <a:pt x="549800" y="1379423"/>
                  </a:lnTo>
                  <a:lnTo>
                    <a:pt x="549800" y="1393162"/>
                  </a:lnTo>
                  <a:lnTo>
                    <a:pt x="577658" y="1393162"/>
                  </a:lnTo>
                  <a:lnTo>
                    <a:pt x="577658" y="1404857"/>
                  </a:lnTo>
                  <a:lnTo>
                    <a:pt x="621031" y="1404857"/>
                  </a:lnTo>
                  <a:lnTo>
                    <a:pt x="621031" y="1416665"/>
                  </a:lnTo>
                  <a:lnTo>
                    <a:pt x="632808" y="1416665"/>
                  </a:lnTo>
                  <a:lnTo>
                    <a:pt x="632808" y="1428928"/>
                  </a:lnTo>
                  <a:lnTo>
                    <a:pt x="640735" y="1428928"/>
                  </a:lnTo>
                  <a:lnTo>
                    <a:pt x="640735" y="1457200"/>
                  </a:lnTo>
                  <a:lnTo>
                    <a:pt x="643113" y="1457200"/>
                  </a:lnTo>
                  <a:lnTo>
                    <a:pt x="643113" y="1473550"/>
                  </a:lnTo>
                  <a:lnTo>
                    <a:pt x="651833" y="1473550"/>
                  </a:lnTo>
                  <a:lnTo>
                    <a:pt x="651833" y="1503298"/>
                  </a:lnTo>
                  <a:lnTo>
                    <a:pt x="738805" y="1503298"/>
                  </a:lnTo>
                  <a:lnTo>
                    <a:pt x="738805" y="1513176"/>
                  </a:lnTo>
                  <a:lnTo>
                    <a:pt x="781950" y="1513176"/>
                  </a:lnTo>
                  <a:lnTo>
                    <a:pt x="781950" y="1551440"/>
                  </a:lnTo>
                  <a:lnTo>
                    <a:pt x="912974" y="1551440"/>
                  </a:lnTo>
                  <a:lnTo>
                    <a:pt x="912974" y="1566881"/>
                  </a:lnTo>
                  <a:lnTo>
                    <a:pt x="919202" y="1566881"/>
                  </a:lnTo>
                  <a:lnTo>
                    <a:pt x="919202" y="1583685"/>
                  </a:lnTo>
                  <a:lnTo>
                    <a:pt x="923619" y="1583685"/>
                  </a:lnTo>
                  <a:lnTo>
                    <a:pt x="923619" y="1597424"/>
                  </a:lnTo>
                  <a:lnTo>
                    <a:pt x="935396" y="1597424"/>
                  </a:lnTo>
                  <a:lnTo>
                    <a:pt x="935396" y="1611049"/>
                  </a:lnTo>
                  <a:lnTo>
                    <a:pt x="1338092" y="1611049"/>
                  </a:lnTo>
                  <a:lnTo>
                    <a:pt x="1338092" y="1629329"/>
                  </a:lnTo>
                  <a:lnTo>
                    <a:pt x="1484630" y="1629329"/>
                  </a:lnTo>
                  <a:lnTo>
                    <a:pt x="1484630" y="1646588"/>
                  </a:lnTo>
                  <a:lnTo>
                    <a:pt x="1611803" y="1646588"/>
                  </a:lnTo>
                  <a:lnTo>
                    <a:pt x="1611803" y="1668274"/>
                  </a:lnTo>
                  <a:lnTo>
                    <a:pt x="1627431" y="1668274"/>
                  </a:lnTo>
                  <a:lnTo>
                    <a:pt x="1627431" y="1692118"/>
                  </a:lnTo>
                  <a:lnTo>
                    <a:pt x="1745544" y="1692118"/>
                  </a:lnTo>
                </a:path>
              </a:pathLst>
            </a:custGeom>
            <a:noFill/>
            <a:ln w="6350" cap="flat">
              <a:solidFill>
                <a:srgbClr val="4F74C8"/>
              </a:solidFill>
              <a:custDash>
                <a:ds d="0" sp="0"/>
                <a:ds d="37500" sp="75000"/>
              </a:custDash>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4" name="Freeform 172">
              <a:extLst>
                <a:ext uri="{FF2B5EF4-FFF2-40B4-BE49-F238E27FC236}">
                  <a16:creationId xmlns:a16="http://schemas.microsoft.com/office/drawing/2014/main" id="{DBA9E0C9-3BE5-49B1-A94F-0DE66D501EB5}"/>
                </a:ext>
              </a:extLst>
            </p:cNvPr>
            <p:cNvSpPr/>
            <p:nvPr/>
          </p:nvSpPr>
          <p:spPr>
            <a:xfrm>
              <a:off x="4580719" y="1007175"/>
              <a:ext cx="26952" cy="27023"/>
            </a:xfrm>
            <a:custGeom>
              <a:avLst/>
              <a:gdLst>
                <a:gd name="connsiteX0" fmla="*/ 26952 w 26952"/>
                <a:gd name="connsiteY0" fmla="*/ 13512 h 27023"/>
                <a:gd name="connsiteX1" fmla="*/ 13476 w 26952"/>
                <a:gd name="connsiteY1" fmla="*/ 27023 h 27023"/>
                <a:gd name="connsiteX2" fmla="*/ 0 w 26952"/>
                <a:gd name="connsiteY2" fmla="*/ 13512 h 27023"/>
                <a:gd name="connsiteX3" fmla="*/ 13476 w 26952"/>
                <a:gd name="connsiteY3" fmla="*/ 0 h 27023"/>
                <a:gd name="connsiteX4" fmla="*/ 26952 w 26952"/>
                <a:gd name="connsiteY4" fmla="*/ 13512 h 27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52" h="27023">
                  <a:moveTo>
                    <a:pt x="26952" y="13512"/>
                  </a:moveTo>
                  <a:cubicBezTo>
                    <a:pt x="26952" y="20974"/>
                    <a:pt x="20919" y="27023"/>
                    <a:pt x="13476" y="27023"/>
                  </a:cubicBezTo>
                  <a:cubicBezTo>
                    <a:pt x="6033" y="27023"/>
                    <a:pt x="0" y="20974"/>
                    <a:pt x="0" y="13512"/>
                  </a:cubicBezTo>
                  <a:cubicBezTo>
                    <a:pt x="0" y="6049"/>
                    <a:pt x="6033" y="0"/>
                    <a:pt x="13476" y="0"/>
                  </a:cubicBezTo>
                  <a:cubicBezTo>
                    <a:pt x="20919" y="0"/>
                    <a:pt x="26952" y="6049"/>
                    <a:pt x="26952" y="13512"/>
                  </a:cubicBezTo>
                  <a:close/>
                </a:path>
              </a:pathLst>
            </a:custGeom>
            <a:noFill/>
            <a:ln w="6350" cap="flat">
              <a:solidFill>
                <a:srgbClr val="4F74C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5" name="Freeform 173">
              <a:extLst>
                <a:ext uri="{FF2B5EF4-FFF2-40B4-BE49-F238E27FC236}">
                  <a16:creationId xmlns:a16="http://schemas.microsoft.com/office/drawing/2014/main" id="{E03496EF-6B7D-4990-8584-F2E5277FFE30}"/>
                </a:ext>
              </a:extLst>
            </p:cNvPr>
            <p:cNvSpPr/>
            <p:nvPr/>
          </p:nvSpPr>
          <p:spPr>
            <a:xfrm>
              <a:off x="4598045" y="1012852"/>
              <a:ext cx="26952" cy="27023"/>
            </a:xfrm>
            <a:custGeom>
              <a:avLst/>
              <a:gdLst>
                <a:gd name="connsiteX0" fmla="*/ 26952 w 26952"/>
                <a:gd name="connsiteY0" fmla="*/ 13512 h 27023"/>
                <a:gd name="connsiteX1" fmla="*/ 13476 w 26952"/>
                <a:gd name="connsiteY1" fmla="*/ 27023 h 27023"/>
                <a:gd name="connsiteX2" fmla="*/ 0 w 26952"/>
                <a:gd name="connsiteY2" fmla="*/ 13512 h 27023"/>
                <a:gd name="connsiteX3" fmla="*/ 13476 w 26952"/>
                <a:gd name="connsiteY3" fmla="*/ 0 h 27023"/>
                <a:gd name="connsiteX4" fmla="*/ 26952 w 26952"/>
                <a:gd name="connsiteY4" fmla="*/ 13512 h 27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52" h="27023">
                  <a:moveTo>
                    <a:pt x="26952" y="13512"/>
                  </a:moveTo>
                  <a:cubicBezTo>
                    <a:pt x="26952" y="20974"/>
                    <a:pt x="20919" y="27023"/>
                    <a:pt x="13476" y="27023"/>
                  </a:cubicBezTo>
                  <a:cubicBezTo>
                    <a:pt x="6033" y="27023"/>
                    <a:pt x="0" y="20974"/>
                    <a:pt x="0" y="13512"/>
                  </a:cubicBezTo>
                  <a:cubicBezTo>
                    <a:pt x="0" y="6049"/>
                    <a:pt x="6033" y="0"/>
                    <a:pt x="13476" y="0"/>
                  </a:cubicBezTo>
                  <a:cubicBezTo>
                    <a:pt x="20919" y="0"/>
                    <a:pt x="26952" y="6049"/>
                    <a:pt x="26952" y="13512"/>
                  </a:cubicBezTo>
                  <a:close/>
                </a:path>
              </a:pathLst>
            </a:custGeom>
            <a:noFill/>
            <a:ln w="6350" cap="flat">
              <a:solidFill>
                <a:srgbClr val="4F74C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6" name="Freeform 174">
              <a:extLst>
                <a:ext uri="{FF2B5EF4-FFF2-40B4-BE49-F238E27FC236}">
                  <a16:creationId xmlns:a16="http://schemas.microsoft.com/office/drawing/2014/main" id="{55A054DB-E477-4A80-8247-AEDB7D9A5721}"/>
                </a:ext>
              </a:extLst>
            </p:cNvPr>
            <p:cNvSpPr/>
            <p:nvPr/>
          </p:nvSpPr>
          <p:spPr>
            <a:xfrm>
              <a:off x="4617070" y="1023752"/>
              <a:ext cx="26952" cy="27023"/>
            </a:xfrm>
            <a:custGeom>
              <a:avLst/>
              <a:gdLst>
                <a:gd name="connsiteX0" fmla="*/ 26952 w 26952"/>
                <a:gd name="connsiteY0" fmla="*/ 13512 h 27023"/>
                <a:gd name="connsiteX1" fmla="*/ 13476 w 26952"/>
                <a:gd name="connsiteY1" fmla="*/ 27023 h 27023"/>
                <a:gd name="connsiteX2" fmla="*/ 0 w 26952"/>
                <a:gd name="connsiteY2" fmla="*/ 13512 h 27023"/>
                <a:gd name="connsiteX3" fmla="*/ 13476 w 26952"/>
                <a:gd name="connsiteY3" fmla="*/ 0 h 27023"/>
                <a:gd name="connsiteX4" fmla="*/ 26952 w 26952"/>
                <a:gd name="connsiteY4" fmla="*/ 13512 h 27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52" h="27023">
                  <a:moveTo>
                    <a:pt x="26952" y="13512"/>
                  </a:moveTo>
                  <a:cubicBezTo>
                    <a:pt x="26952" y="20974"/>
                    <a:pt x="20919" y="27023"/>
                    <a:pt x="13476" y="27023"/>
                  </a:cubicBezTo>
                  <a:cubicBezTo>
                    <a:pt x="6033" y="27023"/>
                    <a:pt x="0" y="20974"/>
                    <a:pt x="0" y="13512"/>
                  </a:cubicBezTo>
                  <a:cubicBezTo>
                    <a:pt x="0" y="6049"/>
                    <a:pt x="6033" y="0"/>
                    <a:pt x="13476" y="0"/>
                  </a:cubicBezTo>
                  <a:cubicBezTo>
                    <a:pt x="20919" y="0"/>
                    <a:pt x="26952" y="6049"/>
                    <a:pt x="26952" y="13512"/>
                  </a:cubicBezTo>
                  <a:close/>
                </a:path>
              </a:pathLst>
            </a:custGeom>
            <a:noFill/>
            <a:ln w="6350" cap="flat">
              <a:solidFill>
                <a:srgbClr val="4F74C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7" name="Freeform 175">
              <a:extLst>
                <a:ext uri="{FF2B5EF4-FFF2-40B4-BE49-F238E27FC236}">
                  <a16:creationId xmlns:a16="http://schemas.microsoft.com/office/drawing/2014/main" id="{06E7614D-807C-4945-840D-DB0F0EF5B3B2}"/>
                </a:ext>
              </a:extLst>
            </p:cNvPr>
            <p:cNvSpPr/>
            <p:nvPr/>
          </p:nvSpPr>
          <p:spPr>
            <a:xfrm>
              <a:off x="4643003" y="1058496"/>
              <a:ext cx="26952" cy="27023"/>
            </a:xfrm>
            <a:custGeom>
              <a:avLst/>
              <a:gdLst>
                <a:gd name="connsiteX0" fmla="*/ 26952 w 26952"/>
                <a:gd name="connsiteY0" fmla="*/ 13512 h 27023"/>
                <a:gd name="connsiteX1" fmla="*/ 13476 w 26952"/>
                <a:gd name="connsiteY1" fmla="*/ 27023 h 27023"/>
                <a:gd name="connsiteX2" fmla="*/ 0 w 26952"/>
                <a:gd name="connsiteY2" fmla="*/ 13512 h 27023"/>
                <a:gd name="connsiteX3" fmla="*/ 13476 w 26952"/>
                <a:gd name="connsiteY3" fmla="*/ 0 h 27023"/>
                <a:gd name="connsiteX4" fmla="*/ 26952 w 26952"/>
                <a:gd name="connsiteY4" fmla="*/ 13512 h 27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52" h="27023">
                  <a:moveTo>
                    <a:pt x="26952" y="13512"/>
                  </a:moveTo>
                  <a:cubicBezTo>
                    <a:pt x="26952" y="20974"/>
                    <a:pt x="20919" y="27023"/>
                    <a:pt x="13476" y="27023"/>
                  </a:cubicBezTo>
                  <a:cubicBezTo>
                    <a:pt x="6033" y="27023"/>
                    <a:pt x="0" y="20974"/>
                    <a:pt x="0" y="13512"/>
                  </a:cubicBezTo>
                  <a:cubicBezTo>
                    <a:pt x="0" y="6049"/>
                    <a:pt x="6033" y="0"/>
                    <a:pt x="13476" y="0"/>
                  </a:cubicBezTo>
                  <a:cubicBezTo>
                    <a:pt x="20919" y="0"/>
                    <a:pt x="26952" y="6049"/>
                    <a:pt x="26952" y="13512"/>
                  </a:cubicBezTo>
                  <a:close/>
                </a:path>
              </a:pathLst>
            </a:custGeom>
            <a:noFill/>
            <a:ln w="6350" cap="flat">
              <a:solidFill>
                <a:srgbClr val="4F74C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8" name="Freeform 176">
              <a:extLst>
                <a:ext uri="{FF2B5EF4-FFF2-40B4-BE49-F238E27FC236}">
                  <a16:creationId xmlns:a16="http://schemas.microsoft.com/office/drawing/2014/main" id="{3970C78A-3F96-4034-98DE-0514CA072FD5}"/>
                </a:ext>
              </a:extLst>
            </p:cNvPr>
            <p:cNvSpPr/>
            <p:nvPr/>
          </p:nvSpPr>
          <p:spPr>
            <a:xfrm>
              <a:off x="4650591" y="1088698"/>
              <a:ext cx="26952" cy="27023"/>
            </a:xfrm>
            <a:custGeom>
              <a:avLst/>
              <a:gdLst>
                <a:gd name="connsiteX0" fmla="*/ 26952 w 26952"/>
                <a:gd name="connsiteY0" fmla="*/ 13512 h 27023"/>
                <a:gd name="connsiteX1" fmla="*/ 13476 w 26952"/>
                <a:gd name="connsiteY1" fmla="*/ 27023 h 27023"/>
                <a:gd name="connsiteX2" fmla="*/ 0 w 26952"/>
                <a:gd name="connsiteY2" fmla="*/ 13512 h 27023"/>
                <a:gd name="connsiteX3" fmla="*/ 13476 w 26952"/>
                <a:gd name="connsiteY3" fmla="*/ 0 h 27023"/>
                <a:gd name="connsiteX4" fmla="*/ 26952 w 26952"/>
                <a:gd name="connsiteY4" fmla="*/ 13512 h 27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52" h="27023">
                  <a:moveTo>
                    <a:pt x="26952" y="13512"/>
                  </a:moveTo>
                  <a:cubicBezTo>
                    <a:pt x="26952" y="20974"/>
                    <a:pt x="20919" y="27023"/>
                    <a:pt x="13476" y="27023"/>
                  </a:cubicBezTo>
                  <a:cubicBezTo>
                    <a:pt x="6033" y="27023"/>
                    <a:pt x="0" y="20974"/>
                    <a:pt x="0" y="13512"/>
                  </a:cubicBezTo>
                  <a:cubicBezTo>
                    <a:pt x="0" y="6049"/>
                    <a:pt x="6033" y="0"/>
                    <a:pt x="13476" y="0"/>
                  </a:cubicBezTo>
                  <a:cubicBezTo>
                    <a:pt x="20919" y="0"/>
                    <a:pt x="26952" y="6049"/>
                    <a:pt x="26952" y="13512"/>
                  </a:cubicBezTo>
                  <a:close/>
                </a:path>
              </a:pathLst>
            </a:custGeom>
            <a:noFill/>
            <a:ln w="6350" cap="flat">
              <a:solidFill>
                <a:srgbClr val="4F74C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9" name="Freeform 177">
              <a:extLst>
                <a:ext uri="{FF2B5EF4-FFF2-40B4-BE49-F238E27FC236}">
                  <a16:creationId xmlns:a16="http://schemas.microsoft.com/office/drawing/2014/main" id="{16C6B3ED-7305-491B-87AA-51B2934C9768}"/>
                </a:ext>
              </a:extLst>
            </p:cNvPr>
            <p:cNvSpPr/>
            <p:nvPr/>
          </p:nvSpPr>
          <p:spPr>
            <a:xfrm>
              <a:off x="4653535" y="1093921"/>
              <a:ext cx="26952" cy="27023"/>
            </a:xfrm>
            <a:custGeom>
              <a:avLst/>
              <a:gdLst>
                <a:gd name="connsiteX0" fmla="*/ 26952 w 26952"/>
                <a:gd name="connsiteY0" fmla="*/ 13512 h 27023"/>
                <a:gd name="connsiteX1" fmla="*/ 13476 w 26952"/>
                <a:gd name="connsiteY1" fmla="*/ 27023 h 27023"/>
                <a:gd name="connsiteX2" fmla="*/ 0 w 26952"/>
                <a:gd name="connsiteY2" fmla="*/ 13512 h 27023"/>
                <a:gd name="connsiteX3" fmla="*/ 13476 w 26952"/>
                <a:gd name="connsiteY3" fmla="*/ 0 h 27023"/>
                <a:gd name="connsiteX4" fmla="*/ 26952 w 26952"/>
                <a:gd name="connsiteY4" fmla="*/ 13512 h 27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52" h="27023">
                  <a:moveTo>
                    <a:pt x="26952" y="13512"/>
                  </a:moveTo>
                  <a:cubicBezTo>
                    <a:pt x="26952" y="20974"/>
                    <a:pt x="20919" y="27023"/>
                    <a:pt x="13476" y="27023"/>
                  </a:cubicBezTo>
                  <a:cubicBezTo>
                    <a:pt x="6033" y="27023"/>
                    <a:pt x="0" y="20974"/>
                    <a:pt x="0" y="13512"/>
                  </a:cubicBezTo>
                  <a:cubicBezTo>
                    <a:pt x="0" y="6049"/>
                    <a:pt x="6033" y="0"/>
                    <a:pt x="13476" y="0"/>
                  </a:cubicBezTo>
                  <a:cubicBezTo>
                    <a:pt x="20919" y="0"/>
                    <a:pt x="26952" y="6049"/>
                    <a:pt x="26952" y="13512"/>
                  </a:cubicBezTo>
                  <a:close/>
                </a:path>
              </a:pathLst>
            </a:custGeom>
            <a:noFill/>
            <a:ln w="6350" cap="flat">
              <a:solidFill>
                <a:srgbClr val="4F74C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0" name="Freeform 178">
              <a:extLst>
                <a:ext uri="{FF2B5EF4-FFF2-40B4-BE49-F238E27FC236}">
                  <a16:creationId xmlns:a16="http://schemas.microsoft.com/office/drawing/2014/main" id="{E9FEE82F-8330-4454-9A5E-221C7D0F018D}"/>
                </a:ext>
              </a:extLst>
            </p:cNvPr>
            <p:cNvSpPr/>
            <p:nvPr/>
          </p:nvSpPr>
          <p:spPr>
            <a:xfrm>
              <a:off x="4672220" y="1117424"/>
              <a:ext cx="26952" cy="27023"/>
            </a:xfrm>
            <a:custGeom>
              <a:avLst/>
              <a:gdLst>
                <a:gd name="connsiteX0" fmla="*/ 26952 w 26952"/>
                <a:gd name="connsiteY0" fmla="*/ 13512 h 27023"/>
                <a:gd name="connsiteX1" fmla="*/ 13476 w 26952"/>
                <a:gd name="connsiteY1" fmla="*/ 27023 h 27023"/>
                <a:gd name="connsiteX2" fmla="*/ 0 w 26952"/>
                <a:gd name="connsiteY2" fmla="*/ 13512 h 27023"/>
                <a:gd name="connsiteX3" fmla="*/ 13476 w 26952"/>
                <a:gd name="connsiteY3" fmla="*/ 0 h 27023"/>
                <a:gd name="connsiteX4" fmla="*/ 26952 w 26952"/>
                <a:gd name="connsiteY4" fmla="*/ 13512 h 27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52" h="27023">
                  <a:moveTo>
                    <a:pt x="26952" y="13512"/>
                  </a:moveTo>
                  <a:cubicBezTo>
                    <a:pt x="26952" y="20974"/>
                    <a:pt x="20919" y="27023"/>
                    <a:pt x="13476" y="27023"/>
                  </a:cubicBezTo>
                  <a:cubicBezTo>
                    <a:pt x="6033" y="27023"/>
                    <a:pt x="0" y="20974"/>
                    <a:pt x="0" y="13512"/>
                  </a:cubicBezTo>
                  <a:cubicBezTo>
                    <a:pt x="0" y="6049"/>
                    <a:pt x="6033" y="0"/>
                    <a:pt x="13476" y="0"/>
                  </a:cubicBezTo>
                  <a:cubicBezTo>
                    <a:pt x="20919" y="0"/>
                    <a:pt x="26952" y="6049"/>
                    <a:pt x="26952" y="13512"/>
                  </a:cubicBezTo>
                  <a:close/>
                </a:path>
              </a:pathLst>
            </a:custGeom>
            <a:noFill/>
            <a:ln w="6350" cap="flat">
              <a:solidFill>
                <a:srgbClr val="4F74C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1" name="Freeform 179">
              <a:extLst>
                <a:ext uri="{FF2B5EF4-FFF2-40B4-BE49-F238E27FC236}">
                  <a16:creationId xmlns:a16="http://schemas.microsoft.com/office/drawing/2014/main" id="{D0E3FD11-86C2-48F4-B2FA-515D29E2FFAF}"/>
                </a:ext>
              </a:extLst>
            </p:cNvPr>
            <p:cNvSpPr/>
            <p:nvPr/>
          </p:nvSpPr>
          <p:spPr>
            <a:xfrm>
              <a:off x="4674146" y="1158867"/>
              <a:ext cx="26952" cy="27023"/>
            </a:xfrm>
            <a:custGeom>
              <a:avLst/>
              <a:gdLst>
                <a:gd name="connsiteX0" fmla="*/ 26952 w 26952"/>
                <a:gd name="connsiteY0" fmla="*/ 13512 h 27023"/>
                <a:gd name="connsiteX1" fmla="*/ 13476 w 26952"/>
                <a:gd name="connsiteY1" fmla="*/ 27023 h 27023"/>
                <a:gd name="connsiteX2" fmla="*/ 0 w 26952"/>
                <a:gd name="connsiteY2" fmla="*/ 13512 h 27023"/>
                <a:gd name="connsiteX3" fmla="*/ 13476 w 26952"/>
                <a:gd name="connsiteY3" fmla="*/ 0 h 27023"/>
                <a:gd name="connsiteX4" fmla="*/ 26952 w 26952"/>
                <a:gd name="connsiteY4" fmla="*/ 13512 h 27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52" h="27023">
                  <a:moveTo>
                    <a:pt x="26952" y="13512"/>
                  </a:moveTo>
                  <a:cubicBezTo>
                    <a:pt x="26952" y="20974"/>
                    <a:pt x="20919" y="27023"/>
                    <a:pt x="13476" y="27023"/>
                  </a:cubicBezTo>
                  <a:cubicBezTo>
                    <a:pt x="6033" y="27023"/>
                    <a:pt x="0" y="20974"/>
                    <a:pt x="0" y="13512"/>
                  </a:cubicBezTo>
                  <a:cubicBezTo>
                    <a:pt x="0" y="6049"/>
                    <a:pt x="6033" y="0"/>
                    <a:pt x="13476" y="0"/>
                  </a:cubicBezTo>
                  <a:cubicBezTo>
                    <a:pt x="20919" y="0"/>
                    <a:pt x="26952" y="6049"/>
                    <a:pt x="26952" y="13512"/>
                  </a:cubicBezTo>
                  <a:close/>
                </a:path>
              </a:pathLst>
            </a:custGeom>
            <a:noFill/>
            <a:ln w="6350" cap="flat">
              <a:solidFill>
                <a:srgbClr val="4F74C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2" name="Freeform 180">
              <a:extLst>
                <a:ext uri="{FF2B5EF4-FFF2-40B4-BE49-F238E27FC236}">
                  <a16:creationId xmlns:a16="http://schemas.microsoft.com/office/drawing/2014/main" id="{07EEFB9E-9147-4B95-BAD2-D6E2361C7883}"/>
                </a:ext>
              </a:extLst>
            </p:cNvPr>
            <p:cNvSpPr/>
            <p:nvPr/>
          </p:nvSpPr>
          <p:spPr>
            <a:xfrm>
              <a:off x="4674825" y="1213821"/>
              <a:ext cx="26952" cy="27023"/>
            </a:xfrm>
            <a:custGeom>
              <a:avLst/>
              <a:gdLst>
                <a:gd name="connsiteX0" fmla="*/ 26952 w 26952"/>
                <a:gd name="connsiteY0" fmla="*/ 13512 h 27023"/>
                <a:gd name="connsiteX1" fmla="*/ 13476 w 26952"/>
                <a:gd name="connsiteY1" fmla="*/ 27023 h 27023"/>
                <a:gd name="connsiteX2" fmla="*/ 0 w 26952"/>
                <a:gd name="connsiteY2" fmla="*/ 13512 h 27023"/>
                <a:gd name="connsiteX3" fmla="*/ 13476 w 26952"/>
                <a:gd name="connsiteY3" fmla="*/ 0 h 27023"/>
                <a:gd name="connsiteX4" fmla="*/ 26952 w 26952"/>
                <a:gd name="connsiteY4" fmla="*/ 13512 h 27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52" h="27023">
                  <a:moveTo>
                    <a:pt x="26952" y="13512"/>
                  </a:moveTo>
                  <a:cubicBezTo>
                    <a:pt x="26952" y="20974"/>
                    <a:pt x="20919" y="27023"/>
                    <a:pt x="13476" y="27023"/>
                  </a:cubicBezTo>
                  <a:cubicBezTo>
                    <a:pt x="6033" y="27023"/>
                    <a:pt x="0" y="20974"/>
                    <a:pt x="0" y="13512"/>
                  </a:cubicBezTo>
                  <a:cubicBezTo>
                    <a:pt x="0" y="6049"/>
                    <a:pt x="6033" y="0"/>
                    <a:pt x="13476" y="0"/>
                  </a:cubicBezTo>
                  <a:cubicBezTo>
                    <a:pt x="20919" y="0"/>
                    <a:pt x="26952" y="6049"/>
                    <a:pt x="26952" y="13512"/>
                  </a:cubicBezTo>
                  <a:close/>
                </a:path>
              </a:pathLst>
            </a:custGeom>
            <a:noFill/>
            <a:ln w="6350" cap="flat">
              <a:solidFill>
                <a:srgbClr val="4F74C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3" name="Freeform 181">
              <a:extLst>
                <a:ext uri="{FF2B5EF4-FFF2-40B4-BE49-F238E27FC236}">
                  <a16:creationId xmlns:a16="http://schemas.microsoft.com/office/drawing/2014/main" id="{D307C898-9193-449C-9F31-26FA97278CE5}"/>
                </a:ext>
              </a:extLst>
            </p:cNvPr>
            <p:cNvSpPr/>
            <p:nvPr/>
          </p:nvSpPr>
          <p:spPr>
            <a:xfrm>
              <a:off x="4676524" y="1243456"/>
              <a:ext cx="26952" cy="27023"/>
            </a:xfrm>
            <a:custGeom>
              <a:avLst/>
              <a:gdLst>
                <a:gd name="connsiteX0" fmla="*/ 26952 w 26952"/>
                <a:gd name="connsiteY0" fmla="*/ 13512 h 27023"/>
                <a:gd name="connsiteX1" fmla="*/ 13476 w 26952"/>
                <a:gd name="connsiteY1" fmla="*/ 27023 h 27023"/>
                <a:gd name="connsiteX2" fmla="*/ 0 w 26952"/>
                <a:gd name="connsiteY2" fmla="*/ 13512 h 27023"/>
                <a:gd name="connsiteX3" fmla="*/ 13476 w 26952"/>
                <a:gd name="connsiteY3" fmla="*/ 0 h 27023"/>
                <a:gd name="connsiteX4" fmla="*/ 26952 w 26952"/>
                <a:gd name="connsiteY4" fmla="*/ 13512 h 27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52" h="27023">
                  <a:moveTo>
                    <a:pt x="26952" y="13512"/>
                  </a:moveTo>
                  <a:cubicBezTo>
                    <a:pt x="26952" y="20974"/>
                    <a:pt x="20919" y="27023"/>
                    <a:pt x="13476" y="27023"/>
                  </a:cubicBezTo>
                  <a:cubicBezTo>
                    <a:pt x="6033" y="27023"/>
                    <a:pt x="0" y="20974"/>
                    <a:pt x="0" y="13512"/>
                  </a:cubicBezTo>
                  <a:cubicBezTo>
                    <a:pt x="0" y="6049"/>
                    <a:pt x="6033" y="0"/>
                    <a:pt x="13476" y="0"/>
                  </a:cubicBezTo>
                  <a:cubicBezTo>
                    <a:pt x="20919" y="0"/>
                    <a:pt x="26952" y="6049"/>
                    <a:pt x="26952" y="13512"/>
                  </a:cubicBezTo>
                  <a:close/>
                </a:path>
              </a:pathLst>
            </a:custGeom>
            <a:noFill/>
            <a:ln w="6350" cap="flat">
              <a:solidFill>
                <a:srgbClr val="4F74C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4" name="Freeform 182">
              <a:extLst>
                <a:ext uri="{FF2B5EF4-FFF2-40B4-BE49-F238E27FC236}">
                  <a16:creationId xmlns:a16="http://schemas.microsoft.com/office/drawing/2014/main" id="{5AF6FE89-B36F-4359-8249-7A4806272645}"/>
                </a:ext>
              </a:extLst>
            </p:cNvPr>
            <p:cNvSpPr/>
            <p:nvPr/>
          </p:nvSpPr>
          <p:spPr>
            <a:xfrm>
              <a:off x="4680034" y="1291711"/>
              <a:ext cx="26952" cy="27023"/>
            </a:xfrm>
            <a:custGeom>
              <a:avLst/>
              <a:gdLst>
                <a:gd name="connsiteX0" fmla="*/ 26952 w 26952"/>
                <a:gd name="connsiteY0" fmla="*/ 13512 h 27023"/>
                <a:gd name="connsiteX1" fmla="*/ 13476 w 26952"/>
                <a:gd name="connsiteY1" fmla="*/ 27023 h 27023"/>
                <a:gd name="connsiteX2" fmla="*/ 0 w 26952"/>
                <a:gd name="connsiteY2" fmla="*/ 13512 h 27023"/>
                <a:gd name="connsiteX3" fmla="*/ 13476 w 26952"/>
                <a:gd name="connsiteY3" fmla="*/ 0 h 27023"/>
                <a:gd name="connsiteX4" fmla="*/ 26952 w 26952"/>
                <a:gd name="connsiteY4" fmla="*/ 13512 h 27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52" h="27023">
                  <a:moveTo>
                    <a:pt x="26952" y="13512"/>
                  </a:moveTo>
                  <a:cubicBezTo>
                    <a:pt x="26952" y="20974"/>
                    <a:pt x="20919" y="27023"/>
                    <a:pt x="13476" y="27023"/>
                  </a:cubicBezTo>
                  <a:cubicBezTo>
                    <a:pt x="6033" y="27023"/>
                    <a:pt x="0" y="20974"/>
                    <a:pt x="0" y="13512"/>
                  </a:cubicBezTo>
                  <a:cubicBezTo>
                    <a:pt x="0" y="6049"/>
                    <a:pt x="6033" y="0"/>
                    <a:pt x="13476" y="0"/>
                  </a:cubicBezTo>
                  <a:cubicBezTo>
                    <a:pt x="20919" y="0"/>
                    <a:pt x="26952" y="6049"/>
                    <a:pt x="26952" y="13512"/>
                  </a:cubicBezTo>
                  <a:close/>
                </a:path>
              </a:pathLst>
            </a:custGeom>
            <a:noFill/>
            <a:ln w="6350" cap="flat">
              <a:solidFill>
                <a:srgbClr val="4F74C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5" name="Freeform 183">
              <a:extLst>
                <a:ext uri="{FF2B5EF4-FFF2-40B4-BE49-F238E27FC236}">
                  <a16:creationId xmlns:a16="http://schemas.microsoft.com/office/drawing/2014/main" id="{30665949-7E7E-4F74-B79F-E655313F883F}"/>
                </a:ext>
              </a:extLst>
            </p:cNvPr>
            <p:cNvSpPr/>
            <p:nvPr/>
          </p:nvSpPr>
          <p:spPr>
            <a:xfrm>
              <a:off x="4682412" y="1353705"/>
              <a:ext cx="26952" cy="27023"/>
            </a:xfrm>
            <a:custGeom>
              <a:avLst/>
              <a:gdLst>
                <a:gd name="connsiteX0" fmla="*/ 26952 w 26952"/>
                <a:gd name="connsiteY0" fmla="*/ 13511 h 27023"/>
                <a:gd name="connsiteX1" fmla="*/ 13476 w 26952"/>
                <a:gd name="connsiteY1" fmla="*/ 27023 h 27023"/>
                <a:gd name="connsiteX2" fmla="*/ 0 w 26952"/>
                <a:gd name="connsiteY2" fmla="*/ 13511 h 27023"/>
                <a:gd name="connsiteX3" fmla="*/ 13476 w 26952"/>
                <a:gd name="connsiteY3" fmla="*/ 0 h 27023"/>
                <a:gd name="connsiteX4" fmla="*/ 26952 w 26952"/>
                <a:gd name="connsiteY4" fmla="*/ 13511 h 27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52" h="27023">
                  <a:moveTo>
                    <a:pt x="26952" y="13511"/>
                  </a:moveTo>
                  <a:cubicBezTo>
                    <a:pt x="26952" y="20974"/>
                    <a:pt x="20919" y="27023"/>
                    <a:pt x="13476" y="27023"/>
                  </a:cubicBezTo>
                  <a:cubicBezTo>
                    <a:pt x="6033" y="27023"/>
                    <a:pt x="0" y="20974"/>
                    <a:pt x="0" y="13511"/>
                  </a:cubicBezTo>
                  <a:cubicBezTo>
                    <a:pt x="0" y="6049"/>
                    <a:pt x="6033" y="0"/>
                    <a:pt x="13476" y="0"/>
                  </a:cubicBezTo>
                  <a:cubicBezTo>
                    <a:pt x="20919" y="0"/>
                    <a:pt x="26952" y="6049"/>
                    <a:pt x="26952" y="13511"/>
                  </a:cubicBezTo>
                  <a:close/>
                </a:path>
              </a:pathLst>
            </a:custGeom>
            <a:noFill/>
            <a:ln w="6350" cap="flat">
              <a:solidFill>
                <a:srgbClr val="4F74C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6" name="Freeform 184">
              <a:extLst>
                <a:ext uri="{FF2B5EF4-FFF2-40B4-BE49-F238E27FC236}">
                  <a16:creationId xmlns:a16="http://schemas.microsoft.com/office/drawing/2014/main" id="{52218B79-2CDD-4B4A-972E-DC777B6ED9FA}"/>
                </a:ext>
              </a:extLst>
            </p:cNvPr>
            <p:cNvSpPr/>
            <p:nvPr/>
          </p:nvSpPr>
          <p:spPr>
            <a:xfrm>
              <a:off x="4682979" y="1435910"/>
              <a:ext cx="26952" cy="27023"/>
            </a:xfrm>
            <a:custGeom>
              <a:avLst/>
              <a:gdLst>
                <a:gd name="connsiteX0" fmla="*/ 26952 w 26952"/>
                <a:gd name="connsiteY0" fmla="*/ 13512 h 27023"/>
                <a:gd name="connsiteX1" fmla="*/ 13476 w 26952"/>
                <a:gd name="connsiteY1" fmla="*/ 27023 h 27023"/>
                <a:gd name="connsiteX2" fmla="*/ 0 w 26952"/>
                <a:gd name="connsiteY2" fmla="*/ 13512 h 27023"/>
                <a:gd name="connsiteX3" fmla="*/ 13476 w 26952"/>
                <a:gd name="connsiteY3" fmla="*/ 0 h 27023"/>
                <a:gd name="connsiteX4" fmla="*/ 26952 w 26952"/>
                <a:gd name="connsiteY4" fmla="*/ 13512 h 27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52" h="27023">
                  <a:moveTo>
                    <a:pt x="26952" y="13512"/>
                  </a:moveTo>
                  <a:cubicBezTo>
                    <a:pt x="26952" y="20974"/>
                    <a:pt x="20919" y="27023"/>
                    <a:pt x="13476" y="27023"/>
                  </a:cubicBezTo>
                  <a:cubicBezTo>
                    <a:pt x="6033" y="27023"/>
                    <a:pt x="0" y="20974"/>
                    <a:pt x="0" y="13512"/>
                  </a:cubicBezTo>
                  <a:cubicBezTo>
                    <a:pt x="0" y="6049"/>
                    <a:pt x="6033" y="0"/>
                    <a:pt x="13476" y="0"/>
                  </a:cubicBezTo>
                  <a:cubicBezTo>
                    <a:pt x="20919" y="0"/>
                    <a:pt x="26952" y="6049"/>
                    <a:pt x="26952" y="13512"/>
                  </a:cubicBezTo>
                  <a:close/>
                </a:path>
              </a:pathLst>
            </a:custGeom>
            <a:noFill/>
            <a:ln w="6350" cap="flat">
              <a:solidFill>
                <a:srgbClr val="4F74C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7" name="Freeform 185">
              <a:extLst>
                <a:ext uri="{FF2B5EF4-FFF2-40B4-BE49-F238E27FC236}">
                  <a16:creationId xmlns:a16="http://schemas.microsoft.com/office/drawing/2014/main" id="{1DCD78D6-0C22-450C-94FC-183936DEC241}"/>
                </a:ext>
              </a:extLst>
            </p:cNvPr>
            <p:cNvSpPr/>
            <p:nvPr/>
          </p:nvSpPr>
          <p:spPr>
            <a:xfrm>
              <a:off x="4685130" y="1634608"/>
              <a:ext cx="26952" cy="27023"/>
            </a:xfrm>
            <a:custGeom>
              <a:avLst/>
              <a:gdLst>
                <a:gd name="connsiteX0" fmla="*/ 26952 w 26952"/>
                <a:gd name="connsiteY0" fmla="*/ 13512 h 27023"/>
                <a:gd name="connsiteX1" fmla="*/ 13476 w 26952"/>
                <a:gd name="connsiteY1" fmla="*/ 27023 h 27023"/>
                <a:gd name="connsiteX2" fmla="*/ 0 w 26952"/>
                <a:gd name="connsiteY2" fmla="*/ 13512 h 27023"/>
                <a:gd name="connsiteX3" fmla="*/ 13476 w 26952"/>
                <a:gd name="connsiteY3" fmla="*/ 0 h 27023"/>
                <a:gd name="connsiteX4" fmla="*/ 26952 w 26952"/>
                <a:gd name="connsiteY4" fmla="*/ 13512 h 27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52" h="27023">
                  <a:moveTo>
                    <a:pt x="26952" y="13512"/>
                  </a:moveTo>
                  <a:cubicBezTo>
                    <a:pt x="26952" y="20974"/>
                    <a:pt x="20919" y="27023"/>
                    <a:pt x="13476" y="27023"/>
                  </a:cubicBezTo>
                  <a:cubicBezTo>
                    <a:pt x="6033" y="27023"/>
                    <a:pt x="0" y="20974"/>
                    <a:pt x="0" y="13512"/>
                  </a:cubicBezTo>
                  <a:cubicBezTo>
                    <a:pt x="0" y="6049"/>
                    <a:pt x="6033" y="0"/>
                    <a:pt x="13476" y="0"/>
                  </a:cubicBezTo>
                  <a:cubicBezTo>
                    <a:pt x="20919" y="0"/>
                    <a:pt x="26952" y="6049"/>
                    <a:pt x="26952" y="13512"/>
                  </a:cubicBezTo>
                  <a:close/>
                </a:path>
              </a:pathLst>
            </a:custGeom>
            <a:noFill/>
            <a:ln w="6350" cap="flat">
              <a:solidFill>
                <a:srgbClr val="4F74C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8" name="Freeform 186">
              <a:extLst>
                <a:ext uri="{FF2B5EF4-FFF2-40B4-BE49-F238E27FC236}">
                  <a16:creationId xmlns:a16="http://schemas.microsoft.com/office/drawing/2014/main" id="{06556918-F04F-472B-8FFC-FEF6C565F445}"/>
                </a:ext>
              </a:extLst>
            </p:cNvPr>
            <p:cNvSpPr/>
            <p:nvPr/>
          </p:nvSpPr>
          <p:spPr>
            <a:xfrm>
              <a:off x="4686489" y="1722717"/>
              <a:ext cx="26952" cy="27023"/>
            </a:xfrm>
            <a:custGeom>
              <a:avLst/>
              <a:gdLst>
                <a:gd name="connsiteX0" fmla="*/ 26952 w 26952"/>
                <a:gd name="connsiteY0" fmla="*/ 13511 h 27023"/>
                <a:gd name="connsiteX1" fmla="*/ 13476 w 26952"/>
                <a:gd name="connsiteY1" fmla="*/ 27023 h 27023"/>
                <a:gd name="connsiteX2" fmla="*/ 0 w 26952"/>
                <a:gd name="connsiteY2" fmla="*/ 13511 h 27023"/>
                <a:gd name="connsiteX3" fmla="*/ 13476 w 26952"/>
                <a:gd name="connsiteY3" fmla="*/ 0 h 27023"/>
                <a:gd name="connsiteX4" fmla="*/ 26952 w 26952"/>
                <a:gd name="connsiteY4" fmla="*/ 13511 h 27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52" h="27023">
                  <a:moveTo>
                    <a:pt x="26952" y="13511"/>
                  </a:moveTo>
                  <a:cubicBezTo>
                    <a:pt x="26952" y="20974"/>
                    <a:pt x="20919" y="27023"/>
                    <a:pt x="13476" y="27023"/>
                  </a:cubicBezTo>
                  <a:cubicBezTo>
                    <a:pt x="6033" y="27023"/>
                    <a:pt x="0" y="20974"/>
                    <a:pt x="0" y="13511"/>
                  </a:cubicBezTo>
                  <a:cubicBezTo>
                    <a:pt x="0" y="6049"/>
                    <a:pt x="6033" y="0"/>
                    <a:pt x="13476" y="0"/>
                  </a:cubicBezTo>
                  <a:cubicBezTo>
                    <a:pt x="20919" y="0"/>
                    <a:pt x="26952" y="6049"/>
                    <a:pt x="26952" y="13511"/>
                  </a:cubicBezTo>
                  <a:close/>
                </a:path>
              </a:pathLst>
            </a:custGeom>
            <a:noFill/>
            <a:ln w="6350" cap="flat">
              <a:solidFill>
                <a:srgbClr val="4F74C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9" name="Freeform 187">
              <a:extLst>
                <a:ext uri="{FF2B5EF4-FFF2-40B4-BE49-F238E27FC236}">
                  <a16:creationId xmlns:a16="http://schemas.microsoft.com/office/drawing/2014/main" id="{971AB2EB-3926-4CA2-BDEA-79B06FFFF402}"/>
                </a:ext>
              </a:extLst>
            </p:cNvPr>
            <p:cNvSpPr/>
            <p:nvPr/>
          </p:nvSpPr>
          <p:spPr>
            <a:xfrm>
              <a:off x="4688188" y="1763933"/>
              <a:ext cx="26952" cy="27023"/>
            </a:xfrm>
            <a:custGeom>
              <a:avLst/>
              <a:gdLst>
                <a:gd name="connsiteX0" fmla="*/ 26952 w 26952"/>
                <a:gd name="connsiteY0" fmla="*/ 13512 h 27023"/>
                <a:gd name="connsiteX1" fmla="*/ 13476 w 26952"/>
                <a:gd name="connsiteY1" fmla="*/ 27023 h 27023"/>
                <a:gd name="connsiteX2" fmla="*/ 0 w 26952"/>
                <a:gd name="connsiteY2" fmla="*/ 13512 h 27023"/>
                <a:gd name="connsiteX3" fmla="*/ 13476 w 26952"/>
                <a:gd name="connsiteY3" fmla="*/ 0 h 27023"/>
                <a:gd name="connsiteX4" fmla="*/ 26952 w 26952"/>
                <a:gd name="connsiteY4" fmla="*/ 13512 h 27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52" h="27023">
                  <a:moveTo>
                    <a:pt x="26952" y="13512"/>
                  </a:moveTo>
                  <a:cubicBezTo>
                    <a:pt x="26952" y="20974"/>
                    <a:pt x="20919" y="27023"/>
                    <a:pt x="13476" y="27023"/>
                  </a:cubicBezTo>
                  <a:cubicBezTo>
                    <a:pt x="6033" y="27023"/>
                    <a:pt x="0" y="20974"/>
                    <a:pt x="0" y="13512"/>
                  </a:cubicBezTo>
                  <a:cubicBezTo>
                    <a:pt x="0" y="6049"/>
                    <a:pt x="6033" y="0"/>
                    <a:pt x="13476" y="0"/>
                  </a:cubicBezTo>
                  <a:cubicBezTo>
                    <a:pt x="20919" y="0"/>
                    <a:pt x="26952" y="6049"/>
                    <a:pt x="26952" y="13512"/>
                  </a:cubicBezTo>
                  <a:close/>
                </a:path>
              </a:pathLst>
            </a:custGeom>
            <a:noFill/>
            <a:ln w="6350" cap="flat">
              <a:solidFill>
                <a:srgbClr val="4F74C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0" name="Freeform 188">
              <a:extLst>
                <a:ext uri="{FF2B5EF4-FFF2-40B4-BE49-F238E27FC236}">
                  <a16:creationId xmlns:a16="http://schemas.microsoft.com/office/drawing/2014/main" id="{0934B5E5-F3D8-4A4A-9D0A-DA2A708F945F}"/>
                </a:ext>
              </a:extLst>
            </p:cNvPr>
            <p:cNvSpPr/>
            <p:nvPr/>
          </p:nvSpPr>
          <p:spPr>
            <a:xfrm>
              <a:off x="4720123" y="1833648"/>
              <a:ext cx="26952" cy="27023"/>
            </a:xfrm>
            <a:custGeom>
              <a:avLst/>
              <a:gdLst>
                <a:gd name="connsiteX0" fmla="*/ 26952 w 26952"/>
                <a:gd name="connsiteY0" fmla="*/ 13512 h 27023"/>
                <a:gd name="connsiteX1" fmla="*/ 13476 w 26952"/>
                <a:gd name="connsiteY1" fmla="*/ 27023 h 27023"/>
                <a:gd name="connsiteX2" fmla="*/ 0 w 26952"/>
                <a:gd name="connsiteY2" fmla="*/ 13512 h 27023"/>
                <a:gd name="connsiteX3" fmla="*/ 13476 w 26952"/>
                <a:gd name="connsiteY3" fmla="*/ 0 h 27023"/>
                <a:gd name="connsiteX4" fmla="*/ 26952 w 26952"/>
                <a:gd name="connsiteY4" fmla="*/ 13512 h 27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52" h="27023">
                  <a:moveTo>
                    <a:pt x="26952" y="13512"/>
                  </a:moveTo>
                  <a:cubicBezTo>
                    <a:pt x="26952" y="20974"/>
                    <a:pt x="20919" y="27023"/>
                    <a:pt x="13476" y="27023"/>
                  </a:cubicBezTo>
                  <a:cubicBezTo>
                    <a:pt x="6033" y="27023"/>
                    <a:pt x="0" y="20974"/>
                    <a:pt x="0" y="13512"/>
                  </a:cubicBezTo>
                  <a:cubicBezTo>
                    <a:pt x="0" y="6049"/>
                    <a:pt x="6033" y="0"/>
                    <a:pt x="13476" y="0"/>
                  </a:cubicBezTo>
                  <a:cubicBezTo>
                    <a:pt x="20919" y="0"/>
                    <a:pt x="26952" y="6049"/>
                    <a:pt x="26952" y="13512"/>
                  </a:cubicBezTo>
                  <a:close/>
                </a:path>
              </a:pathLst>
            </a:custGeom>
            <a:noFill/>
            <a:ln w="6350" cap="flat">
              <a:solidFill>
                <a:srgbClr val="4F74C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1" name="Freeform 189">
              <a:extLst>
                <a:ext uri="{FF2B5EF4-FFF2-40B4-BE49-F238E27FC236}">
                  <a16:creationId xmlns:a16="http://schemas.microsoft.com/office/drawing/2014/main" id="{3AB071DF-3C79-48D7-83D3-35B87148ABA6}"/>
                </a:ext>
              </a:extLst>
            </p:cNvPr>
            <p:cNvSpPr/>
            <p:nvPr/>
          </p:nvSpPr>
          <p:spPr>
            <a:xfrm>
              <a:off x="4778670" y="1897231"/>
              <a:ext cx="26952" cy="27023"/>
            </a:xfrm>
            <a:custGeom>
              <a:avLst/>
              <a:gdLst>
                <a:gd name="connsiteX0" fmla="*/ 26952 w 26952"/>
                <a:gd name="connsiteY0" fmla="*/ 13512 h 27023"/>
                <a:gd name="connsiteX1" fmla="*/ 13476 w 26952"/>
                <a:gd name="connsiteY1" fmla="*/ 27023 h 27023"/>
                <a:gd name="connsiteX2" fmla="*/ 0 w 26952"/>
                <a:gd name="connsiteY2" fmla="*/ 13512 h 27023"/>
                <a:gd name="connsiteX3" fmla="*/ 13476 w 26952"/>
                <a:gd name="connsiteY3" fmla="*/ 0 h 27023"/>
                <a:gd name="connsiteX4" fmla="*/ 26952 w 26952"/>
                <a:gd name="connsiteY4" fmla="*/ 13512 h 27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52" h="27023">
                  <a:moveTo>
                    <a:pt x="26952" y="13512"/>
                  </a:moveTo>
                  <a:cubicBezTo>
                    <a:pt x="26952" y="20974"/>
                    <a:pt x="20919" y="27023"/>
                    <a:pt x="13476" y="27023"/>
                  </a:cubicBezTo>
                  <a:cubicBezTo>
                    <a:pt x="6033" y="27023"/>
                    <a:pt x="0" y="20974"/>
                    <a:pt x="0" y="13512"/>
                  </a:cubicBezTo>
                  <a:cubicBezTo>
                    <a:pt x="0" y="6049"/>
                    <a:pt x="6033" y="0"/>
                    <a:pt x="13476" y="0"/>
                  </a:cubicBezTo>
                  <a:cubicBezTo>
                    <a:pt x="20919" y="0"/>
                    <a:pt x="26952" y="6049"/>
                    <a:pt x="26952" y="13512"/>
                  </a:cubicBezTo>
                  <a:close/>
                </a:path>
              </a:pathLst>
            </a:custGeom>
            <a:noFill/>
            <a:ln w="6350" cap="flat">
              <a:solidFill>
                <a:srgbClr val="4F74C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2" name="Freeform 190">
              <a:extLst>
                <a:ext uri="{FF2B5EF4-FFF2-40B4-BE49-F238E27FC236}">
                  <a16:creationId xmlns:a16="http://schemas.microsoft.com/office/drawing/2014/main" id="{07435760-FB03-418C-A4DD-6F7B01DD0BA4}"/>
                </a:ext>
              </a:extLst>
            </p:cNvPr>
            <p:cNvSpPr/>
            <p:nvPr/>
          </p:nvSpPr>
          <p:spPr>
            <a:xfrm>
              <a:off x="4787050" y="2018835"/>
              <a:ext cx="26952" cy="27023"/>
            </a:xfrm>
            <a:custGeom>
              <a:avLst/>
              <a:gdLst>
                <a:gd name="connsiteX0" fmla="*/ 26952 w 26952"/>
                <a:gd name="connsiteY0" fmla="*/ 13512 h 27023"/>
                <a:gd name="connsiteX1" fmla="*/ 13476 w 26952"/>
                <a:gd name="connsiteY1" fmla="*/ 27023 h 27023"/>
                <a:gd name="connsiteX2" fmla="*/ 0 w 26952"/>
                <a:gd name="connsiteY2" fmla="*/ 13512 h 27023"/>
                <a:gd name="connsiteX3" fmla="*/ 13476 w 26952"/>
                <a:gd name="connsiteY3" fmla="*/ 0 h 27023"/>
                <a:gd name="connsiteX4" fmla="*/ 26952 w 26952"/>
                <a:gd name="connsiteY4" fmla="*/ 13512 h 27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52" h="27023">
                  <a:moveTo>
                    <a:pt x="26952" y="13512"/>
                  </a:moveTo>
                  <a:cubicBezTo>
                    <a:pt x="26952" y="20974"/>
                    <a:pt x="20919" y="27023"/>
                    <a:pt x="13476" y="27023"/>
                  </a:cubicBezTo>
                  <a:cubicBezTo>
                    <a:pt x="6033" y="27023"/>
                    <a:pt x="0" y="20974"/>
                    <a:pt x="0" y="13512"/>
                  </a:cubicBezTo>
                  <a:cubicBezTo>
                    <a:pt x="0" y="6049"/>
                    <a:pt x="6033" y="0"/>
                    <a:pt x="13476" y="0"/>
                  </a:cubicBezTo>
                  <a:cubicBezTo>
                    <a:pt x="20919" y="0"/>
                    <a:pt x="26952" y="6049"/>
                    <a:pt x="26952" y="13512"/>
                  </a:cubicBezTo>
                  <a:close/>
                </a:path>
              </a:pathLst>
            </a:custGeom>
            <a:noFill/>
            <a:ln w="6350" cap="flat">
              <a:solidFill>
                <a:srgbClr val="4F74C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3" name="Freeform 191">
              <a:extLst>
                <a:ext uri="{FF2B5EF4-FFF2-40B4-BE49-F238E27FC236}">
                  <a16:creationId xmlns:a16="http://schemas.microsoft.com/office/drawing/2014/main" id="{862E20FF-AC39-47B4-8F8E-694B019A5155}"/>
                </a:ext>
              </a:extLst>
            </p:cNvPr>
            <p:cNvSpPr/>
            <p:nvPr/>
          </p:nvSpPr>
          <p:spPr>
            <a:xfrm>
              <a:off x="4789088" y="2040862"/>
              <a:ext cx="26952" cy="27023"/>
            </a:xfrm>
            <a:custGeom>
              <a:avLst/>
              <a:gdLst>
                <a:gd name="connsiteX0" fmla="*/ 26952 w 26952"/>
                <a:gd name="connsiteY0" fmla="*/ 13512 h 27023"/>
                <a:gd name="connsiteX1" fmla="*/ 13476 w 26952"/>
                <a:gd name="connsiteY1" fmla="*/ 27023 h 27023"/>
                <a:gd name="connsiteX2" fmla="*/ 0 w 26952"/>
                <a:gd name="connsiteY2" fmla="*/ 13512 h 27023"/>
                <a:gd name="connsiteX3" fmla="*/ 13476 w 26952"/>
                <a:gd name="connsiteY3" fmla="*/ 0 h 27023"/>
                <a:gd name="connsiteX4" fmla="*/ 26952 w 26952"/>
                <a:gd name="connsiteY4" fmla="*/ 13512 h 27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52" h="27023">
                  <a:moveTo>
                    <a:pt x="26952" y="13512"/>
                  </a:moveTo>
                  <a:cubicBezTo>
                    <a:pt x="26952" y="20974"/>
                    <a:pt x="20919" y="27023"/>
                    <a:pt x="13476" y="27023"/>
                  </a:cubicBezTo>
                  <a:cubicBezTo>
                    <a:pt x="6033" y="27023"/>
                    <a:pt x="0" y="20974"/>
                    <a:pt x="0" y="13512"/>
                  </a:cubicBezTo>
                  <a:cubicBezTo>
                    <a:pt x="0" y="6049"/>
                    <a:pt x="6033" y="0"/>
                    <a:pt x="13476" y="0"/>
                  </a:cubicBezTo>
                  <a:cubicBezTo>
                    <a:pt x="20919" y="0"/>
                    <a:pt x="26952" y="6049"/>
                    <a:pt x="26952" y="13512"/>
                  </a:cubicBezTo>
                  <a:close/>
                </a:path>
              </a:pathLst>
            </a:custGeom>
            <a:noFill/>
            <a:ln w="6350" cap="flat">
              <a:solidFill>
                <a:srgbClr val="4F74C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4" name="Freeform 192">
              <a:extLst>
                <a:ext uri="{FF2B5EF4-FFF2-40B4-BE49-F238E27FC236}">
                  <a16:creationId xmlns:a16="http://schemas.microsoft.com/office/drawing/2014/main" id="{9D3AAC11-CDF7-4637-8CB7-B56620170D2A}"/>
                </a:ext>
              </a:extLst>
            </p:cNvPr>
            <p:cNvSpPr/>
            <p:nvPr/>
          </p:nvSpPr>
          <p:spPr>
            <a:xfrm>
              <a:off x="4792146" y="2049491"/>
              <a:ext cx="26952" cy="27023"/>
            </a:xfrm>
            <a:custGeom>
              <a:avLst/>
              <a:gdLst>
                <a:gd name="connsiteX0" fmla="*/ 26952 w 26952"/>
                <a:gd name="connsiteY0" fmla="*/ 13511 h 27023"/>
                <a:gd name="connsiteX1" fmla="*/ 13476 w 26952"/>
                <a:gd name="connsiteY1" fmla="*/ 27023 h 27023"/>
                <a:gd name="connsiteX2" fmla="*/ 0 w 26952"/>
                <a:gd name="connsiteY2" fmla="*/ 13511 h 27023"/>
                <a:gd name="connsiteX3" fmla="*/ 13476 w 26952"/>
                <a:gd name="connsiteY3" fmla="*/ 0 h 27023"/>
                <a:gd name="connsiteX4" fmla="*/ 26952 w 26952"/>
                <a:gd name="connsiteY4" fmla="*/ 13511 h 27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52" h="27023">
                  <a:moveTo>
                    <a:pt x="26952" y="13511"/>
                  </a:moveTo>
                  <a:cubicBezTo>
                    <a:pt x="26952" y="20974"/>
                    <a:pt x="20919" y="27023"/>
                    <a:pt x="13476" y="27023"/>
                  </a:cubicBezTo>
                  <a:cubicBezTo>
                    <a:pt x="6033" y="27023"/>
                    <a:pt x="0" y="20974"/>
                    <a:pt x="0" y="13511"/>
                  </a:cubicBezTo>
                  <a:cubicBezTo>
                    <a:pt x="0" y="6049"/>
                    <a:pt x="6033" y="0"/>
                    <a:pt x="13476" y="0"/>
                  </a:cubicBezTo>
                  <a:cubicBezTo>
                    <a:pt x="20919" y="0"/>
                    <a:pt x="26952" y="6049"/>
                    <a:pt x="26952" y="13511"/>
                  </a:cubicBezTo>
                  <a:close/>
                </a:path>
              </a:pathLst>
            </a:custGeom>
            <a:noFill/>
            <a:ln w="6350" cap="flat">
              <a:solidFill>
                <a:srgbClr val="4F74C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5" name="Freeform 193">
              <a:extLst>
                <a:ext uri="{FF2B5EF4-FFF2-40B4-BE49-F238E27FC236}">
                  <a16:creationId xmlns:a16="http://schemas.microsoft.com/office/drawing/2014/main" id="{6B0771E2-DA97-4D6C-A504-4A6A44BCE504}"/>
                </a:ext>
              </a:extLst>
            </p:cNvPr>
            <p:cNvSpPr/>
            <p:nvPr/>
          </p:nvSpPr>
          <p:spPr>
            <a:xfrm>
              <a:off x="4859866" y="2103310"/>
              <a:ext cx="26952" cy="27023"/>
            </a:xfrm>
            <a:custGeom>
              <a:avLst/>
              <a:gdLst>
                <a:gd name="connsiteX0" fmla="*/ 26952 w 26952"/>
                <a:gd name="connsiteY0" fmla="*/ 13512 h 27023"/>
                <a:gd name="connsiteX1" fmla="*/ 13476 w 26952"/>
                <a:gd name="connsiteY1" fmla="*/ 27023 h 27023"/>
                <a:gd name="connsiteX2" fmla="*/ 0 w 26952"/>
                <a:gd name="connsiteY2" fmla="*/ 13512 h 27023"/>
                <a:gd name="connsiteX3" fmla="*/ 13476 w 26952"/>
                <a:gd name="connsiteY3" fmla="*/ 0 h 27023"/>
                <a:gd name="connsiteX4" fmla="*/ 26952 w 26952"/>
                <a:gd name="connsiteY4" fmla="*/ 13512 h 27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52" h="27023">
                  <a:moveTo>
                    <a:pt x="26952" y="13512"/>
                  </a:moveTo>
                  <a:cubicBezTo>
                    <a:pt x="26952" y="20974"/>
                    <a:pt x="20919" y="27023"/>
                    <a:pt x="13476" y="27023"/>
                  </a:cubicBezTo>
                  <a:cubicBezTo>
                    <a:pt x="6033" y="27023"/>
                    <a:pt x="0" y="20974"/>
                    <a:pt x="0" y="13512"/>
                  </a:cubicBezTo>
                  <a:cubicBezTo>
                    <a:pt x="0" y="6049"/>
                    <a:pt x="6033" y="0"/>
                    <a:pt x="13476" y="0"/>
                  </a:cubicBezTo>
                  <a:cubicBezTo>
                    <a:pt x="20919" y="0"/>
                    <a:pt x="26952" y="6049"/>
                    <a:pt x="26952" y="13512"/>
                  </a:cubicBezTo>
                  <a:close/>
                </a:path>
              </a:pathLst>
            </a:custGeom>
            <a:noFill/>
            <a:ln w="6350" cap="flat">
              <a:solidFill>
                <a:srgbClr val="4F74C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6" name="Freeform 194">
              <a:extLst>
                <a:ext uri="{FF2B5EF4-FFF2-40B4-BE49-F238E27FC236}">
                  <a16:creationId xmlns:a16="http://schemas.microsoft.com/office/drawing/2014/main" id="{5A311631-5E7E-4966-A8F4-3B56AC94E1C0}"/>
                </a:ext>
              </a:extLst>
            </p:cNvPr>
            <p:cNvSpPr/>
            <p:nvPr/>
          </p:nvSpPr>
          <p:spPr>
            <a:xfrm>
              <a:off x="4874701" y="2103310"/>
              <a:ext cx="26952" cy="27023"/>
            </a:xfrm>
            <a:custGeom>
              <a:avLst/>
              <a:gdLst>
                <a:gd name="connsiteX0" fmla="*/ 26952 w 26952"/>
                <a:gd name="connsiteY0" fmla="*/ 13512 h 27023"/>
                <a:gd name="connsiteX1" fmla="*/ 13476 w 26952"/>
                <a:gd name="connsiteY1" fmla="*/ 27023 h 27023"/>
                <a:gd name="connsiteX2" fmla="*/ 0 w 26952"/>
                <a:gd name="connsiteY2" fmla="*/ 13512 h 27023"/>
                <a:gd name="connsiteX3" fmla="*/ 13476 w 26952"/>
                <a:gd name="connsiteY3" fmla="*/ 0 h 27023"/>
                <a:gd name="connsiteX4" fmla="*/ 26952 w 26952"/>
                <a:gd name="connsiteY4" fmla="*/ 13512 h 27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52" h="27023">
                  <a:moveTo>
                    <a:pt x="26952" y="13512"/>
                  </a:moveTo>
                  <a:cubicBezTo>
                    <a:pt x="26952" y="20974"/>
                    <a:pt x="20919" y="27023"/>
                    <a:pt x="13476" y="27023"/>
                  </a:cubicBezTo>
                  <a:cubicBezTo>
                    <a:pt x="6033" y="27023"/>
                    <a:pt x="0" y="20974"/>
                    <a:pt x="0" y="13512"/>
                  </a:cubicBezTo>
                  <a:cubicBezTo>
                    <a:pt x="0" y="6049"/>
                    <a:pt x="6033" y="0"/>
                    <a:pt x="13476" y="0"/>
                  </a:cubicBezTo>
                  <a:cubicBezTo>
                    <a:pt x="20919" y="0"/>
                    <a:pt x="26952" y="6049"/>
                    <a:pt x="26952" y="13512"/>
                  </a:cubicBezTo>
                  <a:close/>
                </a:path>
              </a:pathLst>
            </a:custGeom>
            <a:noFill/>
            <a:ln w="6350" cap="flat">
              <a:solidFill>
                <a:srgbClr val="4F74C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7" name="Freeform 195">
              <a:extLst>
                <a:ext uri="{FF2B5EF4-FFF2-40B4-BE49-F238E27FC236}">
                  <a16:creationId xmlns:a16="http://schemas.microsoft.com/office/drawing/2014/main" id="{31CEF3AB-5E70-481B-BF9A-577B3002A094}"/>
                </a:ext>
              </a:extLst>
            </p:cNvPr>
            <p:cNvSpPr/>
            <p:nvPr/>
          </p:nvSpPr>
          <p:spPr>
            <a:xfrm>
              <a:off x="4883647" y="2110123"/>
              <a:ext cx="26952" cy="27023"/>
            </a:xfrm>
            <a:custGeom>
              <a:avLst/>
              <a:gdLst>
                <a:gd name="connsiteX0" fmla="*/ 26952 w 26952"/>
                <a:gd name="connsiteY0" fmla="*/ 13512 h 27023"/>
                <a:gd name="connsiteX1" fmla="*/ 13476 w 26952"/>
                <a:gd name="connsiteY1" fmla="*/ 27023 h 27023"/>
                <a:gd name="connsiteX2" fmla="*/ 0 w 26952"/>
                <a:gd name="connsiteY2" fmla="*/ 13512 h 27023"/>
                <a:gd name="connsiteX3" fmla="*/ 13476 w 26952"/>
                <a:gd name="connsiteY3" fmla="*/ 0 h 27023"/>
                <a:gd name="connsiteX4" fmla="*/ 26952 w 26952"/>
                <a:gd name="connsiteY4" fmla="*/ 13512 h 27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52" h="27023">
                  <a:moveTo>
                    <a:pt x="26952" y="13512"/>
                  </a:moveTo>
                  <a:cubicBezTo>
                    <a:pt x="26952" y="20974"/>
                    <a:pt x="20919" y="27023"/>
                    <a:pt x="13476" y="27023"/>
                  </a:cubicBezTo>
                  <a:cubicBezTo>
                    <a:pt x="6033" y="27023"/>
                    <a:pt x="0" y="20974"/>
                    <a:pt x="0" y="13512"/>
                  </a:cubicBezTo>
                  <a:cubicBezTo>
                    <a:pt x="0" y="6049"/>
                    <a:pt x="6033" y="0"/>
                    <a:pt x="13476" y="0"/>
                  </a:cubicBezTo>
                  <a:cubicBezTo>
                    <a:pt x="20919" y="0"/>
                    <a:pt x="26952" y="6049"/>
                    <a:pt x="26952" y="13512"/>
                  </a:cubicBezTo>
                  <a:close/>
                </a:path>
              </a:pathLst>
            </a:custGeom>
            <a:noFill/>
            <a:ln w="6350" cap="flat">
              <a:solidFill>
                <a:srgbClr val="4F74C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8" name="Freeform 196">
              <a:extLst>
                <a:ext uri="{FF2B5EF4-FFF2-40B4-BE49-F238E27FC236}">
                  <a16:creationId xmlns:a16="http://schemas.microsoft.com/office/drawing/2014/main" id="{8CAD82C7-A6B3-401B-B376-3718722CF45E}"/>
                </a:ext>
              </a:extLst>
            </p:cNvPr>
            <p:cNvSpPr/>
            <p:nvPr/>
          </p:nvSpPr>
          <p:spPr>
            <a:xfrm>
              <a:off x="4888403" y="2119660"/>
              <a:ext cx="26952" cy="27023"/>
            </a:xfrm>
            <a:custGeom>
              <a:avLst/>
              <a:gdLst>
                <a:gd name="connsiteX0" fmla="*/ 26952 w 26952"/>
                <a:gd name="connsiteY0" fmla="*/ 13511 h 27023"/>
                <a:gd name="connsiteX1" fmla="*/ 13476 w 26952"/>
                <a:gd name="connsiteY1" fmla="*/ 27023 h 27023"/>
                <a:gd name="connsiteX2" fmla="*/ 0 w 26952"/>
                <a:gd name="connsiteY2" fmla="*/ 13511 h 27023"/>
                <a:gd name="connsiteX3" fmla="*/ 13476 w 26952"/>
                <a:gd name="connsiteY3" fmla="*/ 0 h 27023"/>
                <a:gd name="connsiteX4" fmla="*/ 26952 w 26952"/>
                <a:gd name="connsiteY4" fmla="*/ 13511 h 27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52" h="27023">
                  <a:moveTo>
                    <a:pt x="26952" y="13511"/>
                  </a:moveTo>
                  <a:cubicBezTo>
                    <a:pt x="26952" y="20974"/>
                    <a:pt x="20919" y="27023"/>
                    <a:pt x="13476" y="27023"/>
                  </a:cubicBezTo>
                  <a:cubicBezTo>
                    <a:pt x="6033" y="27023"/>
                    <a:pt x="0" y="20974"/>
                    <a:pt x="0" y="13511"/>
                  </a:cubicBezTo>
                  <a:cubicBezTo>
                    <a:pt x="0" y="6049"/>
                    <a:pt x="6033" y="0"/>
                    <a:pt x="13476" y="0"/>
                  </a:cubicBezTo>
                  <a:cubicBezTo>
                    <a:pt x="20919" y="0"/>
                    <a:pt x="26952" y="6049"/>
                    <a:pt x="26952" y="13511"/>
                  </a:cubicBezTo>
                  <a:close/>
                </a:path>
              </a:pathLst>
            </a:custGeom>
            <a:noFill/>
            <a:ln w="6350" cap="flat">
              <a:solidFill>
                <a:srgbClr val="4F74C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9" name="Freeform 197">
              <a:extLst>
                <a:ext uri="{FF2B5EF4-FFF2-40B4-BE49-F238E27FC236}">
                  <a16:creationId xmlns:a16="http://schemas.microsoft.com/office/drawing/2014/main" id="{159873C1-A03E-408F-A10E-0D3359BB6B1F}"/>
                </a:ext>
              </a:extLst>
            </p:cNvPr>
            <p:cNvSpPr/>
            <p:nvPr/>
          </p:nvSpPr>
          <p:spPr>
            <a:xfrm>
              <a:off x="4889083" y="2127154"/>
              <a:ext cx="26952" cy="27023"/>
            </a:xfrm>
            <a:custGeom>
              <a:avLst/>
              <a:gdLst>
                <a:gd name="connsiteX0" fmla="*/ 26952 w 26952"/>
                <a:gd name="connsiteY0" fmla="*/ 13512 h 27023"/>
                <a:gd name="connsiteX1" fmla="*/ 13476 w 26952"/>
                <a:gd name="connsiteY1" fmla="*/ 27023 h 27023"/>
                <a:gd name="connsiteX2" fmla="*/ 0 w 26952"/>
                <a:gd name="connsiteY2" fmla="*/ 13512 h 27023"/>
                <a:gd name="connsiteX3" fmla="*/ 13476 w 26952"/>
                <a:gd name="connsiteY3" fmla="*/ 0 h 27023"/>
                <a:gd name="connsiteX4" fmla="*/ 26952 w 26952"/>
                <a:gd name="connsiteY4" fmla="*/ 13512 h 27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52" h="27023">
                  <a:moveTo>
                    <a:pt x="26952" y="13512"/>
                  </a:moveTo>
                  <a:cubicBezTo>
                    <a:pt x="26952" y="20974"/>
                    <a:pt x="20919" y="27023"/>
                    <a:pt x="13476" y="27023"/>
                  </a:cubicBezTo>
                  <a:cubicBezTo>
                    <a:pt x="6033" y="27023"/>
                    <a:pt x="0" y="20974"/>
                    <a:pt x="0" y="13512"/>
                  </a:cubicBezTo>
                  <a:cubicBezTo>
                    <a:pt x="0" y="6049"/>
                    <a:pt x="6033" y="0"/>
                    <a:pt x="13476" y="0"/>
                  </a:cubicBezTo>
                  <a:cubicBezTo>
                    <a:pt x="20919" y="0"/>
                    <a:pt x="26952" y="6049"/>
                    <a:pt x="26952" y="13512"/>
                  </a:cubicBezTo>
                  <a:close/>
                </a:path>
              </a:pathLst>
            </a:custGeom>
            <a:noFill/>
            <a:ln w="6350" cap="flat">
              <a:solidFill>
                <a:srgbClr val="4F74C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0" name="Freeform 198">
              <a:extLst>
                <a:ext uri="{FF2B5EF4-FFF2-40B4-BE49-F238E27FC236}">
                  <a16:creationId xmlns:a16="http://schemas.microsoft.com/office/drawing/2014/main" id="{B3B91D5A-8E3E-433E-81E2-7999414A7F7E}"/>
                </a:ext>
              </a:extLst>
            </p:cNvPr>
            <p:cNvSpPr/>
            <p:nvPr/>
          </p:nvSpPr>
          <p:spPr>
            <a:xfrm>
              <a:off x="4890668" y="2145889"/>
              <a:ext cx="26952" cy="27023"/>
            </a:xfrm>
            <a:custGeom>
              <a:avLst/>
              <a:gdLst>
                <a:gd name="connsiteX0" fmla="*/ 26952 w 26952"/>
                <a:gd name="connsiteY0" fmla="*/ 13512 h 27023"/>
                <a:gd name="connsiteX1" fmla="*/ 13476 w 26952"/>
                <a:gd name="connsiteY1" fmla="*/ 27023 h 27023"/>
                <a:gd name="connsiteX2" fmla="*/ 0 w 26952"/>
                <a:gd name="connsiteY2" fmla="*/ 13512 h 27023"/>
                <a:gd name="connsiteX3" fmla="*/ 13476 w 26952"/>
                <a:gd name="connsiteY3" fmla="*/ 0 h 27023"/>
                <a:gd name="connsiteX4" fmla="*/ 26952 w 26952"/>
                <a:gd name="connsiteY4" fmla="*/ 13512 h 27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52" h="27023">
                  <a:moveTo>
                    <a:pt x="26952" y="13512"/>
                  </a:moveTo>
                  <a:cubicBezTo>
                    <a:pt x="26952" y="20974"/>
                    <a:pt x="20919" y="27023"/>
                    <a:pt x="13476" y="27023"/>
                  </a:cubicBezTo>
                  <a:cubicBezTo>
                    <a:pt x="6033" y="27023"/>
                    <a:pt x="0" y="20974"/>
                    <a:pt x="0" y="13512"/>
                  </a:cubicBezTo>
                  <a:cubicBezTo>
                    <a:pt x="0" y="6049"/>
                    <a:pt x="6033" y="0"/>
                    <a:pt x="13476" y="0"/>
                  </a:cubicBezTo>
                  <a:cubicBezTo>
                    <a:pt x="20919" y="0"/>
                    <a:pt x="26952" y="6049"/>
                    <a:pt x="26952" y="13512"/>
                  </a:cubicBezTo>
                  <a:close/>
                </a:path>
              </a:pathLst>
            </a:custGeom>
            <a:noFill/>
            <a:ln w="6350" cap="flat">
              <a:solidFill>
                <a:srgbClr val="4F74C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1" name="Freeform 199">
              <a:extLst>
                <a:ext uri="{FF2B5EF4-FFF2-40B4-BE49-F238E27FC236}">
                  <a16:creationId xmlns:a16="http://schemas.microsoft.com/office/drawing/2014/main" id="{D493E0A9-9357-4403-BBC0-AEC639F32846}"/>
                </a:ext>
              </a:extLst>
            </p:cNvPr>
            <p:cNvSpPr/>
            <p:nvPr/>
          </p:nvSpPr>
          <p:spPr>
            <a:xfrm>
              <a:off x="4892820" y="2154291"/>
              <a:ext cx="26952" cy="27023"/>
            </a:xfrm>
            <a:custGeom>
              <a:avLst/>
              <a:gdLst>
                <a:gd name="connsiteX0" fmla="*/ 26952 w 26952"/>
                <a:gd name="connsiteY0" fmla="*/ 13512 h 27023"/>
                <a:gd name="connsiteX1" fmla="*/ 13476 w 26952"/>
                <a:gd name="connsiteY1" fmla="*/ 27023 h 27023"/>
                <a:gd name="connsiteX2" fmla="*/ 0 w 26952"/>
                <a:gd name="connsiteY2" fmla="*/ 13512 h 27023"/>
                <a:gd name="connsiteX3" fmla="*/ 13476 w 26952"/>
                <a:gd name="connsiteY3" fmla="*/ 0 h 27023"/>
                <a:gd name="connsiteX4" fmla="*/ 26952 w 26952"/>
                <a:gd name="connsiteY4" fmla="*/ 13512 h 27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52" h="27023">
                  <a:moveTo>
                    <a:pt x="26952" y="13512"/>
                  </a:moveTo>
                  <a:cubicBezTo>
                    <a:pt x="26952" y="20974"/>
                    <a:pt x="20919" y="27023"/>
                    <a:pt x="13476" y="27023"/>
                  </a:cubicBezTo>
                  <a:cubicBezTo>
                    <a:pt x="6033" y="27023"/>
                    <a:pt x="0" y="20974"/>
                    <a:pt x="0" y="13512"/>
                  </a:cubicBezTo>
                  <a:cubicBezTo>
                    <a:pt x="0" y="6049"/>
                    <a:pt x="6033" y="0"/>
                    <a:pt x="13476" y="0"/>
                  </a:cubicBezTo>
                  <a:cubicBezTo>
                    <a:pt x="20919" y="0"/>
                    <a:pt x="26952" y="6049"/>
                    <a:pt x="26952" y="13512"/>
                  </a:cubicBezTo>
                  <a:close/>
                </a:path>
              </a:pathLst>
            </a:custGeom>
            <a:noFill/>
            <a:ln w="6350" cap="flat">
              <a:solidFill>
                <a:srgbClr val="4F74C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2" name="Freeform 200">
              <a:extLst>
                <a:ext uri="{FF2B5EF4-FFF2-40B4-BE49-F238E27FC236}">
                  <a16:creationId xmlns:a16="http://schemas.microsoft.com/office/drawing/2014/main" id="{211A2EB7-20A0-43CB-8AF5-9E9E0ABCC8BC}"/>
                </a:ext>
              </a:extLst>
            </p:cNvPr>
            <p:cNvSpPr/>
            <p:nvPr/>
          </p:nvSpPr>
          <p:spPr>
            <a:xfrm>
              <a:off x="4894292" y="2190170"/>
              <a:ext cx="26952" cy="27023"/>
            </a:xfrm>
            <a:custGeom>
              <a:avLst/>
              <a:gdLst>
                <a:gd name="connsiteX0" fmla="*/ 26952 w 26952"/>
                <a:gd name="connsiteY0" fmla="*/ 13511 h 27023"/>
                <a:gd name="connsiteX1" fmla="*/ 13476 w 26952"/>
                <a:gd name="connsiteY1" fmla="*/ 27023 h 27023"/>
                <a:gd name="connsiteX2" fmla="*/ 0 w 26952"/>
                <a:gd name="connsiteY2" fmla="*/ 13511 h 27023"/>
                <a:gd name="connsiteX3" fmla="*/ 13476 w 26952"/>
                <a:gd name="connsiteY3" fmla="*/ 0 h 27023"/>
                <a:gd name="connsiteX4" fmla="*/ 26952 w 26952"/>
                <a:gd name="connsiteY4" fmla="*/ 13511 h 27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52" h="27023">
                  <a:moveTo>
                    <a:pt x="26952" y="13511"/>
                  </a:moveTo>
                  <a:cubicBezTo>
                    <a:pt x="26952" y="20974"/>
                    <a:pt x="20919" y="27023"/>
                    <a:pt x="13476" y="27023"/>
                  </a:cubicBezTo>
                  <a:cubicBezTo>
                    <a:pt x="6033" y="27023"/>
                    <a:pt x="0" y="20974"/>
                    <a:pt x="0" y="13511"/>
                  </a:cubicBezTo>
                  <a:cubicBezTo>
                    <a:pt x="0" y="6049"/>
                    <a:pt x="6033" y="0"/>
                    <a:pt x="13476" y="0"/>
                  </a:cubicBezTo>
                  <a:cubicBezTo>
                    <a:pt x="20919" y="0"/>
                    <a:pt x="26952" y="6049"/>
                    <a:pt x="26952" y="13511"/>
                  </a:cubicBezTo>
                  <a:close/>
                </a:path>
              </a:pathLst>
            </a:custGeom>
            <a:noFill/>
            <a:ln w="6350" cap="flat">
              <a:solidFill>
                <a:srgbClr val="4F74C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3" name="Freeform 201">
              <a:extLst>
                <a:ext uri="{FF2B5EF4-FFF2-40B4-BE49-F238E27FC236}">
                  <a16:creationId xmlns:a16="http://schemas.microsoft.com/office/drawing/2014/main" id="{26274197-DD58-4809-A7EE-2142C02B485E}"/>
                </a:ext>
              </a:extLst>
            </p:cNvPr>
            <p:cNvSpPr/>
            <p:nvPr/>
          </p:nvSpPr>
          <p:spPr>
            <a:xfrm>
              <a:off x="4970052" y="2244784"/>
              <a:ext cx="26952" cy="27023"/>
            </a:xfrm>
            <a:custGeom>
              <a:avLst/>
              <a:gdLst>
                <a:gd name="connsiteX0" fmla="*/ 26952 w 26952"/>
                <a:gd name="connsiteY0" fmla="*/ 13512 h 27023"/>
                <a:gd name="connsiteX1" fmla="*/ 13476 w 26952"/>
                <a:gd name="connsiteY1" fmla="*/ 27023 h 27023"/>
                <a:gd name="connsiteX2" fmla="*/ 0 w 26952"/>
                <a:gd name="connsiteY2" fmla="*/ 13512 h 27023"/>
                <a:gd name="connsiteX3" fmla="*/ 13476 w 26952"/>
                <a:gd name="connsiteY3" fmla="*/ 0 h 27023"/>
                <a:gd name="connsiteX4" fmla="*/ 26952 w 26952"/>
                <a:gd name="connsiteY4" fmla="*/ 13512 h 27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52" h="27023">
                  <a:moveTo>
                    <a:pt x="26952" y="13512"/>
                  </a:moveTo>
                  <a:cubicBezTo>
                    <a:pt x="26952" y="20974"/>
                    <a:pt x="20919" y="27023"/>
                    <a:pt x="13476" y="27023"/>
                  </a:cubicBezTo>
                  <a:cubicBezTo>
                    <a:pt x="6033" y="27023"/>
                    <a:pt x="0" y="20974"/>
                    <a:pt x="0" y="13512"/>
                  </a:cubicBezTo>
                  <a:cubicBezTo>
                    <a:pt x="0" y="6049"/>
                    <a:pt x="6033" y="0"/>
                    <a:pt x="13476" y="0"/>
                  </a:cubicBezTo>
                  <a:cubicBezTo>
                    <a:pt x="20919" y="0"/>
                    <a:pt x="26952" y="6049"/>
                    <a:pt x="26952" y="13512"/>
                  </a:cubicBezTo>
                  <a:close/>
                </a:path>
              </a:pathLst>
            </a:custGeom>
            <a:noFill/>
            <a:ln w="6350" cap="flat">
              <a:solidFill>
                <a:srgbClr val="4F74C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4" name="Freeform 202">
              <a:extLst>
                <a:ext uri="{FF2B5EF4-FFF2-40B4-BE49-F238E27FC236}">
                  <a16:creationId xmlns:a16="http://schemas.microsoft.com/office/drawing/2014/main" id="{7B2CE6CD-4DE4-4838-A6A6-441A1D70E6DE}"/>
                </a:ext>
              </a:extLst>
            </p:cNvPr>
            <p:cNvSpPr/>
            <p:nvPr/>
          </p:nvSpPr>
          <p:spPr>
            <a:xfrm>
              <a:off x="4986586" y="2255116"/>
              <a:ext cx="26952" cy="27023"/>
            </a:xfrm>
            <a:custGeom>
              <a:avLst/>
              <a:gdLst>
                <a:gd name="connsiteX0" fmla="*/ 26952 w 26952"/>
                <a:gd name="connsiteY0" fmla="*/ 13511 h 27023"/>
                <a:gd name="connsiteX1" fmla="*/ 13476 w 26952"/>
                <a:gd name="connsiteY1" fmla="*/ 27023 h 27023"/>
                <a:gd name="connsiteX2" fmla="*/ 0 w 26952"/>
                <a:gd name="connsiteY2" fmla="*/ 13511 h 27023"/>
                <a:gd name="connsiteX3" fmla="*/ 13476 w 26952"/>
                <a:gd name="connsiteY3" fmla="*/ 0 h 27023"/>
                <a:gd name="connsiteX4" fmla="*/ 26952 w 26952"/>
                <a:gd name="connsiteY4" fmla="*/ 13511 h 27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52" h="27023">
                  <a:moveTo>
                    <a:pt x="26952" y="13511"/>
                  </a:moveTo>
                  <a:cubicBezTo>
                    <a:pt x="26952" y="20974"/>
                    <a:pt x="20919" y="27023"/>
                    <a:pt x="13476" y="27023"/>
                  </a:cubicBezTo>
                  <a:cubicBezTo>
                    <a:pt x="6033" y="27023"/>
                    <a:pt x="0" y="20974"/>
                    <a:pt x="0" y="13511"/>
                  </a:cubicBezTo>
                  <a:cubicBezTo>
                    <a:pt x="0" y="6049"/>
                    <a:pt x="6033" y="0"/>
                    <a:pt x="13476" y="0"/>
                  </a:cubicBezTo>
                  <a:cubicBezTo>
                    <a:pt x="20919" y="0"/>
                    <a:pt x="26952" y="6049"/>
                    <a:pt x="26952" y="13511"/>
                  </a:cubicBezTo>
                  <a:close/>
                </a:path>
              </a:pathLst>
            </a:custGeom>
            <a:noFill/>
            <a:ln w="6350" cap="flat">
              <a:solidFill>
                <a:srgbClr val="4F74C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5" name="Freeform 203">
              <a:extLst>
                <a:ext uri="{FF2B5EF4-FFF2-40B4-BE49-F238E27FC236}">
                  <a16:creationId xmlns:a16="http://schemas.microsoft.com/office/drawing/2014/main" id="{41ACA451-BF6D-469A-9FB5-4C505A27A613}"/>
                </a:ext>
              </a:extLst>
            </p:cNvPr>
            <p:cNvSpPr/>
            <p:nvPr/>
          </p:nvSpPr>
          <p:spPr>
            <a:xfrm>
              <a:off x="4996665" y="2311774"/>
              <a:ext cx="26952" cy="27023"/>
            </a:xfrm>
            <a:custGeom>
              <a:avLst/>
              <a:gdLst>
                <a:gd name="connsiteX0" fmla="*/ 26952 w 26952"/>
                <a:gd name="connsiteY0" fmla="*/ 13512 h 27023"/>
                <a:gd name="connsiteX1" fmla="*/ 13476 w 26952"/>
                <a:gd name="connsiteY1" fmla="*/ 27023 h 27023"/>
                <a:gd name="connsiteX2" fmla="*/ 0 w 26952"/>
                <a:gd name="connsiteY2" fmla="*/ 13512 h 27023"/>
                <a:gd name="connsiteX3" fmla="*/ 13476 w 26952"/>
                <a:gd name="connsiteY3" fmla="*/ 0 h 27023"/>
                <a:gd name="connsiteX4" fmla="*/ 26952 w 26952"/>
                <a:gd name="connsiteY4" fmla="*/ 13512 h 27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52" h="27023">
                  <a:moveTo>
                    <a:pt x="26952" y="13512"/>
                  </a:moveTo>
                  <a:cubicBezTo>
                    <a:pt x="26952" y="20974"/>
                    <a:pt x="20919" y="27023"/>
                    <a:pt x="13476" y="27023"/>
                  </a:cubicBezTo>
                  <a:cubicBezTo>
                    <a:pt x="6033" y="27023"/>
                    <a:pt x="0" y="20974"/>
                    <a:pt x="0" y="13512"/>
                  </a:cubicBezTo>
                  <a:cubicBezTo>
                    <a:pt x="0" y="6049"/>
                    <a:pt x="6033" y="0"/>
                    <a:pt x="13476" y="0"/>
                  </a:cubicBezTo>
                  <a:cubicBezTo>
                    <a:pt x="20919" y="0"/>
                    <a:pt x="26952" y="6049"/>
                    <a:pt x="26952" y="13512"/>
                  </a:cubicBezTo>
                  <a:close/>
                </a:path>
              </a:pathLst>
            </a:custGeom>
            <a:noFill/>
            <a:ln w="6350" cap="flat">
              <a:solidFill>
                <a:srgbClr val="4F74C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6" name="Freeform 204">
              <a:extLst>
                <a:ext uri="{FF2B5EF4-FFF2-40B4-BE49-F238E27FC236}">
                  <a16:creationId xmlns:a16="http://schemas.microsoft.com/office/drawing/2014/main" id="{BCEE341E-1EAF-44B1-AED1-D35274791D93}"/>
                </a:ext>
              </a:extLst>
            </p:cNvPr>
            <p:cNvSpPr/>
            <p:nvPr/>
          </p:nvSpPr>
          <p:spPr>
            <a:xfrm>
              <a:off x="4998250" y="2320516"/>
              <a:ext cx="26952" cy="27023"/>
            </a:xfrm>
            <a:custGeom>
              <a:avLst/>
              <a:gdLst>
                <a:gd name="connsiteX0" fmla="*/ 26952 w 26952"/>
                <a:gd name="connsiteY0" fmla="*/ 13512 h 27023"/>
                <a:gd name="connsiteX1" fmla="*/ 13476 w 26952"/>
                <a:gd name="connsiteY1" fmla="*/ 27023 h 27023"/>
                <a:gd name="connsiteX2" fmla="*/ 0 w 26952"/>
                <a:gd name="connsiteY2" fmla="*/ 13512 h 27023"/>
                <a:gd name="connsiteX3" fmla="*/ 13476 w 26952"/>
                <a:gd name="connsiteY3" fmla="*/ 0 h 27023"/>
                <a:gd name="connsiteX4" fmla="*/ 26952 w 26952"/>
                <a:gd name="connsiteY4" fmla="*/ 13512 h 27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52" h="27023">
                  <a:moveTo>
                    <a:pt x="26952" y="13512"/>
                  </a:moveTo>
                  <a:cubicBezTo>
                    <a:pt x="26952" y="20974"/>
                    <a:pt x="20919" y="27023"/>
                    <a:pt x="13476" y="27023"/>
                  </a:cubicBezTo>
                  <a:cubicBezTo>
                    <a:pt x="6033" y="27023"/>
                    <a:pt x="0" y="20974"/>
                    <a:pt x="0" y="13512"/>
                  </a:cubicBezTo>
                  <a:cubicBezTo>
                    <a:pt x="0" y="6049"/>
                    <a:pt x="6033" y="0"/>
                    <a:pt x="13476" y="0"/>
                  </a:cubicBezTo>
                  <a:cubicBezTo>
                    <a:pt x="20919" y="0"/>
                    <a:pt x="26952" y="6049"/>
                    <a:pt x="26952" y="13512"/>
                  </a:cubicBezTo>
                  <a:close/>
                </a:path>
              </a:pathLst>
            </a:custGeom>
            <a:noFill/>
            <a:ln w="6350" cap="flat">
              <a:solidFill>
                <a:srgbClr val="4F74C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7" name="Freeform 205">
              <a:extLst>
                <a:ext uri="{FF2B5EF4-FFF2-40B4-BE49-F238E27FC236}">
                  <a16:creationId xmlns:a16="http://schemas.microsoft.com/office/drawing/2014/main" id="{FF3D6F84-40BA-4CD6-A4C3-2B8232DE6512}"/>
                </a:ext>
              </a:extLst>
            </p:cNvPr>
            <p:cNvSpPr/>
            <p:nvPr/>
          </p:nvSpPr>
          <p:spPr>
            <a:xfrm>
              <a:off x="5003912" y="2320516"/>
              <a:ext cx="26952" cy="27023"/>
            </a:xfrm>
            <a:custGeom>
              <a:avLst/>
              <a:gdLst>
                <a:gd name="connsiteX0" fmla="*/ 26952 w 26952"/>
                <a:gd name="connsiteY0" fmla="*/ 13512 h 27023"/>
                <a:gd name="connsiteX1" fmla="*/ 13476 w 26952"/>
                <a:gd name="connsiteY1" fmla="*/ 27023 h 27023"/>
                <a:gd name="connsiteX2" fmla="*/ 0 w 26952"/>
                <a:gd name="connsiteY2" fmla="*/ 13512 h 27023"/>
                <a:gd name="connsiteX3" fmla="*/ 13476 w 26952"/>
                <a:gd name="connsiteY3" fmla="*/ 0 h 27023"/>
                <a:gd name="connsiteX4" fmla="*/ 26952 w 26952"/>
                <a:gd name="connsiteY4" fmla="*/ 13512 h 27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52" h="27023">
                  <a:moveTo>
                    <a:pt x="26952" y="13512"/>
                  </a:moveTo>
                  <a:cubicBezTo>
                    <a:pt x="26952" y="20974"/>
                    <a:pt x="20919" y="27023"/>
                    <a:pt x="13476" y="27023"/>
                  </a:cubicBezTo>
                  <a:cubicBezTo>
                    <a:pt x="6033" y="27023"/>
                    <a:pt x="0" y="20974"/>
                    <a:pt x="0" y="13512"/>
                  </a:cubicBezTo>
                  <a:cubicBezTo>
                    <a:pt x="0" y="6049"/>
                    <a:pt x="6033" y="0"/>
                    <a:pt x="13476" y="0"/>
                  </a:cubicBezTo>
                  <a:cubicBezTo>
                    <a:pt x="20919" y="0"/>
                    <a:pt x="26952" y="6049"/>
                    <a:pt x="26952" y="13512"/>
                  </a:cubicBezTo>
                  <a:close/>
                </a:path>
              </a:pathLst>
            </a:custGeom>
            <a:noFill/>
            <a:ln w="6350" cap="flat">
              <a:solidFill>
                <a:srgbClr val="4F74C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8" name="Freeform 206">
              <a:extLst>
                <a:ext uri="{FF2B5EF4-FFF2-40B4-BE49-F238E27FC236}">
                  <a16:creationId xmlns:a16="http://schemas.microsoft.com/office/drawing/2014/main" id="{21533FB7-6E6A-4691-8442-0C4D7381F356}"/>
                </a:ext>
              </a:extLst>
            </p:cNvPr>
            <p:cNvSpPr/>
            <p:nvPr/>
          </p:nvSpPr>
          <p:spPr>
            <a:xfrm>
              <a:off x="5082730" y="2320516"/>
              <a:ext cx="26952" cy="27023"/>
            </a:xfrm>
            <a:custGeom>
              <a:avLst/>
              <a:gdLst>
                <a:gd name="connsiteX0" fmla="*/ 26952 w 26952"/>
                <a:gd name="connsiteY0" fmla="*/ 13512 h 27023"/>
                <a:gd name="connsiteX1" fmla="*/ 13476 w 26952"/>
                <a:gd name="connsiteY1" fmla="*/ 27023 h 27023"/>
                <a:gd name="connsiteX2" fmla="*/ 0 w 26952"/>
                <a:gd name="connsiteY2" fmla="*/ 13512 h 27023"/>
                <a:gd name="connsiteX3" fmla="*/ 13476 w 26952"/>
                <a:gd name="connsiteY3" fmla="*/ 0 h 27023"/>
                <a:gd name="connsiteX4" fmla="*/ 26952 w 26952"/>
                <a:gd name="connsiteY4" fmla="*/ 13512 h 27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52" h="27023">
                  <a:moveTo>
                    <a:pt x="26952" y="13512"/>
                  </a:moveTo>
                  <a:cubicBezTo>
                    <a:pt x="26952" y="20974"/>
                    <a:pt x="20919" y="27023"/>
                    <a:pt x="13476" y="27023"/>
                  </a:cubicBezTo>
                  <a:cubicBezTo>
                    <a:pt x="6033" y="27023"/>
                    <a:pt x="0" y="20974"/>
                    <a:pt x="0" y="13512"/>
                  </a:cubicBezTo>
                  <a:cubicBezTo>
                    <a:pt x="0" y="6049"/>
                    <a:pt x="6033" y="0"/>
                    <a:pt x="13476" y="0"/>
                  </a:cubicBezTo>
                  <a:cubicBezTo>
                    <a:pt x="20919" y="0"/>
                    <a:pt x="26952" y="6049"/>
                    <a:pt x="26952" y="13512"/>
                  </a:cubicBezTo>
                  <a:close/>
                </a:path>
              </a:pathLst>
            </a:custGeom>
            <a:noFill/>
            <a:ln w="6350" cap="flat">
              <a:solidFill>
                <a:srgbClr val="4F74C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9" name="Freeform 207">
              <a:extLst>
                <a:ext uri="{FF2B5EF4-FFF2-40B4-BE49-F238E27FC236}">
                  <a16:creationId xmlns:a16="http://schemas.microsoft.com/office/drawing/2014/main" id="{5294498A-3EA0-42B1-AD77-A02998ACCFF1}"/>
                </a:ext>
              </a:extLst>
            </p:cNvPr>
            <p:cNvSpPr/>
            <p:nvPr/>
          </p:nvSpPr>
          <p:spPr>
            <a:xfrm>
              <a:off x="5096319" y="2331871"/>
              <a:ext cx="26952" cy="27023"/>
            </a:xfrm>
            <a:custGeom>
              <a:avLst/>
              <a:gdLst>
                <a:gd name="connsiteX0" fmla="*/ 26952 w 26952"/>
                <a:gd name="connsiteY0" fmla="*/ 13512 h 27023"/>
                <a:gd name="connsiteX1" fmla="*/ 13476 w 26952"/>
                <a:gd name="connsiteY1" fmla="*/ 27023 h 27023"/>
                <a:gd name="connsiteX2" fmla="*/ 0 w 26952"/>
                <a:gd name="connsiteY2" fmla="*/ 13512 h 27023"/>
                <a:gd name="connsiteX3" fmla="*/ 13476 w 26952"/>
                <a:gd name="connsiteY3" fmla="*/ 0 h 27023"/>
                <a:gd name="connsiteX4" fmla="*/ 26952 w 26952"/>
                <a:gd name="connsiteY4" fmla="*/ 13512 h 27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52" h="27023">
                  <a:moveTo>
                    <a:pt x="26952" y="13512"/>
                  </a:moveTo>
                  <a:cubicBezTo>
                    <a:pt x="26952" y="20974"/>
                    <a:pt x="20919" y="27023"/>
                    <a:pt x="13476" y="27023"/>
                  </a:cubicBezTo>
                  <a:cubicBezTo>
                    <a:pt x="6033" y="27023"/>
                    <a:pt x="0" y="20974"/>
                    <a:pt x="0" y="13512"/>
                  </a:cubicBezTo>
                  <a:cubicBezTo>
                    <a:pt x="0" y="6049"/>
                    <a:pt x="6033" y="0"/>
                    <a:pt x="13476" y="0"/>
                  </a:cubicBezTo>
                  <a:cubicBezTo>
                    <a:pt x="20919" y="0"/>
                    <a:pt x="26952" y="6049"/>
                    <a:pt x="26952" y="13512"/>
                  </a:cubicBezTo>
                  <a:close/>
                </a:path>
              </a:pathLst>
            </a:custGeom>
            <a:noFill/>
            <a:ln w="6350" cap="flat">
              <a:solidFill>
                <a:srgbClr val="4F74C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0" name="Freeform 208">
              <a:extLst>
                <a:ext uri="{FF2B5EF4-FFF2-40B4-BE49-F238E27FC236}">
                  <a16:creationId xmlns:a16="http://schemas.microsoft.com/office/drawing/2014/main" id="{75315876-59FA-4783-8539-4295FA168C5E}"/>
                </a:ext>
              </a:extLst>
            </p:cNvPr>
            <p:cNvSpPr/>
            <p:nvPr/>
          </p:nvSpPr>
          <p:spPr>
            <a:xfrm>
              <a:off x="5113306" y="2377401"/>
              <a:ext cx="26952" cy="27023"/>
            </a:xfrm>
            <a:custGeom>
              <a:avLst/>
              <a:gdLst>
                <a:gd name="connsiteX0" fmla="*/ 26952 w 26952"/>
                <a:gd name="connsiteY0" fmla="*/ 13512 h 27023"/>
                <a:gd name="connsiteX1" fmla="*/ 13476 w 26952"/>
                <a:gd name="connsiteY1" fmla="*/ 27023 h 27023"/>
                <a:gd name="connsiteX2" fmla="*/ 0 w 26952"/>
                <a:gd name="connsiteY2" fmla="*/ 13512 h 27023"/>
                <a:gd name="connsiteX3" fmla="*/ 13476 w 26952"/>
                <a:gd name="connsiteY3" fmla="*/ 0 h 27023"/>
                <a:gd name="connsiteX4" fmla="*/ 26952 w 26952"/>
                <a:gd name="connsiteY4" fmla="*/ 13512 h 27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52" h="27023">
                  <a:moveTo>
                    <a:pt x="26952" y="13512"/>
                  </a:moveTo>
                  <a:cubicBezTo>
                    <a:pt x="26952" y="20974"/>
                    <a:pt x="20919" y="27023"/>
                    <a:pt x="13476" y="27023"/>
                  </a:cubicBezTo>
                  <a:cubicBezTo>
                    <a:pt x="6033" y="27023"/>
                    <a:pt x="0" y="20974"/>
                    <a:pt x="0" y="13512"/>
                  </a:cubicBezTo>
                  <a:cubicBezTo>
                    <a:pt x="0" y="6049"/>
                    <a:pt x="6033" y="0"/>
                    <a:pt x="13476" y="0"/>
                  </a:cubicBezTo>
                  <a:cubicBezTo>
                    <a:pt x="20919" y="0"/>
                    <a:pt x="26952" y="6049"/>
                    <a:pt x="26952" y="13512"/>
                  </a:cubicBezTo>
                  <a:close/>
                </a:path>
              </a:pathLst>
            </a:custGeom>
            <a:noFill/>
            <a:ln w="6350" cap="flat">
              <a:solidFill>
                <a:srgbClr val="4F74C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1" name="Freeform 209">
              <a:extLst>
                <a:ext uri="{FF2B5EF4-FFF2-40B4-BE49-F238E27FC236}">
                  <a16:creationId xmlns:a16="http://schemas.microsoft.com/office/drawing/2014/main" id="{663AD4B0-61B0-4134-90A3-4C9CAD26411D}"/>
                </a:ext>
              </a:extLst>
            </p:cNvPr>
            <p:cNvSpPr/>
            <p:nvPr/>
          </p:nvSpPr>
          <p:spPr>
            <a:xfrm>
              <a:off x="5239234" y="2484698"/>
              <a:ext cx="26952" cy="27023"/>
            </a:xfrm>
            <a:custGeom>
              <a:avLst/>
              <a:gdLst>
                <a:gd name="connsiteX0" fmla="*/ 26952 w 26952"/>
                <a:gd name="connsiteY0" fmla="*/ 13512 h 27023"/>
                <a:gd name="connsiteX1" fmla="*/ 13476 w 26952"/>
                <a:gd name="connsiteY1" fmla="*/ 27023 h 27023"/>
                <a:gd name="connsiteX2" fmla="*/ 0 w 26952"/>
                <a:gd name="connsiteY2" fmla="*/ 13512 h 27023"/>
                <a:gd name="connsiteX3" fmla="*/ 13476 w 26952"/>
                <a:gd name="connsiteY3" fmla="*/ 0 h 27023"/>
                <a:gd name="connsiteX4" fmla="*/ 26952 w 26952"/>
                <a:gd name="connsiteY4" fmla="*/ 13512 h 27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52" h="27023">
                  <a:moveTo>
                    <a:pt x="26952" y="13512"/>
                  </a:moveTo>
                  <a:cubicBezTo>
                    <a:pt x="26952" y="20974"/>
                    <a:pt x="20919" y="27023"/>
                    <a:pt x="13476" y="27023"/>
                  </a:cubicBezTo>
                  <a:cubicBezTo>
                    <a:pt x="6033" y="27023"/>
                    <a:pt x="0" y="20974"/>
                    <a:pt x="0" y="13512"/>
                  </a:cubicBezTo>
                  <a:cubicBezTo>
                    <a:pt x="0" y="6049"/>
                    <a:pt x="6033" y="0"/>
                    <a:pt x="13476" y="0"/>
                  </a:cubicBezTo>
                  <a:cubicBezTo>
                    <a:pt x="20919" y="0"/>
                    <a:pt x="26952" y="6049"/>
                    <a:pt x="26952" y="13512"/>
                  </a:cubicBezTo>
                  <a:close/>
                </a:path>
              </a:pathLst>
            </a:custGeom>
            <a:noFill/>
            <a:ln w="6350" cap="flat">
              <a:solidFill>
                <a:srgbClr val="4F74C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2" name="Freeform 210">
              <a:extLst>
                <a:ext uri="{FF2B5EF4-FFF2-40B4-BE49-F238E27FC236}">
                  <a16:creationId xmlns:a16="http://schemas.microsoft.com/office/drawing/2014/main" id="{3CCA7424-0992-4DC3-9202-24DA1CE27247}"/>
                </a:ext>
              </a:extLst>
            </p:cNvPr>
            <p:cNvSpPr/>
            <p:nvPr/>
          </p:nvSpPr>
          <p:spPr>
            <a:xfrm>
              <a:off x="5410119" y="2560317"/>
              <a:ext cx="26952" cy="27023"/>
            </a:xfrm>
            <a:custGeom>
              <a:avLst/>
              <a:gdLst>
                <a:gd name="connsiteX0" fmla="*/ 26952 w 26952"/>
                <a:gd name="connsiteY0" fmla="*/ 13512 h 27023"/>
                <a:gd name="connsiteX1" fmla="*/ 13476 w 26952"/>
                <a:gd name="connsiteY1" fmla="*/ 27023 h 27023"/>
                <a:gd name="connsiteX2" fmla="*/ 0 w 26952"/>
                <a:gd name="connsiteY2" fmla="*/ 13512 h 27023"/>
                <a:gd name="connsiteX3" fmla="*/ 13476 w 26952"/>
                <a:gd name="connsiteY3" fmla="*/ 0 h 27023"/>
                <a:gd name="connsiteX4" fmla="*/ 26952 w 26952"/>
                <a:gd name="connsiteY4" fmla="*/ 13512 h 27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52" h="27023">
                  <a:moveTo>
                    <a:pt x="26952" y="13512"/>
                  </a:moveTo>
                  <a:cubicBezTo>
                    <a:pt x="26952" y="20974"/>
                    <a:pt x="20919" y="27023"/>
                    <a:pt x="13476" y="27023"/>
                  </a:cubicBezTo>
                  <a:cubicBezTo>
                    <a:pt x="6033" y="27023"/>
                    <a:pt x="0" y="20974"/>
                    <a:pt x="0" y="13512"/>
                  </a:cubicBezTo>
                  <a:cubicBezTo>
                    <a:pt x="0" y="6049"/>
                    <a:pt x="6033" y="0"/>
                    <a:pt x="13476" y="0"/>
                  </a:cubicBezTo>
                  <a:cubicBezTo>
                    <a:pt x="20919" y="0"/>
                    <a:pt x="26952" y="6049"/>
                    <a:pt x="26952" y="13512"/>
                  </a:cubicBezTo>
                  <a:close/>
                </a:path>
              </a:pathLst>
            </a:custGeom>
            <a:noFill/>
            <a:ln w="6350" cap="flat">
              <a:solidFill>
                <a:srgbClr val="4F74C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3" name="Freeform 211">
              <a:extLst>
                <a:ext uri="{FF2B5EF4-FFF2-40B4-BE49-F238E27FC236}">
                  <a16:creationId xmlns:a16="http://schemas.microsoft.com/office/drawing/2014/main" id="{C7E8FC36-08BB-4462-862D-B36F02392F8B}"/>
                </a:ext>
              </a:extLst>
            </p:cNvPr>
            <p:cNvSpPr/>
            <p:nvPr/>
          </p:nvSpPr>
          <p:spPr>
            <a:xfrm>
              <a:off x="5495165" y="2560317"/>
              <a:ext cx="26952" cy="27023"/>
            </a:xfrm>
            <a:custGeom>
              <a:avLst/>
              <a:gdLst>
                <a:gd name="connsiteX0" fmla="*/ 26952 w 26952"/>
                <a:gd name="connsiteY0" fmla="*/ 13512 h 27023"/>
                <a:gd name="connsiteX1" fmla="*/ 13476 w 26952"/>
                <a:gd name="connsiteY1" fmla="*/ 27023 h 27023"/>
                <a:gd name="connsiteX2" fmla="*/ 0 w 26952"/>
                <a:gd name="connsiteY2" fmla="*/ 13512 h 27023"/>
                <a:gd name="connsiteX3" fmla="*/ 13476 w 26952"/>
                <a:gd name="connsiteY3" fmla="*/ 0 h 27023"/>
                <a:gd name="connsiteX4" fmla="*/ 26952 w 26952"/>
                <a:gd name="connsiteY4" fmla="*/ 13512 h 27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52" h="27023">
                  <a:moveTo>
                    <a:pt x="26952" y="13512"/>
                  </a:moveTo>
                  <a:cubicBezTo>
                    <a:pt x="26952" y="20974"/>
                    <a:pt x="20919" y="27023"/>
                    <a:pt x="13476" y="27023"/>
                  </a:cubicBezTo>
                  <a:cubicBezTo>
                    <a:pt x="6033" y="27023"/>
                    <a:pt x="0" y="20974"/>
                    <a:pt x="0" y="13512"/>
                  </a:cubicBezTo>
                  <a:cubicBezTo>
                    <a:pt x="0" y="6049"/>
                    <a:pt x="6033" y="0"/>
                    <a:pt x="13476" y="0"/>
                  </a:cubicBezTo>
                  <a:cubicBezTo>
                    <a:pt x="20919" y="0"/>
                    <a:pt x="26952" y="6049"/>
                    <a:pt x="26952" y="13512"/>
                  </a:cubicBezTo>
                  <a:close/>
                </a:path>
              </a:pathLst>
            </a:custGeom>
            <a:noFill/>
            <a:ln w="6350" cap="flat">
              <a:solidFill>
                <a:srgbClr val="4F74C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4" name="Freeform 212">
              <a:extLst>
                <a:ext uri="{FF2B5EF4-FFF2-40B4-BE49-F238E27FC236}">
                  <a16:creationId xmlns:a16="http://schemas.microsoft.com/office/drawing/2014/main" id="{53594062-643B-43A3-8E08-C35133BCE665}"/>
                </a:ext>
              </a:extLst>
            </p:cNvPr>
            <p:cNvSpPr/>
            <p:nvPr/>
          </p:nvSpPr>
          <p:spPr>
            <a:xfrm>
              <a:off x="5720294" y="2619927"/>
              <a:ext cx="26952" cy="27023"/>
            </a:xfrm>
            <a:custGeom>
              <a:avLst/>
              <a:gdLst>
                <a:gd name="connsiteX0" fmla="*/ 26952 w 26952"/>
                <a:gd name="connsiteY0" fmla="*/ 13512 h 27023"/>
                <a:gd name="connsiteX1" fmla="*/ 13476 w 26952"/>
                <a:gd name="connsiteY1" fmla="*/ 27023 h 27023"/>
                <a:gd name="connsiteX2" fmla="*/ 0 w 26952"/>
                <a:gd name="connsiteY2" fmla="*/ 13512 h 27023"/>
                <a:gd name="connsiteX3" fmla="*/ 13476 w 26952"/>
                <a:gd name="connsiteY3" fmla="*/ 0 h 27023"/>
                <a:gd name="connsiteX4" fmla="*/ 26952 w 26952"/>
                <a:gd name="connsiteY4" fmla="*/ 13512 h 27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52" h="27023">
                  <a:moveTo>
                    <a:pt x="26952" y="13512"/>
                  </a:moveTo>
                  <a:cubicBezTo>
                    <a:pt x="26952" y="20974"/>
                    <a:pt x="20919" y="27023"/>
                    <a:pt x="13476" y="27023"/>
                  </a:cubicBezTo>
                  <a:cubicBezTo>
                    <a:pt x="6034" y="27023"/>
                    <a:pt x="0" y="20974"/>
                    <a:pt x="0" y="13512"/>
                  </a:cubicBezTo>
                  <a:cubicBezTo>
                    <a:pt x="0" y="6049"/>
                    <a:pt x="6033" y="0"/>
                    <a:pt x="13476" y="0"/>
                  </a:cubicBezTo>
                  <a:cubicBezTo>
                    <a:pt x="20919" y="0"/>
                    <a:pt x="26952" y="6049"/>
                    <a:pt x="26952" y="13512"/>
                  </a:cubicBezTo>
                  <a:close/>
                </a:path>
              </a:pathLst>
            </a:custGeom>
            <a:noFill/>
            <a:ln w="6350" cap="flat">
              <a:solidFill>
                <a:srgbClr val="4F74C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5" name="Freeform 213">
              <a:extLst>
                <a:ext uri="{FF2B5EF4-FFF2-40B4-BE49-F238E27FC236}">
                  <a16:creationId xmlns:a16="http://schemas.microsoft.com/office/drawing/2014/main" id="{CF4FA047-78C8-4C25-BD83-FAFF26E3F83C}"/>
                </a:ext>
              </a:extLst>
            </p:cNvPr>
            <p:cNvSpPr/>
            <p:nvPr/>
          </p:nvSpPr>
          <p:spPr>
            <a:xfrm>
              <a:off x="6156171" y="2654898"/>
              <a:ext cx="26952" cy="27023"/>
            </a:xfrm>
            <a:custGeom>
              <a:avLst/>
              <a:gdLst>
                <a:gd name="connsiteX0" fmla="*/ 26952 w 26952"/>
                <a:gd name="connsiteY0" fmla="*/ 13512 h 27023"/>
                <a:gd name="connsiteX1" fmla="*/ 13476 w 26952"/>
                <a:gd name="connsiteY1" fmla="*/ 27023 h 27023"/>
                <a:gd name="connsiteX2" fmla="*/ 0 w 26952"/>
                <a:gd name="connsiteY2" fmla="*/ 13512 h 27023"/>
                <a:gd name="connsiteX3" fmla="*/ 13476 w 26952"/>
                <a:gd name="connsiteY3" fmla="*/ 0 h 27023"/>
                <a:gd name="connsiteX4" fmla="*/ 26952 w 26952"/>
                <a:gd name="connsiteY4" fmla="*/ 13512 h 27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52" h="27023">
                  <a:moveTo>
                    <a:pt x="26952" y="13512"/>
                  </a:moveTo>
                  <a:cubicBezTo>
                    <a:pt x="26952" y="20974"/>
                    <a:pt x="20919" y="27023"/>
                    <a:pt x="13476" y="27023"/>
                  </a:cubicBezTo>
                  <a:cubicBezTo>
                    <a:pt x="6033" y="27023"/>
                    <a:pt x="0" y="20974"/>
                    <a:pt x="0" y="13512"/>
                  </a:cubicBezTo>
                  <a:cubicBezTo>
                    <a:pt x="0" y="6049"/>
                    <a:pt x="6033" y="0"/>
                    <a:pt x="13476" y="0"/>
                  </a:cubicBezTo>
                  <a:cubicBezTo>
                    <a:pt x="20919" y="0"/>
                    <a:pt x="26952" y="6049"/>
                    <a:pt x="26952" y="13512"/>
                  </a:cubicBezTo>
                  <a:close/>
                </a:path>
              </a:pathLst>
            </a:custGeom>
            <a:noFill/>
            <a:ln w="6350" cap="flat">
              <a:solidFill>
                <a:srgbClr val="4F74C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6" name="Freeform 214">
              <a:extLst>
                <a:ext uri="{FF2B5EF4-FFF2-40B4-BE49-F238E27FC236}">
                  <a16:creationId xmlns:a16="http://schemas.microsoft.com/office/drawing/2014/main" id="{4034B574-1B77-485D-9FA3-89F76869DCE8}"/>
                </a:ext>
              </a:extLst>
            </p:cNvPr>
            <p:cNvSpPr/>
            <p:nvPr/>
          </p:nvSpPr>
          <p:spPr>
            <a:xfrm>
              <a:off x="6342005" y="2700201"/>
              <a:ext cx="26952" cy="27023"/>
            </a:xfrm>
            <a:custGeom>
              <a:avLst/>
              <a:gdLst>
                <a:gd name="connsiteX0" fmla="*/ 26952 w 26952"/>
                <a:gd name="connsiteY0" fmla="*/ 13511 h 27023"/>
                <a:gd name="connsiteX1" fmla="*/ 13476 w 26952"/>
                <a:gd name="connsiteY1" fmla="*/ 27023 h 27023"/>
                <a:gd name="connsiteX2" fmla="*/ 0 w 26952"/>
                <a:gd name="connsiteY2" fmla="*/ 13511 h 27023"/>
                <a:gd name="connsiteX3" fmla="*/ 13476 w 26952"/>
                <a:gd name="connsiteY3" fmla="*/ 0 h 27023"/>
                <a:gd name="connsiteX4" fmla="*/ 26952 w 26952"/>
                <a:gd name="connsiteY4" fmla="*/ 13511 h 27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52" h="27023">
                  <a:moveTo>
                    <a:pt x="26952" y="13511"/>
                  </a:moveTo>
                  <a:cubicBezTo>
                    <a:pt x="26952" y="20974"/>
                    <a:pt x="20919" y="27023"/>
                    <a:pt x="13476" y="27023"/>
                  </a:cubicBezTo>
                  <a:cubicBezTo>
                    <a:pt x="6033" y="27023"/>
                    <a:pt x="0" y="20974"/>
                    <a:pt x="0" y="13511"/>
                  </a:cubicBezTo>
                  <a:cubicBezTo>
                    <a:pt x="0" y="6049"/>
                    <a:pt x="6033" y="0"/>
                    <a:pt x="13476" y="0"/>
                  </a:cubicBezTo>
                  <a:cubicBezTo>
                    <a:pt x="20919" y="0"/>
                    <a:pt x="26952" y="6049"/>
                    <a:pt x="26952" y="13511"/>
                  </a:cubicBezTo>
                  <a:close/>
                </a:path>
              </a:pathLst>
            </a:custGeom>
            <a:noFill/>
            <a:ln w="6350" cap="flat">
              <a:solidFill>
                <a:srgbClr val="4F74C8"/>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23" name="Graphic 20656">
            <a:extLst>
              <a:ext uri="{FF2B5EF4-FFF2-40B4-BE49-F238E27FC236}">
                <a16:creationId xmlns:a16="http://schemas.microsoft.com/office/drawing/2014/main" id="{E8D57684-120E-4D55-B6F7-2C420B6A88C0}"/>
              </a:ext>
            </a:extLst>
          </p:cNvPr>
          <p:cNvGrpSpPr/>
          <p:nvPr/>
        </p:nvGrpSpPr>
        <p:grpSpPr>
          <a:xfrm>
            <a:off x="3860534" y="1702172"/>
            <a:ext cx="5037892" cy="2196312"/>
            <a:chOff x="4579587" y="1006493"/>
            <a:chExt cx="2355136" cy="1614796"/>
          </a:xfrm>
          <a:noFill/>
        </p:grpSpPr>
        <p:sp>
          <p:nvSpPr>
            <p:cNvPr id="27" name="Freeform 25">
              <a:extLst>
                <a:ext uri="{FF2B5EF4-FFF2-40B4-BE49-F238E27FC236}">
                  <a16:creationId xmlns:a16="http://schemas.microsoft.com/office/drawing/2014/main" id="{DC5555A6-4DB3-43C7-9315-3F32F004F843}"/>
                </a:ext>
              </a:extLst>
            </p:cNvPr>
            <p:cNvSpPr/>
            <p:nvPr/>
          </p:nvSpPr>
          <p:spPr>
            <a:xfrm>
              <a:off x="4593969" y="1020913"/>
              <a:ext cx="2340642" cy="1585956"/>
            </a:xfrm>
            <a:custGeom>
              <a:avLst/>
              <a:gdLst>
                <a:gd name="connsiteX0" fmla="*/ 0 w 2340642"/>
                <a:gd name="connsiteY0" fmla="*/ 0 h 1585956"/>
                <a:gd name="connsiteX1" fmla="*/ 15061 w 2340642"/>
                <a:gd name="connsiteY1" fmla="*/ 0 h 1585956"/>
                <a:gd name="connsiteX2" fmla="*/ 15061 w 2340642"/>
                <a:gd name="connsiteY2" fmla="*/ 4769 h 1585956"/>
                <a:gd name="connsiteX3" fmla="*/ 31029 w 2340642"/>
                <a:gd name="connsiteY3" fmla="*/ 4769 h 1585956"/>
                <a:gd name="connsiteX4" fmla="*/ 31029 w 2340642"/>
                <a:gd name="connsiteY4" fmla="*/ 12263 h 1585956"/>
                <a:gd name="connsiteX5" fmla="*/ 42014 w 2340642"/>
                <a:gd name="connsiteY5" fmla="*/ 12263 h 1585956"/>
                <a:gd name="connsiteX6" fmla="*/ 42014 w 2340642"/>
                <a:gd name="connsiteY6" fmla="*/ 24298 h 1585956"/>
                <a:gd name="connsiteX7" fmla="*/ 47789 w 2340642"/>
                <a:gd name="connsiteY7" fmla="*/ 24298 h 1585956"/>
                <a:gd name="connsiteX8" fmla="*/ 47789 w 2340642"/>
                <a:gd name="connsiteY8" fmla="*/ 37469 h 1585956"/>
                <a:gd name="connsiteX9" fmla="*/ 51186 w 2340642"/>
                <a:gd name="connsiteY9" fmla="*/ 37469 h 1585956"/>
                <a:gd name="connsiteX10" fmla="*/ 51186 w 2340642"/>
                <a:gd name="connsiteY10" fmla="*/ 46212 h 1585956"/>
                <a:gd name="connsiteX11" fmla="*/ 54131 w 2340642"/>
                <a:gd name="connsiteY11" fmla="*/ 46212 h 1585956"/>
                <a:gd name="connsiteX12" fmla="*/ 54131 w 2340642"/>
                <a:gd name="connsiteY12" fmla="*/ 50526 h 1585956"/>
                <a:gd name="connsiteX13" fmla="*/ 56962 w 2340642"/>
                <a:gd name="connsiteY13" fmla="*/ 50526 h 1585956"/>
                <a:gd name="connsiteX14" fmla="*/ 56962 w 2340642"/>
                <a:gd name="connsiteY14" fmla="*/ 66082 h 1585956"/>
                <a:gd name="connsiteX15" fmla="*/ 59113 w 2340642"/>
                <a:gd name="connsiteY15" fmla="*/ 66082 h 1585956"/>
                <a:gd name="connsiteX16" fmla="*/ 59113 w 2340642"/>
                <a:gd name="connsiteY16" fmla="*/ 86860 h 1585956"/>
                <a:gd name="connsiteX17" fmla="*/ 61039 w 2340642"/>
                <a:gd name="connsiteY17" fmla="*/ 86860 h 1585956"/>
                <a:gd name="connsiteX18" fmla="*/ 61039 w 2340642"/>
                <a:gd name="connsiteY18" fmla="*/ 90720 h 1585956"/>
                <a:gd name="connsiteX19" fmla="*/ 63417 w 2340642"/>
                <a:gd name="connsiteY19" fmla="*/ 90720 h 1585956"/>
                <a:gd name="connsiteX20" fmla="*/ 63417 w 2340642"/>
                <a:gd name="connsiteY20" fmla="*/ 104118 h 1585956"/>
                <a:gd name="connsiteX21" fmla="*/ 67494 w 2340642"/>
                <a:gd name="connsiteY21" fmla="*/ 104118 h 1585956"/>
                <a:gd name="connsiteX22" fmla="*/ 67494 w 2340642"/>
                <a:gd name="connsiteY22" fmla="*/ 108660 h 1585956"/>
                <a:gd name="connsiteX23" fmla="*/ 70211 w 2340642"/>
                <a:gd name="connsiteY23" fmla="*/ 108660 h 1585956"/>
                <a:gd name="connsiteX24" fmla="*/ 70211 w 2340642"/>
                <a:gd name="connsiteY24" fmla="*/ 115472 h 1585956"/>
                <a:gd name="connsiteX25" fmla="*/ 72250 w 2340642"/>
                <a:gd name="connsiteY25" fmla="*/ 115472 h 1585956"/>
                <a:gd name="connsiteX26" fmla="*/ 72250 w 2340642"/>
                <a:gd name="connsiteY26" fmla="*/ 124556 h 1585956"/>
                <a:gd name="connsiteX27" fmla="*/ 74854 w 2340642"/>
                <a:gd name="connsiteY27" fmla="*/ 124556 h 1585956"/>
                <a:gd name="connsiteX28" fmla="*/ 74854 w 2340642"/>
                <a:gd name="connsiteY28" fmla="*/ 129324 h 1585956"/>
                <a:gd name="connsiteX29" fmla="*/ 77233 w 2340642"/>
                <a:gd name="connsiteY29" fmla="*/ 129324 h 1585956"/>
                <a:gd name="connsiteX30" fmla="*/ 77233 w 2340642"/>
                <a:gd name="connsiteY30" fmla="*/ 150784 h 1585956"/>
                <a:gd name="connsiteX31" fmla="*/ 79497 w 2340642"/>
                <a:gd name="connsiteY31" fmla="*/ 150784 h 1585956"/>
                <a:gd name="connsiteX32" fmla="*/ 79497 w 2340642"/>
                <a:gd name="connsiteY32" fmla="*/ 171108 h 1585956"/>
                <a:gd name="connsiteX33" fmla="*/ 82895 w 2340642"/>
                <a:gd name="connsiteY33" fmla="*/ 171108 h 1585956"/>
                <a:gd name="connsiteX34" fmla="*/ 82895 w 2340642"/>
                <a:gd name="connsiteY34" fmla="*/ 178375 h 1585956"/>
                <a:gd name="connsiteX35" fmla="*/ 84707 w 2340642"/>
                <a:gd name="connsiteY35" fmla="*/ 178375 h 1585956"/>
                <a:gd name="connsiteX36" fmla="*/ 84707 w 2340642"/>
                <a:gd name="connsiteY36" fmla="*/ 186890 h 1585956"/>
                <a:gd name="connsiteX37" fmla="*/ 87651 w 2340642"/>
                <a:gd name="connsiteY37" fmla="*/ 186890 h 1585956"/>
                <a:gd name="connsiteX38" fmla="*/ 87651 w 2340642"/>
                <a:gd name="connsiteY38" fmla="*/ 193362 h 1585956"/>
                <a:gd name="connsiteX39" fmla="*/ 90482 w 2340642"/>
                <a:gd name="connsiteY39" fmla="*/ 193362 h 1585956"/>
                <a:gd name="connsiteX40" fmla="*/ 90482 w 2340642"/>
                <a:gd name="connsiteY40" fmla="*/ 196087 h 1585956"/>
                <a:gd name="connsiteX41" fmla="*/ 93200 w 2340642"/>
                <a:gd name="connsiteY41" fmla="*/ 196087 h 1585956"/>
                <a:gd name="connsiteX42" fmla="*/ 93200 w 2340642"/>
                <a:gd name="connsiteY42" fmla="*/ 338356 h 1585956"/>
                <a:gd name="connsiteX43" fmla="*/ 95465 w 2340642"/>
                <a:gd name="connsiteY43" fmla="*/ 338356 h 1585956"/>
                <a:gd name="connsiteX44" fmla="*/ 95465 w 2340642"/>
                <a:gd name="connsiteY44" fmla="*/ 400463 h 1585956"/>
                <a:gd name="connsiteX45" fmla="*/ 98636 w 2340642"/>
                <a:gd name="connsiteY45" fmla="*/ 400463 h 1585956"/>
                <a:gd name="connsiteX46" fmla="*/ 98636 w 2340642"/>
                <a:gd name="connsiteY46" fmla="*/ 458824 h 1585956"/>
                <a:gd name="connsiteX47" fmla="*/ 101014 w 2340642"/>
                <a:gd name="connsiteY47" fmla="*/ 458824 h 1585956"/>
                <a:gd name="connsiteX48" fmla="*/ 101014 w 2340642"/>
                <a:gd name="connsiteY48" fmla="*/ 522407 h 1585956"/>
                <a:gd name="connsiteX49" fmla="*/ 103165 w 2340642"/>
                <a:gd name="connsiteY49" fmla="*/ 522407 h 1585956"/>
                <a:gd name="connsiteX50" fmla="*/ 103165 w 2340642"/>
                <a:gd name="connsiteY50" fmla="*/ 660134 h 1585956"/>
                <a:gd name="connsiteX51" fmla="*/ 104411 w 2340642"/>
                <a:gd name="connsiteY51" fmla="*/ 660134 h 1585956"/>
                <a:gd name="connsiteX52" fmla="*/ 104411 w 2340642"/>
                <a:gd name="connsiteY52" fmla="*/ 803310 h 1585956"/>
                <a:gd name="connsiteX53" fmla="*/ 106676 w 2340642"/>
                <a:gd name="connsiteY53" fmla="*/ 803310 h 1585956"/>
                <a:gd name="connsiteX54" fmla="*/ 106676 w 2340642"/>
                <a:gd name="connsiteY54" fmla="*/ 857697 h 1585956"/>
                <a:gd name="connsiteX55" fmla="*/ 107922 w 2340642"/>
                <a:gd name="connsiteY55" fmla="*/ 857697 h 1585956"/>
                <a:gd name="connsiteX56" fmla="*/ 107922 w 2340642"/>
                <a:gd name="connsiteY56" fmla="*/ 877681 h 1585956"/>
                <a:gd name="connsiteX57" fmla="*/ 109167 w 2340642"/>
                <a:gd name="connsiteY57" fmla="*/ 877681 h 1585956"/>
                <a:gd name="connsiteX58" fmla="*/ 109167 w 2340642"/>
                <a:gd name="connsiteY58" fmla="*/ 883925 h 1585956"/>
                <a:gd name="connsiteX59" fmla="*/ 111545 w 2340642"/>
                <a:gd name="connsiteY59" fmla="*/ 883925 h 1585956"/>
                <a:gd name="connsiteX60" fmla="*/ 111545 w 2340642"/>
                <a:gd name="connsiteY60" fmla="*/ 900275 h 1585956"/>
                <a:gd name="connsiteX61" fmla="*/ 114830 w 2340642"/>
                <a:gd name="connsiteY61" fmla="*/ 900275 h 1585956"/>
                <a:gd name="connsiteX62" fmla="*/ 114830 w 2340642"/>
                <a:gd name="connsiteY62" fmla="*/ 911970 h 1585956"/>
                <a:gd name="connsiteX63" fmla="*/ 116755 w 2340642"/>
                <a:gd name="connsiteY63" fmla="*/ 911970 h 1585956"/>
                <a:gd name="connsiteX64" fmla="*/ 116755 w 2340642"/>
                <a:gd name="connsiteY64" fmla="*/ 927526 h 1585956"/>
                <a:gd name="connsiteX65" fmla="*/ 156390 w 2340642"/>
                <a:gd name="connsiteY65" fmla="*/ 927526 h 1585956"/>
                <a:gd name="connsiteX66" fmla="*/ 156390 w 2340642"/>
                <a:gd name="connsiteY66" fmla="*/ 932976 h 1585956"/>
                <a:gd name="connsiteX67" fmla="*/ 164430 w 2340642"/>
                <a:gd name="connsiteY67" fmla="*/ 932976 h 1585956"/>
                <a:gd name="connsiteX68" fmla="*/ 164430 w 2340642"/>
                <a:gd name="connsiteY68" fmla="*/ 938085 h 1585956"/>
                <a:gd name="connsiteX69" fmla="*/ 173603 w 2340642"/>
                <a:gd name="connsiteY69" fmla="*/ 938085 h 1585956"/>
                <a:gd name="connsiteX70" fmla="*/ 173603 w 2340642"/>
                <a:gd name="connsiteY70" fmla="*/ 951483 h 1585956"/>
                <a:gd name="connsiteX71" fmla="*/ 175415 w 2340642"/>
                <a:gd name="connsiteY71" fmla="*/ 951483 h 1585956"/>
                <a:gd name="connsiteX72" fmla="*/ 175415 w 2340642"/>
                <a:gd name="connsiteY72" fmla="*/ 955798 h 1585956"/>
                <a:gd name="connsiteX73" fmla="*/ 179039 w 2340642"/>
                <a:gd name="connsiteY73" fmla="*/ 955798 h 1585956"/>
                <a:gd name="connsiteX74" fmla="*/ 179039 w 2340642"/>
                <a:gd name="connsiteY74" fmla="*/ 962269 h 1585956"/>
                <a:gd name="connsiteX75" fmla="*/ 182097 w 2340642"/>
                <a:gd name="connsiteY75" fmla="*/ 962269 h 1585956"/>
                <a:gd name="connsiteX76" fmla="*/ 182097 w 2340642"/>
                <a:gd name="connsiteY76" fmla="*/ 966584 h 1585956"/>
                <a:gd name="connsiteX77" fmla="*/ 184022 w 2340642"/>
                <a:gd name="connsiteY77" fmla="*/ 966584 h 1585956"/>
                <a:gd name="connsiteX78" fmla="*/ 184022 w 2340642"/>
                <a:gd name="connsiteY78" fmla="*/ 977371 h 1585956"/>
                <a:gd name="connsiteX79" fmla="*/ 186853 w 2340642"/>
                <a:gd name="connsiteY79" fmla="*/ 977371 h 1585956"/>
                <a:gd name="connsiteX80" fmla="*/ 186853 w 2340642"/>
                <a:gd name="connsiteY80" fmla="*/ 982026 h 1585956"/>
                <a:gd name="connsiteX81" fmla="*/ 191949 w 2340642"/>
                <a:gd name="connsiteY81" fmla="*/ 982026 h 1585956"/>
                <a:gd name="connsiteX82" fmla="*/ 191949 w 2340642"/>
                <a:gd name="connsiteY82" fmla="*/ 992585 h 1585956"/>
                <a:gd name="connsiteX83" fmla="*/ 193534 w 2340642"/>
                <a:gd name="connsiteY83" fmla="*/ 992585 h 1585956"/>
                <a:gd name="connsiteX84" fmla="*/ 193534 w 2340642"/>
                <a:gd name="connsiteY84" fmla="*/ 999171 h 1585956"/>
                <a:gd name="connsiteX85" fmla="*/ 195799 w 2340642"/>
                <a:gd name="connsiteY85" fmla="*/ 999171 h 1585956"/>
                <a:gd name="connsiteX86" fmla="*/ 195799 w 2340642"/>
                <a:gd name="connsiteY86" fmla="*/ 1001555 h 1585956"/>
                <a:gd name="connsiteX87" fmla="*/ 197837 w 2340642"/>
                <a:gd name="connsiteY87" fmla="*/ 1001555 h 1585956"/>
                <a:gd name="connsiteX88" fmla="*/ 197837 w 2340642"/>
                <a:gd name="connsiteY88" fmla="*/ 1025967 h 1585956"/>
                <a:gd name="connsiteX89" fmla="*/ 200102 w 2340642"/>
                <a:gd name="connsiteY89" fmla="*/ 1025967 h 1585956"/>
                <a:gd name="connsiteX90" fmla="*/ 200102 w 2340642"/>
                <a:gd name="connsiteY90" fmla="*/ 1052081 h 1585956"/>
                <a:gd name="connsiteX91" fmla="*/ 203273 w 2340642"/>
                <a:gd name="connsiteY91" fmla="*/ 1052081 h 1585956"/>
                <a:gd name="connsiteX92" fmla="*/ 203273 w 2340642"/>
                <a:gd name="connsiteY92" fmla="*/ 1067864 h 1585956"/>
                <a:gd name="connsiteX93" fmla="*/ 206218 w 2340642"/>
                <a:gd name="connsiteY93" fmla="*/ 1067864 h 1585956"/>
                <a:gd name="connsiteX94" fmla="*/ 206218 w 2340642"/>
                <a:gd name="connsiteY94" fmla="*/ 1087961 h 1585956"/>
                <a:gd name="connsiteX95" fmla="*/ 209162 w 2340642"/>
                <a:gd name="connsiteY95" fmla="*/ 1087961 h 1585956"/>
                <a:gd name="connsiteX96" fmla="*/ 209162 w 2340642"/>
                <a:gd name="connsiteY96" fmla="*/ 1135194 h 1585956"/>
                <a:gd name="connsiteX97" fmla="*/ 210747 w 2340642"/>
                <a:gd name="connsiteY97" fmla="*/ 1135194 h 1585956"/>
                <a:gd name="connsiteX98" fmla="*/ 210747 w 2340642"/>
                <a:gd name="connsiteY98" fmla="*/ 1163920 h 1585956"/>
                <a:gd name="connsiteX99" fmla="*/ 215277 w 2340642"/>
                <a:gd name="connsiteY99" fmla="*/ 1163920 h 1585956"/>
                <a:gd name="connsiteX100" fmla="*/ 215277 w 2340642"/>
                <a:gd name="connsiteY100" fmla="*/ 1169597 h 1585956"/>
                <a:gd name="connsiteX101" fmla="*/ 219241 w 2340642"/>
                <a:gd name="connsiteY101" fmla="*/ 1169597 h 1585956"/>
                <a:gd name="connsiteX102" fmla="*/ 219241 w 2340642"/>
                <a:gd name="connsiteY102" fmla="*/ 1187310 h 1585956"/>
                <a:gd name="connsiteX103" fmla="*/ 245966 w 2340642"/>
                <a:gd name="connsiteY103" fmla="*/ 1187310 h 1585956"/>
                <a:gd name="connsiteX104" fmla="*/ 245966 w 2340642"/>
                <a:gd name="connsiteY104" fmla="*/ 1193668 h 1585956"/>
                <a:gd name="connsiteX105" fmla="*/ 264085 w 2340642"/>
                <a:gd name="connsiteY105" fmla="*/ 1193668 h 1585956"/>
                <a:gd name="connsiteX106" fmla="*/ 264085 w 2340642"/>
                <a:gd name="connsiteY106" fmla="*/ 1199232 h 1585956"/>
                <a:gd name="connsiteX107" fmla="*/ 275749 w 2340642"/>
                <a:gd name="connsiteY107" fmla="*/ 1199232 h 1585956"/>
                <a:gd name="connsiteX108" fmla="*/ 275749 w 2340642"/>
                <a:gd name="connsiteY108" fmla="*/ 1206953 h 1585956"/>
                <a:gd name="connsiteX109" fmla="*/ 280166 w 2340642"/>
                <a:gd name="connsiteY109" fmla="*/ 1206953 h 1585956"/>
                <a:gd name="connsiteX110" fmla="*/ 280166 w 2340642"/>
                <a:gd name="connsiteY110" fmla="*/ 1212289 h 1585956"/>
                <a:gd name="connsiteX111" fmla="*/ 290698 w 2340642"/>
                <a:gd name="connsiteY111" fmla="*/ 1212289 h 1585956"/>
                <a:gd name="connsiteX112" fmla="*/ 290698 w 2340642"/>
                <a:gd name="connsiteY112" fmla="*/ 1217966 h 1585956"/>
                <a:gd name="connsiteX113" fmla="*/ 302928 w 2340642"/>
                <a:gd name="connsiteY113" fmla="*/ 1217966 h 1585956"/>
                <a:gd name="connsiteX114" fmla="*/ 302928 w 2340642"/>
                <a:gd name="connsiteY114" fmla="*/ 1229661 h 1585956"/>
                <a:gd name="connsiteX115" fmla="*/ 307911 w 2340642"/>
                <a:gd name="connsiteY115" fmla="*/ 1229661 h 1585956"/>
                <a:gd name="connsiteX116" fmla="*/ 307911 w 2340642"/>
                <a:gd name="connsiteY116" fmla="*/ 1243627 h 1585956"/>
                <a:gd name="connsiteX117" fmla="*/ 312327 w 2340642"/>
                <a:gd name="connsiteY117" fmla="*/ 1243627 h 1585956"/>
                <a:gd name="connsiteX118" fmla="*/ 312327 w 2340642"/>
                <a:gd name="connsiteY118" fmla="*/ 1256003 h 1585956"/>
                <a:gd name="connsiteX119" fmla="*/ 316178 w 2340642"/>
                <a:gd name="connsiteY119" fmla="*/ 1256003 h 1585956"/>
                <a:gd name="connsiteX120" fmla="*/ 316178 w 2340642"/>
                <a:gd name="connsiteY120" fmla="*/ 1263383 h 1585956"/>
                <a:gd name="connsiteX121" fmla="*/ 321160 w 2340642"/>
                <a:gd name="connsiteY121" fmla="*/ 1263383 h 1585956"/>
                <a:gd name="connsiteX122" fmla="*/ 321160 w 2340642"/>
                <a:gd name="connsiteY122" fmla="*/ 1269060 h 1585956"/>
                <a:gd name="connsiteX123" fmla="*/ 337014 w 2340642"/>
                <a:gd name="connsiteY123" fmla="*/ 1269060 h 1585956"/>
                <a:gd name="connsiteX124" fmla="*/ 337014 w 2340642"/>
                <a:gd name="connsiteY124" fmla="*/ 1275192 h 1585956"/>
                <a:gd name="connsiteX125" fmla="*/ 370421 w 2340642"/>
                <a:gd name="connsiteY125" fmla="*/ 1275192 h 1585956"/>
                <a:gd name="connsiteX126" fmla="*/ 370421 w 2340642"/>
                <a:gd name="connsiteY126" fmla="*/ 1281891 h 1585956"/>
                <a:gd name="connsiteX127" fmla="*/ 389107 w 2340642"/>
                <a:gd name="connsiteY127" fmla="*/ 1281891 h 1585956"/>
                <a:gd name="connsiteX128" fmla="*/ 389107 w 2340642"/>
                <a:gd name="connsiteY128" fmla="*/ 1288249 h 1585956"/>
                <a:gd name="connsiteX129" fmla="*/ 406886 w 2340642"/>
                <a:gd name="connsiteY129" fmla="*/ 1288249 h 1585956"/>
                <a:gd name="connsiteX130" fmla="*/ 406886 w 2340642"/>
                <a:gd name="connsiteY130" fmla="*/ 1293926 h 1585956"/>
                <a:gd name="connsiteX131" fmla="*/ 411303 w 2340642"/>
                <a:gd name="connsiteY131" fmla="*/ 1293926 h 1585956"/>
                <a:gd name="connsiteX132" fmla="*/ 411303 w 2340642"/>
                <a:gd name="connsiteY132" fmla="*/ 1316862 h 1585956"/>
                <a:gd name="connsiteX133" fmla="*/ 415832 w 2340642"/>
                <a:gd name="connsiteY133" fmla="*/ 1316862 h 1585956"/>
                <a:gd name="connsiteX134" fmla="*/ 415832 w 2340642"/>
                <a:gd name="connsiteY134" fmla="*/ 1352741 h 1585956"/>
                <a:gd name="connsiteX135" fmla="*/ 435763 w 2340642"/>
                <a:gd name="connsiteY135" fmla="*/ 1352741 h 1585956"/>
                <a:gd name="connsiteX136" fmla="*/ 435763 w 2340642"/>
                <a:gd name="connsiteY136" fmla="*/ 1360348 h 1585956"/>
                <a:gd name="connsiteX137" fmla="*/ 522282 w 2340642"/>
                <a:gd name="connsiteY137" fmla="*/ 1360348 h 1585956"/>
                <a:gd name="connsiteX138" fmla="*/ 522282 w 2340642"/>
                <a:gd name="connsiteY138" fmla="*/ 1366820 h 1585956"/>
                <a:gd name="connsiteX139" fmla="*/ 526019 w 2340642"/>
                <a:gd name="connsiteY139" fmla="*/ 1366820 h 1585956"/>
                <a:gd name="connsiteX140" fmla="*/ 526019 w 2340642"/>
                <a:gd name="connsiteY140" fmla="*/ 1369318 h 1585956"/>
                <a:gd name="connsiteX141" fmla="*/ 532587 w 2340642"/>
                <a:gd name="connsiteY141" fmla="*/ 1369318 h 1585956"/>
                <a:gd name="connsiteX142" fmla="*/ 532587 w 2340642"/>
                <a:gd name="connsiteY142" fmla="*/ 1373178 h 1585956"/>
                <a:gd name="connsiteX143" fmla="*/ 539155 w 2340642"/>
                <a:gd name="connsiteY143" fmla="*/ 1373178 h 1585956"/>
                <a:gd name="connsiteX144" fmla="*/ 539155 w 2340642"/>
                <a:gd name="connsiteY144" fmla="*/ 1379877 h 1585956"/>
                <a:gd name="connsiteX145" fmla="*/ 581961 w 2340642"/>
                <a:gd name="connsiteY145" fmla="*/ 1379877 h 1585956"/>
                <a:gd name="connsiteX146" fmla="*/ 581961 w 2340642"/>
                <a:gd name="connsiteY146" fmla="*/ 1387598 h 1585956"/>
                <a:gd name="connsiteX147" fmla="*/ 624768 w 2340642"/>
                <a:gd name="connsiteY147" fmla="*/ 1387598 h 1585956"/>
                <a:gd name="connsiteX148" fmla="*/ 624768 w 2340642"/>
                <a:gd name="connsiteY148" fmla="*/ 1394865 h 1585956"/>
                <a:gd name="connsiteX149" fmla="*/ 647417 w 2340642"/>
                <a:gd name="connsiteY149" fmla="*/ 1394865 h 1585956"/>
                <a:gd name="connsiteX150" fmla="*/ 647417 w 2340642"/>
                <a:gd name="connsiteY150" fmla="*/ 1401791 h 1585956"/>
                <a:gd name="connsiteX151" fmla="*/ 651946 w 2340642"/>
                <a:gd name="connsiteY151" fmla="*/ 1401791 h 1585956"/>
                <a:gd name="connsiteX152" fmla="*/ 651946 w 2340642"/>
                <a:gd name="connsiteY152" fmla="*/ 1408036 h 1585956"/>
                <a:gd name="connsiteX153" fmla="*/ 657948 w 2340642"/>
                <a:gd name="connsiteY153" fmla="*/ 1408036 h 1585956"/>
                <a:gd name="connsiteX154" fmla="*/ 657948 w 2340642"/>
                <a:gd name="connsiteY154" fmla="*/ 1415530 h 1585956"/>
                <a:gd name="connsiteX155" fmla="*/ 747864 w 2340642"/>
                <a:gd name="connsiteY155" fmla="*/ 1415530 h 1585956"/>
                <a:gd name="connsiteX156" fmla="*/ 747864 w 2340642"/>
                <a:gd name="connsiteY156" fmla="*/ 1421547 h 1585956"/>
                <a:gd name="connsiteX157" fmla="*/ 787047 w 2340642"/>
                <a:gd name="connsiteY157" fmla="*/ 1421547 h 1585956"/>
                <a:gd name="connsiteX158" fmla="*/ 787047 w 2340642"/>
                <a:gd name="connsiteY158" fmla="*/ 1429949 h 1585956"/>
                <a:gd name="connsiteX159" fmla="*/ 794974 w 2340642"/>
                <a:gd name="connsiteY159" fmla="*/ 1429949 h 1585956"/>
                <a:gd name="connsiteX160" fmla="*/ 794974 w 2340642"/>
                <a:gd name="connsiteY160" fmla="*/ 1436308 h 1585956"/>
                <a:gd name="connsiteX161" fmla="*/ 910256 w 2340642"/>
                <a:gd name="connsiteY161" fmla="*/ 1436308 h 1585956"/>
                <a:gd name="connsiteX162" fmla="*/ 910256 w 2340642"/>
                <a:gd name="connsiteY162" fmla="*/ 1445391 h 1585956"/>
                <a:gd name="connsiteX163" fmla="*/ 932792 w 2340642"/>
                <a:gd name="connsiteY163" fmla="*/ 1445391 h 1585956"/>
                <a:gd name="connsiteX164" fmla="*/ 932792 w 2340642"/>
                <a:gd name="connsiteY164" fmla="*/ 1458108 h 1585956"/>
                <a:gd name="connsiteX165" fmla="*/ 935736 w 2340642"/>
                <a:gd name="connsiteY165" fmla="*/ 1458108 h 1585956"/>
                <a:gd name="connsiteX166" fmla="*/ 935736 w 2340642"/>
                <a:gd name="connsiteY166" fmla="*/ 1460833 h 1585956"/>
                <a:gd name="connsiteX167" fmla="*/ 969143 w 2340642"/>
                <a:gd name="connsiteY167" fmla="*/ 1460833 h 1585956"/>
                <a:gd name="connsiteX168" fmla="*/ 969143 w 2340642"/>
                <a:gd name="connsiteY168" fmla="*/ 1467873 h 1585956"/>
                <a:gd name="connsiteX169" fmla="*/ 1088842 w 2340642"/>
                <a:gd name="connsiteY169" fmla="*/ 1467873 h 1585956"/>
                <a:gd name="connsiteX170" fmla="*/ 1088842 w 2340642"/>
                <a:gd name="connsiteY170" fmla="*/ 1474912 h 1585956"/>
                <a:gd name="connsiteX171" fmla="*/ 1209787 w 2340642"/>
                <a:gd name="connsiteY171" fmla="*/ 1474912 h 1585956"/>
                <a:gd name="connsiteX172" fmla="*/ 1209787 w 2340642"/>
                <a:gd name="connsiteY172" fmla="*/ 1483428 h 1585956"/>
                <a:gd name="connsiteX173" fmla="*/ 1341263 w 2340642"/>
                <a:gd name="connsiteY173" fmla="*/ 1483428 h 1585956"/>
                <a:gd name="connsiteX174" fmla="*/ 1341263 w 2340642"/>
                <a:gd name="connsiteY174" fmla="*/ 1490808 h 1585956"/>
                <a:gd name="connsiteX175" fmla="*/ 1347492 w 2340642"/>
                <a:gd name="connsiteY175" fmla="*/ 1490808 h 1585956"/>
                <a:gd name="connsiteX176" fmla="*/ 1347492 w 2340642"/>
                <a:gd name="connsiteY176" fmla="*/ 1500232 h 1585956"/>
                <a:gd name="connsiteX177" fmla="*/ 1416231 w 2340642"/>
                <a:gd name="connsiteY177" fmla="*/ 1500232 h 1585956"/>
                <a:gd name="connsiteX178" fmla="*/ 1416231 w 2340642"/>
                <a:gd name="connsiteY178" fmla="*/ 1509429 h 1585956"/>
                <a:gd name="connsiteX179" fmla="*/ 1480100 w 2340642"/>
                <a:gd name="connsiteY179" fmla="*/ 1509429 h 1585956"/>
                <a:gd name="connsiteX180" fmla="*/ 1480100 w 2340642"/>
                <a:gd name="connsiteY180" fmla="*/ 1517490 h 1585956"/>
                <a:gd name="connsiteX181" fmla="*/ 1759247 w 2340642"/>
                <a:gd name="connsiteY181" fmla="*/ 1517490 h 1585956"/>
                <a:gd name="connsiteX182" fmla="*/ 1759247 w 2340642"/>
                <a:gd name="connsiteY182" fmla="*/ 1529072 h 1585956"/>
                <a:gd name="connsiteX183" fmla="*/ 1776460 w 2340642"/>
                <a:gd name="connsiteY183" fmla="*/ 1529072 h 1585956"/>
                <a:gd name="connsiteX184" fmla="*/ 1776460 w 2340642"/>
                <a:gd name="connsiteY184" fmla="*/ 1538950 h 1585956"/>
                <a:gd name="connsiteX185" fmla="*/ 1917676 w 2340642"/>
                <a:gd name="connsiteY185" fmla="*/ 1538950 h 1585956"/>
                <a:gd name="connsiteX186" fmla="*/ 1917676 w 2340642"/>
                <a:gd name="connsiteY186" fmla="*/ 1552916 h 1585956"/>
                <a:gd name="connsiteX187" fmla="*/ 2256275 w 2340642"/>
                <a:gd name="connsiteY187" fmla="*/ 1552916 h 1585956"/>
                <a:gd name="connsiteX188" fmla="*/ 2256275 w 2340642"/>
                <a:gd name="connsiteY188" fmla="*/ 1585956 h 1585956"/>
                <a:gd name="connsiteX189" fmla="*/ 2340642 w 2340642"/>
                <a:gd name="connsiteY189" fmla="*/ 1585956 h 1585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Lst>
              <a:rect l="l" t="t" r="r" b="b"/>
              <a:pathLst>
                <a:path w="2340642" h="1585956">
                  <a:moveTo>
                    <a:pt x="0" y="0"/>
                  </a:moveTo>
                  <a:lnTo>
                    <a:pt x="15061" y="0"/>
                  </a:lnTo>
                  <a:lnTo>
                    <a:pt x="15061" y="4769"/>
                  </a:lnTo>
                  <a:lnTo>
                    <a:pt x="31029" y="4769"/>
                  </a:lnTo>
                  <a:lnTo>
                    <a:pt x="31029" y="12263"/>
                  </a:lnTo>
                  <a:lnTo>
                    <a:pt x="42014" y="12263"/>
                  </a:lnTo>
                  <a:lnTo>
                    <a:pt x="42014" y="24298"/>
                  </a:lnTo>
                  <a:lnTo>
                    <a:pt x="47789" y="24298"/>
                  </a:lnTo>
                  <a:lnTo>
                    <a:pt x="47789" y="37469"/>
                  </a:lnTo>
                  <a:lnTo>
                    <a:pt x="51186" y="37469"/>
                  </a:lnTo>
                  <a:lnTo>
                    <a:pt x="51186" y="46212"/>
                  </a:lnTo>
                  <a:lnTo>
                    <a:pt x="54131" y="46212"/>
                  </a:lnTo>
                  <a:lnTo>
                    <a:pt x="54131" y="50526"/>
                  </a:lnTo>
                  <a:lnTo>
                    <a:pt x="56962" y="50526"/>
                  </a:lnTo>
                  <a:lnTo>
                    <a:pt x="56962" y="66082"/>
                  </a:lnTo>
                  <a:lnTo>
                    <a:pt x="59113" y="66082"/>
                  </a:lnTo>
                  <a:lnTo>
                    <a:pt x="59113" y="86860"/>
                  </a:lnTo>
                  <a:lnTo>
                    <a:pt x="61039" y="86860"/>
                  </a:lnTo>
                  <a:lnTo>
                    <a:pt x="61039" y="90720"/>
                  </a:lnTo>
                  <a:lnTo>
                    <a:pt x="63417" y="90720"/>
                  </a:lnTo>
                  <a:lnTo>
                    <a:pt x="63417" y="104118"/>
                  </a:lnTo>
                  <a:lnTo>
                    <a:pt x="67494" y="104118"/>
                  </a:lnTo>
                  <a:lnTo>
                    <a:pt x="67494" y="108660"/>
                  </a:lnTo>
                  <a:lnTo>
                    <a:pt x="70211" y="108660"/>
                  </a:lnTo>
                  <a:lnTo>
                    <a:pt x="70211" y="115472"/>
                  </a:lnTo>
                  <a:lnTo>
                    <a:pt x="72250" y="115472"/>
                  </a:lnTo>
                  <a:lnTo>
                    <a:pt x="72250" y="124556"/>
                  </a:lnTo>
                  <a:lnTo>
                    <a:pt x="74854" y="124556"/>
                  </a:lnTo>
                  <a:lnTo>
                    <a:pt x="74854" y="129324"/>
                  </a:lnTo>
                  <a:lnTo>
                    <a:pt x="77233" y="129324"/>
                  </a:lnTo>
                  <a:lnTo>
                    <a:pt x="77233" y="150784"/>
                  </a:lnTo>
                  <a:lnTo>
                    <a:pt x="79497" y="150784"/>
                  </a:lnTo>
                  <a:lnTo>
                    <a:pt x="79497" y="171108"/>
                  </a:lnTo>
                  <a:lnTo>
                    <a:pt x="82895" y="171108"/>
                  </a:lnTo>
                  <a:lnTo>
                    <a:pt x="82895" y="178375"/>
                  </a:lnTo>
                  <a:lnTo>
                    <a:pt x="84707" y="178375"/>
                  </a:lnTo>
                  <a:lnTo>
                    <a:pt x="84707" y="186890"/>
                  </a:lnTo>
                  <a:lnTo>
                    <a:pt x="87651" y="186890"/>
                  </a:lnTo>
                  <a:lnTo>
                    <a:pt x="87651" y="193362"/>
                  </a:lnTo>
                  <a:lnTo>
                    <a:pt x="90482" y="193362"/>
                  </a:lnTo>
                  <a:lnTo>
                    <a:pt x="90482" y="196087"/>
                  </a:lnTo>
                  <a:lnTo>
                    <a:pt x="93200" y="196087"/>
                  </a:lnTo>
                  <a:lnTo>
                    <a:pt x="93200" y="338356"/>
                  </a:lnTo>
                  <a:lnTo>
                    <a:pt x="95465" y="338356"/>
                  </a:lnTo>
                  <a:lnTo>
                    <a:pt x="95465" y="400463"/>
                  </a:lnTo>
                  <a:lnTo>
                    <a:pt x="98636" y="400463"/>
                  </a:lnTo>
                  <a:lnTo>
                    <a:pt x="98636" y="458824"/>
                  </a:lnTo>
                  <a:lnTo>
                    <a:pt x="101014" y="458824"/>
                  </a:lnTo>
                  <a:lnTo>
                    <a:pt x="101014" y="522407"/>
                  </a:lnTo>
                  <a:lnTo>
                    <a:pt x="103165" y="522407"/>
                  </a:lnTo>
                  <a:lnTo>
                    <a:pt x="103165" y="660134"/>
                  </a:lnTo>
                  <a:lnTo>
                    <a:pt x="104411" y="660134"/>
                  </a:lnTo>
                  <a:lnTo>
                    <a:pt x="104411" y="803310"/>
                  </a:lnTo>
                  <a:lnTo>
                    <a:pt x="106676" y="803310"/>
                  </a:lnTo>
                  <a:lnTo>
                    <a:pt x="106676" y="857697"/>
                  </a:lnTo>
                  <a:lnTo>
                    <a:pt x="107922" y="857697"/>
                  </a:lnTo>
                  <a:lnTo>
                    <a:pt x="107922" y="877681"/>
                  </a:lnTo>
                  <a:lnTo>
                    <a:pt x="109167" y="877681"/>
                  </a:lnTo>
                  <a:lnTo>
                    <a:pt x="109167" y="883925"/>
                  </a:lnTo>
                  <a:lnTo>
                    <a:pt x="111545" y="883925"/>
                  </a:lnTo>
                  <a:lnTo>
                    <a:pt x="111545" y="900275"/>
                  </a:lnTo>
                  <a:lnTo>
                    <a:pt x="114830" y="900275"/>
                  </a:lnTo>
                  <a:lnTo>
                    <a:pt x="114830" y="911970"/>
                  </a:lnTo>
                  <a:lnTo>
                    <a:pt x="116755" y="911970"/>
                  </a:lnTo>
                  <a:lnTo>
                    <a:pt x="116755" y="927526"/>
                  </a:lnTo>
                  <a:lnTo>
                    <a:pt x="156390" y="927526"/>
                  </a:lnTo>
                  <a:lnTo>
                    <a:pt x="156390" y="932976"/>
                  </a:lnTo>
                  <a:lnTo>
                    <a:pt x="164430" y="932976"/>
                  </a:lnTo>
                  <a:lnTo>
                    <a:pt x="164430" y="938085"/>
                  </a:lnTo>
                  <a:lnTo>
                    <a:pt x="173603" y="938085"/>
                  </a:lnTo>
                  <a:lnTo>
                    <a:pt x="173603" y="951483"/>
                  </a:lnTo>
                  <a:lnTo>
                    <a:pt x="175415" y="951483"/>
                  </a:lnTo>
                  <a:lnTo>
                    <a:pt x="175415" y="955798"/>
                  </a:lnTo>
                  <a:lnTo>
                    <a:pt x="179039" y="955798"/>
                  </a:lnTo>
                  <a:lnTo>
                    <a:pt x="179039" y="962269"/>
                  </a:lnTo>
                  <a:lnTo>
                    <a:pt x="182097" y="962269"/>
                  </a:lnTo>
                  <a:lnTo>
                    <a:pt x="182097" y="966584"/>
                  </a:lnTo>
                  <a:lnTo>
                    <a:pt x="184022" y="966584"/>
                  </a:lnTo>
                  <a:lnTo>
                    <a:pt x="184022" y="977371"/>
                  </a:lnTo>
                  <a:lnTo>
                    <a:pt x="186853" y="977371"/>
                  </a:lnTo>
                  <a:lnTo>
                    <a:pt x="186853" y="982026"/>
                  </a:lnTo>
                  <a:lnTo>
                    <a:pt x="191949" y="982026"/>
                  </a:lnTo>
                  <a:lnTo>
                    <a:pt x="191949" y="992585"/>
                  </a:lnTo>
                  <a:lnTo>
                    <a:pt x="193534" y="992585"/>
                  </a:lnTo>
                  <a:lnTo>
                    <a:pt x="193534" y="999171"/>
                  </a:lnTo>
                  <a:lnTo>
                    <a:pt x="195799" y="999171"/>
                  </a:lnTo>
                  <a:lnTo>
                    <a:pt x="195799" y="1001555"/>
                  </a:lnTo>
                  <a:lnTo>
                    <a:pt x="197837" y="1001555"/>
                  </a:lnTo>
                  <a:lnTo>
                    <a:pt x="197837" y="1025967"/>
                  </a:lnTo>
                  <a:lnTo>
                    <a:pt x="200102" y="1025967"/>
                  </a:lnTo>
                  <a:lnTo>
                    <a:pt x="200102" y="1052081"/>
                  </a:lnTo>
                  <a:lnTo>
                    <a:pt x="203273" y="1052081"/>
                  </a:lnTo>
                  <a:lnTo>
                    <a:pt x="203273" y="1067864"/>
                  </a:lnTo>
                  <a:lnTo>
                    <a:pt x="206218" y="1067864"/>
                  </a:lnTo>
                  <a:lnTo>
                    <a:pt x="206218" y="1087961"/>
                  </a:lnTo>
                  <a:lnTo>
                    <a:pt x="209162" y="1087961"/>
                  </a:lnTo>
                  <a:lnTo>
                    <a:pt x="209162" y="1135194"/>
                  </a:lnTo>
                  <a:lnTo>
                    <a:pt x="210747" y="1135194"/>
                  </a:lnTo>
                  <a:lnTo>
                    <a:pt x="210747" y="1163920"/>
                  </a:lnTo>
                  <a:lnTo>
                    <a:pt x="215277" y="1163920"/>
                  </a:lnTo>
                  <a:lnTo>
                    <a:pt x="215277" y="1169597"/>
                  </a:lnTo>
                  <a:lnTo>
                    <a:pt x="219241" y="1169597"/>
                  </a:lnTo>
                  <a:lnTo>
                    <a:pt x="219241" y="1187310"/>
                  </a:lnTo>
                  <a:lnTo>
                    <a:pt x="245966" y="1187310"/>
                  </a:lnTo>
                  <a:lnTo>
                    <a:pt x="245966" y="1193668"/>
                  </a:lnTo>
                  <a:lnTo>
                    <a:pt x="264085" y="1193668"/>
                  </a:lnTo>
                  <a:lnTo>
                    <a:pt x="264085" y="1199232"/>
                  </a:lnTo>
                  <a:lnTo>
                    <a:pt x="275749" y="1199232"/>
                  </a:lnTo>
                  <a:lnTo>
                    <a:pt x="275749" y="1206953"/>
                  </a:lnTo>
                  <a:lnTo>
                    <a:pt x="280166" y="1206953"/>
                  </a:lnTo>
                  <a:lnTo>
                    <a:pt x="280166" y="1212289"/>
                  </a:lnTo>
                  <a:lnTo>
                    <a:pt x="290698" y="1212289"/>
                  </a:lnTo>
                  <a:lnTo>
                    <a:pt x="290698" y="1217966"/>
                  </a:lnTo>
                  <a:lnTo>
                    <a:pt x="302928" y="1217966"/>
                  </a:lnTo>
                  <a:lnTo>
                    <a:pt x="302928" y="1229661"/>
                  </a:lnTo>
                  <a:lnTo>
                    <a:pt x="307911" y="1229661"/>
                  </a:lnTo>
                  <a:lnTo>
                    <a:pt x="307911" y="1243627"/>
                  </a:lnTo>
                  <a:lnTo>
                    <a:pt x="312327" y="1243627"/>
                  </a:lnTo>
                  <a:lnTo>
                    <a:pt x="312327" y="1256003"/>
                  </a:lnTo>
                  <a:lnTo>
                    <a:pt x="316178" y="1256003"/>
                  </a:lnTo>
                  <a:lnTo>
                    <a:pt x="316178" y="1263383"/>
                  </a:lnTo>
                  <a:lnTo>
                    <a:pt x="321160" y="1263383"/>
                  </a:lnTo>
                  <a:lnTo>
                    <a:pt x="321160" y="1269060"/>
                  </a:lnTo>
                  <a:lnTo>
                    <a:pt x="337014" y="1269060"/>
                  </a:lnTo>
                  <a:lnTo>
                    <a:pt x="337014" y="1275192"/>
                  </a:lnTo>
                  <a:lnTo>
                    <a:pt x="370421" y="1275192"/>
                  </a:lnTo>
                  <a:lnTo>
                    <a:pt x="370421" y="1281891"/>
                  </a:lnTo>
                  <a:lnTo>
                    <a:pt x="389107" y="1281891"/>
                  </a:lnTo>
                  <a:lnTo>
                    <a:pt x="389107" y="1288249"/>
                  </a:lnTo>
                  <a:lnTo>
                    <a:pt x="406886" y="1288249"/>
                  </a:lnTo>
                  <a:lnTo>
                    <a:pt x="406886" y="1293926"/>
                  </a:lnTo>
                  <a:lnTo>
                    <a:pt x="411303" y="1293926"/>
                  </a:lnTo>
                  <a:lnTo>
                    <a:pt x="411303" y="1316862"/>
                  </a:lnTo>
                  <a:lnTo>
                    <a:pt x="415832" y="1316862"/>
                  </a:lnTo>
                  <a:lnTo>
                    <a:pt x="415832" y="1352741"/>
                  </a:lnTo>
                  <a:lnTo>
                    <a:pt x="435763" y="1352741"/>
                  </a:lnTo>
                  <a:lnTo>
                    <a:pt x="435763" y="1360348"/>
                  </a:lnTo>
                  <a:lnTo>
                    <a:pt x="522282" y="1360348"/>
                  </a:lnTo>
                  <a:lnTo>
                    <a:pt x="522282" y="1366820"/>
                  </a:lnTo>
                  <a:lnTo>
                    <a:pt x="526019" y="1366820"/>
                  </a:lnTo>
                  <a:lnTo>
                    <a:pt x="526019" y="1369318"/>
                  </a:lnTo>
                  <a:lnTo>
                    <a:pt x="532587" y="1369318"/>
                  </a:lnTo>
                  <a:lnTo>
                    <a:pt x="532587" y="1373178"/>
                  </a:lnTo>
                  <a:lnTo>
                    <a:pt x="539155" y="1373178"/>
                  </a:lnTo>
                  <a:lnTo>
                    <a:pt x="539155" y="1379877"/>
                  </a:lnTo>
                  <a:lnTo>
                    <a:pt x="581961" y="1379877"/>
                  </a:lnTo>
                  <a:lnTo>
                    <a:pt x="581961" y="1387598"/>
                  </a:lnTo>
                  <a:lnTo>
                    <a:pt x="624768" y="1387598"/>
                  </a:lnTo>
                  <a:lnTo>
                    <a:pt x="624768" y="1394865"/>
                  </a:lnTo>
                  <a:lnTo>
                    <a:pt x="647417" y="1394865"/>
                  </a:lnTo>
                  <a:lnTo>
                    <a:pt x="647417" y="1401791"/>
                  </a:lnTo>
                  <a:lnTo>
                    <a:pt x="651946" y="1401791"/>
                  </a:lnTo>
                  <a:lnTo>
                    <a:pt x="651946" y="1408036"/>
                  </a:lnTo>
                  <a:lnTo>
                    <a:pt x="657948" y="1408036"/>
                  </a:lnTo>
                  <a:lnTo>
                    <a:pt x="657948" y="1415530"/>
                  </a:lnTo>
                  <a:lnTo>
                    <a:pt x="747864" y="1415530"/>
                  </a:lnTo>
                  <a:lnTo>
                    <a:pt x="747864" y="1421547"/>
                  </a:lnTo>
                  <a:lnTo>
                    <a:pt x="787047" y="1421547"/>
                  </a:lnTo>
                  <a:lnTo>
                    <a:pt x="787047" y="1429949"/>
                  </a:lnTo>
                  <a:lnTo>
                    <a:pt x="794974" y="1429949"/>
                  </a:lnTo>
                  <a:lnTo>
                    <a:pt x="794974" y="1436308"/>
                  </a:lnTo>
                  <a:lnTo>
                    <a:pt x="910256" y="1436308"/>
                  </a:lnTo>
                  <a:lnTo>
                    <a:pt x="910256" y="1445391"/>
                  </a:lnTo>
                  <a:lnTo>
                    <a:pt x="932792" y="1445391"/>
                  </a:lnTo>
                  <a:lnTo>
                    <a:pt x="932792" y="1458108"/>
                  </a:lnTo>
                  <a:lnTo>
                    <a:pt x="935736" y="1458108"/>
                  </a:lnTo>
                  <a:lnTo>
                    <a:pt x="935736" y="1460833"/>
                  </a:lnTo>
                  <a:lnTo>
                    <a:pt x="969143" y="1460833"/>
                  </a:lnTo>
                  <a:lnTo>
                    <a:pt x="969143" y="1467873"/>
                  </a:lnTo>
                  <a:lnTo>
                    <a:pt x="1088842" y="1467873"/>
                  </a:lnTo>
                  <a:lnTo>
                    <a:pt x="1088842" y="1474912"/>
                  </a:lnTo>
                  <a:lnTo>
                    <a:pt x="1209787" y="1474912"/>
                  </a:lnTo>
                  <a:lnTo>
                    <a:pt x="1209787" y="1483428"/>
                  </a:lnTo>
                  <a:lnTo>
                    <a:pt x="1341263" y="1483428"/>
                  </a:lnTo>
                  <a:lnTo>
                    <a:pt x="1341263" y="1490808"/>
                  </a:lnTo>
                  <a:lnTo>
                    <a:pt x="1347492" y="1490808"/>
                  </a:lnTo>
                  <a:lnTo>
                    <a:pt x="1347492" y="1500232"/>
                  </a:lnTo>
                  <a:lnTo>
                    <a:pt x="1416231" y="1500232"/>
                  </a:lnTo>
                  <a:lnTo>
                    <a:pt x="1416231" y="1509429"/>
                  </a:lnTo>
                  <a:lnTo>
                    <a:pt x="1480100" y="1509429"/>
                  </a:lnTo>
                  <a:lnTo>
                    <a:pt x="1480100" y="1517490"/>
                  </a:lnTo>
                  <a:lnTo>
                    <a:pt x="1759247" y="1517490"/>
                  </a:lnTo>
                  <a:lnTo>
                    <a:pt x="1759247" y="1529072"/>
                  </a:lnTo>
                  <a:lnTo>
                    <a:pt x="1776460" y="1529072"/>
                  </a:lnTo>
                  <a:lnTo>
                    <a:pt x="1776460" y="1538950"/>
                  </a:lnTo>
                  <a:lnTo>
                    <a:pt x="1917676" y="1538950"/>
                  </a:lnTo>
                  <a:lnTo>
                    <a:pt x="1917676" y="1552916"/>
                  </a:lnTo>
                  <a:lnTo>
                    <a:pt x="2256275" y="1552916"/>
                  </a:lnTo>
                  <a:lnTo>
                    <a:pt x="2256275" y="1585956"/>
                  </a:lnTo>
                  <a:lnTo>
                    <a:pt x="2340642" y="1585956"/>
                  </a:lnTo>
                </a:path>
              </a:pathLst>
            </a:custGeom>
            <a:noFill/>
            <a:ln w="6350" cap="flat">
              <a:solidFill>
                <a:srgbClr val="D7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nvGrpSpPr>
            <p:cNvPr id="28" name="Graphic 20656">
              <a:extLst>
                <a:ext uri="{FF2B5EF4-FFF2-40B4-BE49-F238E27FC236}">
                  <a16:creationId xmlns:a16="http://schemas.microsoft.com/office/drawing/2014/main" id="{8B67A88A-0DC4-432F-BF39-17F3B8090F66}"/>
                </a:ext>
              </a:extLst>
            </p:cNvPr>
            <p:cNvGrpSpPr/>
            <p:nvPr/>
          </p:nvGrpSpPr>
          <p:grpSpPr>
            <a:xfrm>
              <a:off x="6906073" y="2592563"/>
              <a:ext cx="28650" cy="28726"/>
              <a:chOff x="6906073" y="2592563"/>
              <a:chExt cx="28650" cy="28726"/>
            </a:xfrm>
          </p:grpSpPr>
          <p:sp>
            <p:nvSpPr>
              <p:cNvPr id="170" name="Freeform 168">
                <a:extLst>
                  <a:ext uri="{FF2B5EF4-FFF2-40B4-BE49-F238E27FC236}">
                    <a16:creationId xmlns:a16="http://schemas.microsoft.com/office/drawing/2014/main" id="{44CB0C2F-9B71-4341-9259-06762B539A3E}"/>
                  </a:ext>
                </a:extLst>
              </p:cNvPr>
              <p:cNvSpPr/>
              <p:nvPr/>
            </p:nvSpPr>
            <p:spPr>
              <a:xfrm>
                <a:off x="6920342" y="2592563"/>
                <a:ext cx="11324" cy="28726"/>
              </a:xfrm>
              <a:custGeom>
                <a:avLst/>
                <a:gdLst>
                  <a:gd name="connsiteX0" fmla="*/ 0 w 11324"/>
                  <a:gd name="connsiteY0" fmla="*/ 0 h 28726"/>
                  <a:gd name="connsiteX1" fmla="*/ 0 w 11324"/>
                  <a:gd name="connsiteY1" fmla="*/ 28726 h 28726"/>
                </a:gdLst>
                <a:ahLst/>
                <a:cxnLst>
                  <a:cxn ang="0">
                    <a:pos x="connsiteX0" y="connsiteY0"/>
                  </a:cxn>
                  <a:cxn ang="0">
                    <a:pos x="connsiteX1" y="connsiteY1"/>
                  </a:cxn>
                </a:cxnLst>
                <a:rect l="l" t="t" r="r" b="b"/>
                <a:pathLst>
                  <a:path w="11324" h="28726">
                    <a:moveTo>
                      <a:pt x="0" y="0"/>
                    </a:moveTo>
                    <a:lnTo>
                      <a:pt x="0" y="28726"/>
                    </a:lnTo>
                  </a:path>
                </a:pathLst>
              </a:custGeom>
              <a:ln w="6350" cap="flat">
                <a:solidFill>
                  <a:srgbClr val="D7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1" name="Freeform 169">
                <a:extLst>
                  <a:ext uri="{FF2B5EF4-FFF2-40B4-BE49-F238E27FC236}">
                    <a16:creationId xmlns:a16="http://schemas.microsoft.com/office/drawing/2014/main" id="{5DE11FC0-F8C3-458A-8A68-FA819EEE9C0C}"/>
                  </a:ext>
                </a:extLst>
              </p:cNvPr>
              <p:cNvSpPr/>
              <p:nvPr/>
            </p:nvSpPr>
            <p:spPr>
              <a:xfrm>
                <a:off x="6906073" y="2606870"/>
                <a:ext cx="28650" cy="11354"/>
              </a:xfrm>
              <a:custGeom>
                <a:avLst/>
                <a:gdLst>
                  <a:gd name="connsiteX0" fmla="*/ 0 w 28650"/>
                  <a:gd name="connsiteY0" fmla="*/ 0 h 11354"/>
                  <a:gd name="connsiteX1" fmla="*/ 28651 w 28650"/>
                  <a:gd name="connsiteY1" fmla="*/ 0 h 11354"/>
                </a:gdLst>
                <a:ahLst/>
                <a:cxnLst>
                  <a:cxn ang="0">
                    <a:pos x="connsiteX0" y="connsiteY0"/>
                  </a:cxn>
                  <a:cxn ang="0">
                    <a:pos x="connsiteX1" y="connsiteY1"/>
                  </a:cxn>
                </a:cxnLst>
                <a:rect l="l" t="t" r="r" b="b"/>
                <a:pathLst>
                  <a:path w="28650" h="11354">
                    <a:moveTo>
                      <a:pt x="0" y="0"/>
                    </a:moveTo>
                    <a:lnTo>
                      <a:pt x="28651" y="0"/>
                    </a:lnTo>
                  </a:path>
                </a:pathLst>
              </a:custGeom>
              <a:ln w="6350" cap="flat">
                <a:solidFill>
                  <a:srgbClr val="D7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29" name="Graphic 20656">
              <a:extLst>
                <a:ext uri="{FF2B5EF4-FFF2-40B4-BE49-F238E27FC236}">
                  <a16:creationId xmlns:a16="http://schemas.microsoft.com/office/drawing/2014/main" id="{EDDC790C-70D2-4A24-B727-0BCCD099F439}"/>
                </a:ext>
              </a:extLst>
            </p:cNvPr>
            <p:cNvGrpSpPr/>
            <p:nvPr/>
          </p:nvGrpSpPr>
          <p:grpSpPr>
            <a:xfrm>
              <a:off x="6898939" y="2592563"/>
              <a:ext cx="28650" cy="28726"/>
              <a:chOff x="6898939" y="2592563"/>
              <a:chExt cx="28650" cy="28726"/>
            </a:xfrm>
          </p:grpSpPr>
          <p:sp>
            <p:nvSpPr>
              <p:cNvPr id="168" name="Freeform 166">
                <a:extLst>
                  <a:ext uri="{FF2B5EF4-FFF2-40B4-BE49-F238E27FC236}">
                    <a16:creationId xmlns:a16="http://schemas.microsoft.com/office/drawing/2014/main" id="{76C3EE8C-AD56-4B1E-BB8A-E3BFC7225EDE}"/>
                  </a:ext>
                </a:extLst>
              </p:cNvPr>
              <p:cNvSpPr/>
              <p:nvPr/>
            </p:nvSpPr>
            <p:spPr>
              <a:xfrm>
                <a:off x="6913321" y="2592563"/>
                <a:ext cx="11324" cy="28726"/>
              </a:xfrm>
              <a:custGeom>
                <a:avLst/>
                <a:gdLst>
                  <a:gd name="connsiteX0" fmla="*/ 0 w 11324"/>
                  <a:gd name="connsiteY0" fmla="*/ 0 h 28726"/>
                  <a:gd name="connsiteX1" fmla="*/ 0 w 11324"/>
                  <a:gd name="connsiteY1" fmla="*/ 28726 h 28726"/>
                </a:gdLst>
                <a:ahLst/>
                <a:cxnLst>
                  <a:cxn ang="0">
                    <a:pos x="connsiteX0" y="connsiteY0"/>
                  </a:cxn>
                  <a:cxn ang="0">
                    <a:pos x="connsiteX1" y="connsiteY1"/>
                  </a:cxn>
                </a:cxnLst>
                <a:rect l="l" t="t" r="r" b="b"/>
                <a:pathLst>
                  <a:path w="11324" h="28726">
                    <a:moveTo>
                      <a:pt x="0" y="0"/>
                    </a:moveTo>
                    <a:lnTo>
                      <a:pt x="0" y="28726"/>
                    </a:lnTo>
                  </a:path>
                </a:pathLst>
              </a:custGeom>
              <a:ln w="6350" cap="flat">
                <a:solidFill>
                  <a:srgbClr val="D7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9" name="Freeform 167">
                <a:extLst>
                  <a:ext uri="{FF2B5EF4-FFF2-40B4-BE49-F238E27FC236}">
                    <a16:creationId xmlns:a16="http://schemas.microsoft.com/office/drawing/2014/main" id="{882C31B8-1F37-4C8E-B189-A01A3EA448B5}"/>
                  </a:ext>
                </a:extLst>
              </p:cNvPr>
              <p:cNvSpPr/>
              <p:nvPr/>
            </p:nvSpPr>
            <p:spPr>
              <a:xfrm>
                <a:off x="6898939" y="2606870"/>
                <a:ext cx="28650" cy="11354"/>
              </a:xfrm>
              <a:custGeom>
                <a:avLst/>
                <a:gdLst>
                  <a:gd name="connsiteX0" fmla="*/ 0 w 28650"/>
                  <a:gd name="connsiteY0" fmla="*/ 0 h 11354"/>
                  <a:gd name="connsiteX1" fmla="*/ 28651 w 28650"/>
                  <a:gd name="connsiteY1" fmla="*/ 0 h 11354"/>
                </a:gdLst>
                <a:ahLst/>
                <a:cxnLst>
                  <a:cxn ang="0">
                    <a:pos x="connsiteX0" y="connsiteY0"/>
                  </a:cxn>
                  <a:cxn ang="0">
                    <a:pos x="connsiteX1" y="connsiteY1"/>
                  </a:cxn>
                </a:cxnLst>
                <a:rect l="l" t="t" r="r" b="b"/>
                <a:pathLst>
                  <a:path w="28650" h="11354">
                    <a:moveTo>
                      <a:pt x="0" y="0"/>
                    </a:moveTo>
                    <a:lnTo>
                      <a:pt x="28651" y="0"/>
                    </a:lnTo>
                  </a:path>
                </a:pathLst>
              </a:custGeom>
              <a:ln w="6350" cap="flat">
                <a:solidFill>
                  <a:srgbClr val="D7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30" name="Graphic 20656">
              <a:extLst>
                <a:ext uri="{FF2B5EF4-FFF2-40B4-BE49-F238E27FC236}">
                  <a16:creationId xmlns:a16="http://schemas.microsoft.com/office/drawing/2014/main" id="{44C61394-54E9-4EC3-B476-8F672138D763}"/>
                </a:ext>
              </a:extLst>
            </p:cNvPr>
            <p:cNvGrpSpPr/>
            <p:nvPr/>
          </p:nvGrpSpPr>
          <p:grpSpPr>
            <a:xfrm>
              <a:off x="6895995" y="2592563"/>
              <a:ext cx="28650" cy="28726"/>
              <a:chOff x="6895995" y="2592563"/>
              <a:chExt cx="28650" cy="28726"/>
            </a:xfrm>
          </p:grpSpPr>
          <p:sp>
            <p:nvSpPr>
              <p:cNvPr id="166" name="Freeform 164">
                <a:extLst>
                  <a:ext uri="{FF2B5EF4-FFF2-40B4-BE49-F238E27FC236}">
                    <a16:creationId xmlns:a16="http://schemas.microsoft.com/office/drawing/2014/main" id="{C0ADD864-6343-440D-A056-01AC8B00A9F3}"/>
                  </a:ext>
                </a:extLst>
              </p:cNvPr>
              <p:cNvSpPr/>
              <p:nvPr/>
            </p:nvSpPr>
            <p:spPr>
              <a:xfrm>
                <a:off x="6910263" y="2592563"/>
                <a:ext cx="11324" cy="28726"/>
              </a:xfrm>
              <a:custGeom>
                <a:avLst/>
                <a:gdLst>
                  <a:gd name="connsiteX0" fmla="*/ 0 w 11324"/>
                  <a:gd name="connsiteY0" fmla="*/ 0 h 28726"/>
                  <a:gd name="connsiteX1" fmla="*/ 0 w 11324"/>
                  <a:gd name="connsiteY1" fmla="*/ 28726 h 28726"/>
                </a:gdLst>
                <a:ahLst/>
                <a:cxnLst>
                  <a:cxn ang="0">
                    <a:pos x="connsiteX0" y="connsiteY0"/>
                  </a:cxn>
                  <a:cxn ang="0">
                    <a:pos x="connsiteX1" y="connsiteY1"/>
                  </a:cxn>
                </a:cxnLst>
                <a:rect l="l" t="t" r="r" b="b"/>
                <a:pathLst>
                  <a:path w="11324" h="28726">
                    <a:moveTo>
                      <a:pt x="0" y="0"/>
                    </a:moveTo>
                    <a:lnTo>
                      <a:pt x="0" y="28726"/>
                    </a:lnTo>
                  </a:path>
                </a:pathLst>
              </a:custGeom>
              <a:ln w="6350" cap="flat">
                <a:solidFill>
                  <a:srgbClr val="D7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7" name="Freeform 165">
                <a:extLst>
                  <a:ext uri="{FF2B5EF4-FFF2-40B4-BE49-F238E27FC236}">
                    <a16:creationId xmlns:a16="http://schemas.microsoft.com/office/drawing/2014/main" id="{9EA0AC20-8F6A-49F3-B9ED-00BF7D5C995E}"/>
                  </a:ext>
                </a:extLst>
              </p:cNvPr>
              <p:cNvSpPr/>
              <p:nvPr/>
            </p:nvSpPr>
            <p:spPr>
              <a:xfrm>
                <a:off x="6895995" y="2606870"/>
                <a:ext cx="28650" cy="11354"/>
              </a:xfrm>
              <a:custGeom>
                <a:avLst/>
                <a:gdLst>
                  <a:gd name="connsiteX0" fmla="*/ 0 w 28650"/>
                  <a:gd name="connsiteY0" fmla="*/ 0 h 11354"/>
                  <a:gd name="connsiteX1" fmla="*/ 28651 w 28650"/>
                  <a:gd name="connsiteY1" fmla="*/ 0 h 11354"/>
                </a:gdLst>
                <a:ahLst/>
                <a:cxnLst>
                  <a:cxn ang="0">
                    <a:pos x="connsiteX0" y="connsiteY0"/>
                  </a:cxn>
                  <a:cxn ang="0">
                    <a:pos x="connsiteX1" y="connsiteY1"/>
                  </a:cxn>
                </a:cxnLst>
                <a:rect l="l" t="t" r="r" b="b"/>
                <a:pathLst>
                  <a:path w="28650" h="11354">
                    <a:moveTo>
                      <a:pt x="0" y="0"/>
                    </a:moveTo>
                    <a:lnTo>
                      <a:pt x="28651" y="0"/>
                    </a:lnTo>
                  </a:path>
                </a:pathLst>
              </a:custGeom>
              <a:ln w="6350" cap="flat">
                <a:solidFill>
                  <a:srgbClr val="D7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31" name="Graphic 20656">
              <a:extLst>
                <a:ext uri="{FF2B5EF4-FFF2-40B4-BE49-F238E27FC236}">
                  <a16:creationId xmlns:a16="http://schemas.microsoft.com/office/drawing/2014/main" id="{AAE0D676-2844-495C-8062-BDE252CEA638}"/>
                </a:ext>
              </a:extLst>
            </p:cNvPr>
            <p:cNvGrpSpPr/>
            <p:nvPr/>
          </p:nvGrpSpPr>
          <p:grpSpPr>
            <a:xfrm>
              <a:off x="6763612" y="2559409"/>
              <a:ext cx="28650" cy="28839"/>
              <a:chOff x="6763612" y="2559409"/>
              <a:chExt cx="28650" cy="28839"/>
            </a:xfrm>
          </p:grpSpPr>
          <p:sp>
            <p:nvSpPr>
              <p:cNvPr id="164" name="Freeform 162">
                <a:extLst>
                  <a:ext uri="{FF2B5EF4-FFF2-40B4-BE49-F238E27FC236}">
                    <a16:creationId xmlns:a16="http://schemas.microsoft.com/office/drawing/2014/main" id="{63118ADA-F7CA-4318-AC61-28FEF2BF01FF}"/>
                  </a:ext>
                </a:extLst>
              </p:cNvPr>
              <p:cNvSpPr/>
              <p:nvPr/>
            </p:nvSpPr>
            <p:spPr>
              <a:xfrm>
                <a:off x="6777994" y="2559409"/>
                <a:ext cx="11324" cy="28839"/>
              </a:xfrm>
              <a:custGeom>
                <a:avLst/>
                <a:gdLst>
                  <a:gd name="connsiteX0" fmla="*/ 0 w 11324"/>
                  <a:gd name="connsiteY0" fmla="*/ 0 h 28839"/>
                  <a:gd name="connsiteX1" fmla="*/ 0 w 11324"/>
                  <a:gd name="connsiteY1" fmla="*/ 28840 h 28839"/>
                </a:gdLst>
                <a:ahLst/>
                <a:cxnLst>
                  <a:cxn ang="0">
                    <a:pos x="connsiteX0" y="connsiteY0"/>
                  </a:cxn>
                  <a:cxn ang="0">
                    <a:pos x="connsiteX1" y="connsiteY1"/>
                  </a:cxn>
                </a:cxnLst>
                <a:rect l="l" t="t" r="r" b="b"/>
                <a:pathLst>
                  <a:path w="11324" h="28839">
                    <a:moveTo>
                      <a:pt x="0" y="0"/>
                    </a:moveTo>
                    <a:lnTo>
                      <a:pt x="0" y="28840"/>
                    </a:lnTo>
                  </a:path>
                </a:pathLst>
              </a:custGeom>
              <a:ln w="6350" cap="flat">
                <a:solidFill>
                  <a:srgbClr val="D7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5" name="Freeform 163">
                <a:extLst>
                  <a:ext uri="{FF2B5EF4-FFF2-40B4-BE49-F238E27FC236}">
                    <a16:creationId xmlns:a16="http://schemas.microsoft.com/office/drawing/2014/main" id="{B2BEA163-B7F5-4046-9627-13678525AE31}"/>
                  </a:ext>
                </a:extLst>
              </p:cNvPr>
              <p:cNvSpPr/>
              <p:nvPr/>
            </p:nvSpPr>
            <p:spPr>
              <a:xfrm>
                <a:off x="6763612" y="2573829"/>
                <a:ext cx="28650" cy="11354"/>
              </a:xfrm>
              <a:custGeom>
                <a:avLst/>
                <a:gdLst>
                  <a:gd name="connsiteX0" fmla="*/ 0 w 28650"/>
                  <a:gd name="connsiteY0" fmla="*/ 0 h 11354"/>
                  <a:gd name="connsiteX1" fmla="*/ 28651 w 28650"/>
                  <a:gd name="connsiteY1" fmla="*/ 0 h 11354"/>
                </a:gdLst>
                <a:ahLst/>
                <a:cxnLst>
                  <a:cxn ang="0">
                    <a:pos x="connsiteX0" y="connsiteY0"/>
                  </a:cxn>
                  <a:cxn ang="0">
                    <a:pos x="connsiteX1" y="connsiteY1"/>
                  </a:cxn>
                </a:cxnLst>
                <a:rect l="l" t="t" r="r" b="b"/>
                <a:pathLst>
                  <a:path w="28650" h="11354">
                    <a:moveTo>
                      <a:pt x="0" y="0"/>
                    </a:moveTo>
                    <a:lnTo>
                      <a:pt x="28651" y="0"/>
                    </a:lnTo>
                  </a:path>
                </a:pathLst>
              </a:custGeom>
              <a:ln w="6350" cap="flat">
                <a:solidFill>
                  <a:srgbClr val="D7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32" name="Graphic 20656">
              <a:extLst>
                <a:ext uri="{FF2B5EF4-FFF2-40B4-BE49-F238E27FC236}">
                  <a16:creationId xmlns:a16="http://schemas.microsoft.com/office/drawing/2014/main" id="{3CAEF0D9-0FC7-470D-8BE8-30A28F0F2EC7}"/>
                </a:ext>
              </a:extLst>
            </p:cNvPr>
            <p:cNvGrpSpPr/>
            <p:nvPr/>
          </p:nvGrpSpPr>
          <p:grpSpPr>
            <a:xfrm>
              <a:off x="6623076" y="2559409"/>
              <a:ext cx="28650" cy="28839"/>
              <a:chOff x="6623076" y="2559409"/>
              <a:chExt cx="28650" cy="28839"/>
            </a:xfrm>
          </p:grpSpPr>
          <p:sp>
            <p:nvSpPr>
              <p:cNvPr id="162" name="Freeform 160">
                <a:extLst>
                  <a:ext uri="{FF2B5EF4-FFF2-40B4-BE49-F238E27FC236}">
                    <a16:creationId xmlns:a16="http://schemas.microsoft.com/office/drawing/2014/main" id="{2B7CA7BA-2248-4A48-99F4-669B62839ECF}"/>
                  </a:ext>
                </a:extLst>
              </p:cNvPr>
              <p:cNvSpPr/>
              <p:nvPr/>
            </p:nvSpPr>
            <p:spPr>
              <a:xfrm>
                <a:off x="6637458" y="2559409"/>
                <a:ext cx="11324" cy="28839"/>
              </a:xfrm>
              <a:custGeom>
                <a:avLst/>
                <a:gdLst>
                  <a:gd name="connsiteX0" fmla="*/ 0 w 11324"/>
                  <a:gd name="connsiteY0" fmla="*/ 0 h 28839"/>
                  <a:gd name="connsiteX1" fmla="*/ 0 w 11324"/>
                  <a:gd name="connsiteY1" fmla="*/ 28840 h 28839"/>
                </a:gdLst>
                <a:ahLst/>
                <a:cxnLst>
                  <a:cxn ang="0">
                    <a:pos x="connsiteX0" y="connsiteY0"/>
                  </a:cxn>
                  <a:cxn ang="0">
                    <a:pos x="connsiteX1" y="connsiteY1"/>
                  </a:cxn>
                </a:cxnLst>
                <a:rect l="l" t="t" r="r" b="b"/>
                <a:pathLst>
                  <a:path w="11324" h="28839">
                    <a:moveTo>
                      <a:pt x="0" y="0"/>
                    </a:moveTo>
                    <a:lnTo>
                      <a:pt x="0" y="28840"/>
                    </a:lnTo>
                  </a:path>
                </a:pathLst>
              </a:custGeom>
              <a:ln w="6350" cap="flat">
                <a:solidFill>
                  <a:srgbClr val="D7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3" name="Freeform 161">
                <a:extLst>
                  <a:ext uri="{FF2B5EF4-FFF2-40B4-BE49-F238E27FC236}">
                    <a16:creationId xmlns:a16="http://schemas.microsoft.com/office/drawing/2014/main" id="{74EA1DEF-1FEF-49F1-A94A-60C2683A5A5F}"/>
                  </a:ext>
                </a:extLst>
              </p:cNvPr>
              <p:cNvSpPr/>
              <p:nvPr/>
            </p:nvSpPr>
            <p:spPr>
              <a:xfrm>
                <a:off x="6623076" y="2573829"/>
                <a:ext cx="28650" cy="11354"/>
              </a:xfrm>
              <a:custGeom>
                <a:avLst/>
                <a:gdLst>
                  <a:gd name="connsiteX0" fmla="*/ 0 w 28650"/>
                  <a:gd name="connsiteY0" fmla="*/ 0 h 11354"/>
                  <a:gd name="connsiteX1" fmla="*/ 28651 w 28650"/>
                  <a:gd name="connsiteY1" fmla="*/ 0 h 11354"/>
                </a:gdLst>
                <a:ahLst/>
                <a:cxnLst>
                  <a:cxn ang="0">
                    <a:pos x="connsiteX0" y="connsiteY0"/>
                  </a:cxn>
                  <a:cxn ang="0">
                    <a:pos x="connsiteX1" y="connsiteY1"/>
                  </a:cxn>
                </a:cxnLst>
                <a:rect l="l" t="t" r="r" b="b"/>
                <a:pathLst>
                  <a:path w="28650" h="11354">
                    <a:moveTo>
                      <a:pt x="0" y="0"/>
                    </a:moveTo>
                    <a:lnTo>
                      <a:pt x="28651" y="0"/>
                    </a:lnTo>
                  </a:path>
                </a:pathLst>
              </a:custGeom>
              <a:ln w="6350" cap="flat">
                <a:solidFill>
                  <a:srgbClr val="D7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33" name="Graphic 20656">
              <a:extLst>
                <a:ext uri="{FF2B5EF4-FFF2-40B4-BE49-F238E27FC236}">
                  <a16:creationId xmlns:a16="http://schemas.microsoft.com/office/drawing/2014/main" id="{167DA564-6FC5-4A48-811B-C6E9AD8A6A1C}"/>
                </a:ext>
              </a:extLst>
            </p:cNvPr>
            <p:cNvGrpSpPr/>
            <p:nvPr/>
          </p:nvGrpSpPr>
          <p:grpSpPr>
            <a:xfrm>
              <a:off x="6616735" y="2559409"/>
              <a:ext cx="28650" cy="28839"/>
              <a:chOff x="6616735" y="2559409"/>
              <a:chExt cx="28650" cy="28839"/>
            </a:xfrm>
          </p:grpSpPr>
          <p:sp>
            <p:nvSpPr>
              <p:cNvPr id="160" name="Freeform 158">
                <a:extLst>
                  <a:ext uri="{FF2B5EF4-FFF2-40B4-BE49-F238E27FC236}">
                    <a16:creationId xmlns:a16="http://schemas.microsoft.com/office/drawing/2014/main" id="{977CBAF6-CAE4-458F-AF19-23E0C7C037A0}"/>
                  </a:ext>
                </a:extLst>
              </p:cNvPr>
              <p:cNvSpPr/>
              <p:nvPr/>
            </p:nvSpPr>
            <p:spPr>
              <a:xfrm>
                <a:off x="6631117" y="2559409"/>
                <a:ext cx="11324" cy="28839"/>
              </a:xfrm>
              <a:custGeom>
                <a:avLst/>
                <a:gdLst>
                  <a:gd name="connsiteX0" fmla="*/ 0 w 11324"/>
                  <a:gd name="connsiteY0" fmla="*/ 0 h 28839"/>
                  <a:gd name="connsiteX1" fmla="*/ 0 w 11324"/>
                  <a:gd name="connsiteY1" fmla="*/ 28840 h 28839"/>
                </a:gdLst>
                <a:ahLst/>
                <a:cxnLst>
                  <a:cxn ang="0">
                    <a:pos x="connsiteX0" y="connsiteY0"/>
                  </a:cxn>
                  <a:cxn ang="0">
                    <a:pos x="connsiteX1" y="connsiteY1"/>
                  </a:cxn>
                </a:cxnLst>
                <a:rect l="l" t="t" r="r" b="b"/>
                <a:pathLst>
                  <a:path w="11324" h="28839">
                    <a:moveTo>
                      <a:pt x="0" y="0"/>
                    </a:moveTo>
                    <a:lnTo>
                      <a:pt x="0" y="28840"/>
                    </a:lnTo>
                  </a:path>
                </a:pathLst>
              </a:custGeom>
              <a:ln w="6350" cap="flat">
                <a:solidFill>
                  <a:srgbClr val="D7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1" name="Freeform 159">
                <a:extLst>
                  <a:ext uri="{FF2B5EF4-FFF2-40B4-BE49-F238E27FC236}">
                    <a16:creationId xmlns:a16="http://schemas.microsoft.com/office/drawing/2014/main" id="{428F0CD5-3C88-4DFF-8FA5-9FDB493E4093}"/>
                  </a:ext>
                </a:extLst>
              </p:cNvPr>
              <p:cNvSpPr/>
              <p:nvPr/>
            </p:nvSpPr>
            <p:spPr>
              <a:xfrm>
                <a:off x="6616735" y="2573829"/>
                <a:ext cx="28650" cy="11354"/>
              </a:xfrm>
              <a:custGeom>
                <a:avLst/>
                <a:gdLst>
                  <a:gd name="connsiteX0" fmla="*/ 0 w 28650"/>
                  <a:gd name="connsiteY0" fmla="*/ 0 h 11354"/>
                  <a:gd name="connsiteX1" fmla="*/ 28651 w 28650"/>
                  <a:gd name="connsiteY1" fmla="*/ 0 h 11354"/>
                </a:gdLst>
                <a:ahLst/>
                <a:cxnLst>
                  <a:cxn ang="0">
                    <a:pos x="connsiteX0" y="connsiteY0"/>
                  </a:cxn>
                  <a:cxn ang="0">
                    <a:pos x="connsiteX1" y="connsiteY1"/>
                  </a:cxn>
                </a:cxnLst>
                <a:rect l="l" t="t" r="r" b="b"/>
                <a:pathLst>
                  <a:path w="28650" h="11354">
                    <a:moveTo>
                      <a:pt x="0" y="0"/>
                    </a:moveTo>
                    <a:lnTo>
                      <a:pt x="28651" y="0"/>
                    </a:lnTo>
                  </a:path>
                </a:pathLst>
              </a:custGeom>
              <a:ln w="6350" cap="flat">
                <a:solidFill>
                  <a:srgbClr val="D7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34" name="Graphic 20656">
              <a:extLst>
                <a:ext uri="{FF2B5EF4-FFF2-40B4-BE49-F238E27FC236}">
                  <a16:creationId xmlns:a16="http://schemas.microsoft.com/office/drawing/2014/main" id="{99600B81-9E5D-43C3-940B-8F6EFDEB95F0}"/>
                </a:ext>
              </a:extLst>
            </p:cNvPr>
            <p:cNvGrpSpPr/>
            <p:nvPr/>
          </p:nvGrpSpPr>
          <p:grpSpPr>
            <a:xfrm>
              <a:off x="6612771" y="2559409"/>
              <a:ext cx="28763" cy="28839"/>
              <a:chOff x="6612771" y="2559409"/>
              <a:chExt cx="28763" cy="28839"/>
            </a:xfrm>
          </p:grpSpPr>
          <p:sp>
            <p:nvSpPr>
              <p:cNvPr id="158" name="Freeform 156">
                <a:extLst>
                  <a:ext uri="{FF2B5EF4-FFF2-40B4-BE49-F238E27FC236}">
                    <a16:creationId xmlns:a16="http://schemas.microsoft.com/office/drawing/2014/main" id="{D611A920-2241-447B-908D-20BD7C387D59}"/>
                  </a:ext>
                </a:extLst>
              </p:cNvPr>
              <p:cNvSpPr/>
              <p:nvPr/>
            </p:nvSpPr>
            <p:spPr>
              <a:xfrm>
                <a:off x="6627153" y="2559409"/>
                <a:ext cx="11324" cy="28839"/>
              </a:xfrm>
              <a:custGeom>
                <a:avLst/>
                <a:gdLst>
                  <a:gd name="connsiteX0" fmla="*/ 0 w 11324"/>
                  <a:gd name="connsiteY0" fmla="*/ 0 h 28839"/>
                  <a:gd name="connsiteX1" fmla="*/ 0 w 11324"/>
                  <a:gd name="connsiteY1" fmla="*/ 28840 h 28839"/>
                </a:gdLst>
                <a:ahLst/>
                <a:cxnLst>
                  <a:cxn ang="0">
                    <a:pos x="connsiteX0" y="connsiteY0"/>
                  </a:cxn>
                  <a:cxn ang="0">
                    <a:pos x="connsiteX1" y="connsiteY1"/>
                  </a:cxn>
                </a:cxnLst>
                <a:rect l="l" t="t" r="r" b="b"/>
                <a:pathLst>
                  <a:path w="11324" h="28839">
                    <a:moveTo>
                      <a:pt x="0" y="0"/>
                    </a:moveTo>
                    <a:lnTo>
                      <a:pt x="0" y="28840"/>
                    </a:lnTo>
                  </a:path>
                </a:pathLst>
              </a:custGeom>
              <a:ln w="6350" cap="flat">
                <a:solidFill>
                  <a:srgbClr val="D7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9" name="Freeform 157">
                <a:extLst>
                  <a:ext uri="{FF2B5EF4-FFF2-40B4-BE49-F238E27FC236}">
                    <a16:creationId xmlns:a16="http://schemas.microsoft.com/office/drawing/2014/main" id="{95CF45AE-564D-4A75-9356-236B008955F6}"/>
                  </a:ext>
                </a:extLst>
              </p:cNvPr>
              <p:cNvSpPr/>
              <p:nvPr/>
            </p:nvSpPr>
            <p:spPr>
              <a:xfrm>
                <a:off x="6612771" y="2573829"/>
                <a:ext cx="28763" cy="11354"/>
              </a:xfrm>
              <a:custGeom>
                <a:avLst/>
                <a:gdLst>
                  <a:gd name="connsiteX0" fmla="*/ 0 w 28763"/>
                  <a:gd name="connsiteY0" fmla="*/ 0 h 11354"/>
                  <a:gd name="connsiteX1" fmla="*/ 28764 w 28763"/>
                  <a:gd name="connsiteY1" fmla="*/ 0 h 11354"/>
                </a:gdLst>
                <a:ahLst/>
                <a:cxnLst>
                  <a:cxn ang="0">
                    <a:pos x="connsiteX0" y="connsiteY0"/>
                  </a:cxn>
                  <a:cxn ang="0">
                    <a:pos x="connsiteX1" y="connsiteY1"/>
                  </a:cxn>
                </a:cxnLst>
                <a:rect l="l" t="t" r="r" b="b"/>
                <a:pathLst>
                  <a:path w="28763" h="11354">
                    <a:moveTo>
                      <a:pt x="0" y="0"/>
                    </a:moveTo>
                    <a:lnTo>
                      <a:pt x="28764" y="0"/>
                    </a:lnTo>
                  </a:path>
                </a:pathLst>
              </a:custGeom>
              <a:ln w="6350" cap="flat">
                <a:solidFill>
                  <a:srgbClr val="D7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35" name="Graphic 20656">
              <a:extLst>
                <a:ext uri="{FF2B5EF4-FFF2-40B4-BE49-F238E27FC236}">
                  <a16:creationId xmlns:a16="http://schemas.microsoft.com/office/drawing/2014/main" id="{45ED2C70-E561-49C4-B075-DDD4A3436AE5}"/>
                </a:ext>
              </a:extLst>
            </p:cNvPr>
            <p:cNvGrpSpPr/>
            <p:nvPr/>
          </p:nvGrpSpPr>
          <p:grpSpPr>
            <a:xfrm>
              <a:off x="6497375" y="2559409"/>
              <a:ext cx="28650" cy="28839"/>
              <a:chOff x="6497375" y="2559409"/>
              <a:chExt cx="28650" cy="28839"/>
            </a:xfrm>
          </p:grpSpPr>
          <p:sp>
            <p:nvSpPr>
              <p:cNvPr id="156" name="Freeform 154">
                <a:extLst>
                  <a:ext uri="{FF2B5EF4-FFF2-40B4-BE49-F238E27FC236}">
                    <a16:creationId xmlns:a16="http://schemas.microsoft.com/office/drawing/2014/main" id="{1C22B399-C67A-42EB-9F7D-9ADE85DC6E01}"/>
                  </a:ext>
                </a:extLst>
              </p:cNvPr>
              <p:cNvSpPr/>
              <p:nvPr/>
            </p:nvSpPr>
            <p:spPr>
              <a:xfrm>
                <a:off x="6511757" y="2559409"/>
                <a:ext cx="11324" cy="28839"/>
              </a:xfrm>
              <a:custGeom>
                <a:avLst/>
                <a:gdLst>
                  <a:gd name="connsiteX0" fmla="*/ 0 w 11324"/>
                  <a:gd name="connsiteY0" fmla="*/ 0 h 28839"/>
                  <a:gd name="connsiteX1" fmla="*/ 0 w 11324"/>
                  <a:gd name="connsiteY1" fmla="*/ 28840 h 28839"/>
                </a:gdLst>
                <a:ahLst/>
                <a:cxnLst>
                  <a:cxn ang="0">
                    <a:pos x="connsiteX0" y="connsiteY0"/>
                  </a:cxn>
                  <a:cxn ang="0">
                    <a:pos x="connsiteX1" y="connsiteY1"/>
                  </a:cxn>
                </a:cxnLst>
                <a:rect l="l" t="t" r="r" b="b"/>
                <a:pathLst>
                  <a:path w="11324" h="28839">
                    <a:moveTo>
                      <a:pt x="0" y="0"/>
                    </a:moveTo>
                    <a:lnTo>
                      <a:pt x="0" y="28840"/>
                    </a:lnTo>
                  </a:path>
                </a:pathLst>
              </a:custGeom>
              <a:ln w="6350" cap="flat">
                <a:solidFill>
                  <a:srgbClr val="D7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7" name="Freeform 155">
                <a:extLst>
                  <a:ext uri="{FF2B5EF4-FFF2-40B4-BE49-F238E27FC236}">
                    <a16:creationId xmlns:a16="http://schemas.microsoft.com/office/drawing/2014/main" id="{7CC64927-13AA-483E-A266-D2BFD7151481}"/>
                  </a:ext>
                </a:extLst>
              </p:cNvPr>
              <p:cNvSpPr/>
              <p:nvPr/>
            </p:nvSpPr>
            <p:spPr>
              <a:xfrm>
                <a:off x="6497375" y="2573829"/>
                <a:ext cx="28650" cy="11354"/>
              </a:xfrm>
              <a:custGeom>
                <a:avLst/>
                <a:gdLst>
                  <a:gd name="connsiteX0" fmla="*/ 0 w 28650"/>
                  <a:gd name="connsiteY0" fmla="*/ 0 h 11354"/>
                  <a:gd name="connsiteX1" fmla="*/ 28651 w 28650"/>
                  <a:gd name="connsiteY1" fmla="*/ 0 h 11354"/>
                </a:gdLst>
                <a:ahLst/>
                <a:cxnLst>
                  <a:cxn ang="0">
                    <a:pos x="connsiteX0" y="connsiteY0"/>
                  </a:cxn>
                  <a:cxn ang="0">
                    <a:pos x="connsiteX1" y="connsiteY1"/>
                  </a:cxn>
                </a:cxnLst>
                <a:rect l="l" t="t" r="r" b="b"/>
                <a:pathLst>
                  <a:path w="28650" h="11354">
                    <a:moveTo>
                      <a:pt x="0" y="0"/>
                    </a:moveTo>
                    <a:lnTo>
                      <a:pt x="28651" y="0"/>
                    </a:lnTo>
                  </a:path>
                </a:pathLst>
              </a:custGeom>
              <a:ln w="6350" cap="flat">
                <a:solidFill>
                  <a:srgbClr val="D7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36" name="Graphic 20656">
              <a:extLst>
                <a:ext uri="{FF2B5EF4-FFF2-40B4-BE49-F238E27FC236}">
                  <a16:creationId xmlns:a16="http://schemas.microsoft.com/office/drawing/2014/main" id="{9144989C-C03F-452C-9308-B01DCD542D1E}"/>
                </a:ext>
              </a:extLst>
            </p:cNvPr>
            <p:cNvGrpSpPr/>
            <p:nvPr/>
          </p:nvGrpSpPr>
          <p:grpSpPr>
            <a:xfrm>
              <a:off x="6497375" y="2545557"/>
              <a:ext cx="28650" cy="28726"/>
              <a:chOff x="6497375" y="2545557"/>
              <a:chExt cx="28650" cy="28726"/>
            </a:xfrm>
          </p:grpSpPr>
          <p:sp>
            <p:nvSpPr>
              <p:cNvPr id="154" name="Freeform 152">
                <a:extLst>
                  <a:ext uri="{FF2B5EF4-FFF2-40B4-BE49-F238E27FC236}">
                    <a16:creationId xmlns:a16="http://schemas.microsoft.com/office/drawing/2014/main" id="{C1D00DCF-2AC8-4EEB-AEFA-7CA71E81037F}"/>
                  </a:ext>
                </a:extLst>
              </p:cNvPr>
              <p:cNvSpPr/>
              <p:nvPr/>
            </p:nvSpPr>
            <p:spPr>
              <a:xfrm>
                <a:off x="6511757" y="2545557"/>
                <a:ext cx="11324" cy="28726"/>
              </a:xfrm>
              <a:custGeom>
                <a:avLst/>
                <a:gdLst>
                  <a:gd name="connsiteX0" fmla="*/ 0 w 11324"/>
                  <a:gd name="connsiteY0" fmla="*/ 0 h 28726"/>
                  <a:gd name="connsiteX1" fmla="*/ 0 w 11324"/>
                  <a:gd name="connsiteY1" fmla="*/ 28726 h 28726"/>
                </a:gdLst>
                <a:ahLst/>
                <a:cxnLst>
                  <a:cxn ang="0">
                    <a:pos x="connsiteX0" y="connsiteY0"/>
                  </a:cxn>
                  <a:cxn ang="0">
                    <a:pos x="connsiteX1" y="connsiteY1"/>
                  </a:cxn>
                </a:cxnLst>
                <a:rect l="l" t="t" r="r" b="b"/>
                <a:pathLst>
                  <a:path w="11324" h="28726">
                    <a:moveTo>
                      <a:pt x="0" y="0"/>
                    </a:moveTo>
                    <a:lnTo>
                      <a:pt x="0" y="28726"/>
                    </a:lnTo>
                  </a:path>
                </a:pathLst>
              </a:custGeom>
              <a:ln w="6350" cap="flat">
                <a:solidFill>
                  <a:srgbClr val="D7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5" name="Freeform 153">
                <a:extLst>
                  <a:ext uri="{FF2B5EF4-FFF2-40B4-BE49-F238E27FC236}">
                    <a16:creationId xmlns:a16="http://schemas.microsoft.com/office/drawing/2014/main" id="{A7C80DD1-D1EE-4151-980A-5CE2E12AF02E}"/>
                  </a:ext>
                </a:extLst>
              </p:cNvPr>
              <p:cNvSpPr/>
              <p:nvPr/>
            </p:nvSpPr>
            <p:spPr>
              <a:xfrm>
                <a:off x="6497375" y="2559977"/>
                <a:ext cx="28650" cy="11354"/>
              </a:xfrm>
              <a:custGeom>
                <a:avLst/>
                <a:gdLst>
                  <a:gd name="connsiteX0" fmla="*/ 0 w 28650"/>
                  <a:gd name="connsiteY0" fmla="*/ 0 h 11354"/>
                  <a:gd name="connsiteX1" fmla="*/ 28651 w 28650"/>
                  <a:gd name="connsiteY1" fmla="*/ 0 h 11354"/>
                </a:gdLst>
                <a:ahLst/>
                <a:cxnLst>
                  <a:cxn ang="0">
                    <a:pos x="connsiteX0" y="connsiteY0"/>
                  </a:cxn>
                  <a:cxn ang="0">
                    <a:pos x="connsiteX1" y="connsiteY1"/>
                  </a:cxn>
                </a:cxnLst>
                <a:rect l="l" t="t" r="r" b="b"/>
                <a:pathLst>
                  <a:path w="28650" h="11354">
                    <a:moveTo>
                      <a:pt x="0" y="0"/>
                    </a:moveTo>
                    <a:lnTo>
                      <a:pt x="28651" y="0"/>
                    </a:lnTo>
                  </a:path>
                </a:pathLst>
              </a:custGeom>
              <a:ln w="6350" cap="flat">
                <a:solidFill>
                  <a:srgbClr val="D7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37" name="Graphic 20656">
              <a:extLst>
                <a:ext uri="{FF2B5EF4-FFF2-40B4-BE49-F238E27FC236}">
                  <a16:creationId xmlns:a16="http://schemas.microsoft.com/office/drawing/2014/main" id="{A78B7351-2189-4D88-A9D7-A6C1976EE55B}"/>
                </a:ext>
              </a:extLst>
            </p:cNvPr>
            <p:cNvGrpSpPr/>
            <p:nvPr/>
          </p:nvGrpSpPr>
          <p:grpSpPr>
            <a:xfrm>
              <a:off x="6480162" y="2545557"/>
              <a:ext cx="28650" cy="28726"/>
              <a:chOff x="6480162" y="2545557"/>
              <a:chExt cx="28650" cy="28726"/>
            </a:xfrm>
          </p:grpSpPr>
          <p:sp>
            <p:nvSpPr>
              <p:cNvPr id="152" name="Freeform 150">
                <a:extLst>
                  <a:ext uri="{FF2B5EF4-FFF2-40B4-BE49-F238E27FC236}">
                    <a16:creationId xmlns:a16="http://schemas.microsoft.com/office/drawing/2014/main" id="{31B7169B-48CA-400D-AD82-C7F50B95EC07}"/>
                  </a:ext>
                </a:extLst>
              </p:cNvPr>
              <p:cNvSpPr/>
              <p:nvPr/>
            </p:nvSpPr>
            <p:spPr>
              <a:xfrm>
                <a:off x="6494544" y="2545557"/>
                <a:ext cx="11324" cy="28726"/>
              </a:xfrm>
              <a:custGeom>
                <a:avLst/>
                <a:gdLst>
                  <a:gd name="connsiteX0" fmla="*/ 0 w 11324"/>
                  <a:gd name="connsiteY0" fmla="*/ 0 h 28726"/>
                  <a:gd name="connsiteX1" fmla="*/ 0 w 11324"/>
                  <a:gd name="connsiteY1" fmla="*/ 28726 h 28726"/>
                </a:gdLst>
                <a:ahLst/>
                <a:cxnLst>
                  <a:cxn ang="0">
                    <a:pos x="connsiteX0" y="connsiteY0"/>
                  </a:cxn>
                  <a:cxn ang="0">
                    <a:pos x="connsiteX1" y="connsiteY1"/>
                  </a:cxn>
                </a:cxnLst>
                <a:rect l="l" t="t" r="r" b="b"/>
                <a:pathLst>
                  <a:path w="11324" h="28726">
                    <a:moveTo>
                      <a:pt x="0" y="0"/>
                    </a:moveTo>
                    <a:lnTo>
                      <a:pt x="0" y="28726"/>
                    </a:lnTo>
                  </a:path>
                </a:pathLst>
              </a:custGeom>
              <a:ln w="6350" cap="flat">
                <a:solidFill>
                  <a:srgbClr val="D7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3" name="Freeform 151">
                <a:extLst>
                  <a:ext uri="{FF2B5EF4-FFF2-40B4-BE49-F238E27FC236}">
                    <a16:creationId xmlns:a16="http://schemas.microsoft.com/office/drawing/2014/main" id="{BD1748E2-F72F-4A93-8292-990C00063CFC}"/>
                  </a:ext>
                </a:extLst>
              </p:cNvPr>
              <p:cNvSpPr/>
              <p:nvPr/>
            </p:nvSpPr>
            <p:spPr>
              <a:xfrm>
                <a:off x="6480162" y="2559977"/>
                <a:ext cx="28650" cy="11354"/>
              </a:xfrm>
              <a:custGeom>
                <a:avLst/>
                <a:gdLst>
                  <a:gd name="connsiteX0" fmla="*/ 0 w 28650"/>
                  <a:gd name="connsiteY0" fmla="*/ 0 h 11354"/>
                  <a:gd name="connsiteX1" fmla="*/ 28651 w 28650"/>
                  <a:gd name="connsiteY1" fmla="*/ 0 h 11354"/>
                </a:gdLst>
                <a:ahLst/>
                <a:cxnLst>
                  <a:cxn ang="0">
                    <a:pos x="connsiteX0" y="connsiteY0"/>
                  </a:cxn>
                  <a:cxn ang="0">
                    <a:pos x="connsiteX1" y="connsiteY1"/>
                  </a:cxn>
                </a:cxnLst>
                <a:rect l="l" t="t" r="r" b="b"/>
                <a:pathLst>
                  <a:path w="28650" h="11354">
                    <a:moveTo>
                      <a:pt x="0" y="0"/>
                    </a:moveTo>
                    <a:lnTo>
                      <a:pt x="28651" y="0"/>
                    </a:lnTo>
                  </a:path>
                </a:pathLst>
              </a:custGeom>
              <a:ln w="6350" cap="flat">
                <a:solidFill>
                  <a:srgbClr val="D7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38" name="Graphic 20656">
              <a:extLst>
                <a:ext uri="{FF2B5EF4-FFF2-40B4-BE49-F238E27FC236}">
                  <a16:creationId xmlns:a16="http://schemas.microsoft.com/office/drawing/2014/main" id="{D5381F89-7EC2-4306-A806-8B7D780BD8E2}"/>
                </a:ext>
              </a:extLst>
            </p:cNvPr>
            <p:cNvGrpSpPr/>
            <p:nvPr/>
          </p:nvGrpSpPr>
          <p:grpSpPr>
            <a:xfrm>
              <a:off x="6351291" y="2535452"/>
              <a:ext cx="28650" cy="28726"/>
              <a:chOff x="6351291" y="2535452"/>
              <a:chExt cx="28650" cy="28726"/>
            </a:xfrm>
          </p:grpSpPr>
          <p:sp>
            <p:nvSpPr>
              <p:cNvPr id="150" name="Freeform 148">
                <a:extLst>
                  <a:ext uri="{FF2B5EF4-FFF2-40B4-BE49-F238E27FC236}">
                    <a16:creationId xmlns:a16="http://schemas.microsoft.com/office/drawing/2014/main" id="{E362E3BC-2E06-4B6E-966A-C9B45B330B0D}"/>
                  </a:ext>
                </a:extLst>
              </p:cNvPr>
              <p:cNvSpPr/>
              <p:nvPr/>
            </p:nvSpPr>
            <p:spPr>
              <a:xfrm>
                <a:off x="6365673" y="2535452"/>
                <a:ext cx="11324" cy="28726"/>
              </a:xfrm>
              <a:custGeom>
                <a:avLst/>
                <a:gdLst>
                  <a:gd name="connsiteX0" fmla="*/ 0 w 11324"/>
                  <a:gd name="connsiteY0" fmla="*/ 0 h 28726"/>
                  <a:gd name="connsiteX1" fmla="*/ 0 w 11324"/>
                  <a:gd name="connsiteY1" fmla="*/ 28726 h 28726"/>
                </a:gdLst>
                <a:ahLst/>
                <a:cxnLst>
                  <a:cxn ang="0">
                    <a:pos x="connsiteX0" y="connsiteY0"/>
                  </a:cxn>
                  <a:cxn ang="0">
                    <a:pos x="connsiteX1" y="connsiteY1"/>
                  </a:cxn>
                </a:cxnLst>
                <a:rect l="l" t="t" r="r" b="b"/>
                <a:pathLst>
                  <a:path w="11324" h="28726">
                    <a:moveTo>
                      <a:pt x="0" y="0"/>
                    </a:moveTo>
                    <a:lnTo>
                      <a:pt x="0" y="28726"/>
                    </a:lnTo>
                  </a:path>
                </a:pathLst>
              </a:custGeom>
              <a:ln w="6350" cap="flat">
                <a:solidFill>
                  <a:srgbClr val="D7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1" name="Freeform 149">
                <a:extLst>
                  <a:ext uri="{FF2B5EF4-FFF2-40B4-BE49-F238E27FC236}">
                    <a16:creationId xmlns:a16="http://schemas.microsoft.com/office/drawing/2014/main" id="{B851AA29-D237-4929-8564-6607BDB5A5AB}"/>
                  </a:ext>
                </a:extLst>
              </p:cNvPr>
              <p:cNvSpPr/>
              <p:nvPr/>
            </p:nvSpPr>
            <p:spPr>
              <a:xfrm>
                <a:off x="6351291" y="2549871"/>
                <a:ext cx="28650" cy="11354"/>
              </a:xfrm>
              <a:custGeom>
                <a:avLst/>
                <a:gdLst>
                  <a:gd name="connsiteX0" fmla="*/ 0 w 28650"/>
                  <a:gd name="connsiteY0" fmla="*/ 0 h 11354"/>
                  <a:gd name="connsiteX1" fmla="*/ 28651 w 28650"/>
                  <a:gd name="connsiteY1" fmla="*/ 0 h 11354"/>
                </a:gdLst>
                <a:ahLst/>
                <a:cxnLst>
                  <a:cxn ang="0">
                    <a:pos x="connsiteX0" y="connsiteY0"/>
                  </a:cxn>
                  <a:cxn ang="0">
                    <a:pos x="connsiteX1" y="connsiteY1"/>
                  </a:cxn>
                </a:cxnLst>
                <a:rect l="l" t="t" r="r" b="b"/>
                <a:pathLst>
                  <a:path w="28650" h="11354">
                    <a:moveTo>
                      <a:pt x="0" y="0"/>
                    </a:moveTo>
                    <a:lnTo>
                      <a:pt x="28651" y="0"/>
                    </a:lnTo>
                  </a:path>
                </a:pathLst>
              </a:custGeom>
              <a:ln w="6350" cap="flat">
                <a:solidFill>
                  <a:srgbClr val="D7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39" name="Graphic 20656">
              <a:extLst>
                <a:ext uri="{FF2B5EF4-FFF2-40B4-BE49-F238E27FC236}">
                  <a16:creationId xmlns:a16="http://schemas.microsoft.com/office/drawing/2014/main" id="{ECF39C68-2376-41CB-A908-851EBBFDCCF8}"/>
                </a:ext>
              </a:extLst>
            </p:cNvPr>
            <p:cNvGrpSpPr/>
            <p:nvPr/>
          </p:nvGrpSpPr>
          <p:grpSpPr>
            <a:xfrm>
              <a:off x="6234649" y="2524097"/>
              <a:ext cx="28650" cy="28839"/>
              <a:chOff x="6234649" y="2524097"/>
              <a:chExt cx="28650" cy="28839"/>
            </a:xfrm>
          </p:grpSpPr>
          <p:sp>
            <p:nvSpPr>
              <p:cNvPr id="148" name="Freeform 146">
                <a:extLst>
                  <a:ext uri="{FF2B5EF4-FFF2-40B4-BE49-F238E27FC236}">
                    <a16:creationId xmlns:a16="http://schemas.microsoft.com/office/drawing/2014/main" id="{C43AB988-2E6F-47B0-8CA6-E03683611292}"/>
                  </a:ext>
                </a:extLst>
              </p:cNvPr>
              <p:cNvSpPr/>
              <p:nvPr/>
            </p:nvSpPr>
            <p:spPr>
              <a:xfrm>
                <a:off x="6248918" y="2524097"/>
                <a:ext cx="11324" cy="28839"/>
              </a:xfrm>
              <a:custGeom>
                <a:avLst/>
                <a:gdLst>
                  <a:gd name="connsiteX0" fmla="*/ 0 w 11324"/>
                  <a:gd name="connsiteY0" fmla="*/ 0 h 28839"/>
                  <a:gd name="connsiteX1" fmla="*/ 0 w 11324"/>
                  <a:gd name="connsiteY1" fmla="*/ 28840 h 28839"/>
                </a:gdLst>
                <a:ahLst/>
                <a:cxnLst>
                  <a:cxn ang="0">
                    <a:pos x="connsiteX0" y="connsiteY0"/>
                  </a:cxn>
                  <a:cxn ang="0">
                    <a:pos x="connsiteX1" y="connsiteY1"/>
                  </a:cxn>
                </a:cxnLst>
                <a:rect l="l" t="t" r="r" b="b"/>
                <a:pathLst>
                  <a:path w="11324" h="28839">
                    <a:moveTo>
                      <a:pt x="0" y="0"/>
                    </a:moveTo>
                    <a:lnTo>
                      <a:pt x="0" y="28840"/>
                    </a:lnTo>
                  </a:path>
                </a:pathLst>
              </a:custGeom>
              <a:ln w="6350" cap="flat">
                <a:solidFill>
                  <a:srgbClr val="D7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9" name="Freeform 147">
                <a:extLst>
                  <a:ext uri="{FF2B5EF4-FFF2-40B4-BE49-F238E27FC236}">
                    <a16:creationId xmlns:a16="http://schemas.microsoft.com/office/drawing/2014/main" id="{FC8B4451-6CF0-4606-AE7F-BB936C5A7C2D}"/>
                  </a:ext>
                </a:extLst>
              </p:cNvPr>
              <p:cNvSpPr/>
              <p:nvPr/>
            </p:nvSpPr>
            <p:spPr>
              <a:xfrm>
                <a:off x="6234649" y="2538517"/>
                <a:ext cx="28650" cy="11354"/>
              </a:xfrm>
              <a:custGeom>
                <a:avLst/>
                <a:gdLst>
                  <a:gd name="connsiteX0" fmla="*/ 0 w 28650"/>
                  <a:gd name="connsiteY0" fmla="*/ 0 h 11354"/>
                  <a:gd name="connsiteX1" fmla="*/ 28651 w 28650"/>
                  <a:gd name="connsiteY1" fmla="*/ 0 h 11354"/>
                </a:gdLst>
                <a:ahLst/>
                <a:cxnLst>
                  <a:cxn ang="0">
                    <a:pos x="connsiteX0" y="connsiteY0"/>
                  </a:cxn>
                  <a:cxn ang="0">
                    <a:pos x="connsiteX1" y="connsiteY1"/>
                  </a:cxn>
                </a:cxnLst>
                <a:rect l="l" t="t" r="r" b="b"/>
                <a:pathLst>
                  <a:path w="28650" h="11354">
                    <a:moveTo>
                      <a:pt x="0" y="0"/>
                    </a:moveTo>
                    <a:lnTo>
                      <a:pt x="28651" y="0"/>
                    </a:lnTo>
                  </a:path>
                </a:pathLst>
              </a:custGeom>
              <a:ln w="6350" cap="flat">
                <a:solidFill>
                  <a:srgbClr val="D7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40" name="Graphic 20656">
              <a:extLst>
                <a:ext uri="{FF2B5EF4-FFF2-40B4-BE49-F238E27FC236}">
                  <a16:creationId xmlns:a16="http://schemas.microsoft.com/office/drawing/2014/main" id="{44310B8E-13D1-4EC2-A3A2-D7BCCC8D4B57}"/>
                </a:ext>
              </a:extLst>
            </p:cNvPr>
            <p:cNvGrpSpPr/>
            <p:nvPr/>
          </p:nvGrpSpPr>
          <p:grpSpPr>
            <a:xfrm>
              <a:off x="6207697" y="2524097"/>
              <a:ext cx="28764" cy="28839"/>
              <a:chOff x="6207697" y="2524097"/>
              <a:chExt cx="28764" cy="28839"/>
            </a:xfrm>
          </p:grpSpPr>
          <p:sp>
            <p:nvSpPr>
              <p:cNvPr id="146" name="Freeform 144">
                <a:extLst>
                  <a:ext uri="{FF2B5EF4-FFF2-40B4-BE49-F238E27FC236}">
                    <a16:creationId xmlns:a16="http://schemas.microsoft.com/office/drawing/2014/main" id="{2BC0D5BC-B670-4967-B8A4-57E750F1321A}"/>
                  </a:ext>
                </a:extLst>
              </p:cNvPr>
              <p:cNvSpPr/>
              <p:nvPr/>
            </p:nvSpPr>
            <p:spPr>
              <a:xfrm>
                <a:off x="6222079" y="2524097"/>
                <a:ext cx="11324" cy="28839"/>
              </a:xfrm>
              <a:custGeom>
                <a:avLst/>
                <a:gdLst>
                  <a:gd name="connsiteX0" fmla="*/ 0 w 11324"/>
                  <a:gd name="connsiteY0" fmla="*/ 0 h 28839"/>
                  <a:gd name="connsiteX1" fmla="*/ 0 w 11324"/>
                  <a:gd name="connsiteY1" fmla="*/ 28840 h 28839"/>
                </a:gdLst>
                <a:ahLst/>
                <a:cxnLst>
                  <a:cxn ang="0">
                    <a:pos x="connsiteX0" y="connsiteY0"/>
                  </a:cxn>
                  <a:cxn ang="0">
                    <a:pos x="connsiteX1" y="connsiteY1"/>
                  </a:cxn>
                </a:cxnLst>
                <a:rect l="l" t="t" r="r" b="b"/>
                <a:pathLst>
                  <a:path w="11324" h="28839">
                    <a:moveTo>
                      <a:pt x="0" y="0"/>
                    </a:moveTo>
                    <a:lnTo>
                      <a:pt x="0" y="28840"/>
                    </a:lnTo>
                  </a:path>
                </a:pathLst>
              </a:custGeom>
              <a:ln w="6350" cap="flat">
                <a:solidFill>
                  <a:srgbClr val="D7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7" name="Freeform 145">
                <a:extLst>
                  <a:ext uri="{FF2B5EF4-FFF2-40B4-BE49-F238E27FC236}">
                    <a16:creationId xmlns:a16="http://schemas.microsoft.com/office/drawing/2014/main" id="{83DC564B-A7CC-477C-9FE7-A30E467FC279}"/>
                  </a:ext>
                </a:extLst>
              </p:cNvPr>
              <p:cNvSpPr/>
              <p:nvPr/>
            </p:nvSpPr>
            <p:spPr>
              <a:xfrm>
                <a:off x="6207697" y="2538517"/>
                <a:ext cx="28764" cy="11354"/>
              </a:xfrm>
              <a:custGeom>
                <a:avLst/>
                <a:gdLst>
                  <a:gd name="connsiteX0" fmla="*/ 0 w 28764"/>
                  <a:gd name="connsiteY0" fmla="*/ 0 h 11354"/>
                  <a:gd name="connsiteX1" fmla="*/ 28764 w 28764"/>
                  <a:gd name="connsiteY1" fmla="*/ 0 h 11354"/>
                </a:gdLst>
                <a:ahLst/>
                <a:cxnLst>
                  <a:cxn ang="0">
                    <a:pos x="connsiteX0" y="connsiteY0"/>
                  </a:cxn>
                  <a:cxn ang="0">
                    <a:pos x="connsiteX1" y="connsiteY1"/>
                  </a:cxn>
                </a:cxnLst>
                <a:rect l="l" t="t" r="r" b="b"/>
                <a:pathLst>
                  <a:path w="28764" h="11354">
                    <a:moveTo>
                      <a:pt x="0" y="0"/>
                    </a:moveTo>
                    <a:lnTo>
                      <a:pt x="28764" y="0"/>
                    </a:lnTo>
                  </a:path>
                </a:pathLst>
              </a:custGeom>
              <a:ln w="6350" cap="flat">
                <a:solidFill>
                  <a:srgbClr val="D7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41" name="Graphic 20656">
              <a:extLst>
                <a:ext uri="{FF2B5EF4-FFF2-40B4-BE49-F238E27FC236}">
                  <a16:creationId xmlns:a16="http://schemas.microsoft.com/office/drawing/2014/main" id="{45A9688F-D01B-4C36-9D78-15435BE747B7}"/>
                </a:ext>
              </a:extLst>
            </p:cNvPr>
            <p:cNvGrpSpPr/>
            <p:nvPr/>
          </p:nvGrpSpPr>
          <p:grpSpPr>
            <a:xfrm>
              <a:off x="6200336" y="2524097"/>
              <a:ext cx="28650" cy="28839"/>
              <a:chOff x="6200336" y="2524097"/>
              <a:chExt cx="28650" cy="28839"/>
            </a:xfrm>
          </p:grpSpPr>
          <p:sp>
            <p:nvSpPr>
              <p:cNvPr id="144" name="Freeform 142">
                <a:extLst>
                  <a:ext uri="{FF2B5EF4-FFF2-40B4-BE49-F238E27FC236}">
                    <a16:creationId xmlns:a16="http://schemas.microsoft.com/office/drawing/2014/main" id="{E5B1D137-4C88-4F44-89E0-5B9DB691AE4D}"/>
                  </a:ext>
                </a:extLst>
              </p:cNvPr>
              <p:cNvSpPr/>
              <p:nvPr/>
            </p:nvSpPr>
            <p:spPr>
              <a:xfrm>
                <a:off x="6214718" y="2524097"/>
                <a:ext cx="11324" cy="28839"/>
              </a:xfrm>
              <a:custGeom>
                <a:avLst/>
                <a:gdLst>
                  <a:gd name="connsiteX0" fmla="*/ 0 w 11324"/>
                  <a:gd name="connsiteY0" fmla="*/ 0 h 28839"/>
                  <a:gd name="connsiteX1" fmla="*/ 0 w 11324"/>
                  <a:gd name="connsiteY1" fmla="*/ 28840 h 28839"/>
                </a:gdLst>
                <a:ahLst/>
                <a:cxnLst>
                  <a:cxn ang="0">
                    <a:pos x="connsiteX0" y="connsiteY0"/>
                  </a:cxn>
                  <a:cxn ang="0">
                    <a:pos x="connsiteX1" y="connsiteY1"/>
                  </a:cxn>
                </a:cxnLst>
                <a:rect l="l" t="t" r="r" b="b"/>
                <a:pathLst>
                  <a:path w="11324" h="28839">
                    <a:moveTo>
                      <a:pt x="0" y="0"/>
                    </a:moveTo>
                    <a:lnTo>
                      <a:pt x="0" y="28840"/>
                    </a:lnTo>
                  </a:path>
                </a:pathLst>
              </a:custGeom>
              <a:ln w="6350" cap="flat">
                <a:solidFill>
                  <a:srgbClr val="D7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5" name="Freeform 143">
                <a:extLst>
                  <a:ext uri="{FF2B5EF4-FFF2-40B4-BE49-F238E27FC236}">
                    <a16:creationId xmlns:a16="http://schemas.microsoft.com/office/drawing/2014/main" id="{75A65F24-30BC-4856-8307-AC2385F7F967}"/>
                  </a:ext>
                </a:extLst>
              </p:cNvPr>
              <p:cNvSpPr/>
              <p:nvPr/>
            </p:nvSpPr>
            <p:spPr>
              <a:xfrm>
                <a:off x="6200336" y="2538517"/>
                <a:ext cx="28650" cy="11354"/>
              </a:xfrm>
              <a:custGeom>
                <a:avLst/>
                <a:gdLst>
                  <a:gd name="connsiteX0" fmla="*/ 0 w 28650"/>
                  <a:gd name="connsiteY0" fmla="*/ 0 h 11354"/>
                  <a:gd name="connsiteX1" fmla="*/ 28651 w 28650"/>
                  <a:gd name="connsiteY1" fmla="*/ 0 h 11354"/>
                </a:gdLst>
                <a:ahLst/>
                <a:cxnLst>
                  <a:cxn ang="0">
                    <a:pos x="connsiteX0" y="connsiteY0"/>
                  </a:cxn>
                  <a:cxn ang="0">
                    <a:pos x="connsiteX1" y="connsiteY1"/>
                  </a:cxn>
                </a:cxnLst>
                <a:rect l="l" t="t" r="r" b="b"/>
                <a:pathLst>
                  <a:path w="28650" h="11354">
                    <a:moveTo>
                      <a:pt x="0" y="0"/>
                    </a:moveTo>
                    <a:lnTo>
                      <a:pt x="28651" y="0"/>
                    </a:lnTo>
                  </a:path>
                </a:pathLst>
              </a:custGeom>
              <a:ln w="6350" cap="flat">
                <a:solidFill>
                  <a:srgbClr val="D7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42" name="Graphic 20656">
              <a:extLst>
                <a:ext uri="{FF2B5EF4-FFF2-40B4-BE49-F238E27FC236}">
                  <a16:creationId xmlns:a16="http://schemas.microsoft.com/office/drawing/2014/main" id="{EDE8AD22-A92F-4A6C-A7E2-8B4CBF906C4A}"/>
                </a:ext>
              </a:extLst>
            </p:cNvPr>
            <p:cNvGrpSpPr/>
            <p:nvPr/>
          </p:nvGrpSpPr>
          <p:grpSpPr>
            <a:xfrm>
              <a:off x="6018013" y="2516036"/>
              <a:ext cx="28650" cy="28726"/>
              <a:chOff x="6018013" y="2516036"/>
              <a:chExt cx="28650" cy="28726"/>
            </a:xfrm>
          </p:grpSpPr>
          <p:sp>
            <p:nvSpPr>
              <p:cNvPr id="142" name="Freeform 140">
                <a:extLst>
                  <a:ext uri="{FF2B5EF4-FFF2-40B4-BE49-F238E27FC236}">
                    <a16:creationId xmlns:a16="http://schemas.microsoft.com/office/drawing/2014/main" id="{1B7FBF60-E8AF-4B6C-87B5-5DFA6AD3D604}"/>
                  </a:ext>
                </a:extLst>
              </p:cNvPr>
              <p:cNvSpPr/>
              <p:nvPr/>
            </p:nvSpPr>
            <p:spPr>
              <a:xfrm>
                <a:off x="6032282" y="2516036"/>
                <a:ext cx="11324" cy="28726"/>
              </a:xfrm>
              <a:custGeom>
                <a:avLst/>
                <a:gdLst>
                  <a:gd name="connsiteX0" fmla="*/ 0 w 11324"/>
                  <a:gd name="connsiteY0" fmla="*/ 0 h 28726"/>
                  <a:gd name="connsiteX1" fmla="*/ 0 w 11324"/>
                  <a:gd name="connsiteY1" fmla="*/ 28726 h 28726"/>
                </a:gdLst>
                <a:ahLst/>
                <a:cxnLst>
                  <a:cxn ang="0">
                    <a:pos x="connsiteX0" y="connsiteY0"/>
                  </a:cxn>
                  <a:cxn ang="0">
                    <a:pos x="connsiteX1" y="connsiteY1"/>
                  </a:cxn>
                </a:cxnLst>
                <a:rect l="l" t="t" r="r" b="b"/>
                <a:pathLst>
                  <a:path w="11324" h="28726">
                    <a:moveTo>
                      <a:pt x="0" y="0"/>
                    </a:moveTo>
                    <a:lnTo>
                      <a:pt x="0" y="28726"/>
                    </a:lnTo>
                  </a:path>
                </a:pathLst>
              </a:custGeom>
              <a:ln w="6350" cap="flat">
                <a:solidFill>
                  <a:srgbClr val="D7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3" name="Freeform 141">
                <a:extLst>
                  <a:ext uri="{FF2B5EF4-FFF2-40B4-BE49-F238E27FC236}">
                    <a16:creationId xmlns:a16="http://schemas.microsoft.com/office/drawing/2014/main" id="{913449D8-F9F1-43F6-9AD0-662A23C4A2DA}"/>
                  </a:ext>
                </a:extLst>
              </p:cNvPr>
              <p:cNvSpPr/>
              <p:nvPr/>
            </p:nvSpPr>
            <p:spPr>
              <a:xfrm>
                <a:off x="6018013" y="2530342"/>
                <a:ext cx="28650" cy="11354"/>
              </a:xfrm>
              <a:custGeom>
                <a:avLst/>
                <a:gdLst>
                  <a:gd name="connsiteX0" fmla="*/ 0 w 28650"/>
                  <a:gd name="connsiteY0" fmla="*/ 0 h 11354"/>
                  <a:gd name="connsiteX1" fmla="*/ 28651 w 28650"/>
                  <a:gd name="connsiteY1" fmla="*/ 0 h 11354"/>
                </a:gdLst>
                <a:ahLst/>
                <a:cxnLst>
                  <a:cxn ang="0">
                    <a:pos x="connsiteX0" y="connsiteY0"/>
                  </a:cxn>
                  <a:cxn ang="0">
                    <a:pos x="connsiteX1" y="connsiteY1"/>
                  </a:cxn>
                </a:cxnLst>
                <a:rect l="l" t="t" r="r" b="b"/>
                <a:pathLst>
                  <a:path w="28650" h="11354">
                    <a:moveTo>
                      <a:pt x="0" y="0"/>
                    </a:moveTo>
                    <a:lnTo>
                      <a:pt x="28651" y="0"/>
                    </a:lnTo>
                  </a:path>
                </a:pathLst>
              </a:custGeom>
              <a:ln w="6350" cap="flat">
                <a:solidFill>
                  <a:srgbClr val="D7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43" name="Graphic 20656">
              <a:extLst>
                <a:ext uri="{FF2B5EF4-FFF2-40B4-BE49-F238E27FC236}">
                  <a16:creationId xmlns:a16="http://schemas.microsoft.com/office/drawing/2014/main" id="{5E343787-703C-4D2C-AB7F-68F4FB05C5D3}"/>
                </a:ext>
              </a:extLst>
            </p:cNvPr>
            <p:cNvGrpSpPr/>
            <p:nvPr/>
          </p:nvGrpSpPr>
          <p:grpSpPr>
            <a:xfrm>
              <a:off x="5828782" y="2489921"/>
              <a:ext cx="28650" cy="28726"/>
              <a:chOff x="5828782" y="2489921"/>
              <a:chExt cx="28650" cy="28726"/>
            </a:xfrm>
          </p:grpSpPr>
          <p:sp>
            <p:nvSpPr>
              <p:cNvPr id="140" name="Freeform 138">
                <a:extLst>
                  <a:ext uri="{FF2B5EF4-FFF2-40B4-BE49-F238E27FC236}">
                    <a16:creationId xmlns:a16="http://schemas.microsoft.com/office/drawing/2014/main" id="{E15E9E80-C3F6-499B-9551-11E0720E6E6F}"/>
                  </a:ext>
                </a:extLst>
              </p:cNvPr>
              <p:cNvSpPr/>
              <p:nvPr/>
            </p:nvSpPr>
            <p:spPr>
              <a:xfrm>
                <a:off x="5843164" y="2489921"/>
                <a:ext cx="11324" cy="28726"/>
              </a:xfrm>
              <a:custGeom>
                <a:avLst/>
                <a:gdLst>
                  <a:gd name="connsiteX0" fmla="*/ 0 w 11324"/>
                  <a:gd name="connsiteY0" fmla="*/ 0 h 28726"/>
                  <a:gd name="connsiteX1" fmla="*/ 0 w 11324"/>
                  <a:gd name="connsiteY1" fmla="*/ 28726 h 28726"/>
                </a:gdLst>
                <a:ahLst/>
                <a:cxnLst>
                  <a:cxn ang="0">
                    <a:pos x="connsiteX0" y="connsiteY0"/>
                  </a:cxn>
                  <a:cxn ang="0">
                    <a:pos x="connsiteX1" y="connsiteY1"/>
                  </a:cxn>
                </a:cxnLst>
                <a:rect l="l" t="t" r="r" b="b"/>
                <a:pathLst>
                  <a:path w="11324" h="28726">
                    <a:moveTo>
                      <a:pt x="0" y="0"/>
                    </a:moveTo>
                    <a:lnTo>
                      <a:pt x="0" y="28726"/>
                    </a:lnTo>
                  </a:path>
                </a:pathLst>
              </a:custGeom>
              <a:ln w="6350" cap="flat">
                <a:solidFill>
                  <a:srgbClr val="D7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1" name="Freeform 139">
                <a:extLst>
                  <a:ext uri="{FF2B5EF4-FFF2-40B4-BE49-F238E27FC236}">
                    <a16:creationId xmlns:a16="http://schemas.microsoft.com/office/drawing/2014/main" id="{C236417F-3C93-4E8E-9100-ED9AAB3971B6}"/>
                  </a:ext>
                </a:extLst>
              </p:cNvPr>
              <p:cNvSpPr/>
              <p:nvPr/>
            </p:nvSpPr>
            <p:spPr>
              <a:xfrm>
                <a:off x="5828782" y="2504341"/>
                <a:ext cx="28650" cy="11354"/>
              </a:xfrm>
              <a:custGeom>
                <a:avLst/>
                <a:gdLst>
                  <a:gd name="connsiteX0" fmla="*/ 0 w 28650"/>
                  <a:gd name="connsiteY0" fmla="*/ 0 h 11354"/>
                  <a:gd name="connsiteX1" fmla="*/ 28651 w 28650"/>
                  <a:gd name="connsiteY1" fmla="*/ 0 h 11354"/>
                </a:gdLst>
                <a:ahLst/>
                <a:cxnLst>
                  <a:cxn ang="0">
                    <a:pos x="connsiteX0" y="connsiteY0"/>
                  </a:cxn>
                  <a:cxn ang="0">
                    <a:pos x="connsiteX1" y="connsiteY1"/>
                  </a:cxn>
                </a:cxnLst>
                <a:rect l="l" t="t" r="r" b="b"/>
                <a:pathLst>
                  <a:path w="28650" h="11354">
                    <a:moveTo>
                      <a:pt x="0" y="0"/>
                    </a:moveTo>
                    <a:lnTo>
                      <a:pt x="28651" y="0"/>
                    </a:lnTo>
                  </a:path>
                </a:pathLst>
              </a:custGeom>
              <a:ln w="6350" cap="flat">
                <a:solidFill>
                  <a:srgbClr val="D7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44" name="Graphic 20656">
              <a:extLst>
                <a:ext uri="{FF2B5EF4-FFF2-40B4-BE49-F238E27FC236}">
                  <a16:creationId xmlns:a16="http://schemas.microsoft.com/office/drawing/2014/main" id="{B3676C6D-9BEF-4A77-A5EF-07A35EB6CBAB}"/>
                </a:ext>
              </a:extLst>
            </p:cNvPr>
            <p:cNvGrpSpPr/>
            <p:nvPr/>
          </p:nvGrpSpPr>
          <p:grpSpPr>
            <a:xfrm>
              <a:off x="5797414" y="2489921"/>
              <a:ext cx="28650" cy="28726"/>
              <a:chOff x="5797414" y="2489921"/>
              <a:chExt cx="28650" cy="28726"/>
            </a:xfrm>
          </p:grpSpPr>
          <p:sp>
            <p:nvSpPr>
              <p:cNvPr id="138" name="Freeform 136">
                <a:extLst>
                  <a:ext uri="{FF2B5EF4-FFF2-40B4-BE49-F238E27FC236}">
                    <a16:creationId xmlns:a16="http://schemas.microsoft.com/office/drawing/2014/main" id="{EEBBD0AC-27E4-433E-9991-E7614D83E7CB}"/>
                  </a:ext>
                </a:extLst>
              </p:cNvPr>
              <p:cNvSpPr/>
              <p:nvPr/>
            </p:nvSpPr>
            <p:spPr>
              <a:xfrm>
                <a:off x="5811682" y="2489921"/>
                <a:ext cx="11324" cy="28726"/>
              </a:xfrm>
              <a:custGeom>
                <a:avLst/>
                <a:gdLst>
                  <a:gd name="connsiteX0" fmla="*/ 0 w 11324"/>
                  <a:gd name="connsiteY0" fmla="*/ 0 h 28726"/>
                  <a:gd name="connsiteX1" fmla="*/ 0 w 11324"/>
                  <a:gd name="connsiteY1" fmla="*/ 28726 h 28726"/>
                </a:gdLst>
                <a:ahLst/>
                <a:cxnLst>
                  <a:cxn ang="0">
                    <a:pos x="connsiteX0" y="connsiteY0"/>
                  </a:cxn>
                  <a:cxn ang="0">
                    <a:pos x="connsiteX1" y="connsiteY1"/>
                  </a:cxn>
                </a:cxnLst>
                <a:rect l="l" t="t" r="r" b="b"/>
                <a:pathLst>
                  <a:path w="11324" h="28726">
                    <a:moveTo>
                      <a:pt x="0" y="0"/>
                    </a:moveTo>
                    <a:lnTo>
                      <a:pt x="0" y="28726"/>
                    </a:lnTo>
                  </a:path>
                </a:pathLst>
              </a:custGeom>
              <a:ln w="6350" cap="flat">
                <a:solidFill>
                  <a:srgbClr val="D7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9" name="Freeform 137">
                <a:extLst>
                  <a:ext uri="{FF2B5EF4-FFF2-40B4-BE49-F238E27FC236}">
                    <a16:creationId xmlns:a16="http://schemas.microsoft.com/office/drawing/2014/main" id="{946431A6-C990-4843-A16C-A579CB6D6E6C}"/>
                  </a:ext>
                </a:extLst>
              </p:cNvPr>
              <p:cNvSpPr/>
              <p:nvPr/>
            </p:nvSpPr>
            <p:spPr>
              <a:xfrm>
                <a:off x="5797414" y="2504341"/>
                <a:ext cx="28650" cy="11354"/>
              </a:xfrm>
              <a:custGeom>
                <a:avLst/>
                <a:gdLst>
                  <a:gd name="connsiteX0" fmla="*/ 0 w 28650"/>
                  <a:gd name="connsiteY0" fmla="*/ 0 h 11354"/>
                  <a:gd name="connsiteX1" fmla="*/ 28651 w 28650"/>
                  <a:gd name="connsiteY1" fmla="*/ 0 h 11354"/>
                </a:gdLst>
                <a:ahLst/>
                <a:cxnLst>
                  <a:cxn ang="0">
                    <a:pos x="connsiteX0" y="connsiteY0"/>
                  </a:cxn>
                  <a:cxn ang="0">
                    <a:pos x="connsiteX1" y="connsiteY1"/>
                  </a:cxn>
                </a:cxnLst>
                <a:rect l="l" t="t" r="r" b="b"/>
                <a:pathLst>
                  <a:path w="28650" h="11354">
                    <a:moveTo>
                      <a:pt x="0" y="0"/>
                    </a:moveTo>
                    <a:lnTo>
                      <a:pt x="28651" y="0"/>
                    </a:lnTo>
                  </a:path>
                </a:pathLst>
              </a:custGeom>
              <a:ln w="6350" cap="flat">
                <a:solidFill>
                  <a:srgbClr val="D7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45" name="Graphic 20656">
              <a:extLst>
                <a:ext uri="{FF2B5EF4-FFF2-40B4-BE49-F238E27FC236}">
                  <a16:creationId xmlns:a16="http://schemas.microsoft.com/office/drawing/2014/main" id="{A9A08233-11D5-4C6F-B54F-A3B8DF7A6FB5}"/>
                </a:ext>
              </a:extLst>
            </p:cNvPr>
            <p:cNvGrpSpPr/>
            <p:nvPr/>
          </p:nvGrpSpPr>
          <p:grpSpPr>
            <a:xfrm>
              <a:off x="5772500" y="2481406"/>
              <a:ext cx="28763" cy="28839"/>
              <a:chOff x="5772500" y="2481406"/>
              <a:chExt cx="28763" cy="28839"/>
            </a:xfrm>
          </p:grpSpPr>
          <p:sp>
            <p:nvSpPr>
              <p:cNvPr id="136" name="Freeform 134">
                <a:extLst>
                  <a:ext uri="{FF2B5EF4-FFF2-40B4-BE49-F238E27FC236}">
                    <a16:creationId xmlns:a16="http://schemas.microsoft.com/office/drawing/2014/main" id="{EA1854D4-70FF-4854-9EDB-883E830611C7}"/>
                  </a:ext>
                </a:extLst>
              </p:cNvPr>
              <p:cNvSpPr/>
              <p:nvPr/>
            </p:nvSpPr>
            <p:spPr>
              <a:xfrm>
                <a:off x="5786882" y="2481406"/>
                <a:ext cx="11324" cy="28839"/>
              </a:xfrm>
              <a:custGeom>
                <a:avLst/>
                <a:gdLst>
                  <a:gd name="connsiteX0" fmla="*/ 0 w 11324"/>
                  <a:gd name="connsiteY0" fmla="*/ 0 h 28839"/>
                  <a:gd name="connsiteX1" fmla="*/ 0 w 11324"/>
                  <a:gd name="connsiteY1" fmla="*/ 28840 h 28839"/>
                </a:gdLst>
                <a:ahLst/>
                <a:cxnLst>
                  <a:cxn ang="0">
                    <a:pos x="connsiteX0" y="connsiteY0"/>
                  </a:cxn>
                  <a:cxn ang="0">
                    <a:pos x="connsiteX1" y="connsiteY1"/>
                  </a:cxn>
                </a:cxnLst>
                <a:rect l="l" t="t" r="r" b="b"/>
                <a:pathLst>
                  <a:path w="11324" h="28839">
                    <a:moveTo>
                      <a:pt x="0" y="0"/>
                    </a:moveTo>
                    <a:lnTo>
                      <a:pt x="0" y="28840"/>
                    </a:lnTo>
                  </a:path>
                </a:pathLst>
              </a:custGeom>
              <a:ln w="6350" cap="flat">
                <a:solidFill>
                  <a:srgbClr val="D7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7" name="Freeform 135">
                <a:extLst>
                  <a:ext uri="{FF2B5EF4-FFF2-40B4-BE49-F238E27FC236}">
                    <a16:creationId xmlns:a16="http://schemas.microsoft.com/office/drawing/2014/main" id="{68D7765A-921F-48F6-BA19-73906084E322}"/>
                  </a:ext>
                </a:extLst>
              </p:cNvPr>
              <p:cNvSpPr/>
              <p:nvPr/>
            </p:nvSpPr>
            <p:spPr>
              <a:xfrm>
                <a:off x="5772500" y="2495825"/>
                <a:ext cx="28763" cy="11354"/>
              </a:xfrm>
              <a:custGeom>
                <a:avLst/>
                <a:gdLst>
                  <a:gd name="connsiteX0" fmla="*/ 0 w 28763"/>
                  <a:gd name="connsiteY0" fmla="*/ 0 h 11354"/>
                  <a:gd name="connsiteX1" fmla="*/ 28764 w 28763"/>
                  <a:gd name="connsiteY1" fmla="*/ 0 h 11354"/>
                </a:gdLst>
                <a:ahLst/>
                <a:cxnLst>
                  <a:cxn ang="0">
                    <a:pos x="connsiteX0" y="connsiteY0"/>
                  </a:cxn>
                  <a:cxn ang="0">
                    <a:pos x="connsiteX1" y="connsiteY1"/>
                  </a:cxn>
                </a:cxnLst>
                <a:rect l="l" t="t" r="r" b="b"/>
                <a:pathLst>
                  <a:path w="28763" h="11354">
                    <a:moveTo>
                      <a:pt x="0" y="0"/>
                    </a:moveTo>
                    <a:lnTo>
                      <a:pt x="28764" y="0"/>
                    </a:lnTo>
                  </a:path>
                </a:pathLst>
              </a:custGeom>
              <a:ln w="6350" cap="flat">
                <a:solidFill>
                  <a:srgbClr val="D7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46" name="Graphic 20656">
              <a:extLst>
                <a:ext uri="{FF2B5EF4-FFF2-40B4-BE49-F238E27FC236}">
                  <a16:creationId xmlns:a16="http://schemas.microsoft.com/office/drawing/2014/main" id="{5A290D6C-2501-4B3D-BF2D-D6414A972FEB}"/>
                </a:ext>
              </a:extLst>
            </p:cNvPr>
            <p:cNvGrpSpPr/>
            <p:nvPr/>
          </p:nvGrpSpPr>
          <p:grpSpPr>
            <a:xfrm>
              <a:off x="5237648" y="2414529"/>
              <a:ext cx="28650" cy="28726"/>
              <a:chOff x="5237648" y="2414529"/>
              <a:chExt cx="28650" cy="28726"/>
            </a:xfrm>
          </p:grpSpPr>
          <p:sp>
            <p:nvSpPr>
              <p:cNvPr id="134" name="Freeform 132">
                <a:extLst>
                  <a:ext uri="{FF2B5EF4-FFF2-40B4-BE49-F238E27FC236}">
                    <a16:creationId xmlns:a16="http://schemas.microsoft.com/office/drawing/2014/main" id="{EAE00146-AB53-4B0A-8729-22B0D3C8330B}"/>
                  </a:ext>
                </a:extLst>
              </p:cNvPr>
              <p:cNvSpPr/>
              <p:nvPr/>
            </p:nvSpPr>
            <p:spPr>
              <a:xfrm>
                <a:off x="5251917" y="2414529"/>
                <a:ext cx="11324" cy="28726"/>
              </a:xfrm>
              <a:custGeom>
                <a:avLst/>
                <a:gdLst>
                  <a:gd name="connsiteX0" fmla="*/ 0 w 11324"/>
                  <a:gd name="connsiteY0" fmla="*/ 0 h 28726"/>
                  <a:gd name="connsiteX1" fmla="*/ 0 w 11324"/>
                  <a:gd name="connsiteY1" fmla="*/ 28726 h 28726"/>
                </a:gdLst>
                <a:ahLst/>
                <a:cxnLst>
                  <a:cxn ang="0">
                    <a:pos x="connsiteX0" y="connsiteY0"/>
                  </a:cxn>
                  <a:cxn ang="0">
                    <a:pos x="connsiteX1" y="connsiteY1"/>
                  </a:cxn>
                </a:cxnLst>
                <a:rect l="l" t="t" r="r" b="b"/>
                <a:pathLst>
                  <a:path w="11324" h="28726">
                    <a:moveTo>
                      <a:pt x="0" y="0"/>
                    </a:moveTo>
                    <a:lnTo>
                      <a:pt x="0" y="28726"/>
                    </a:lnTo>
                  </a:path>
                </a:pathLst>
              </a:custGeom>
              <a:ln w="6350" cap="flat">
                <a:solidFill>
                  <a:srgbClr val="D7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5" name="Freeform 133">
                <a:extLst>
                  <a:ext uri="{FF2B5EF4-FFF2-40B4-BE49-F238E27FC236}">
                    <a16:creationId xmlns:a16="http://schemas.microsoft.com/office/drawing/2014/main" id="{7A31B18A-20B0-4097-AE63-64D8E98070BA}"/>
                  </a:ext>
                </a:extLst>
              </p:cNvPr>
              <p:cNvSpPr/>
              <p:nvPr/>
            </p:nvSpPr>
            <p:spPr>
              <a:xfrm>
                <a:off x="5237648" y="2428949"/>
                <a:ext cx="28650" cy="11354"/>
              </a:xfrm>
              <a:custGeom>
                <a:avLst/>
                <a:gdLst>
                  <a:gd name="connsiteX0" fmla="*/ 0 w 28650"/>
                  <a:gd name="connsiteY0" fmla="*/ 0 h 11354"/>
                  <a:gd name="connsiteX1" fmla="*/ 28651 w 28650"/>
                  <a:gd name="connsiteY1" fmla="*/ 0 h 11354"/>
                </a:gdLst>
                <a:ahLst/>
                <a:cxnLst>
                  <a:cxn ang="0">
                    <a:pos x="connsiteX0" y="connsiteY0"/>
                  </a:cxn>
                  <a:cxn ang="0">
                    <a:pos x="connsiteX1" y="connsiteY1"/>
                  </a:cxn>
                </a:cxnLst>
                <a:rect l="l" t="t" r="r" b="b"/>
                <a:pathLst>
                  <a:path w="28650" h="11354">
                    <a:moveTo>
                      <a:pt x="0" y="0"/>
                    </a:moveTo>
                    <a:lnTo>
                      <a:pt x="28651" y="0"/>
                    </a:lnTo>
                  </a:path>
                </a:pathLst>
              </a:custGeom>
              <a:ln w="6350" cap="flat">
                <a:solidFill>
                  <a:srgbClr val="D7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47" name="Graphic 20656">
              <a:extLst>
                <a:ext uri="{FF2B5EF4-FFF2-40B4-BE49-F238E27FC236}">
                  <a16:creationId xmlns:a16="http://schemas.microsoft.com/office/drawing/2014/main" id="{2DBDAC29-4916-4039-845F-3027CD2A381C}"/>
                </a:ext>
              </a:extLst>
            </p:cNvPr>
            <p:cNvGrpSpPr/>
            <p:nvPr/>
          </p:nvGrpSpPr>
          <p:grpSpPr>
            <a:xfrm>
              <a:off x="5772500" y="2481406"/>
              <a:ext cx="28763" cy="28839"/>
              <a:chOff x="5772500" y="2481406"/>
              <a:chExt cx="28763" cy="28839"/>
            </a:xfrm>
          </p:grpSpPr>
          <p:sp>
            <p:nvSpPr>
              <p:cNvPr id="132" name="Freeform 130">
                <a:extLst>
                  <a:ext uri="{FF2B5EF4-FFF2-40B4-BE49-F238E27FC236}">
                    <a16:creationId xmlns:a16="http://schemas.microsoft.com/office/drawing/2014/main" id="{A18DBFD6-78B1-458B-A988-0ADAA4C3AC97}"/>
                  </a:ext>
                </a:extLst>
              </p:cNvPr>
              <p:cNvSpPr/>
              <p:nvPr/>
            </p:nvSpPr>
            <p:spPr>
              <a:xfrm>
                <a:off x="5786882" y="2481406"/>
                <a:ext cx="11324" cy="28839"/>
              </a:xfrm>
              <a:custGeom>
                <a:avLst/>
                <a:gdLst>
                  <a:gd name="connsiteX0" fmla="*/ 0 w 11324"/>
                  <a:gd name="connsiteY0" fmla="*/ 0 h 28839"/>
                  <a:gd name="connsiteX1" fmla="*/ 0 w 11324"/>
                  <a:gd name="connsiteY1" fmla="*/ 28840 h 28839"/>
                </a:gdLst>
                <a:ahLst/>
                <a:cxnLst>
                  <a:cxn ang="0">
                    <a:pos x="connsiteX0" y="connsiteY0"/>
                  </a:cxn>
                  <a:cxn ang="0">
                    <a:pos x="connsiteX1" y="connsiteY1"/>
                  </a:cxn>
                </a:cxnLst>
                <a:rect l="l" t="t" r="r" b="b"/>
                <a:pathLst>
                  <a:path w="11324" h="28839">
                    <a:moveTo>
                      <a:pt x="0" y="0"/>
                    </a:moveTo>
                    <a:lnTo>
                      <a:pt x="0" y="28840"/>
                    </a:lnTo>
                  </a:path>
                </a:pathLst>
              </a:custGeom>
              <a:ln w="6350" cap="flat">
                <a:solidFill>
                  <a:srgbClr val="D7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3" name="Freeform 131">
                <a:extLst>
                  <a:ext uri="{FF2B5EF4-FFF2-40B4-BE49-F238E27FC236}">
                    <a16:creationId xmlns:a16="http://schemas.microsoft.com/office/drawing/2014/main" id="{2D0216B2-3379-4F37-953E-817B7ACC424D}"/>
                  </a:ext>
                </a:extLst>
              </p:cNvPr>
              <p:cNvSpPr/>
              <p:nvPr/>
            </p:nvSpPr>
            <p:spPr>
              <a:xfrm>
                <a:off x="5772500" y="2495825"/>
                <a:ext cx="28763" cy="11354"/>
              </a:xfrm>
              <a:custGeom>
                <a:avLst/>
                <a:gdLst>
                  <a:gd name="connsiteX0" fmla="*/ 0 w 28763"/>
                  <a:gd name="connsiteY0" fmla="*/ 0 h 11354"/>
                  <a:gd name="connsiteX1" fmla="*/ 28764 w 28763"/>
                  <a:gd name="connsiteY1" fmla="*/ 0 h 11354"/>
                </a:gdLst>
                <a:ahLst/>
                <a:cxnLst>
                  <a:cxn ang="0">
                    <a:pos x="connsiteX0" y="connsiteY0"/>
                  </a:cxn>
                  <a:cxn ang="0">
                    <a:pos x="connsiteX1" y="connsiteY1"/>
                  </a:cxn>
                </a:cxnLst>
                <a:rect l="l" t="t" r="r" b="b"/>
                <a:pathLst>
                  <a:path w="28763" h="11354">
                    <a:moveTo>
                      <a:pt x="0" y="0"/>
                    </a:moveTo>
                    <a:lnTo>
                      <a:pt x="28764" y="0"/>
                    </a:lnTo>
                  </a:path>
                </a:pathLst>
              </a:custGeom>
              <a:ln w="6350" cap="flat">
                <a:solidFill>
                  <a:srgbClr val="D7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48" name="Graphic 20656">
              <a:extLst>
                <a:ext uri="{FF2B5EF4-FFF2-40B4-BE49-F238E27FC236}">
                  <a16:creationId xmlns:a16="http://schemas.microsoft.com/office/drawing/2014/main" id="{11FC63C4-8B45-47D9-9998-ABED1A634F9B}"/>
                </a:ext>
              </a:extLst>
            </p:cNvPr>
            <p:cNvGrpSpPr/>
            <p:nvPr/>
          </p:nvGrpSpPr>
          <p:grpSpPr>
            <a:xfrm>
              <a:off x="5512378" y="2451998"/>
              <a:ext cx="28764" cy="28726"/>
              <a:chOff x="5512378" y="2451998"/>
              <a:chExt cx="28764" cy="28726"/>
            </a:xfrm>
          </p:grpSpPr>
          <p:sp>
            <p:nvSpPr>
              <p:cNvPr id="130" name="Freeform 128">
                <a:extLst>
                  <a:ext uri="{FF2B5EF4-FFF2-40B4-BE49-F238E27FC236}">
                    <a16:creationId xmlns:a16="http://schemas.microsoft.com/office/drawing/2014/main" id="{18E901A9-BC12-4965-95CB-D32BD0AF7C5E}"/>
                  </a:ext>
                </a:extLst>
              </p:cNvPr>
              <p:cNvSpPr/>
              <p:nvPr/>
            </p:nvSpPr>
            <p:spPr>
              <a:xfrm>
                <a:off x="5526760" y="2451998"/>
                <a:ext cx="11324" cy="28726"/>
              </a:xfrm>
              <a:custGeom>
                <a:avLst/>
                <a:gdLst>
                  <a:gd name="connsiteX0" fmla="*/ 0 w 11324"/>
                  <a:gd name="connsiteY0" fmla="*/ 0 h 28726"/>
                  <a:gd name="connsiteX1" fmla="*/ 0 w 11324"/>
                  <a:gd name="connsiteY1" fmla="*/ 28726 h 28726"/>
                </a:gdLst>
                <a:ahLst/>
                <a:cxnLst>
                  <a:cxn ang="0">
                    <a:pos x="connsiteX0" y="connsiteY0"/>
                  </a:cxn>
                  <a:cxn ang="0">
                    <a:pos x="connsiteX1" y="connsiteY1"/>
                  </a:cxn>
                </a:cxnLst>
                <a:rect l="l" t="t" r="r" b="b"/>
                <a:pathLst>
                  <a:path w="11324" h="28726">
                    <a:moveTo>
                      <a:pt x="0" y="0"/>
                    </a:moveTo>
                    <a:lnTo>
                      <a:pt x="0" y="28726"/>
                    </a:lnTo>
                  </a:path>
                </a:pathLst>
              </a:custGeom>
              <a:ln w="6350" cap="flat">
                <a:solidFill>
                  <a:srgbClr val="D7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1" name="Freeform 129">
                <a:extLst>
                  <a:ext uri="{FF2B5EF4-FFF2-40B4-BE49-F238E27FC236}">
                    <a16:creationId xmlns:a16="http://schemas.microsoft.com/office/drawing/2014/main" id="{37F26B1D-5A54-45E0-A9B0-E2737FFC7A75}"/>
                  </a:ext>
                </a:extLst>
              </p:cNvPr>
              <p:cNvSpPr/>
              <p:nvPr/>
            </p:nvSpPr>
            <p:spPr>
              <a:xfrm>
                <a:off x="5512378" y="2466304"/>
                <a:ext cx="28764" cy="11354"/>
              </a:xfrm>
              <a:custGeom>
                <a:avLst/>
                <a:gdLst>
                  <a:gd name="connsiteX0" fmla="*/ 0 w 28764"/>
                  <a:gd name="connsiteY0" fmla="*/ 0 h 11354"/>
                  <a:gd name="connsiteX1" fmla="*/ 28764 w 28764"/>
                  <a:gd name="connsiteY1" fmla="*/ 0 h 11354"/>
                </a:gdLst>
                <a:ahLst/>
                <a:cxnLst>
                  <a:cxn ang="0">
                    <a:pos x="connsiteX0" y="connsiteY0"/>
                  </a:cxn>
                  <a:cxn ang="0">
                    <a:pos x="connsiteX1" y="connsiteY1"/>
                  </a:cxn>
                </a:cxnLst>
                <a:rect l="l" t="t" r="r" b="b"/>
                <a:pathLst>
                  <a:path w="28764" h="11354">
                    <a:moveTo>
                      <a:pt x="0" y="0"/>
                    </a:moveTo>
                    <a:lnTo>
                      <a:pt x="28764" y="0"/>
                    </a:lnTo>
                  </a:path>
                </a:pathLst>
              </a:custGeom>
              <a:ln w="6350" cap="flat">
                <a:solidFill>
                  <a:srgbClr val="D7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49" name="Graphic 20656">
              <a:extLst>
                <a:ext uri="{FF2B5EF4-FFF2-40B4-BE49-F238E27FC236}">
                  <a16:creationId xmlns:a16="http://schemas.microsoft.com/office/drawing/2014/main" id="{F088568C-1940-4D7F-A5D3-C4363934E8B0}"/>
                </a:ext>
              </a:extLst>
            </p:cNvPr>
            <p:cNvGrpSpPr/>
            <p:nvPr/>
          </p:nvGrpSpPr>
          <p:grpSpPr>
            <a:xfrm>
              <a:off x="5491315" y="2451998"/>
              <a:ext cx="28763" cy="28726"/>
              <a:chOff x="5491315" y="2451998"/>
              <a:chExt cx="28763" cy="28726"/>
            </a:xfrm>
          </p:grpSpPr>
          <p:sp>
            <p:nvSpPr>
              <p:cNvPr id="128" name="Freeform 126">
                <a:extLst>
                  <a:ext uri="{FF2B5EF4-FFF2-40B4-BE49-F238E27FC236}">
                    <a16:creationId xmlns:a16="http://schemas.microsoft.com/office/drawing/2014/main" id="{8137D3E9-68CD-4928-B25B-44AE66DB6485}"/>
                  </a:ext>
                </a:extLst>
              </p:cNvPr>
              <p:cNvSpPr/>
              <p:nvPr/>
            </p:nvSpPr>
            <p:spPr>
              <a:xfrm>
                <a:off x="5505697" y="2451998"/>
                <a:ext cx="11324" cy="28726"/>
              </a:xfrm>
              <a:custGeom>
                <a:avLst/>
                <a:gdLst>
                  <a:gd name="connsiteX0" fmla="*/ 0 w 11324"/>
                  <a:gd name="connsiteY0" fmla="*/ 0 h 28726"/>
                  <a:gd name="connsiteX1" fmla="*/ 0 w 11324"/>
                  <a:gd name="connsiteY1" fmla="*/ 28726 h 28726"/>
                </a:gdLst>
                <a:ahLst/>
                <a:cxnLst>
                  <a:cxn ang="0">
                    <a:pos x="connsiteX0" y="connsiteY0"/>
                  </a:cxn>
                  <a:cxn ang="0">
                    <a:pos x="connsiteX1" y="connsiteY1"/>
                  </a:cxn>
                </a:cxnLst>
                <a:rect l="l" t="t" r="r" b="b"/>
                <a:pathLst>
                  <a:path w="11324" h="28726">
                    <a:moveTo>
                      <a:pt x="0" y="0"/>
                    </a:moveTo>
                    <a:lnTo>
                      <a:pt x="0" y="28726"/>
                    </a:lnTo>
                  </a:path>
                </a:pathLst>
              </a:custGeom>
              <a:ln w="6350" cap="flat">
                <a:solidFill>
                  <a:srgbClr val="D7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9" name="Freeform 127">
                <a:extLst>
                  <a:ext uri="{FF2B5EF4-FFF2-40B4-BE49-F238E27FC236}">
                    <a16:creationId xmlns:a16="http://schemas.microsoft.com/office/drawing/2014/main" id="{FD7A7B9A-FD2D-483B-A26A-2F26C2B5AEFD}"/>
                  </a:ext>
                </a:extLst>
              </p:cNvPr>
              <p:cNvSpPr/>
              <p:nvPr/>
            </p:nvSpPr>
            <p:spPr>
              <a:xfrm>
                <a:off x="5491315" y="2466304"/>
                <a:ext cx="28763" cy="11354"/>
              </a:xfrm>
              <a:custGeom>
                <a:avLst/>
                <a:gdLst>
                  <a:gd name="connsiteX0" fmla="*/ 0 w 28763"/>
                  <a:gd name="connsiteY0" fmla="*/ 0 h 11354"/>
                  <a:gd name="connsiteX1" fmla="*/ 28764 w 28763"/>
                  <a:gd name="connsiteY1" fmla="*/ 0 h 11354"/>
                </a:gdLst>
                <a:ahLst/>
                <a:cxnLst>
                  <a:cxn ang="0">
                    <a:pos x="connsiteX0" y="connsiteY0"/>
                  </a:cxn>
                  <a:cxn ang="0">
                    <a:pos x="connsiteX1" y="connsiteY1"/>
                  </a:cxn>
                </a:cxnLst>
                <a:rect l="l" t="t" r="r" b="b"/>
                <a:pathLst>
                  <a:path w="28763" h="11354">
                    <a:moveTo>
                      <a:pt x="0" y="0"/>
                    </a:moveTo>
                    <a:lnTo>
                      <a:pt x="28764" y="0"/>
                    </a:lnTo>
                  </a:path>
                </a:pathLst>
              </a:custGeom>
              <a:ln w="6350" cap="flat">
                <a:solidFill>
                  <a:srgbClr val="D7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50" name="Graphic 20656">
              <a:extLst>
                <a:ext uri="{FF2B5EF4-FFF2-40B4-BE49-F238E27FC236}">
                  <a16:creationId xmlns:a16="http://schemas.microsoft.com/office/drawing/2014/main" id="{A5B0BDE7-D149-4D67-AC7B-E5A8230647B9}"/>
                </a:ext>
              </a:extLst>
            </p:cNvPr>
            <p:cNvGrpSpPr/>
            <p:nvPr/>
          </p:nvGrpSpPr>
          <p:grpSpPr>
            <a:xfrm>
              <a:off x="5379203" y="2442801"/>
              <a:ext cx="28650" cy="28839"/>
              <a:chOff x="5379203" y="2442801"/>
              <a:chExt cx="28650" cy="28839"/>
            </a:xfrm>
          </p:grpSpPr>
          <p:sp>
            <p:nvSpPr>
              <p:cNvPr id="126" name="Freeform 124">
                <a:extLst>
                  <a:ext uri="{FF2B5EF4-FFF2-40B4-BE49-F238E27FC236}">
                    <a16:creationId xmlns:a16="http://schemas.microsoft.com/office/drawing/2014/main" id="{6C3F52B2-409A-4620-A7E8-8FF6D47C901C}"/>
                  </a:ext>
                </a:extLst>
              </p:cNvPr>
              <p:cNvSpPr/>
              <p:nvPr/>
            </p:nvSpPr>
            <p:spPr>
              <a:xfrm>
                <a:off x="5393472" y="2442801"/>
                <a:ext cx="11324" cy="28839"/>
              </a:xfrm>
              <a:custGeom>
                <a:avLst/>
                <a:gdLst>
                  <a:gd name="connsiteX0" fmla="*/ 0 w 11324"/>
                  <a:gd name="connsiteY0" fmla="*/ 0 h 28839"/>
                  <a:gd name="connsiteX1" fmla="*/ 0 w 11324"/>
                  <a:gd name="connsiteY1" fmla="*/ 28840 h 28839"/>
                </a:gdLst>
                <a:ahLst/>
                <a:cxnLst>
                  <a:cxn ang="0">
                    <a:pos x="connsiteX0" y="connsiteY0"/>
                  </a:cxn>
                  <a:cxn ang="0">
                    <a:pos x="connsiteX1" y="connsiteY1"/>
                  </a:cxn>
                </a:cxnLst>
                <a:rect l="l" t="t" r="r" b="b"/>
                <a:pathLst>
                  <a:path w="11324" h="28839">
                    <a:moveTo>
                      <a:pt x="0" y="0"/>
                    </a:moveTo>
                    <a:lnTo>
                      <a:pt x="0" y="28840"/>
                    </a:lnTo>
                  </a:path>
                </a:pathLst>
              </a:custGeom>
              <a:ln w="6350" cap="flat">
                <a:solidFill>
                  <a:srgbClr val="D7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7" name="Freeform 125">
                <a:extLst>
                  <a:ext uri="{FF2B5EF4-FFF2-40B4-BE49-F238E27FC236}">
                    <a16:creationId xmlns:a16="http://schemas.microsoft.com/office/drawing/2014/main" id="{4D5B234A-08C9-4F28-B761-3DE20E8B5FE9}"/>
                  </a:ext>
                </a:extLst>
              </p:cNvPr>
              <p:cNvSpPr/>
              <p:nvPr/>
            </p:nvSpPr>
            <p:spPr>
              <a:xfrm>
                <a:off x="5379203" y="2457221"/>
                <a:ext cx="28650" cy="11354"/>
              </a:xfrm>
              <a:custGeom>
                <a:avLst/>
                <a:gdLst>
                  <a:gd name="connsiteX0" fmla="*/ 0 w 28650"/>
                  <a:gd name="connsiteY0" fmla="*/ 0 h 11354"/>
                  <a:gd name="connsiteX1" fmla="*/ 28651 w 28650"/>
                  <a:gd name="connsiteY1" fmla="*/ 0 h 11354"/>
                </a:gdLst>
                <a:ahLst/>
                <a:cxnLst>
                  <a:cxn ang="0">
                    <a:pos x="connsiteX0" y="connsiteY0"/>
                  </a:cxn>
                  <a:cxn ang="0">
                    <a:pos x="connsiteX1" y="connsiteY1"/>
                  </a:cxn>
                </a:cxnLst>
                <a:rect l="l" t="t" r="r" b="b"/>
                <a:pathLst>
                  <a:path w="28650" h="11354">
                    <a:moveTo>
                      <a:pt x="0" y="0"/>
                    </a:moveTo>
                    <a:lnTo>
                      <a:pt x="28651" y="0"/>
                    </a:lnTo>
                  </a:path>
                </a:pathLst>
              </a:custGeom>
              <a:ln w="6350" cap="flat">
                <a:solidFill>
                  <a:srgbClr val="D7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51" name="Graphic 20656">
              <a:extLst>
                <a:ext uri="{FF2B5EF4-FFF2-40B4-BE49-F238E27FC236}">
                  <a16:creationId xmlns:a16="http://schemas.microsoft.com/office/drawing/2014/main" id="{554C23DB-EAAB-490C-A332-E80E1F8A7804}"/>
                </a:ext>
              </a:extLst>
            </p:cNvPr>
            <p:cNvGrpSpPr/>
            <p:nvPr/>
          </p:nvGrpSpPr>
          <p:grpSpPr>
            <a:xfrm>
              <a:off x="5144675" y="2386371"/>
              <a:ext cx="28650" cy="28839"/>
              <a:chOff x="5144675" y="2386371"/>
              <a:chExt cx="28650" cy="28839"/>
            </a:xfrm>
          </p:grpSpPr>
          <p:sp>
            <p:nvSpPr>
              <p:cNvPr id="124" name="Freeform 122">
                <a:extLst>
                  <a:ext uri="{FF2B5EF4-FFF2-40B4-BE49-F238E27FC236}">
                    <a16:creationId xmlns:a16="http://schemas.microsoft.com/office/drawing/2014/main" id="{3E51321C-029F-4204-8C94-B18D6BCECD32}"/>
                  </a:ext>
                </a:extLst>
              </p:cNvPr>
              <p:cNvSpPr/>
              <p:nvPr/>
            </p:nvSpPr>
            <p:spPr>
              <a:xfrm>
                <a:off x="5159057" y="2386371"/>
                <a:ext cx="11324" cy="28839"/>
              </a:xfrm>
              <a:custGeom>
                <a:avLst/>
                <a:gdLst>
                  <a:gd name="connsiteX0" fmla="*/ 0 w 11324"/>
                  <a:gd name="connsiteY0" fmla="*/ 0 h 28839"/>
                  <a:gd name="connsiteX1" fmla="*/ 0 w 11324"/>
                  <a:gd name="connsiteY1" fmla="*/ 28840 h 28839"/>
                </a:gdLst>
                <a:ahLst/>
                <a:cxnLst>
                  <a:cxn ang="0">
                    <a:pos x="connsiteX0" y="connsiteY0"/>
                  </a:cxn>
                  <a:cxn ang="0">
                    <a:pos x="connsiteX1" y="connsiteY1"/>
                  </a:cxn>
                </a:cxnLst>
                <a:rect l="l" t="t" r="r" b="b"/>
                <a:pathLst>
                  <a:path w="11324" h="28839">
                    <a:moveTo>
                      <a:pt x="0" y="0"/>
                    </a:moveTo>
                    <a:lnTo>
                      <a:pt x="0" y="28840"/>
                    </a:lnTo>
                  </a:path>
                </a:pathLst>
              </a:custGeom>
              <a:ln w="6350" cap="flat">
                <a:solidFill>
                  <a:srgbClr val="D7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5" name="Freeform 123">
                <a:extLst>
                  <a:ext uri="{FF2B5EF4-FFF2-40B4-BE49-F238E27FC236}">
                    <a16:creationId xmlns:a16="http://schemas.microsoft.com/office/drawing/2014/main" id="{36B19DE4-1A8F-449C-96AF-427430C05097}"/>
                  </a:ext>
                </a:extLst>
              </p:cNvPr>
              <p:cNvSpPr/>
              <p:nvPr/>
            </p:nvSpPr>
            <p:spPr>
              <a:xfrm>
                <a:off x="5144675" y="2400791"/>
                <a:ext cx="28650" cy="11354"/>
              </a:xfrm>
              <a:custGeom>
                <a:avLst/>
                <a:gdLst>
                  <a:gd name="connsiteX0" fmla="*/ 0 w 28650"/>
                  <a:gd name="connsiteY0" fmla="*/ 0 h 11354"/>
                  <a:gd name="connsiteX1" fmla="*/ 28651 w 28650"/>
                  <a:gd name="connsiteY1" fmla="*/ 0 h 11354"/>
                </a:gdLst>
                <a:ahLst/>
                <a:cxnLst>
                  <a:cxn ang="0">
                    <a:pos x="connsiteX0" y="connsiteY0"/>
                  </a:cxn>
                  <a:cxn ang="0">
                    <a:pos x="connsiteX1" y="connsiteY1"/>
                  </a:cxn>
                </a:cxnLst>
                <a:rect l="l" t="t" r="r" b="b"/>
                <a:pathLst>
                  <a:path w="28650" h="11354">
                    <a:moveTo>
                      <a:pt x="0" y="0"/>
                    </a:moveTo>
                    <a:lnTo>
                      <a:pt x="28651" y="0"/>
                    </a:lnTo>
                  </a:path>
                </a:pathLst>
              </a:custGeom>
              <a:ln w="6350" cap="flat">
                <a:solidFill>
                  <a:srgbClr val="D7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52" name="Graphic 20656">
              <a:extLst>
                <a:ext uri="{FF2B5EF4-FFF2-40B4-BE49-F238E27FC236}">
                  <a16:creationId xmlns:a16="http://schemas.microsoft.com/office/drawing/2014/main" id="{1254AA41-1EE3-4AFB-A7AB-82A6716251D1}"/>
                </a:ext>
              </a:extLst>
            </p:cNvPr>
            <p:cNvGrpSpPr/>
            <p:nvPr/>
          </p:nvGrpSpPr>
          <p:grpSpPr>
            <a:xfrm>
              <a:off x="5075936" y="2366842"/>
              <a:ext cx="28650" cy="28726"/>
              <a:chOff x="5075936" y="2366842"/>
              <a:chExt cx="28650" cy="28726"/>
            </a:xfrm>
          </p:grpSpPr>
          <p:sp>
            <p:nvSpPr>
              <p:cNvPr id="122" name="Freeform 120">
                <a:extLst>
                  <a:ext uri="{FF2B5EF4-FFF2-40B4-BE49-F238E27FC236}">
                    <a16:creationId xmlns:a16="http://schemas.microsoft.com/office/drawing/2014/main" id="{81DB880A-F777-4356-8C87-C18404B0FF95}"/>
                  </a:ext>
                </a:extLst>
              </p:cNvPr>
              <p:cNvSpPr/>
              <p:nvPr/>
            </p:nvSpPr>
            <p:spPr>
              <a:xfrm>
                <a:off x="5090318" y="2366842"/>
                <a:ext cx="11324" cy="28726"/>
              </a:xfrm>
              <a:custGeom>
                <a:avLst/>
                <a:gdLst>
                  <a:gd name="connsiteX0" fmla="*/ 0 w 11324"/>
                  <a:gd name="connsiteY0" fmla="*/ 0 h 28726"/>
                  <a:gd name="connsiteX1" fmla="*/ 0 w 11324"/>
                  <a:gd name="connsiteY1" fmla="*/ 28726 h 28726"/>
                </a:gdLst>
                <a:ahLst/>
                <a:cxnLst>
                  <a:cxn ang="0">
                    <a:pos x="connsiteX0" y="connsiteY0"/>
                  </a:cxn>
                  <a:cxn ang="0">
                    <a:pos x="connsiteX1" y="connsiteY1"/>
                  </a:cxn>
                </a:cxnLst>
                <a:rect l="l" t="t" r="r" b="b"/>
                <a:pathLst>
                  <a:path w="11324" h="28726">
                    <a:moveTo>
                      <a:pt x="0" y="0"/>
                    </a:moveTo>
                    <a:lnTo>
                      <a:pt x="0" y="28726"/>
                    </a:lnTo>
                  </a:path>
                </a:pathLst>
              </a:custGeom>
              <a:ln w="6350" cap="flat">
                <a:solidFill>
                  <a:srgbClr val="D7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3" name="Freeform 121">
                <a:extLst>
                  <a:ext uri="{FF2B5EF4-FFF2-40B4-BE49-F238E27FC236}">
                    <a16:creationId xmlns:a16="http://schemas.microsoft.com/office/drawing/2014/main" id="{B5ABB9B8-A800-494F-96E1-A08E05F6BA13}"/>
                  </a:ext>
                </a:extLst>
              </p:cNvPr>
              <p:cNvSpPr/>
              <p:nvPr/>
            </p:nvSpPr>
            <p:spPr>
              <a:xfrm>
                <a:off x="5075936" y="2381261"/>
                <a:ext cx="28650" cy="11354"/>
              </a:xfrm>
              <a:custGeom>
                <a:avLst/>
                <a:gdLst>
                  <a:gd name="connsiteX0" fmla="*/ 0 w 28650"/>
                  <a:gd name="connsiteY0" fmla="*/ 0 h 11354"/>
                  <a:gd name="connsiteX1" fmla="*/ 28651 w 28650"/>
                  <a:gd name="connsiteY1" fmla="*/ 0 h 11354"/>
                </a:gdLst>
                <a:ahLst/>
                <a:cxnLst>
                  <a:cxn ang="0">
                    <a:pos x="connsiteX0" y="connsiteY0"/>
                  </a:cxn>
                  <a:cxn ang="0">
                    <a:pos x="connsiteX1" y="connsiteY1"/>
                  </a:cxn>
                </a:cxnLst>
                <a:rect l="l" t="t" r="r" b="b"/>
                <a:pathLst>
                  <a:path w="28650" h="11354">
                    <a:moveTo>
                      <a:pt x="0" y="0"/>
                    </a:moveTo>
                    <a:lnTo>
                      <a:pt x="28651" y="0"/>
                    </a:lnTo>
                  </a:path>
                </a:pathLst>
              </a:custGeom>
              <a:ln w="6350" cap="flat">
                <a:solidFill>
                  <a:srgbClr val="D7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53" name="Graphic 20656">
              <a:extLst>
                <a:ext uri="{FF2B5EF4-FFF2-40B4-BE49-F238E27FC236}">
                  <a16:creationId xmlns:a16="http://schemas.microsoft.com/office/drawing/2014/main" id="{DE07562B-4D1F-4014-B3C0-3590B8A5E322}"/>
                </a:ext>
              </a:extLst>
            </p:cNvPr>
            <p:cNvGrpSpPr/>
            <p:nvPr/>
          </p:nvGrpSpPr>
          <p:grpSpPr>
            <a:xfrm>
              <a:off x="5066763" y="2366842"/>
              <a:ext cx="28650" cy="28726"/>
              <a:chOff x="5066763" y="2366842"/>
              <a:chExt cx="28650" cy="28726"/>
            </a:xfrm>
          </p:grpSpPr>
          <p:sp>
            <p:nvSpPr>
              <p:cNvPr id="120" name="Freeform 118">
                <a:extLst>
                  <a:ext uri="{FF2B5EF4-FFF2-40B4-BE49-F238E27FC236}">
                    <a16:creationId xmlns:a16="http://schemas.microsoft.com/office/drawing/2014/main" id="{895361AA-1C6E-4B14-AAAC-CF1390A39E27}"/>
                  </a:ext>
                </a:extLst>
              </p:cNvPr>
              <p:cNvSpPr/>
              <p:nvPr/>
            </p:nvSpPr>
            <p:spPr>
              <a:xfrm>
                <a:off x="5081145" y="2366842"/>
                <a:ext cx="11324" cy="28726"/>
              </a:xfrm>
              <a:custGeom>
                <a:avLst/>
                <a:gdLst>
                  <a:gd name="connsiteX0" fmla="*/ 0 w 11324"/>
                  <a:gd name="connsiteY0" fmla="*/ 0 h 28726"/>
                  <a:gd name="connsiteX1" fmla="*/ 0 w 11324"/>
                  <a:gd name="connsiteY1" fmla="*/ 28726 h 28726"/>
                </a:gdLst>
                <a:ahLst/>
                <a:cxnLst>
                  <a:cxn ang="0">
                    <a:pos x="connsiteX0" y="connsiteY0"/>
                  </a:cxn>
                  <a:cxn ang="0">
                    <a:pos x="connsiteX1" y="connsiteY1"/>
                  </a:cxn>
                </a:cxnLst>
                <a:rect l="l" t="t" r="r" b="b"/>
                <a:pathLst>
                  <a:path w="11324" h="28726">
                    <a:moveTo>
                      <a:pt x="0" y="0"/>
                    </a:moveTo>
                    <a:lnTo>
                      <a:pt x="0" y="28726"/>
                    </a:lnTo>
                  </a:path>
                </a:pathLst>
              </a:custGeom>
              <a:ln w="6350" cap="flat">
                <a:solidFill>
                  <a:srgbClr val="D7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1" name="Freeform 119">
                <a:extLst>
                  <a:ext uri="{FF2B5EF4-FFF2-40B4-BE49-F238E27FC236}">
                    <a16:creationId xmlns:a16="http://schemas.microsoft.com/office/drawing/2014/main" id="{9B87F673-66C4-46B8-AD2C-58A6607E4959}"/>
                  </a:ext>
                </a:extLst>
              </p:cNvPr>
              <p:cNvSpPr/>
              <p:nvPr/>
            </p:nvSpPr>
            <p:spPr>
              <a:xfrm>
                <a:off x="5066763" y="2381261"/>
                <a:ext cx="28650" cy="11354"/>
              </a:xfrm>
              <a:custGeom>
                <a:avLst/>
                <a:gdLst>
                  <a:gd name="connsiteX0" fmla="*/ 0 w 28650"/>
                  <a:gd name="connsiteY0" fmla="*/ 0 h 11354"/>
                  <a:gd name="connsiteX1" fmla="*/ 28651 w 28650"/>
                  <a:gd name="connsiteY1" fmla="*/ 0 h 11354"/>
                </a:gdLst>
                <a:ahLst/>
                <a:cxnLst>
                  <a:cxn ang="0">
                    <a:pos x="connsiteX0" y="connsiteY0"/>
                  </a:cxn>
                  <a:cxn ang="0">
                    <a:pos x="connsiteX1" y="connsiteY1"/>
                  </a:cxn>
                </a:cxnLst>
                <a:rect l="l" t="t" r="r" b="b"/>
                <a:pathLst>
                  <a:path w="28650" h="11354">
                    <a:moveTo>
                      <a:pt x="0" y="0"/>
                    </a:moveTo>
                    <a:lnTo>
                      <a:pt x="28651" y="0"/>
                    </a:lnTo>
                  </a:path>
                </a:pathLst>
              </a:custGeom>
              <a:ln w="6350" cap="flat">
                <a:solidFill>
                  <a:srgbClr val="D7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54" name="Graphic 20656">
              <a:extLst>
                <a:ext uri="{FF2B5EF4-FFF2-40B4-BE49-F238E27FC236}">
                  <a16:creationId xmlns:a16="http://schemas.microsoft.com/office/drawing/2014/main" id="{8BE1E729-3598-499A-8B65-8FD9ABC51482}"/>
                </a:ext>
              </a:extLst>
            </p:cNvPr>
            <p:cNvGrpSpPr/>
            <p:nvPr/>
          </p:nvGrpSpPr>
          <p:grpSpPr>
            <a:xfrm>
              <a:off x="4995419" y="2352422"/>
              <a:ext cx="28650" cy="28839"/>
              <a:chOff x="4995419" y="2352422"/>
              <a:chExt cx="28650" cy="28839"/>
            </a:xfrm>
          </p:grpSpPr>
          <p:sp>
            <p:nvSpPr>
              <p:cNvPr id="118" name="Freeform 116">
                <a:extLst>
                  <a:ext uri="{FF2B5EF4-FFF2-40B4-BE49-F238E27FC236}">
                    <a16:creationId xmlns:a16="http://schemas.microsoft.com/office/drawing/2014/main" id="{6CFAFD0A-E584-4EB7-A620-9E2083923B69}"/>
                  </a:ext>
                </a:extLst>
              </p:cNvPr>
              <p:cNvSpPr/>
              <p:nvPr/>
            </p:nvSpPr>
            <p:spPr>
              <a:xfrm>
                <a:off x="5009688" y="2352422"/>
                <a:ext cx="11324" cy="28839"/>
              </a:xfrm>
              <a:custGeom>
                <a:avLst/>
                <a:gdLst>
                  <a:gd name="connsiteX0" fmla="*/ 0 w 11324"/>
                  <a:gd name="connsiteY0" fmla="*/ 0 h 28839"/>
                  <a:gd name="connsiteX1" fmla="*/ 0 w 11324"/>
                  <a:gd name="connsiteY1" fmla="*/ 28840 h 28839"/>
                </a:gdLst>
                <a:ahLst/>
                <a:cxnLst>
                  <a:cxn ang="0">
                    <a:pos x="connsiteX0" y="connsiteY0"/>
                  </a:cxn>
                  <a:cxn ang="0">
                    <a:pos x="connsiteX1" y="connsiteY1"/>
                  </a:cxn>
                </a:cxnLst>
                <a:rect l="l" t="t" r="r" b="b"/>
                <a:pathLst>
                  <a:path w="11324" h="28839">
                    <a:moveTo>
                      <a:pt x="0" y="0"/>
                    </a:moveTo>
                    <a:lnTo>
                      <a:pt x="0" y="28840"/>
                    </a:lnTo>
                  </a:path>
                </a:pathLst>
              </a:custGeom>
              <a:ln w="6350" cap="flat">
                <a:solidFill>
                  <a:srgbClr val="D7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9" name="Freeform 117">
                <a:extLst>
                  <a:ext uri="{FF2B5EF4-FFF2-40B4-BE49-F238E27FC236}">
                    <a16:creationId xmlns:a16="http://schemas.microsoft.com/office/drawing/2014/main" id="{762D11DA-EBEA-4647-BA50-F305D47CB014}"/>
                  </a:ext>
                </a:extLst>
              </p:cNvPr>
              <p:cNvSpPr/>
              <p:nvPr/>
            </p:nvSpPr>
            <p:spPr>
              <a:xfrm>
                <a:off x="4995419" y="2366842"/>
                <a:ext cx="28650" cy="11354"/>
              </a:xfrm>
              <a:custGeom>
                <a:avLst/>
                <a:gdLst>
                  <a:gd name="connsiteX0" fmla="*/ 0 w 28650"/>
                  <a:gd name="connsiteY0" fmla="*/ 0 h 11354"/>
                  <a:gd name="connsiteX1" fmla="*/ 28651 w 28650"/>
                  <a:gd name="connsiteY1" fmla="*/ 0 h 11354"/>
                </a:gdLst>
                <a:ahLst/>
                <a:cxnLst>
                  <a:cxn ang="0">
                    <a:pos x="connsiteX0" y="connsiteY0"/>
                  </a:cxn>
                  <a:cxn ang="0">
                    <a:pos x="connsiteX1" y="connsiteY1"/>
                  </a:cxn>
                </a:cxnLst>
                <a:rect l="l" t="t" r="r" b="b"/>
                <a:pathLst>
                  <a:path w="28650" h="11354">
                    <a:moveTo>
                      <a:pt x="0" y="0"/>
                    </a:moveTo>
                    <a:lnTo>
                      <a:pt x="28651" y="0"/>
                    </a:lnTo>
                  </a:path>
                </a:pathLst>
              </a:custGeom>
              <a:ln w="6350" cap="flat">
                <a:solidFill>
                  <a:srgbClr val="D7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55" name="Graphic 20656">
              <a:extLst>
                <a:ext uri="{FF2B5EF4-FFF2-40B4-BE49-F238E27FC236}">
                  <a16:creationId xmlns:a16="http://schemas.microsoft.com/office/drawing/2014/main" id="{48749DF6-00C6-492B-85EB-D82DDF8DB29F}"/>
                </a:ext>
              </a:extLst>
            </p:cNvPr>
            <p:cNvGrpSpPr/>
            <p:nvPr/>
          </p:nvGrpSpPr>
          <p:grpSpPr>
            <a:xfrm>
              <a:off x="4895991" y="2268968"/>
              <a:ext cx="28650" cy="28726"/>
              <a:chOff x="4895991" y="2268968"/>
              <a:chExt cx="28650" cy="28726"/>
            </a:xfrm>
          </p:grpSpPr>
          <p:sp>
            <p:nvSpPr>
              <p:cNvPr id="116" name="Freeform 114">
                <a:extLst>
                  <a:ext uri="{FF2B5EF4-FFF2-40B4-BE49-F238E27FC236}">
                    <a16:creationId xmlns:a16="http://schemas.microsoft.com/office/drawing/2014/main" id="{1FC451D4-87E9-4042-ADB5-F097E64E2E7A}"/>
                  </a:ext>
                </a:extLst>
              </p:cNvPr>
              <p:cNvSpPr/>
              <p:nvPr/>
            </p:nvSpPr>
            <p:spPr>
              <a:xfrm>
                <a:off x="4910259" y="2268968"/>
                <a:ext cx="11324" cy="28726"/>
              </a:xfrm>
              <a:custGeom>
                <a:avLst/>
                <a:gdLst>
                  <a:gd name="connsiteX0" fmla="*/ 0 w 11324"/>
                  <a:gd name="connsiteY0" fmla="*/ 0 h 28726"/>
                  <a:gd name="connsiteX1" fmla="*/ 0 w 11324"/>
                  <a:gd name="connsiteY1" fmla="*/ 28726 h 28726"/>
                </a:gdLst>
                <a:ahLst/>
                <a:cxnLst>
                  <a:cxn ang="0">
                    <a:pos x="connsiteX0" y="connsiteY0"/>
                  </a:cxn>
                  <a:cxn ang="0">
                    <a:pos x="connsiteX1" y="connsiteY1"/>
                  </a:cxn>
                </a:cxnLst>
                <a:rect l="l" t="t" r="r" b="b"/>
                <a:pathLst>
                  <a:path w="11324" h="28726">
                    <a:moveTo>
                      <a:pt x="0" y="0"/>
                    </a:moveTo>
                    <a:lnTo>
                      <a:pt x="0" y="28726"/>
                    </a:lnTo>
                  </a:path>
                </a:pathLst>
              </a:custGeom>
              <a:ln w="6350" cap="flat">
                <a:solidFill>
                  <a:srgbClr val="D7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7" name="Freeform 115">
                <a:extLst>
                  <a:ext uri="{FF2B5EF4-FFF2-40B4-BE49-F238E27FC236}">
                    <a16:creationId xmlns:a16="http://schemas.microsoft.com/office/drawing/2014/main" id="{493A1EB2-C4FE-4538-BDA3-44EB83D6C749}"/>
                  </a:ext>
                </a:extLst>
              </p:cNvPr>
              <p:cNvSpPr/>
              <p:nvPr/>
            </p:nvSpPr>
            <p:spPr>
              <a:xfrm>
                <a:off x="4895991" y="2283388"/>
                <a:ext cx="28650" cy="11354"/>
              </a:xfrm>
              <a:custGeom>
                <a:avLst/>
                <a:gdLst>
                  <a:gd name="connsiteX0" fmla="*/ 0 w 28650"/>
                  <a:gd name="connsiteY0" fmla="*/ 0 h 11354"/>
                  <a:gd name="connsiteX1" fmla="*/ 28651 w 28650"/>
                  <a:gd name="connsiteY1" fmla="*/ 0 h 11354"/>
                </a:gdLst>
                <a:ahLst/>
                <a:cxnLst>
                  <a:cxn ang="0">
                    <a:pos x="connsiteX0" y="connsiteY0"/>
                  </a:cxn>
                  <a:cxn ang="0">
                    <a:pos x="connsiteX1" y="connsiteY1"/>
                  </a:cxn>
                </a:cxnLst>
                <a:rect l="l" t="t" r="r" b="b"/>
                <a:pathLst>
                  <a:path w="28650" h="11354">
                    <a:moveTo>
                      <a:pt x="0" y="0"/>
                    </a:moveTo>
                    <a:lnTo>
                      <a:pt x="28651" y="0"/>
                    </a:lnTo>
                  </a:path>
                </a:pathLst>
              </a:custGeom>
              <a:ln w="6350" cap="flat">
                <a:solidFill>
                  <a:srgbClr val="D7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56" name="Graphic 20656">
              <a:extLst>
                <a:ext uri="{FF2B5EF4-FFF2-40B4-BE49-F238E27FC236}">
                  <a16:creationId xmlns:a16="http://schemas.microsoft.com/office/drawing/2014/main" id="{3914C1AF-C399-4A74-B2C0-0C97731E7FDF}"/>
                </a:ext>
              </a:extLst>
            </p:cNvPr>
            <p:cNvGrpSpPr/>
            <p:nvPr/>
          </p:nvGrpSpPr>
          <p:grpSpPr>
            <a:xfrm>
              <a:off x="4882628" y="2231272"/>
              <a:ext cx="28650" cy="28726"/>
              <a:chOff x="4882628" y="2231272"/>
              <a:chExt cx="28650" cy="28726"/>
            </a:xfrm>
          </p:grpSpPr>
          <p:sp>
            <p:nvSpPr>
              <p:cNvPr id="114" name="Freeform 112">
                <a:extLst>
                  <a:ext uri="{FF2B5EF4-FFF2-40B4-BE49-F238E27FC236}">
                    <a16:creationId xmlns:a16="http://schemas.microsoft.com/office/drawing/2014/main" id="{31756C3E-0729-4185-BDB5-C3109237B725}"/>
                  </a:ext>
                </a:extLst>
              </p:cNvPr>
              <p:cNvSpPr/>
              <p:nvPr/>
            </p:nvSpPr>
            <p:spPr>
              <a:xfrm>
                <a:off x="4896897" y="2231272"/>
                <a:ext cx="11324" cy="28726"/>
              </a:xfrm>
              <a:custGeom>
                <a:avLst/>
                <a:gdLst>
                  <a:gd name="connsiteX0" fmla="*/ 0 w 11324"/>
                  <a:gd name="connsiteY0" fmla="*/ 0 h 28726"/>
                  <a:gd name="connsiteX1" fmla="*/ 0 w 11324"/>
                  <a:gd name="connsiteY1" fmla="*/ 28726 h 28726"/>
                </a:gdLst>
                <a:ahLst/>
                <a:cxnLst>
                  <a:cxn ang="0">
                    <a:pos x="connsiteX0" y="connsiteY0"/>
                  </a:cxn>
                  <a:cxn ang="0">
                    <a:pos x="connsiteX1" y="connsiteY1"/>
                  </a:cxn>
                </a:cxnLst>
                <a:rect l="l" t="t" r="r" b="b"/>
                <a:pathLst>
                  <a:path w="11324" h="28726">
                    <a:moveTo>
                      <a:pt x="0" y="0"/>
                    </a:moveTo>
                    <a:lnTo>
                      <a:pt x="0" y="28726"/>
                    </a:lnTo>
                  </a:path>
                </a:pathLst>
              </a:custGeom>
              <a:ln w="6350" cap="flat">
                <a:solidFill>
                  <a:srgbClr val="D7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5" name="Freeform 113">
                <a:extLst>
                  <a:ext uri="{FF2B5EF4-FFF2-40B4-BE49-F238E27FC236}">
                    <a16:creationId xmlns:a16="http://schemas.microsoft.com/office/drawing/2014/main" id="{C3142AC5-496E-406C-99D1-DCC0DC390CD5}"/>
                  </a:ext>
                </a:extLst>
              </p:cNvPr>
              <p:cNvSpPr/>
              <p:nvPr/>
            </p:nvSpPr>
            <p:spPr>
              <a:xfrm>
                <a:off x="4882628" y="2245579"/>
                <a:ext cx="28650" cy="11354"/>
              </a:xfrm>
              <a:custGeom>
                <a:avLst/>
                <a:gdLst>
                  <a:gd name="connsiteX0" fmla="*/ 0 w 28650"/>
                  <a:gd name="connsiteY0" fmla="*/ 0 h 11354"/>
                  <a:gd name="connsiteX1" fmla="*/ 28651 w 28650"/>
                  <a:gd name="connsiteY1" fmla="*/ 0 h 11354"/>
                </a:gdLst>
                <a:ahLst/>
                <a:cxnLst>
                  <a:cxn ang="0">
                    <a:pos x="connsiteX0" y="connsiteY0"/>
                  </a:cxn>
                  <a:cxn ang="0">
                    <a:pos x="connsiteX1" y="connsiteY1"/>
                  </a:cxn>
                </a:cxnLst>
                <a:rect l="l" t="t" r="r" b="b"/>
                <a:pathLst>
                  <a:path w="28650" h="11354">
                    <a:moveTo>
                      <a:pt x="0" y="0"/>
                    </a:moveTo>
                    <a:lnTo>
                      <a:pt x="28651" y="0"/>
                    </a:lnTo>
                  </a:path>
                </a:pathLst>
              </a:custGeom>
              <a:ln w="6350" cap="flat">
                <a:solidFill>
                  <a:srgbClr val="D7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57" name="Graphic 20656">
              <a:extLst>
                <a:ext uri="{FF2B5EF4-FFF2-40B4-BE49-F238E27FC236}">
                  <a16:creationId xmlns:a16="http://schemas.microsoft.com/office/drawing/2014/main" id="{B879037E-14D1-4C2D-87B3-8E38070463CB}"/>
                </a:ext>
              </a:extLst>
            </p:cNvPr>
            <p:cNvGrpSpPr/>
            <p:nvPr/>
          </p:nvGrpSpPr>
          <p:grpSpPr>
            <a:xfrm>
              <a:off x="4878438" y="2224460"/>
              <a:ext cx="28650" cy="28726"/>
              <a:chOff x="4878438" y="2224460"/>
              <a:chExt cx="28650" cy="28726"/>
            </a:xfrm>
          </p:grpSpPr>
          <p:sp>
            <p:nvSpPr>
              <p:cNvPr id="112" name="Freeform 110">
                <a:extLst>
                  <a:ext uri="{FF2B5EF4-FFF2-40B4-BE49-F238E27FC236}">
                    <a16:creationId xmlns:a16="http://schemas.microsoft.com/office/drawing/2014/main" id="{105B74F5-E14B-4024-A25C-51FECCC064B9}"/>
                  </a:ext>
                </a:extLst>
              </p:cNvPr>
              <p:cNvSpPr/>
              <p:nvPr/>
            </p:nvSpPr>
            <p:spPr>
              <a:xfrm>
                <a:off x="4892707" y="2224460"/>
                <a:ext cx="11324" cy="28726"/>
              </a:xfrm>
              <a:custGeom>
                <a:avLst/>
                <a:gdLst>
                  <a:gd name="connsiteX0" fmla="*/ 0 w 11324"/>
                  <a:gd name="connsiteY0" fmla="*/ 0 h 28726"/>
                  <a:gd name="connsiteX1" fmla="*/ 0 w 11324"/>
                  <a:gd name="connsiteY1" fmla="*/ 28726 h 28726"/>
                </a:gdLst>
                <a:ahLst/>
                <a:cxnLst>
                  <a:cxn ang="0">
                    <a:pos x="connsiteX0" y="connsiteY0"/>
                  </a:cxn>
                  <a:cxn ang="0">
                    <a:pos x="connsiteX1" y="connsiteY1"/>
                  </a:cxn>
                </a:cxnLst>
                <a:rect l="l" t="t" r="r" b="b"/>
                <a:pathLst>
                  <a:path w="11324" h="28726">
                    <a:moveTo>
                      <a:pt x="0" y="0"/>
                    </a:moveTo>
                    <a:lnTo>
                      <a:pt x="0" y="28726"/>
                    </a:lnTo>
                  </a:path>
                </a:pathLst>
              </a:custGeom>
              <a:ln w="6350" cap="flat">
                <a:solidFill>
                  <a:srgbClr val="D7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3" name="Freeform 111">
                <a:extLst>
                  <a:ext uri="{FF2B5EF4-FFF2-40B4-BE49-F238E27FC236}">
                    <a16:creationId xmlns:a16="http://schemas.microsoft.com/office/drawing/2014/main" id="{FE2FAB66-653B-432B-8D0C-765A29DB163C}"/>
                  </a:ext>
                </a:extLst>
              </p:cNvPr>
              <p:cNvSpPr/>
              <p:nvPr/>
            </p:nvSpPr>
            <p:spPr>
              <a:xfrm>
                <a:off x="4878438" y="2238880"/>
                <a:ext cx="28650" cy="11354"/>
              </a:xfrm>
              <a:custGeom>
                <a:avLst/>
                <a:gdLst>
                  <a:gd name="connsiteX0" fmla="*/ 0 w 28650"/>
                  <a:gd name="connsiteY0" fmla="*/ 0 h 11354"/>
                  <a:gd name="connsiteX1" fmla="*/ 28651 w 28650"/>
                  <a:gd name="connsiteY1" fmla="*/ 0 h 11354"/>
                </a:gdLst>
                <a:ahLst/>
                <a:cxnLst>
                  <a:cxn ang="0">
                    <a:pos x="connsiteX0" y="connsiteY0"/>
                  </a:cxn>
                  <a:cxn ang="0">
                    <a:pos x="connsiteX1" y="connsiteY1"/>
                  </a:cxn>
                </a:cxnLst>
                <a:rect l="l" t="t" r="r" b="b"/>
                <a:pathLst>
                  <a:path w="28650" h="11354">
                    <a:moveTo>
                      <a:pt x="0" y="0"/>
                    </a:moveTo>
                    <a:lnTo>
                      <a:pt x="28651" y="0"/>
                    </a:lnTo>
                  </a:path>
                </a:pathLst>
              </a:custGeom>
              <a:ln w="6350" cap="flat">
                <a:solidFill>
                  <a:srgbClr val="D7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58" name="Graphic 20656">
              <a:extLst>
                <a:ext uri="{FF2B5EF4-FFF2-40B4-BE49-F238E27FC236}">
                  <a16:creationId xmlns:a16="http://schemas.microsoft.com/office/drawing/2014/main" id="{E988C24B-9F69-4C40-8C29-0A04F9E6AF50}"/>
                </a:ext>
              </a:extLst>
            </p:cNvPr>
            <p:cNvGrpSpPr/>
            <p:nvPr/>
          </p:nvGrpSpPr>
          <p:grpSpPr>
            <a:xfrm>
              <a:off x="4858054" y="2213446"/>
              <a:ext cx="28764" cy="28726"/>
              <a:chOff x="4858054" y="2213446"/>
              <a:chExt cx="28764" cy="28726"/>
            </a:xfrm>
          </p:grpSpPr>
          <p:sp>
            <p:nvSpPr>
              <p:cNvPr id="110" name="Freeform 108">
                <a:extLst>
                  <a:ext uri="{FF2B5EF4-FFF2-40B4-BE49-F238E27FC236}">
                    <a16:creationId xmlns:a16="http://schemas.microsoft.com/office/drawing/2014/main" id="{492A37DD-6DA6-495F-BFA9-3679B9F25098}"/>
                  </a:ext>
                </a:extLst>
              </p:cNvPr>
              <p:cNvSpPr/>
              <p:nvPr/>
            </p:nvSpPr>
            <p:spPr>
              <a:xfrm>
                <a:off x="4872436" y="2213446"/>
                <a:ext cx="11324" cy="28726"/>
              </a:xfrm>
              <a:custGeom>
                <a:avLst/>
                <a:gdLst>
                  <a:gd name="connsiteX0" fmla="*/ 0 w 11324"/>
                  <a:gd name="connsiteY0" fmla="*/ 0 h 28726"/>
                  <a:gd name="connsiteX1" fmla="*/ 0 w 11324"/>
                  <a:gd name="connsiteY1" fmla="*/ 28726 h 28726"/>
                </a:gdLst>
                <a:ahLst/>
                <a:cxnLst>
                  <a:cxn ang="0">
                    <a:pos x="connsiteX0" y="connsiteY0"/>
                  </a:cxn>
                  <a:cxn ang="0">
                    <a:pos x="connsiteX1" y="connsiteY1"/>
                  </a:cxn>
                </a:cxnLst>
                <a:rect l="l" t="t" r="r" b="b"/>
                <a:pathLst>
                  <a:path w="11324" h="28726">
                    <a:moveTo>
                      <a:pt x="0" y="0"/>
                    </a:moveTo>
                    <a:lnTo>
                      <a:pt x="0" y="28726"/>
                    </a:lnTo>
                  </a:path>
                </a:pathLst>
              </a:custGeom>
              <a:ln w="6350" cap="flat">
                <a:solidFill>
                  <a:srgbClr val="D7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1" name="Freeform 109">
                <a:extLst>
                  <a:ext uri="{FF2B5EF4-FFF2-40B4-BE49-F238E27FC236}">
                    <a16:creationId xmlns:a16="http://schemas.microsoft.com/office/drawing/2014/main" id="{7E16F4C6-73C1-4ABC-B058-0918FE22F544}"/>
                  </a:ext>
                </a:extLst>
              </p:cNvPr>
              <p:cNvSpPr/>
              <p:nvPr/>
            </p:nvSpPr>
            <p:spPr>
              <a:xfrm>
                <a:off x="4858054" y="2227866"/>
                <a:ext cx="28764" cy="11354"/>
              </a:xfrm>
              <a:custGeom>
                <a:avLst/>
                <a:gdLst>
                  <a:gd name="connsiteX0" fmla="*/ 0 w 28764"/>
                  <a:gd name="connsiteY0" fmla="*/ 0 h 11354"/>
                  <a:gd name="connsiteX1" fmla="*/ 28764 w 28764"/>
                  <a:gd name="connsiteY1" fmla="*/ 0 h 11354"/>
                </a:gdLst>
                <a:ahLst/>
                <a:cxnLst>
                  <a:cxn ang="0">
                    <a:pos x="connsiteX0" y="connsiteY0"/>
                  </a:cxn>
                  <a:cxn ang="0">
                    <a:pos x="connsiteX1" y="connsiteY1"/>
                  </a:cxn>
                </a:cxnLst>
                <a:rect l="l" t="t" r="r" b="b"/>
                <a:pathLst>
                  <a:path w="28764" h="11354">
                    <a:moveTo>
                      <a:pt x="0" y="0"/>
                    </a:moveTo>
                    <a:lnTo>
                      <a:pt x="28764" y="0"/>
                    </a:lnTo>
                  </a:path>
                </a:pathLst>
              </a:custGeom>
              <a:ln w="6350" cap="flat">
                <a:solidFill>
                  <a:srgbClr val="D7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59" name="Graphic 20656">
              <a:extLst>
                <a:ext uri="{FF2B5EF4-FFF2-40B4-BE49-F238E27FC236}">
                  <a16:creationId xmlns:a16="http://schemas.microsoft.com/office/drawing/2014/main" id="{771DFA1B-48F7-428B-83FB-A5CEA4C42827}"/>
                </a:ext>
              </a:extLst>
            </p:cNvPr>
            <p:cNvGrpSpPr/>
            <p:nvPr/>
          </p:nvGrpSpPr>
          <p:grpSpPr>
            <a:xfrm>
              <a:off x="4790447" y="2169960"/>
              <a:ext cx="28764" cy="28839"/>
              <a:chOff x="4790447" y="2169960"/>
              <a:chExt cx="28764" cy="28839"/>
            </a:xfrm>
          </p:grpSpPr>
          <p:sp>
            <p:nvSpPr>
              <p:cNvPr id="108" name="Freeform 106">
                <a:extLst>
                  <a:ext uri="{FF2B5EF4-FFF2-40B4-BE49-F238E27FC236}">
                    <a16:creationId xmlns:a16="http://schemas.microsoft.com/office/drawing/2014/main" id="{6AE95EB2-CCE7-48AA-AA85-FCA6C1AB00EE}"/>
                  </a:ext>
                </a:extLst>
              </p:cNvPr>
              <p:cNvSpPr/>
              <p:nvPr/>
            </p:nvSpPr>
            <p:spPr>
              <a:xfrm>
                <a:off x="4804829" y="2169960"/>
                <a:ext cx="11324" cy="28839"/>
              </a:xfrm>
              <a:custGeom>
                <a:avLst/>
                <a:gdLst>
                  <a:gd name="connsiteX0" fmla="*/ 0 w 11324"/>
                  <a:gd name="connsiteY0" fmla="*/ 0 h 28839"/>
                  <a:gd name="connsiteX1" fmla="*/ 0 w 11324"/>
                  <a:gd name="connsiteY1" fmla="*/ 28840 h 28839"/>
                </a:gdLst>
                <a:ahLst/>
                <a:cxnLst>
                  <a:cxn ang="0">
                    <a:pos x="connsiteX0" y="connsiteY0"/>
                  </a:cxn>
                  <a:cxn ang="0">
                    <a:pos x="connsiteX1" y="connsiteY1"/>
                  </a:cxn>
                </a:cxnLst>
                <a:rect l="l" t="t" r="r" b="b"/>
                <a:pathLst>
                  <a:path w="11324" h="28839">
                    <a:moveTo>
                      <a:pt x="0" y="0"/>
                    </a:moveTo>
                    <a:lnTo>
                      <a:pt x="0" y="28840"/>
                    </a:lnTo>
                  </a:path>
                </a:pathLst>
              </a:custGeom>
              <a:ln w="6350" cap="flat">
                <a:solidFill>
                  <a:srgbClr val="D7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9" name="Freeform 107">
                <a:extLst>
                  <a:ext uri="{FF2B5EF4-FFF2-40B4-BE49-F238E27FC236}">
                    <a16:creationId xmlns:a16="http://schemas.microsoft.com/office/drawing/2014/main" id="{7D3C1D19-2B9E-4F5E-813E-FB0EFFBB7D0A}"/>
                  </a:ext>
                </a:extLst>
              </p:cNvPr>
              <p:cNvSpPr/>
              <p:nvPr/>
            </p:nvSpPr>
            <p:spPr>
              <a:xfrm>
                <a:off x="4790447" y="2184379"/>
                <a:ext cx="28764" cy="11354"/>
              </a:xfrm>
              <a:custGeom>
                <a:avLst/>
                <a:gdLst>
                  <a:gd name="connsiteX0" fmla="*/ 0 w 28764"/>
                  <a:gd name="connsiteY0" fmla="*/ 0 h 11354"/>
                  <a:gd name="connsiteX1" fmla="*/ 28764 w 28764"/>
                  <a:gd name="connsiteY1" fmla="*/ 0 h 11354"/>
                </a:gdLst>
                <a:ahLst/>
                <a:cxnLst>
                  <a:cxn ang="0">
                    <a:pos x="connsiteX0" y="connsiteY0"/>
                  </a:cxn>
                  <a:cxn ang="0">
                    <a:pos x="connsiteX1" y="connsiteY1"/>
                  </a:cxn>
                </a:cxnLst>
                <a:rect l="l" t="t" r="r" b="b"/>
                <a:pathLst>
                  <a:path w="28764" h="11354">
                    <a:moveTo>
                      <a:pt x="0" y="0"/>
                    </a:moveTo>
                    <a:lnTo>
                      <a:pt x="28764" y="0"/>
                    </a:lnTo>
                  </a:path>
                </a:pathLst>
              </a:custGeom>
              <a:ln w="6350" cap="flat">
                <a:solidFill>
                  <a:srgbClr val="D7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60" name="Graphic 20656">
              <a:extLst>
                <a:ext uri="{FF2B5EF4-FFF2-40B4-BE49-F238E27FC236}">
                  <a16:creationId xmlns:a16="http://schemas.microsoft.com/office/drawing/2014/main" id="{6C95E75F-019E-48C4-8E90-9186E4BEF360}"/>
                </a:ext>
              </a:extLst>
            </p:cNvPr>
            <p:cNvGrpSpPr/>
            <p:nvPr/>
          </p:nvGrpSpPr>
          <p:grpSpPr>
            <a:xfrm>
              <a:off x="4790447" y="2152360"/>
              <a:ext cx="28764" cy="28726"/>
              <a:chOff x="4790447" y="2152360"/>
              <a:chExt cx="28764" cy="28726"/>
            </a:xfrm>
          </p:grpSpPr>
          <p:sp>
            <p:nvSpPr>
              <p:cNvPr id="106" name="Freeform 104">
                <a:extLst>
                  <a:ext uri="{FF2B5EF4-FFF2-40B4-BE49-F238E27FC236}">
                    <a16:creationId xmlns:a16="http://schemas.microsoft.com/office/drawing/2014/main" id="{7DC6CE24-677F-43FD-8DC2-922F5689C09F}"/>
                  </a:ext>
                </a:extLst>
              </p:cNvPr>
              <p:cNvSpPr/>
              <p:nvPr/>
            </p:nvSpPr>
            <p:spPr>
              <a:xfrm>
                <a:off x="4804829" y="2152360"/>
                <a:ext cx="11324" cy="28726"/>
              </a:xfrm>
              <a:custGeom>
                <a:avLst/>
                <a:gdLst>
                  <a:gd name="connsiteX0" fmla="*/ 0 w 11324"/>
                  <a:gd name="connsiteY0" fmla="*/ 0 h 28726"/>
                  <a:gd name="connsiteX1" fmla="*/ 0 w 11324"/>
                  <a:gd name="connsiteY1" fmla="*/ 28726 h 28726"/>
                </a:gdLst>
                <a:ahLst/>
                <a:cxnLst>
                  <a:cxn ang="0">
                    <a:pos x="connsiteX0" y="connsiteY0"/>
                  </a:cxn>
                  <a:cxn ang="0">
                    <a:pos x="connsiteX1" y="connsiteY1"/>
                  </a:cxn>
                </a:cxnLst>
                <a:rect l="l" t="t" r="r" b="b"/>
                <a:pathLst>
                  <a:path w="11324" h="28726">
                    <a:moveTo>
                      <a:pt x="0" y="0"/>
                    </a:moveTo>
                    <a:lnTo>
                      <a:pt x="0" y="28726"/>
                    </a:lnTo>
                  </a:path>
                </a:pathLst>
              </a:custGeom>
              <a:ln w="6350" cap="flat">
                <a:solidFill>
                  <a:srgbClr val="D7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7" name="Freeform 105">
                <a:extLst>
                  <a:ext uri="{FF2B5EF4-FFF2-40B4-BE49-F238E27FC236}">
                    <a16:creationId xmlns:a16="http://schemas.microsoft.com/office/drawing/2014/main" id="{0AD899DE-D2D4-4206-8504-0B0DD9D66584}"/>
                  </a:ext>
                </a:extLst>
              </p:cNvPr>
              <p:cNvSpPr/>
              <p:nvPr/>
            </p:nvSpPr>
            <p:spPr>
              <a:xfrm>
                <a:off x="4790447" y="2166780"/>
                <a:ext cx="28764" cy="11354"/>
              </a:xfrm>
              <a:custGeom>
                <a:avLst/>
                <a:gdLst>
                  <a:gd name="connsiteX0" fmla="*/ 0 w 28764"/>
                  <a:gd name="connsiteY0" fmla="*/ 0 h 11354"/>
                  <a:gd name="connsiteX1" fmla="*/ 28764 w 28764"/>
                  <a:gd name="connsiteY1" fmla="*/ 0 h 11354"/>
                </a:gdLst>
                <a:ahLst/>
                <a:cxnLst>
                  <a:cxn ang="0">
                    <a:pos x="connsiteX0" y="connsiteY0"/>
                  </a:cxn>
                  <a:cxn ang="0">
                    <a:pos x="connsiteX1" y="connsiteY1"/>
                  </a:cxn>
                </a:cxnLst>
                <a:rect l="l" t="t" r="r" b="b"/>
                <a:pathLst>
                  <a:path w="28764" h="11354">
                    <a:moveTo>
                      <a:pt x="0" y="0"/>
                    </a:moveTo>
                    <a:lnTo>
                      <a:pt x="28764" y="0"/>
                    </a:lnTo>
                  </a:path>
                </a:pathLst>
              </a:custGeom>
              <a:ln w="6350" cap="flat">
                <a:solidFill>
                  <a:srgbClr val="D7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61" name="Graphic 20656">
              <a:extLst>
                <a:ext uri="{FF2B5EF4-FFF2-40B4-BE49-F238E27FC236}">
                  <a16:creationId xmlns:a16="http://schemas.microsoft.com/office/drawing/2014/main" id="{CF7688D5-0203-4328-ABD7-5385E17F9A8F}"/>
                </a:ext>
              </a:extLst>
            </p:cNvPr>
            <p:cNvGrpSpPr/>
            <p:nvPr/>
          </p:nvGrpSpPr>
          <p:grpSpPr>
            <a:xfrm>
              <a:off x="4788749" y="2128403"/>
              <a:ext cx="28650" cy="28839"/>
              <a:chOff x="4788749" y="2128403"/>
              <a:chExt cx="28650" cy="28839"/>
            </a:xfrm>
          </p:grpSpPr>
          <p:sp>
            <p:nvSpPr>
              <p:cNvPr id="104" name="Freeform 102">
                <a:extLst>
                  <a:ext uri="{FF2B5EF4-FFF2-40B4-BE49-F238E27FC236}">
                    <a16:creationId xmlns:a16="http://schemas.microsoft.com/office/drawing/2014/main" id="{C57DF7A3-B3E5-494C-8FD0-DDB58EE5F8F7}"/>
                  </a:ext>
                </a:extLst>
              </p:cNvPr>
              <p:cNvSpPr/>
              <p:nvPr/>
            </p:nvSpPr>
            <p:spPr>
              <a:xfrm>
                <a:off x="4803017" y="2128403"/>
                <a:ext cx="11324" cy="28839"/>
              </a:xfrm>
              <a:custGeom>
                <a:avLst/>
                <a:gdLst>
                  <a:gd name="connsiteX0" fmla="*/ 0 w 11324"/>
                  <a:gd name="connsiteY0" fmla="*/ 0 h 28839"/>
                  <a:gd name="connsiteX1" fmla="*/ 0 w 11324"/>
                  <a:gd name="connsiteY1" fmla="*/ 28840 h 28839"/>
                </a:gdLst>
                <a:ahLst/>
                <a:cxnLst>
                  <a:cxn ang="0">
                    <a:pos x="connsiteX0" y="connsiteY0"/>
                  </a:cxn>
                  <a:cxn ang="0">
                    <a:pos x="connsiteX1" y="connsiteY1"/>
                  </a:cxn>
                </a:cxnLst>
                <a:rect l="l" t="t" r="r" b="b"/>
                <a:pathLst>
                  <a:path w="11324" h="28839">
                    <a:moveTo>
                      <a:pt x="0" y="0"/>
                    </a:moveTo>
                    <a:lnTo>
                      <a:pt x="0" y="28840"/>
                    </a:lnTo>
                  </a:path>
                </a:pathLst>
              </a:custGeom>
              <a:ln w="6350" cap="flat">
                <a:solidFill>
                  <a:srgbClr val="D7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5" name="Freeform 103">
                <a:extLst>
                  <a:ext uri="{FF2B5EF4-FFF2-40B4-BE49-F238E27FC236}">
                    <a16:creationId xmlns:a16="http://schemas.microsoft.com/office/drawing/2014/main" id="{32DF787C-E3B4-4695-A39A-D4F0EA6BB06A}"/>
                  </a:ext>
                </a:extLst>
              </p:cNvPr>
              <p:cNvSpPr/>
              <p:nvPr/>
            </p:nvSpPr>
            <p:spPr>
              <a:xfrm>
                <a:off x="4788749" y="2142823"/>
                <a:ext cx="28650" cy="11354"/>
              </a:xfrm>
              <a:custGeom>
                <a:avLst/>
                <a:gdLst>
                  <a:gd name="connsiteX0" fmla="*/ 0 w 28650"/>
                  <a:gd name="connsiteY0" fmla="*/ 0 h 11354"/>
                  <a:gd name="connsiteX1" fmla="*/ 28651 w 28650"/>
                  <a:gd name="connsiteY1" fmla="*/ 0 h 11354"/>
                </a:gdLst>
                <a:ahLst/>
                <a:cxnLst>
                  <a:cxn ang="0">
                    <a:pos x="connsiteX0" y="connsiteY0"/>
                  </a:cxn>
                  <a:cxn ang="0">
                    <a:pos x="connsiteX1" y="connsiteY1"/>
                  </a:cxn>
                </a:cxnLst>
                <a:rect l="l" t="t" r="r" b="b"/>
                <a:pathLst>
                  <a:path w="28650" h="11354">
                    <a:moveTo>
                      <a:pt x="0" y="0"/>
                    </a:moveTo>
                    <a:lnTo>
                      <a:pt x="28651" y="0"/>
                    </a:lnTo>
                  </a:path>
                </a:pathLst>
              </a:custGeom>
              <a:ln w="6350" cap="flat">
                <a:solidFill>
                  <a:srgbClr val="D7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62" name="Graphic 20656">
              <a:extLst>
                <a:ext uri="{FF2B5EF4-FFF2-40B4-BE49-F238E27FC236}">
                  <a16:creationId xmlns:a16="http://schemas.microsoft.com/office/drawing/2014/main" id="{AEA1CD57-42EF-4B0E-B4D0-174BA6D4F380}"/>
                </a:ext>
              </a:extLst>
            </p:cNvPr>
            <p:cNvGrpSpPr/>
            <p:nvPr/>
          </p:nvGrpSpPr>
          <p:grpSpPr>
            <a:xfrm>
              <a:off x="4783426" y="2073335"/>
              <a:ext cx="28650" cy="28726"/>
              <a:chOff x="4783426" y="2073335"/>
              <a:chExt cx="28650" cy="28726"/>
            </a:xfrm>
          </p:grpSpPr>
          <p:sp>
            <p:nvSpPr>
              <p:cNvPr id="102" name="Freeform 100">
                <a:extLst>
                  <a:ext uri="{FF2B5EF4-FFF2-40B4-BE49-F238E27FC236}">
                    <a16:creationId xmlns:a16="http://schemas.microsoft.com/office/drawing/2014/main" id="{78996271-826B-47C2-B466-80BBC514FB25}"/>
                  </a:ext>
                </a:extLst>
              </p:cNvPr>
              <p:cNvSpPr/>
              <p:nvPr/>
            </p:nvSpPr>
            <p:spPr>
              <a:xfrm>
                <a:off x="4797695" y="2073335"/>
                <a:ext cx="11324" cy="28726"/>
              </a:xfrm>
              <a:custGeom>
                <a:avLst/>
                <a:gdLst>
                  <a:gd name="connsiteX0" fmla="*/ 0 w 11324"/>
                  <a:gd name="connsiteY0" fmla="*/ 0 h 28726"/>
                  <a:gd name="connsiteX1" fmla="*/ 0 w 11324"/>
                  <a:gd name="connsiteY1" fmla="*/ 28726 h 28726"/>
                </a:gdLst>
                <a:ahLst/>
                <a:cxnLst>
                  <a:cxn ang="0">
                    <a:pos x="connsiteX0" y="connsiteY0"/>
                  </a:cxn>
                  <a:cxn ang="0">
                    <a:pos x="connsiteX1" y="connsiteY1"/>
                  </a:cxn>
                </a:cxnLst>
                <a:rect l="l" t="t" r="r" b="b"/>
                <a:pathLst>
                  <a:path w="11324" h="28726">
                    <a:moveTo>
                      <a:pt x="0" y="0"/>
                    </a:moveTo>
                    <a:lnTo>
                      <a:pt x="0" y="28726"/>
                    </a:lnTo>
                  </a:path>
                </a:pathLst>
              </a:custGeom>
              <a:ln w="6350" cap="flat">
                <a:solidFill>
                  <a:srgbClr val="D7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3" name="Freeform 101">
                <a:extLst>
                  <a:ext uri="{FF2B5EF4-FFF2-40B4-BE49-F238E27FC236}">
                    <a16:creationId xmlns:a16="http://schemas.microsoft.com/office/drawing/2014/main" id="{EB5E2FE7-72D2-4FB2-8AD4-2FD760489113}"/>
                  </a:ext>
                </a:extLst>
              </p:cNvPr>
              <p:cNvSpPr/>
              <p:nvPr/>
            </p:nvSpPr>
            <p:spPr>
              <a:xfrm>
                <a:off x="4783426" y="2087755"/>
                <a:ext cx="28650" cy="11354"/>
              </a:xfrm>
              <a:custGeom>
                <a:avLst/>
                <a:gdLst>
                  <a:gd name="connsiteX0" fmla="*/ 0 w 28650"/>
                  <a:gd name="connsiteY0" fmla="*/ 0 h 11354"/>
                  <a:gd name="connsiteX1" fmla="*/ 28651 w 28650"/>
                  <a:gd name="connsiteY1" fmla="*/ 0 h 11354"/>
                </a:gdLst>
                <a:ahLst/>
                <a:cxnLst>
                  <a:cxn ang="0">
                    <a:pos x="connsiteX0" y="connsiteY0"/>
                  </a:cxn>
                  <a:cxn ang="0">
                    <a:pos x="connsiteX1" y="connsiteY1"/>
                  </a:cxn>
                </a:cxnLst>
                <a:rect l="l" t="t" r="r" b="b"/>
                <a:pathLst>
                  <a:path w="28650" h="11354">
                    <a:moveTo>
                      <a:pt x="0" y="0"/>
                    </a:moveTo>
                    <a:lnTo>
                      <a:pt x="28651" y="0"/>
                    </a:lnTo>
                  </a:path>
                </a:pathLst>
              </a:custGeom>
              <a:ln w="6350" cap="flat">
                <a:solidFill>
                  <a:srgbClr val="D7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63" name="Graphic 20656">
              <a:extLst>
                <a:ext uri="{FF2B5EF4-FFF2-40B4-BE49-F238E27FC236}">
                  <a16:creationId xmlns:a16="http://schemas.microsoft.com/office/drawing/2014/main" id="{DF0C2633-5C5D-4FCA-8C13-321240A300F2}"/>
                </a:ext>
              </a:extLst>
            </p:cNvPr>
            <p:cNvGrpSpPr/>
            <p:nvPr/>
          </p:nvGrpSpPr>
          <p:grpSpPr>
            <a:xfrm>
              <a:off x="4783992" y="2061527"/>
              <a:ext cx="28763" cy="28726"/>
              <a:chOff x="4783992" y="2061527"/>
              <a:chExt cx="28763" cy="28726"/>
            </a:xfrm>
          </p:grpSpPr>
          <p:sp>
            <p:nvSpPr>
              <p:cNvPr id="100" name="Freeform 98">
                <a:extLst>
                  <a:ext uri="{FF2B5EF4-FFF2-40B4-BE49-F238E27FC236}">
                    <a16:creationId xmlns:a16="http://schemas.microsoft.com/office/drawing/2014/main" id="{5813464C-9A2D-4A92-A80F-227958CEAEFD}"/>
                  </a:ext>
                </a:extLst>
              </p:cNvPr>
              <p:cNvSpPr/>
              <p:nvPr/>
            </p:nvSpPr>
            <p:spPr>
              <a:xfrm>
                <a:off x="4798374" y="2061527"/>
                <a:ext cx="11324" cy="28726"/>
              </a:xfrm>
              <a:custGeom>
                <a:avLst/>
                <a:gdLst>
                  <a:gd name="connsiteX0" fmla="*/ 0 w 11324"/>
                  <a:gd name="connsiteY0" fmla="*/ 0 h 28726"/>
                  <a:gd name="connsiteX1" fmla="*/ 0 w 11324"/>
                  <a:gd name="connsiteY1" fmla="*/ 28726 h 28726"/>
                </a:gdLst>
                <a:ahLst/>
                <a:cxnLst>
                  <a:cxn ang="0">
                    <a:pos x="connsiteX0" y="connsiteY0"/>
                  </a:cxn>
                  <a:cxn ang="0">
                    <a:pos x="connsiteX1" y="connsiteY1"/>
                  </a:cxn>
                </a:cxnLst>
                <a:rect l="l" t="t" r="r" b="b"/>
                <a:pathLst>
                  <a:path w="11324" h="28726">
                    <a:moveTo>
                      <a:pt x="0" y="0"/>
                    </a:moveTo>
                    <a:lnTo>
                      <a:pt x="0" y="28726"/>
                    </a:lnTo>
                  </a:path>
                </a:pathLst>
              </a:custGeom>
              <a:ln w="6350" cap="flat">
                <a:solidFill>
                  <a:srgbClr val="D7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1" name="Freeform 99">
                <a:extLst>
                  <a:ext uri="{FF2B5EF4-FFF2-40B4-BE49-F238E27FC236}">
                    <a16:creationId xmlns:a16="http://schemas.microsoft.com/office/drawing/2014/main" id="{C72465D9-0956-4B3C-A369-DB24D7CB28A0}"/>
                  </a:ext>
                </a:extLst>
              </p:cNvPr>
              <p:cNvSpPr/>
              <p:nvPr/>
            </p:nvSpPr>
            <p:spPr>
              <a:xfrm>
                <a:off x="4783992" y="2075833"/>
                <a:ext cx="28763" cy="11354"/>
              </a:xfrm>
              <a:custGeom>
                <a:avLst/>
                <a:gdLst>
                  <a:gd name="connsiteX0" fmla="*/ 0 w 28763"/>
                  <a:gd name="connsiteY0" fmla="*/ 0 h 11354"/>
                  <a:gd name="connsiteX1" fmla="*/ 28764 w 28763"/>
                  <a:gd name="connsiteY1" fmla="*/ 0 h 11354"/>
                </a:gdLst>
                <a:ahLst/>
                <a:cxnLst>
                  <a:cxn ang="0">
                    <a:pos x="connsiteX0" y="connsiteY0"/>
                  </a:cxn>
                  <a:cxn ang="0">
                    <a:pos x="connsiteX1" y="connsiteY1"/>
                  </a:cxn>
                </a:cxnLst>
                <a:rect l="l" t="t" r="r" b="b"/>
                <a:pathLst>
                  <a:path w="28763" h="11354">
                    <a:moveTo>
                      <a:pt x="0" y="0"/>
                    </a:moveTo>
                    <a:lnTo>
                      <a:pt x="28764" y="0"/>
                    </a:lnTo>
                  </a:path>
                </a:pathLst>
              </a:custGeom>
              <a:ln w="6350" cap="flat">
                <a:solidFill>
                  <a:srgbClr val="D7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64" name="Graphic 20656">
              <a:extLst>
                <a:ext uri="{FF2B5EF4-FFF2-40B4-BE49-F238E27FC236}">
                  <a16:creationId xmlns:a16="http://schemas.microsoft.com/office/drawing/2014/main" id="{56A7B152-8C90-4DEE-8F3C-BD8DBADF541C}"/>
                </a:ext>
              </a:extLst>
            </p:cNvPr>
            <p:cNvGrpSpPr/>
            <p:nvPr/>
          </p:nvGrpSpPr>
          <p:grpSpPr>
            <a:xfrm>
              <a:off x="4779802" y="2045177"/>
              <a:ext cx="28650" cy="28839"/>
              <a:chOff x="4779802" y="2045177"/>
              <a:chExt cx="28650" cy="28839"/>
            </a:xfrm>
          </p:grpSpPr>
          <p:sp>
            <p:nvSpPr>
              <p:cNvPr id="98" name="Freeform 96">
                <a:extLst>
                  <a:ext uri="{FF2B5EF4-FFF2-40B4-BE49-F238E27FC236}">
                    <a16:creationId xmlns:a16="http://schemas.microsoft.com/office/drawing/2014/main" id="{EB809E97-3D27-4464-9162-7DB68823B4B2}"/>
                  </a:ext>
                </a:extLst>
              </p:cNvPr>
              <p:cNvSpPr/>
              <p:nvPr/>
            </p:nvSpPr>
            <p:spPr>
              <a:xfrm>
                <a:off x="4794184" y="2045177"/>
                <a:ext cx="11324" cy="28839"/>
              </a:xfrm>
              <a:custGeom>
                <a:avLst/>
                <a:gdLst>
                  <a:gd name="connsiteX0" fmla="*/ 0 w 11324"/>
                  <a:gd name="connsiteY0" fmla="*/ 0 h 28839"/>
                  <a:gd name="connsiteX1" fmla="*/ 0 w 11324"/>
                  <a:gd name="connsiteY1" fmla="*/ 28840 h 28839"/>
                </a:gdLst>
                <a:ahLst/>
                <a:cxnLst>
                  <a:cxn ang="0">
                    <a:pos x="connsiteX0" y="connsiteY0"/>
                  </a:cxn>
                  <a:cxn ang="0">
                    <a:pos x="connsiteX1" y="connsiteY1"/>
                  </a:cxn>
                </a:cxnLst>
                <a:rect l="l" t="t" r="r" b="b"/>
                <a:pathLst>
                  <a:path w="11324" h="28839">
                    <a:moveTo>
                      <a:pt x="0" y="0"/>
                    </a:moveTo>
                    <a:lnTo>
                      <a:pt x="0" y="28840"/>
                    </a:lnTo>
                  </a:path>
                </a:pathLst>
              </a:custGeom>
              <a:ln w="6350" cap="flat">
                <a:solidFill>
                  <a:srgbClr val="D7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9" name="Freeform 97">
                <a:extLst>
                  <a:ext uri="{FF2B5EF4-FFF2-40B4-BE49-F238E27FC236}">
                    <a16:creationId xmlns:a16="http://schemas.microsoft.com/office/drawing/2014/main" id="{658EEAE5-08AF-4DF7-9C42-7F9FEF939B01}"/>
                  </a:ext>
                </a:extLst>
              </p:cNvPr>
              <p:cNvSpPr/>
              <p:nvPr/>
            </p:nvSpPr>
            <p:spPr>
              <a:xfrm>
                <a:off x="4779802" y="2059597"/>
                <a:ext cx="28650" cy="11354"/>
              </a:xfrm>
              <a:custGeom>
                <a:avLst/>
                <a:gdLst>
                  <a:gd name="connsiteX0" fmla="*/ 0 w 28650"/>
                  <a:gd name="connsiteY0" fmla="*/ 0 h 11354"/>
                  <a:gd name="connsiteX1" fmla="*/ 28651 w 28650"/>
                  <a:gd name="connsiteY1" fmla="*/ 0 h 11354"/>
                </a:gdLst>
                <a:ahLst/>
                <a:cxnLst>
                  <a:cxn ang="0">
                    <a:pos x="connsiteX0" y="connsiteY0"/>
                  </a:cxn>
                  <a:cxn ang="0">
                    <a:pos x="connsiteX1" y="connsiteY1"/>
                  </a:cxn>
                </a:cxnLst>
                <a:rect l="l" t="t" r="r" b="b"/>
                <a:pathLst>
                  <a:path w="28650" h="11354">
                    <a:moveTo>
                      <a:pt x="0" y="0"/>
                    </a:moveTo>
                    <a:lnTo>
                      <a:pt x="28651" y="0"/>
                    </a:lnTo>
                  </a:path>
                </a:pathLst>
              </a:custGeom>
              <a:ln w="6350" cap="flat">
                <a:solidFill>
                  <a:srgbClr val="D7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65" name="Graphic 20656">
              <a:extLst>
                <a:ext uri="{FF2B5EF4-FFF2-40B4-BE49-F238E27FC236}">
                  <a16:creationId xmlns:a16="http://schemas.microsoft.com/office/drawing/2014/main" id="{ACEA3B91-B865-4FA2-88EC-141E702546D0}"/>
                </a:ext>
              </a:extLst>
            </p:cNvPr>
            <p:cNvGrpSpPr/>
            <p:nvPr/>
          </p:nvGrpSpPr>
          <p:grpSpPr>
            <a:xfrm>
              <a:off x="4752057" y="1944578"/>
              <a:ext cx="28650" cy="28839"/>
              <a:chOff x="4752057" y="1944578"/>
              <a:chExt cx="28650" cy="28839"/>
            </a:xfrm>
          </p:grpSpPr>
          <p:sp>
            <p:nvSpPr>
              <p:cNvPr id="96" name="Freeform 94">
                <a:extLst>
                  <a:ext uri="{FF2B5EF4-FFF2-40B4-BE49-F238E27FC236}">
                    <a16:creationId xmlns:a16="http://schemas.microsoft.com/office/drawing/2014/main" id="{77EDFE26-4543-42C8-A07A-7596D16A493F}"/>
                  </a:ext>
                </a:extLst>
              </p:cNvPr>
              <p:cNvSpPr/>
              <p:nvPr/>
            </p:nvSpPr>
            <p:spPr>
              <a:xfrm>
                <a:off x="4766439" y="1944578"/>
                <a:ext cx="11324" cy="28839"/>
              </a:xfrm>
              <a:custGeom>
                <a:avLst/>
                <a:gdLst>
                  <a:gd name="connsiteX0" fmla="*/ 0 w 11324"/>
                  <a:gd name="connsiteY0" fmla="*/ 0 h 28839"/>
                  <a:gd name="connsiteX1" fmla="*/ 0 w 11324"/>
                  <a:gd name="connsiteY1" fmla="*/ 28840 h 28839"/>
                </a:gdLst>
                <a:ahLst/>
                <a:cxnLst>
                  <a:cxn ang="0">
                    <a:pos x="connsiteX0" y="connsiteY0"/>
                  </a:cxn>
                  <a:cxn ang="0">
                    <a:pos x="connsiteX1" y="connsiteY1"/>
                  </a:cxn>
                </a:cxnLst>
                <a:rect l="l" t="t" r="r" b="b"/>
                <a:pathLst>
                  <a:path w="11324" h="28839">
                    <a:moveTo>
                      <a:pt x="0" y="0"/>
                    </a:moveTo>
                    <a:lnTo>
                      <a:pt x="0" y="28840"/>
                    </a:lnTo>
                  </a:path>
                </a:pathLst>
              </a:custGeom>
              <a:ln w="6350" cap="flat">
                <a:solidFill>
                  <a:srgbClr val="D7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7" name="Freeform 95">
                <a:extLst>
                  <a:ext uri="{FF2B5EF4-FFF2-40B4-BE49-F238E27FC236}">
                    <a16:creationId xmlns:a16="http://schemas.microsoft.com/office/drawing/2014/main" id="{F3FD50C3-CECD-463B-8B2C-0364B3D04F10}"/>
                  </a:ext>
                </a:extLst>
              </p:cNvPr>
              <p:cNvSpPr/>
              <p:nvPr/>
            </p:nvSpPr>
            <p:spPr>
              <a:xfrm>
                <a:off x="4752057" y="1958998"/>
                <a:ext cx="28650" cy="11354"/>
              </a:xfrm>
              <a:custGeom>
                <a:avLst/>
                <a:gdLst>
                  <a:gd name="connsiteX0" fmla="*/ 0 w 28650"/>
                  <a:gd name="connsiteY0" fmla="*/ 0 h 11354"/>
                  <a:gd name="connsiteX1" fmla="*/ 28651 w 28650"/>
                  <a:gd name="connsiteY1" fmla="*/ 0 h 11354"/>
                </a:gdLst>
                <a:ahLst/>
                <a:cxnLst>
                  <a:cxn ang="0">
                    <a:pos x="connsiteX0" y="connsiteY0"/>
                  </a:cxn>
                  <a:cxn ang="0">
                    <a:pos x="connsiteX1" y="connsiteY1"/>
                  </a:cxn>
                </a:cxnLst>
                <a:rect l="l" t="t" r="r" b="b"/>
                <a:pathLst>
                  <a:path w="28650" h="11354">
                    <a:moveTo>
                      <a:pt x="0" y="0"/>
                    </a:moveTo>
                    <a:lnTo>
                      <a:pt x="28651" y="0"/>
                    </a:lnTo>
                  </a:path>
                </a:pathLst>
              </a:custGeom>
              <a:ln w="6350" cap="flat">
                <a:solidFill>
                  <a:srgbClr val="D7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66" name="Graphic 20656">
              <a:extLst>
                <a:ext uri="{FF2B5EF4-FFF2-40B4-BE49-F238E27FC236}">
                  <a16:creationId xmlns:a16="http://schemas.microsoft.com/office/drawing/2014/main" id="{8400276B-C566-4282-9BAB-0239A5BBDFA0}"/>
                </a:ext>
              </a:extLst>
            </p:cNvPr>
            <p:cNvGrpSpPr/>
            <p:nvPr/>
          </p:nvGrpSpPr>
          <p:grpSpPr>
            <a:xfrm>
              <a:off x="4746282" y="1944578"/>
              <a:ext cx="28763" cy="28839"/>
              <a:chOff x="4746282" y="1944578"/>
              <a:chExt cx="28763" cy="28839"/>
            </a:xfrm>
          </p:grpSpPr>
          <p:sp>
            <p:nvSpPr>
              <p:cNvPr id="94" name="Freeform 92">
                <a:extLst>
                  <a:ext uri="{FF2B5EF4-FFF2-40B4-BE49-F238E27FC236}">
                    <a16:creationId xmlns:a16="http://schemas.microsoft.com/office/drawing/2014/main" id="{EA105150-567E-4B86-9311-08617CC6A5E6}"/>
                  </a:ext>
                </a:extLst>
              </p:cNvPr>
              <p:cNvSpPr/>
              <p:nvPr/>
            </p:nvSpPr>
            <p:spPr>
              <a:xfrm>
                <a:off x="4760664" y="1944578"/>
                <a:ext cx="11324" cy="28839"/>
              </a:xfrm>
              <a:custGeom>
                <a:avLst/>
                <a:gdLst>
                  <a:gd name="connsiteX0" fmla="*/ 0 w 11324"/>
                  <a:gd name="connsiteY0" fmla="*/ 0 h 28839"/>
                  <a:gd name="connsiteX1" fmla="*/ 0 w 11324"/>
                  <a:gd name="connsiteY1" fmla="*/ 28840 h 28839"/>
                </a:gdLst>
                <a:ahLst/>
                <a:cxnLst>
                  <a:cxn ang="0">
                    <a:pos x="connsiteX0" y="connsiteY0"/>
                  </a:cxn>
                  <a:cxn ang="0">
                    <a:pos x="connsiteX1" y="connsiteY1"/>
                  </a:cxn>
                </a:cxnLst>
                <a:rect l="l" t="t" r="r" b="b"/>
                <a:pathLst>
                  <a:path w="11324" h="28839">
                    <a:moveTo>
                      <a:pt x="0" y="0"/>
                    </a:moveTo>
                    <a:lnTo>
                      <a:pt x="0" y="28840"/>
                    </a:lnTo>
                  </a:path>
                </a:pathLst>
              </a:custGeom>
              <a:ln w="6350" cap="flat">
                <a:solidFill>
                  <a:srgbClr val="D7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5" name="Freeform 93">
                <a:extLst>
                  <a:ext uri="{FF2B5EF4-FFF2-40B4-BE49-F238E27FC236}">
                    <a16:creationId xmlns:a16="http://schemas.microsoft.com/office/drawing/2014/main" id="{F166AD5B-7296-4F69-9327-AF5AB2AC468F}"/>
                  </a:ext>
                </a:extLst>
              </p:cNvPr>
              <p:cNvSpPr/>
              <p:nvPr/>
            </p:nvSpPr>
            <p:spPr>
              <a:xfrm>
                <a:off x="4746282" y="1958998"/>
                <a:ext cx="28763" cy="11354"/>
              </a:xfrm>
              <a:custGeom>
                <a:avLst/>
                <a:gdLst>
                  <a:gd name="connsiteX0" fmla="*/ 0 w 28763"/>
                  <a:gd name="connsiteY0" fmla="*/ 0 h 11354"/>
                  <a:gd name="connsiteX1" fmla="*/ 28764 w 28763"/>
                  <a:gd name="connsiteY1" fmla="*/ 0 h 11354"/>
                </a:gdLst>
                <a:ahLst/>
                <a:cxnLst>
                  <a:cxn ang="0">
                    <a:pos x="connsiteX0" y="connsiteY0"/>
                  </a:cxn>
                  <a:cxn ang="0">
                    <a:pos x="connsiteX1" y="connsiteY1"/>
                  </a:cxn>
                </a:cxnLst>
                <a:rect l="l" t="t" r="r" b="b"/>
                <a:pathLst>
                  <a:path w="28763" h="11354">
                    <a:moveTo>
                      <a:pt x="0" y="0"/>
                    </a:moveTo>
                    <a:lnTo>
                      <a:pt x="28764" y="0"/>
                    </a:lnTo>
                  </a:path>
                </a:pathLst>
              </a:custGeom>
              <a:ln w="6350" cap="flat">
                <a:solidFill>
                  <a:srgbClr val="D7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67" name="Graphic 20656">
              <a:extLst>
                <a:ext uri="{FF2B5EF4-FFF2-40B4-BE49-F238E27FC236}">
                  <a16:creationId xmlns:a16="http://schemas.microsoft.com/office/drawing/2014/main" id="{91631B81-C41E-4C5D-B242-AA4BA05BC364}"/>
                </a:ext>
              </a:extLst>
            </p:cNvPr>
            <p:cNvGrpSpPr/>
            <p:nvPr/>
          </p:nvGrpSpPr>
          <p:grpSpPr>
            <a:xfrm>
              <a:off x="4683998" y="1809463"/>
              <a:ext cx="28650" cy="28726"/>
              <a:chOff x="4683998" y="1809463"/>
              <a:chExt cx="28650" cy="28726"/>
            </a:xfrm>
          </p:grpSpPr>
          <p:sp>
            <p:nvSpPr>
              <p:cNvPr id="92" name="Freeform 90">
                <a:extLst>
                  <a:ext uri="{FF2B5EF4-FFF2-40B4-BE49-F238E27FC236}">
                    <a16:creationId xmlns:a16="http://schemas.microsoft.com/office/drawing/2014/main" id="{F919BB21-3F3A-4C64-B691-5663F44401F4}"/>
                  </a:ext>
                </a:extLst>
              </p:cNvPr>
              <p:cNvSpPr/>
              <p:nvPr/>
            </p:nvSpPr>
            <p:spPr>
              <a:xfrm>
                <a:off x="4698380" y="1809463"/>
                <a:ext cx="11324" cy="28726"/>
              </a:xfrm>
              <a:custGeom>
                <a:avLst/>
                <a:gdLst>
                  <a:gd name="connsiteX0" fmla="*/ 0 w 11324"/>
                  <a:gd name="connsiteY0" fmla="*/ 0 h 28726"/>
                  <a:gd name="connsiteX1" fmla="*/ 0 w 11324"/>
                  <a:gd name="connsiteY1" fmla="*/ 28726 h 28726"/>
                </a:gdLst>
                <a:ahLst/>
                <a:cxnLst>
                  <a:cxn ang="0">
                    <a:pos x="connsiteX0" y="connsiteY0"/>
                  </a:cxn>
                  <a:cxn ang="0">
                    <a:pos x="connsiteX1" y="connsiteY1"/>
                  </a:cxn>
                </a:cxnLst>
                <a:rect l="l" t="t" r="r" b="b"/>
                <a:pathLst>
                  <a:path w="11324" h="28726">
                    <a:moveTo>
                      <a:pt x="0" y="0"/>
                    </a:moveTo>
                    <a:lnTo>
                      <a:pt x="0" y="28726"/>
                    </a:lnTo>
                  </a:path>
                </a:pathLst>
              </a:custGeom>
              <a:ln w="6350" cap="flat">
                <a:solidFill>
                  <a:srgbClr val="D7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3" name="Freeform 91">
                <a:extLst>
                  <a:ext uri="{FF2B5EF4-FFF2-40B4-BE49-F238E27FC236}">
                    <a16:creationId xmlns:a16="http://schemas.microsoft.com/office/drawing/2014/main" id="{9D8EAB30-C7BE-4DCC-92BA-BB44A312A0B1}"/>
                  </a:ext>
                </a:extLst>
              </p:cNvPr>
              <p:cNvSpPr/>
              <p:nvPr/>
            </p:nvSpPr>
            <p:spPr>
              <a:xfrm>
                <a:off x="4683998" y="1823883"/>
                <a:ext cx="28650" cy="11354"/>
              </a:xfrm>
              <a:custGeom>
                <a:avLst/>
                <a:gdLst>
                  <a:gd name="connsiteX0" fmla="*/ 0 w 28650"/>
                  <a:gd name="connsiteY0" fmla="*/ 0 h 11354"/>
                  <a:gd name="connsiteX1" fmla="*/ 28651 w 28650"/>
                  <a:gd name="connsiteY1" fmla="*/ 0 h 11354"/>
                </a:gdLst>
                <a:ahLst/>
                <a:cxnLst>
                  <a:cxn ang="0">
                    <a:pos x="connsiteX0" y="connsiteY0"/>
                  </a:cxn>
                  <a:cxn ang="0">
                    <a:pos x="connsiteX1" y="connsiteY1"/>
                  </a:cxn>
                </a:cxnLst>
                <a:rect l="l" t="t" r="r" b="b"/>
                <a:pathLst>
                  <a:path w="28650" h="11354">
                    <a:moveTo>
                      <a:pt x="0" y="0"/>
                    </a:moveTo>
                    <a:lnTo>
                      <a:pt x="28651" y="0"/>
                    </a:lnTo>
                  </a:path>
                </a:pathLst>
              </a:custGeom>
              <a:ln w="6350" cap="flat">
                <a:solidFill>
                  <a:srgbClr val="D7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68" name="Graphic 20656">
              <a:extLst>
                <a:ext uri="{FF2B5EF4-FFF2-40B4-BE49-F238E27FC236}">
                  <a16:creationId xmlns:a16="http://schemas.microsoft.com/office/drawing/2014/main" id="{54C1CE0A-31CE-487E-B6FE-09FDFCD4A2A9}"/>
                </a:ext>
              </a:extLst>
            </p:cNvPr>
            <p:cNvGrpSpPr/>
            <p:nvPr/>
          </p:nvGrpSpPr>
          <p:grpSpPr>
            <a:xfrm>
              <a:off x="4682865" y="1653229"/>
              <a:ext cx="28650" cy="28726"/>
              <a:chOff x="4682865" y="1653229"/>
              <a:chExt cx="28650" cy="28726"/>
            </a:xfrm>
          </p:grpSpPr>
          <p:sp>
            <p:nvSpPr>
              <p:cNvPr id="90" name="Freeform 88">
                <a:extLst>
                  <a:ext uri="{FF2B5EF4-FFF2-40B4-BE49-F238E27FC236}">
                    <a16:creationId xmlns:a16="http://schemas.microsoft.com/office/drawing/2014/main" id="{C0EB617C-AC2A-4B49-AD5F-1E803005252F}"/>
                  </a:ext>
                </a:extLst>
              </p:cNvPr>
              <p:cNvSpPr/>
              <p:nvPr/>
            </p:nvSpPr>
            <p:spPr>
              <a:xfrm>
                <a:off x="4697247" y="1653229"/>
                <a:ext cx="11324" cy="28726"/>
              </a:xfrm>
              <a:custGeom>
                <a:avLst/>
                <a:gdLst>
                  <a:gd name="connsiteX0" fmla="*/ 0 w 11324"/>
                  <a:gd name="connsiteY0" fmla="*/ 0 h 28726"/>
                  <a:gd name="connsiteX1" fmla="*/ 0 w 11324"/>
                  <a:gd name="connsiteY1" fmla="*/ 28726 h 28726"/>
                </a:gdLst>
                <a:ahLst/>
                <a:cxnLst>
                  <a:cxn ang="0">
                    <a:pos x="connsiteX0" y="connsiteY0"/>
                  </a:cxn>
                  <a:cxn ang="0">
                    <a:pos x="connsiteX1" y="connsiteY1"/>
                  </a:cxn>
                </a:cxnLst>
                <a:rect l="l" t="t" r="r" b="b"/>
                <a:pathLst>
                  <a:path w="11324" h="28726">
                    <a:moveTo>
                      <a:pt x="0" y="0"/>
                    </a:moveTo>
                    <a:lnTo>
                      <a:pt x="0" y="28726"/>
                    </a:lnTo>
                  </a:path>
                </a:pathLst>
              </a:custGeom>
              <a:ln w="6350" cap="flat">
                <a:solidFill>
                  <a:srgbClr val="D7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1" name="Freeform 89">
                <a:extLst>
                  <a:ext uri="{FF2B5EF4-FFF2-40B4-BE49-F238E27FC236}">
                    <a16:creationId xmlns:a16="http://schemas.microsoft.com/office/drawing/2014/main" id="{60ED4B11-B99A-41D7-973C-F3CE7C3F16BA}"/>
                  </a:ext>
                </a:extLst>
              </p:cNvPr>
              <p:cNvSpPr/>
              <p:nvPr/>
            </p:nvSpPr>
            <p:spPr>
              <a:xfrm>
                <a:off x="4682865" y="1667536"/>
                <a:ext cx="28650" cy="11354"/>
              </a:xfrm>
              <a:custGeom>
                <a:avLst/>
                <a:gdLst>
                  <a:gd name="connsiteX0" fmla="*/ 0 w 28650"/>
                  <a:gd name="connsiteY0" fmla="*/ 0 h 11354"/>
                  <a:gd name="connsiteX1" fmla="*/ 28651 w 28650"/>
                  <a:gd name="connsiteY1" fmla="*/ 0 h 11354"/>
                </a:gdLst>
                <a:ahLst/>
                <a:cxnLst>
                  <a:cxn ang="0">
                    <a:pos x="connsiteX0" y="connsiteY0"/>
                  </a:cxn>
                  <a:cxn ang="0">
                    <a:pos x="connsiteX1" y="connsiteY1"/>
                  </a:cxn>
                </a:cxnLst>
                <a:rect l="l" t="t" r="r" b="b"/>
                <a:pathLst>
                  <a:path w="28650" h="11354">
                    <a:moveTo>
                      <a:pt x="0" y="0"/>
                    </a:moveTo>
                    <a:lnTo>
                      <a:pt x="28651" y="0"/>
                    </a:lnTo>
                  </a:path>
                </a:pathLst>
              </a:custGeom>
              <a:ln w="6350" cap="flat">
                <a:solidFill>
                  <a:srgbClr val="D7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69" name="Graphic 20656">
              <a:extLst>
                <a:ext uri="{FF2B5EF4-FFF2-40B4-BE49-F238E27FC236}">
                  <a16:creationId xmlns:a16="http://schemas.microsoft.com/office/drawing/2014/main" id="{8156C05A-BD61-4BE9-B2F2-63AC8878C22A}"/>
                </a:ext>
              </a:extLst>
            </p:cNvPr>
            <p:cNvGrpSpPr/>
            <p:nvPr/>
          </p:nvGrpSpPr>
          <p:grpSpPr>
            <a:xfrm>
              <a:off x="4680714" y="1514708"/>
              <a:ext cx="28650" cy="28726"/>
              <a:chOff x="4680714" y="1514708"/>
              <a:chExt cx="28650" cy="28726"/>
            </a:xfrm>
          </p:grpSpPr>
          <p:sp>
            <p:nvSpPr>
              <p:cNvPr id="88" name="Freeform 86">
                <a:extLst>
                  <a:ext uri="{FF2B5EF4-FFF2-40B4-BE49-F238E27FC236}">
                    <a16:creationId xmlns:a16="http://schemas.microsoft.com/office/drawing/2014/main" id="{5E9E0FF8-278A-40BA-B467-F090042F189D}"/>
                  </a:ext>
                </a:extLst>
              </p:cNvPr>
              <p:cNvSpPr/>
              <p:nvPr/>
            </p:nvSpPr>
            <p:spPr>
              <a:xfrm>
                <a:off x="4694982" y="1514708"/>
                <a:ext cx="11324" cy="28726"/>
              </a:xfrm>
              <a:custGeom>
                <a:avLst/>
                <a:gdLst>
                  <a:gd name="connsiteX0" fmla="*/ 0 w 11324"/>
                  <a:gd name="connsiteY0" fmla="*/ 0 h 28726"/>
                  <a:gd name="connsiteX1" fmla="*/ 0 w 11324"/>
                  <a:gd name="connsiteY1" fmla="*/ 28726 h 28726"/>
                </a:gdLst>
                <a:ahLst/>
                <a:cxnLst>
                  <a:cxn ang="0">
                    <a:pos x="connsiteX0" y="connsiteY0"/>
                  </a:cxn>
                  <a:cxn ang="0">
                    <a:pos x="connsiteX1" y="connsiteY1"/>
                  </a:cxn>
                </a:cxnLst>
                <a:rect l="l" t="t" r="r" b="b"/>
                <a:pathLst>
                  <a:path w="11324" h="28726">
                    <a:moveTo>
                      <a:pt x="0" y="0"/>
                    </a:moveTo>
                    <a:lnTo>
                      <a:pt x="0" y="28726"/>
                    </a:lnTo>
                  </a:path>
                </a:pathLst>
              </a:custGeom>
              <a:ln w="6350" cap="flat">
                <a:solidFill>
                  <a:srgbClr val="D7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9" name="Freeform 87">
                <a:extLst>
                  <a:ext uri="{FF2B5EF4-FFF2-40B4-BE49-F238E27FC236}">
                    <a16:creationId xmlns:a16="http://schemas.microsoft.com/office/drawing/2014/main" id="{AD4BD8A4-B3BF-434B-AA03-09F2D8D6B9FC}"/>
                  </a:ext>
                </a:extLst>
              </p:cNvPr>
              <p:cNvSpPr/>
              <p:nvPr/>
            </p:nvSpPr>
            <p:spPr>
              <a:xfrm>
                <a:off x="4680714" y="1529014"/>
                <a:ext cx="28650" cy="11354"/>
              </a:xfrm>
              <a:custGeom>
                <a:avLst/>
                <a:gdLst>
                  <a:gd name="connsiteX0" fmla="*/ 0 w 28650"/>
                  <a:gd name="connsiteY0" fmla="*/ 0 h 11354"/>
                  <a:gd name="connsiteX1" fmla="*/ 28651 w 28650"/>
                  <a:gd name="connsiteY1" fmla="*/ 0 h 11354"/>
                </a:gdLst>
                <a:ahLst/>
                <a:cxnLst>
                  <a:cxn ang="0">
                    <a:pos x="connsiteX0" y="connsiteY0"/>
                  </a:cxn>
                  <a:cxn ang="0">
                    <a:pos x="connsiteX1" y="connsiteY1"/>
                  </a:cxn>
                </a:cxnLst>
                <a:rect l="l" t="t" r="r" b="b"/>
                <a:pathLst>
                  <a:path w="28650" h="11354">
                    <a:moveTo>
                      <a:pt x="0" y="0"/>
                    </a:moveTo>
                    <a:lnTo>
                      <a:pt x="28651" y="0"/>
                    </a:lnTo>
                  </a:path>
                </a:pathLst>
              </a:custGeom>
              <a:ln w="6350" cap="flat">
                <a:solidFill>
                  <a:srgbClr val="D7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70" name="Graphic 20656">
              <a:extLst>
                <a:ext uri="{FF2B5EF4-FFF2-40B4-BE49-F238E27FC236}">
                  <a16:creationId xmlns:a16="http://schemas.microsoft.com/office/drawing/2014/main" id="{80A2EFD6-8839-432D-9AF4-CC84D66F01A5}"/>
                </a:ext>
              </a:extLst>
            </p:cNvPr>
            <p:cNvGrpSpPr/>
            <p:nvPr/>
          </p:nvGrpSpPr>
          <p:grpSpPr>
            <a:xfrm>
              <a:off x="4678222" y="1435228"/>
              <a:ext cx="28650" cy="28839"/>
              <a:chOff x="4678222" y="1435228"/>
              <a:chExt cx="28650" cy="28839"/>
            </a:xfrm>
          </p:grpSpPr>
          <p:sp>
            <p:nvSpPr>
              <p:cNvPr id="86" name="Freeform 84">
                <a:extLst>
                  <a:ext uri="{FF2B5EF4-FFF2-40B4-BE49-F238E27FC236}">
                    <a16:creationId xmlns:a16="http://schemas.microsoft.com/office/drawing/2014/main" id="{D2ED2ECC-A9E5-4A8E-9048-0B0212EC65D7}"/>
                  </a:ext>
                </a:extLst>
              </p:cNvPr>
              <p:cNvSpPr/>
              <p:nvPr/>
            </p:nvSpPr>
            <p:spPr>
              <a:xfrm>
                <a:off x="4692491" y="1435228"/>
                <a:ext cx="11324" cy="28839"/>
              </a:xfrm>
              <a:custGeom>
                <a:avLst/>
                <a:gdLst>
                  <a:gd name="connsiteX0" fmla="*/ 0 w 11324"/>
                  <a:gd name="connsiteY0" fmla="*/ 0 h 28839"/>
                  <a:gd name="connsiteX1" fmla="*/ 0 w 11324"/>
                  <a:gd name="connsiteY1" fmla="*/ 28840 h 28839"/>
                </a:gdLst>
                <a:ahLst/>
                <a:cxnLst>
                  <a:cxn ang="0">
                    <a:pos x="connsiteX0" y="connsiteY0"/>
                  </a:cxn>
                  <a:cxn ang="0">
                    <a:pos x="connsiteX1" y="connsiteY1"/>
                  </a:cxn>
                </a:cxnLst>
                <a:rect l="l" t="t" r="r" b="b"/>
                <a:pathLst>
                  <a:path w="11324" h="28839">
                    <a:moveTo>
                      <a:pt x="0" y="0"/>
                    </a:moveTo>
                    <a:lnTo>
                      <a:pt x="0" y="28840"/>
                    </a:lnTo>
                  </a:path>
                </a:pathLst>
              </a:custGeom>
              <a:ln w="6350" cap="flat">
                <a:solidFill>
                  <a:srgbClr val="D7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7" name="Freeform 85">
                <a:extLst>
                  <a:ext uri="{FF2B5EF4-FFF2-40B4-BE49-F238E27FC236}">
                    <a16:creationId xmlns:a16="http://schemas.microsoft.com/office/drawing/2014/main" id="{269D8E8A-01B0-4CAE-9FF4-5EE61DC27339}"/>
                  </a:ext>
                </a:extLst>
              </p:cNvPr>
              <p:cNvSpPr/>
              <p:nvPr/>
            </p:nvSpPr>
            <p:spPr>
              <a:xfrm>
                <a:off x="4678222" y="1449648"/>
                <a:ext cx="28650" cy="11354"/>
              </a:xfrm>
              <a:custGeom>
                <a:avLst/>
                <a:gdLst>
                  <a:gd name="connsiteX0" fmla="*/ 0 w 28650"/>
                  <a:gd name="connsiteY0" fmla="*/ 0 h 11354"/>
                  <a:gd name="connsiteX1" fmla="*/ 28651 w 28650"/>
                  <a:gd name="connsiteY1" fmla="*/ 0 h 11354"/>
                </a:gdLst>
                <a:ahLst/>
                <a:cxnLst>
                  <a:cxn ang="0">
                    <a:pos x="connsiteX0" y="connsiteY0"/>
                  </a:cxn>
                  <a:cxn ang="0">
                    <a:pos x="connsiteX1" y="connsiteY1"/>
                  </a:cxn>
                </a:cxnLst>
                <a:rect l="l" t="t" r="r" b="b"/>
                <a:pathLst>
                  <a:path w="28650" h="11354">
                    <a:moveTo>
                      <a:pt x="0" y="0"/>
                    </a:moveTo>
                    <a:lnTo>
                      <a:pt x="28651" y="0"/>
                    </a:lnTo>
                  </a:path>
                </a:pathLst>
              </a:custGeom>
              <a:ln w="6350" cap="flat">
                <a:solidFill>
                  <a:srgbClr val="D7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71" name="Graphic 20656">
              <a:extLst>
                <a:ext uri="{FF2B5EF4-FFF2-40B4-BE49-F238E27FC236}">
                  <a16:creationId xmlns:a16="http://schemas.microsoft.com/office/drawing/2014/main" id="{32E8467A-B175-44C4-B064-4F7B94483D65}"/>
                </a:ext>
              </a:extLst>
            </p:cNvPr>
            <p:cNvGrpSpPr/>
            <p:nvPr/>
          </p:nvGrpSpPr>
          <p:grpSpPr>
            <a:xfrm>
              <a:off x="4675165" y="1392537"/>
              <a:ext cx="28763" cy="28726"/>
              <a:chOff x="4675165" y="1392537"/>
              <a:chExt cx="28763" cy="28726"/>
            </a:xfrm>
          </p:grpSpPr>
          <p:sp>
            <p:nvSpPr>
              <p:cNvPr id="84" name="Freeform 82">
                <a:extLst>
                  <a:ext uri="{FF2B5EF4-FFF2-40B4-BE49-F238E27FC236}">
                    <a16:creationId xmlns:a16="http://schemas.microsoft.com/office/drawing/2014/main" id="{B5CA9CC8-8D7E-4A1E-9D0A-5E8317E08C4C}"/>
                  </a:ext>
                </a:extLst>
              </p:cNvPr>
              <p:cNvSpPr/>
              <p:nvPr/>
            </p:nvSpPr>
            <p:spPr>
              <a:xfrm>
                <a:off x="4689547" y="1392537"/>
                <a:ext cx="11324" cy="28726"/>
              </a:xfrm>
              <a:custGeom>
                <a:avLst/>
                <a:gdLst>
                  <a:gd name="connsiteX0" fmla="*/ 0 w 11324"/>
                  <a:gd name="connsiteY0" fmla="*/ 0 h 28726"/>
                  <a:gd name="connsiteX1" fmla="*/ 0 w 11324"/>
                  <a:gd name="connsiteY1" fmla="*/ 28726 h 28726"/>
                </a:gdLst>
                <a:ahLst/>
                <a:cxnLst>
                  <a:cxn ang="0">
                    <a:pos x="connsiteX0" y="connsiteY0"/>
                  </a:cxn>
                  <a:cxn ang="0">
                    <a:pos x="connsiteX1" y="connsiteY1"/>
                  </a:cxn>
                </a:cxnLst>
                <a:rect l="l" t="t" r="r" b="b"/>
                <a:pathLst>
                  <a:path w="11324" h="28726">
                    <a:moveTo>
                      <a:pt x="0" y="0"/>
                    </a:moveTo>
                    <a:lnTo>
                      <a:pt x="0" y="28726"/>
                    </a:lnTo>
                  </a:path>
                </a:pathLst>
              </a:custGeom>
              <a:ln w="6350" cap="flat">
                <a:solidFill>
                  <a:srgbClr val="D7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5" name="Freeform 83">
                <a:extLst>
                  <a:ext uri="{FF2B5EF4-FFF2-40B4-BE49-F238E27FC236}">
                    <a16:creationId xmlns:a16="http://schemas.microsoft.com/office/drawing/2014/main" id="{531EF219-A4BE-4731-B9F8-18C2E147E5C6}"/>
                  </a:ext>
                </a:extLst>
              </p:cNvPr>
              <p:cNvSpPr/>
              <p:nvPr/>
            </p:nvSpPr>
            <p:spPr>
              <a:xfrm>
                <a:off x="4675165" y="1406843"/>
                <a:ext cx="28763" cy="11354"/>
              </a:xfrm>
              <a:custGeom>
                <a:avLst/>
                <a:gdLst>
                  <a:gd name="connsiteX0" fmla="*/ 0 w 28763"/>
                  <a:gd name="connsiteY0" fmla="*/ 0 h 11354"/>
                  <a:gd name="connsiteX1" fmla="*/ 28764 w 28763"/>
                  <a:gd name="connsiteY1" fmla="*/ 0 h 11354"/>
                </a:gdLst>
                <a:ahLst/>
                <a:cxnLst>
                  <a:cxn ang="0">
                    <a:pos x="connsiteX0" y="connsiteY0"/>
                  </a:cxn>
                  <a:cxn ang="0">
                    <a:pos x="connsiteX1" y="connsiteY1"/>
                  </a:cxn>
                </a:cxnLst>
                <a:rect l="l" t="t" r="r" b="b"/>
                <a:pathLst>
                  <a:path w="28763" h="11354">
                    <a:moveTo>
                      <a:pt x="0" y="0"/>
                    </a:moveTo>
                    <a:lnTo>
                      <a:pt x="28764" y="0"/>
                    </a:lnTo>
                  </a:path>
                </a:pathLst>
              </a:custGeom>
              <a:ln w="6350" cap="flat">
                <a:solidFill>
                  <a:srgbClr val="D7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72" name="Graphic 20656">
              <a:extLst>
                <a:ext uri="{FF2B5EF4-FFF2-40B4-BE49-F238E27FC236}">
                  <a16:creationId xmlns:a16="http://schemas.microsoft.com/office/drawing/2014/main" id="{F76C7522-EDF3-4647-8140-299F1B17E3D5}"/>
                </a:ext>
              </a:extLst>
            </p:cNvPr>
            <p:cNvGrpSpPr/>
            <p:nvPr/>
          </p:nvGrpSpPr>
          <p:grpSpPr>
            <a:xfrm>
              <a:off x="4673353" y="1344622"/>
              <a:ext cx="28650" cy="28839"/>
              <a:chOff x="4673353" y="1344622"/>
              <a:chExt cx="28650" cy="28839"/>
            </a:xfrm>
          </p:grpSpPr>
          <p:sp>
            <p:nvSpPr>
              <p:cNvPr id="82" name="Freeform 80">
                <a:extLst>
                  <a:ext uri="{FF2B5EF4-FFF2-40B4-BE49-F238E27FC236}">
                    <a16:creationId xmlns:a16="http://schemas.microsoft.com/office/drawing/2014/main" id="{EBA49C64-D9ED-4CBE-88F2-663C102323F9}"/>
                  </a:ext>
                </a:extLst>
              </p:cNvPr>
              <p:cNvSpPr/>
              <p:nvPr/>
            </p:nvSpPr>
            <p:spPr>
              <a:xfrm>
                <a:off x="4687735" y="1344622"/>
                <a:ext cx="11324" cy="28839"/>
              </a:xfrm>
              <a:custGeom>
                <a:avLst/>
                <a:gdLst>
                  <a:gd name="connsiteX0" fmla="*/ 0 w 11324"/>
                  <a:gd name="connsiteY0" fmla="*/ 0 h 28839"/>
                  <a:gd name="connsiteX1" fmla="*/ 0 w 11324"/>
                  <a:gd name="connsiteY1" fmla="*/ 28840 h 28839"/>
                </a:gdLst>
                <a:ahLst/>
                <a:cxnLst>
                  <a:cxn ang="0">
                    <a:pos x="connsiteX0" y="connsiteY0"/>
                  </a:cxn>
                  <a:cxn ang="0">
                    <a:pos x="connsiteX1" y="connsiteY1"/>
                  </a:cxn>
                </a:cxnLst>
                <a:rect l="l" t="t" r="r" b="b"/>
                <a:pathLst>
                  <a:path w="11324" h="28839">
                    <a:moveTo>
                      <a:pt x="0" y="0"/>
                    </a:moveTo>
                    <a:lnTo>
                      <a:pt x="0" y="28840"/>
                    </a:lnTo>
                  </a:path>
                </a:pathLst>
              </a:custGeom>
              <a:ln w="6350" cap="flat">
                <a:solidFill>
                  <a:srgbClr val="D7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3" name="Freeform 81">
                <a:extLst>
                  <a:ext uri="{FF2B5EF4-FFF2-40B4-BE49-F238E27FC236}">
                    <a16:creationId xmlns:a16="http://schemas.microsoft.com/office/drawing/2014/main" id="{11205FA6-612F-45BC-B99C-7362E4D4D763}"/>
                  </a:ext>
                </a:extLst>
              </p:cNvPr>
              <p:cNvSpPr/>
              <p:nvPr/>
            </p:nvSpPr>
            <p:spPr>
              <a:xfrm>
                <a:off x="4673353" y="1359042"/>
                <a:ext cx="28650" cy="11354"/>
              </a:xfrm>
              <a:custGeom>
                <a:avLst/>
                <a:gdLst>
                  <a:gd name="connsiteX0" fmla="*/ 0 w 28650"/>
                  <a:gd name="connsiteY0" fmla="*/ 0 h 11354"/>
                  <a:gd name="connsiteX1" fmla="*/ 28651 w 28650"/>
                  <a:gd name="connsiteY1" fmla="*/ 0 h 11354"/>
                </a:gdLst>
                <a:ahLst/>
                <a:cxnLst>
                  <a:cxn ang="0">
                    <a:pos x="connsiteX0" y="connsiteY0"/>
                  </a:cxn>
                  <a:cxn ang="0">
                    <a:pos x="connsiteX1" y="connsiteY1"/>
                  </a:cxn>
                </a:cxnLst>
                <a:rect l="l" t="t" r="r" b="b"/>
                <a:pathLst>
                  <a:path w="28650" h="11354">
                    <a:moveTo>
                      <a:pt x="0" y="0"/>
                    </a:moveTo>
                    <a:lnTo>
                      <a:pt x="28651" y="0"/>
                    </a:lnTo>
                  </a:path>
                </a:pathLst>
              </a:custGeom>
              <a:ln w="6350" cap="flat">
                <a:solidFill>
                  <a:srgbClr val="D7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73" name="Graphic 20656">
              <a:extLst>
                <a:ext uri="{FF2B5EF4-FFF2-40B4-BE49-F238E27FC236}">
                  <a16:creationId xmlns:a16="http://schemas.microsoft.com/office/drawing/2014/main" id="{2E5D3E2D-D4C9-4701-86F6-AA9E46C5959F}"/>
                </a:ext>
              </a:extLst>
            </p:cNvPr>
            <p:cNvGrpSpPr/>
            <p:nvPr/>
          </p:nvGrpSpPr>
          <p:grpSpPr>
            <a:xfrm>
              <a:off x="4627149" y="1042486"/>
              <a:ext cx="28763" cy="28839"/>
              <a:chOff x="4627149" y="1042486"/>
              <a:chExt cx="28763" cy="28839"/>
            </a:xfrm>
          </p:grpSpPr>
          <p:sp>
            <p:nvSpPr>
              <p:cNvPr id="80" name="Freeform 78">
                <a:extLst>
                  <a:ext uri="{FF2B5EF4-FFF2-40B4-BE49-F238E27FC236}">
                    <a16:creationId xmlns:a16="http://schemas.microsoft.com/office/drawing/2014/main" id="{58D982A0-D13E-4BE8-A838-BEE416A2EDF4}"/>
                  </a:ext>
                </a:extLst>
              </p:cNvPr>
              <p:cNvSpPr/>
              <p:nvPr/>
            </p:nvSpPr>
            <p:spPr>
              <a:xfrm>
                <a:off x="4641531" y="1042486"/>
                <a:ext cx="11324" cy="28839"/>
              </a:xfrm>
              <a:custGeom>
                <a:avLst/>
                <a:gdLst>
                  <a:gd name="connsiteX0" fmla="*/ 0 w 11324"/>
                  <a:gd name="connsiteY0" fmla="*/ 0 h 28839"/>
                  <a:gd name="connsiteX1" fmla="*/ 0 w 11324"/>
                  <a:gd name="connsiteY1" fmla="*/ 28840 h 28839"/>
                </a:gdLst>
                <a:ahLst/>
                <a:cxnLst>
                  <a:cxn ang="0">
                    <a:pos x="connsiteX0" y="connsiteY0"/>
                  </a:cxn>
                  <a:cxn ang="0">
                    <a:pos x="connsiteX1" y="connsiteY1"/>
                  </a:cxn>
                </a:cxnLst>
                <a:rect l="l" t="t" r="r" b="b"/>
                <a:pathLst>
                  <a:path w="11324" h="28839">
                    <a:moveTo>
                      <a:pt x="0" y="0"/>
                    </a:moveTo>
                    <a:lnTo>
                      <a:pt x="0" y="28840"/>
                    </a:lnTo>
                  </a:path>
                </a:pathLst>
              </a:custGeom>
              <a:ln w="6350" cap="flat">
                <a:solidFill>
                  <a:srgbClr val="D7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1" name="Freeform 79">
                <a:extLst>
                  <a:ext uri="{FF2B5EF4-FFF2-40B4-BE49-F238E27FC236}">
                    <a16:creationId xmlns:a16="http://schemas.microsoft.com/office/drawing/2014/main" id="{1BC37A17-D967-4464-89A1-E243D6C28F0D}"/>
                  </a:ext>
                </a:extLst>
              </p:cNvPr>
              <p:cNvSpPr/>
              <p:nvPr/>
            </p:nvSpPr>
            <p:spPr>
              <a:xfrm>
                <a:off x="4627149" y="1056906"/>
                <a:ext cx="28763" cy="11354"/>
              </a:xfrm>
              <a:custGeom>
                <a:avLst/>
                <a:gdLst>
                  <a:gd name="connsiteX0" fmla="*/ 0 w 28763"/>
                  <a:gd name="connsiteY0" fmla="*/ 0 h 11354"/>
                  <a:gd name="connsiteX1" fmla="*/ 28764 w 28763"/>
                  <a:gd name="connsiteY1" fmla="*/ 0 h 11354"/>
                </a:gdLst>
                <a:ahLst/>
                <a:cxnLst>
                  <a:cxn ang="0">
                    <a:pos x="connsiteX0" y="connsiteY0"/>
                  </a:cxn>
                  <a:cxn ang="0">
                    <a:pos x="connsiteX1" y="connsiteY1"/>
                  </a:cxn>
                </a:cxnLst>
                <a:rect l="l" t="t" r="r" b="b"/>
                <a:pathLst>
                  <a:path w="28763" h="11354">
                    <a:moveTo>
                      <a:pt x="0" y="0"/>
                    </a:moveTo>
                    <a:lnTo>
                      <a:pt x="28764" y="0"/>
                    </a:lnTo>
                  </a:path>
                </a:pathLst>
              </a:custGeom>
              <a:ln w="6350" cap="flat">
                <a:solidFill>
                  <a:srgbClr val="D7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74" name="Graphic 20656">
              <a:extLst>
                <a:ext uri="{FF2B5EF4-FFF2-40B4-BE49-F238E27FC236}">
                  <a16:creationId xmlns:a16="http://schemas.microsoft.com/office/drawing/2014/main" id="{6C081375-3B77-4BC3-9379-D69FFED1159B}"/>
                </a:ext>
              </a:extLst>
            </p:cNvPr>
            <p:cNvGrpSpPr/>
            <p:nvPr/>
          </p:nvGrpSpPr>
          <p:grpSpPr>
            <a:xfrm>
              <a:off x="4627149" y="1031813"/>
              <a:ext cx="28763" cy="28726"/>
              <a:chOff x="4627149" y="1031813"/>
              <a:chExt cx="28763" cy="28726"/>
            </a:xfrm>
          </p:grpSpPr>
          <p:sp>
            <p:nvSpPr>
              <p:cNvPr id="78" name="Freeform 76">
                <a:extLst>
                  <a:ext uri="{FF2B5EF4-FFF2-40B4-BE49-F238E27FC236}">
                    <a16:creationId xmlns:a16="http://schemas.microsoft.com/office/drawing/2014/main" id="{22404415-2BBF-4D20-9CE4-46492DC7EC9B}"/>
                  </a:ext>
                </a:extLst>
              </p:cNvPr>
              <p:cNvSpPr/>
              <p:nvPr/>
            </p:nvSpPr>
            <p:spPr>
              <a:xfrm>
                <a:off x="4641531" y="1031813"/>
                <a:ext cx="11324" cy="28726"/>
              </a:xfrm>
              <a:custGeom>
                <a:avLst/>
                <a:gdLst>
                  <a:gd name="connsiteX0" fmla="*/ 0 w 11324"/>
                  <a:gd name="connsiteY0" fmla="*/ 0 h 28726"/>
                  <a:gd name="connsiteX1" fmla="*/ 0 w 11324"/>
                  <a:gd name="connsiteY1" fmla="*/ 28726 h 28726"/>
                </a:gdLst>
                <a:ahLst/>
                <a:cxnLst>
                  <a:cxn ang="0">
                    <a:pos x="connsiteX0" y="connsiteY0"/>
                  </a:cxn>
                  <a:cxn ang="0">
                    <a:pos x="connsiteX1" y="connsiteY1"/>
                  </a:cxn>
                </a:cxnLst>
                <a:rect l="l" t="t" r="r" b="b"/>
                <a:pathLst>
                  <a:path w="11324" h="28726">
                    <a:moveTo>
                      <a:pt x="0" y="0"/>
                    </a:moveTo>
                    <a:lnTo>
                      <a:pt x="0" y="28726"/>
                    </a:lnTo>
                  </a:path>
                </a:pathLst>
              </a:custGeom>
              <a:ln w="6350" cap="flat">
                <a:solidFill>
                  <a:srgbClr val="D7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9" name="Freeform 77">
                <a:extLst>
                  <a:ext uri="{FF2B5EF4-FFF2-40B4-BE49-F238E27FC236}">
                    <a16:creationId xmlns:a16="http://schemas.microsoft.com/office/drawing/2014/main" id="{A9225020-B7B5-486B-9643-E7F8B15D178C}"/>
                  </a:ext>
                </a:extLst>
              </p:cNvPr>
              <p:cNvSpPr/>
              <p:nvPr/>
            </p:nvSpPr>
            <p:spPr>
              <a:xfrm>
                <a:off x="4627149" y="1046233"/>
                <a:ext cx="28763" cy="11354"/>
              </a:xfrm>
              <a:custGeom>
                <a:avLst/>
                <a:gdLst>
                  <a:gd name="connsiteX0" fmla="*/ 0 w 28763"/>
                  <a:gd name="connsiteY0" fmla="*/ 0 h 11354"/>
                  <a:gd name="connsiteX1" fmla="*/ 28764 w 28763"/>
                  <a:gd name="connsiteY1" fmla="*/ 0 h 11354"/>
                </a:gdLst>
                <a:ahLst/>
                <a:cxnLst>
                  <a:cxn ang="0">
                    <a:pos x="connsiteX0" y="connsiteY0"/>
                  </a:cxn>
                  <a:cxn ang="0">
                    <a:pos x="connsiteX1" y="connsiteY1"/>
                  </a:cxn>
                </a:cxnLst>
                <a:rect l="l" t="t" r="r" b="b"/>
                <a:pathLst>
                  <a:path w="28763" h="11354">
                    <a:moveTo>
                      <a:pt x="0" y="0"/>
                    </a:moveTo>
                    <a:lnTo>
                      <a:pt x="28764" y="0"/>
                    </a:lnTo>
                  </a:path>
                </a:pathLst>
              </a:custGeom>
              <a:ln w="6350" cap="flat">
                <a:solidFill>
                  <a:srgbClr val="D7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75" name="Graphic 20656">
              <a:extLst>
                <a:ext uri="{FF2B5EF4-FFF2-40B4-BE49-F238E27FC236}">
                  <a16:creationId xmlns:a16="http://schemas.microsoft.com/office/drawing/2014/main" id="{F81E2213-A720-4F9C-9E47-4F7C160B9112}"/>
                </a:ext>
              </a:extLst>
            </p:cNvPr>
            <p:cNvGrpSpPr/>
            <p:nvPr/>
          </p:nvGrpSpPr>
          <p:grpSpPr>
            <a:xfrm>
              <a:off x="4579587" y="1006493"/>
              <a:ext cx="28763" cy="28726"/>
              <a:chOff x="4579587" y="1006493"/>
              <a:chExt cx="28763" cy="28726"/>
            </a:xfrm>
          </p:grpSpPr>
          <p:sp>
            <p:nvSpPr>
              <p:cNvPr id="76" name="Freeform 74">
                <a:extLst>
                  <a:ext uri="{FF2B5EF4-FFF2-40B4-BE49-F238E27FC236}">
                    <a16:creationId xmlns:a16="http://schemas.microsoft.com/office/drawing/2014/main" id="{EE6FF970-581C-4F5F-BF23-D7FC96BDB80A}"/>
                  </a:ext>
                </a:extLst>
              </p:cNvPr>
              <p:cNvSpPr/>
              <p:nvPr/>
            </p:nvSpPr>
            <p:spPr>
              <a:xfrm>
                <a:off x="4593969" y="1006493"/>
                <a:ext cx="11324" cy="28726"/>
              </a:xfrm>
              <a:custGeom>
                <a:avLst/>
                <a:gdLst>
                  <a:gd name="connsiteX0" fmla="*/ 0 w 11324"/>
                  <a:gd name="connsiteY0" fmla="*/ 0 h 28726"/>
                  <a:gd name="connsiteX1" fmla="*/ 0 w 11324"/>
                  <a:gd name="connsiteY1" fmla="*/ 28726 h 28726"/>
                </a:gdLst>
                <a:ahLst/>
                <a:cxnLst>
                  <a:cxn ang="0">
                    <a:pos x="connsiteX0" y="connsiteY0"/>
                  </a:cxn>
                  <a:cxn ang="0">
                    <a:pos x="connsiteX1" y="connsiteY1"/>
                  </a:cxn>
                </a:cxnLst>
                <a:rect l="l" t="t" r="r" b="b"/>
                <a:pathLst>
                  <a:path w="11324" h="28726">
                    <a:moveTo>
                      <a:pt x="0" y="0"/>
                    </a:moveTo>
                    <a:lnTo>
                      <a:pt x="0" y="28726"/>
                    </a:lnTo>
                  </a:path>
                </a:pathLst>
              </a:custGeom>
              <a:ln w="6350" cap="flat">
                <a:solidFill>
                  <a:srgbClr val="D7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7" name="Freeform 75">
                <a:extLst>
                  <a:ext uri="{FF2B5EF4-FFF2-40B4-BE49-F238E27FC236}">
                    <a16:creationId xmlns:a16="http://schemas.microsoft.com/office/drawing/2014/main" id="{33A61292-A441-49D4-914A-F3111788212A}"/>
                  </a:ext>
                </a:extLst>
              </p:cNvPr>
              <p:cNvSpPr/>
              <p:nvPr/>
            </p:nvSpPr>
            <p:spPr>
              <a:xfrm>
                <a:off x="4579587" y="1020913"/>
                <a:ext cx="28763" cy="11354"/>
              </a:xfrm>
              <a:custGeom>
                <a:avLst/>
                <a:gdLst>
                  <a:gd name="connsiteX0" fmla="*/ 0 w 28763"/>
                  <a:gd name="connsiteY0" fmla="*/ 0 h 11354"/>
                  <a:gd name="connsiteX1" fmla="*/ 28764 w 28763"/>
                  <a:gd name="connsiteY1" fmla="*/ 0 h 11354"/>
                </a:gdLst>
                <a:ahLst/>
                <a:cxnLst>
                  <a:cxn ang="0">
                    <a:pos x="connsiteX0" y="connsiteY0"/>
                  </a:cxn>
                  <a:cxn ang="0">
                    <a:pos x="connsiteX1" y="connsiteY1"/>
                  </a:cxn>
                </a:cxnLst>
                <a:rect l="l" t="t" r="r" b="b"/>
                <a:pathLst>
                  <a:path w="28763" h="11354">
                    <a:moveTo>
                      <a:pt x="0" y="0"/>
                    </a:moveTo>
                    <a:lnTo>
                      <a:pt x="28764" y="0"/>
                    </a:lnTo>
                  </a:path>
                </a:pathLst>
              </a:custGeom>
              <a:ln w="6350" cap="flat">
                <a:solidFill>
                  <a:srgbClr val="D7261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cxnSp>
        <p:nvCxnSpPr>
          <p:cNvPr id="324" name="Straight Connector 323">
            <a:extLst>
              <a:ext uri="{FF2B5EF4-FFF2-40B4-BE49-F238E27FC236}">
                <a16:creationId xmlns:a16="http://schemas.microsoft.com/office/drawing/2014/main" id="{3D6EDAE5-C197-48CF-88F5-16B84405304C}"/>
              </a:ext>
            </a:extLst>
          </p:cNvPr>
          <p:cNvCxnSpPr>
            <a:cxnSpLocks/>
          </p:cNvCxnSpPr>
          <p:nvPr/>
        </p:nvCxnSpPr>
        <p:spPr>
          <a:xfrm flipV="1">
            <a:off x="4530647" y="3378841"/>
            <a:ext cx="0" cy="720000"/>
          </a:xfrm>
          <a:prstGeom prst="line">
            <a:avLst/>
          </a:prstGeom>
          <a:ln w="6350">
            <a:prstDash val="sysDash"/>
          </a:ln>
        </p:spPr>
        <p:style>
          <a:lnRef idx="1">
            <a:schemeClr val="accent1"/>
          </a:lnRef>
          <a:fillRef idx="0">
            <a:schemeClr val="accent1"/>
          </a:fillRef>
          <a:effectRef idx="0">
            <a:schemeClr val="accent1"/>
          </a:effectRef>
          <a:fontRef idx="minor">
            <a:schemeClr val="tx1"/>
          </a:fontRef>
        </p:style>
      </p:cxnSp>
      <p:sp>
        <p:nvSpPr>
          <p:cNvPr id="325" name="TextBox 324">
            <a:extLst>
              <a:ext uri="{FF2B5EF4-FFF2-40B4-BE49-F238E27FC236}">
                <a16:creationId xmlns:a16="http://schemas.microsoft.com/office/drawing/2014/main" id="{5FBCA1A1-0D34-42F9-B3EE-35D821D5AAF1}"/>
              </a:ext>
            </a:extLst>
          </p:cNvPr>
          <p:cNvSpPr txBox="1"/>
          <p:nvPr/>
        </p:nvSpPr>
        <p:spPr>
          <a:xfrm>
            <a:off x="4515603" y="2971709"/>
            <a:ext cx="1417956" cy="2358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33" b="1" i="0" u="none" strike="noStrike" kern="1200" cap="none" spc="0" normalizeH="0" baseline="0" noProof="0" dirty="0">
                <a:ln>
                  <a:noFill/>
                </a:ln>
                <a:solidFill>
                  <a:srgbClr val="D8261C"/>
                </a:solidFill>
                <a:effectLst/>
                <a:uLnTx/>
                <a:uFillTx/>
                <a:latin typeface="Arial Narrow" panose="020B0606020202030204" pitchFamily="34" charset="0"/>
                <a:ea typeface="+mn-ea"/>
                <a:cs typeface="+mn-cs"/>
              </a:rPr>
              <a:t>29.0%</a:t>
            </a:r>
          </a:p>
        </p:txBody>
      </p:sp>
      <p:sp>
        <p:nvSpPr>
          <p:cNvPr id="326" name="TextBox 325">
            <a:extLst>
              <a:ext uri="{FF2B5EF4-FFF2-40B4-BE49-F238E27FC236}">
                <a16:creationId xmlns:a16="http://schemas.microsoft.com/office/drawing/2014/main" id="{9AB1B0E5-529B-470B-B8CC-DAFE2A39F12B}"/>
              </a:ext>
            </a:extLst>
          </p:cNvPr>
          <p:cNvSpPr txBox="1"/>
          <p:nvPr/>
        </p:nvSpPr>
        <p:spPr>
          <a:xfrm>
            <a:off x="4514537" y="3110388"/>
            <a:ext cx="1417956" cy="2358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33" b="1" i="0" u="none" strike="noStrike" kern="1200" cap="none" spc="0" normalizeH="0" baseline="0" noProof="0" dirty="0">
                <a:ln>
                  <a:noFill/>
                </a:ln>
                <a:solidFill>
                  <a:srgbClr val="4F74C8"/>
                </a:solidFill>
                <a:effectLst/>
                <a:uLnTx/>
                <a:uFillTx/>
                <a:latin typeface="Arial Narrow" panose="020B0606020202030204" pitchFamily="34" charset="0"/>
                <a:ea typeface="+mn-ea"/>
                <a:cs typeface="+mn-cs"/>
              </a:rPr>
              <a:t>36.2%</a:t>
            </a:r>
          </a:p>
        </p:txBody>
      </p:sp>
      <p:cxnSp>
        <p:nvCxnSpPr>
          <p:cNvPr id="382" name="Straight Connector 381">
            <a:extLst>
              <a:ext uri="{FF2B5EF4-FFF2-40B4-BE49-F238E27FC236}">
                <a16:creationId xmlns:a16="http://schemas.microsoft.com/office/drawing/2014/main" id="{BFF33643-1E2C-4E04-B85D-CC6757C2F03E}"/>
              </a:ext>
            </a:extLst>
          </p:cNvPr>
          <p:cNvCxnSpPr>
            <a:cxnSpLocks/>
          </p:cNvCxnSpPr>
          <p:nvPr/>
        </p:nvCxnSpPr>
        <p:spPr>
          <a:xfrm flipV="1">
            <a:off x="5174711" y="3655720"/>
            <a:ext cx="0" cy="466803"/>
          </a:xfrm>
          <a:prstGeom prst="line">
            <a:avLst/>
          </a:prstGeom>
          <a:ln w="6350">
            <a:prstDash val="sysDash"/>
          </a:ln>
        </p:spPr>
        <p:style>
          <a:lnRef idx="1">
            <a:schemeClr val="accent1"/>
          </a:lnRef>
          <a:fillRef idx="0">
            <a:schemeClr val="accent1"/>
          </a:fillRef>
          <a:effectRef idx="0">
            <a:schemeClr val="accent1"/>
          </a:effectRef>
          <a:fontRef idx="minor">
            <a:schemeClr val="tx1"/>
          </a:fontRef>
        </p:style>
      </p:cxnSp>
      <p:sp>
        <p:nvSpPr>
          <p:cNvPr id="383" name="TextBox 382">
            <a:extLst>
              <a:ext uri="{FF2B5EF4-FFF2-40B4-BE49-F238E27FC236}">
                <a16:creationId xmlns:a16="http://schemas.microsoft.com/office/drawing/2014/main" id="{66F8B22D-026F-46C2-BBF8-45EFB507CFA9}"/>
              </a:ext>
            </a:extLst>
          </p:cNvPr>
          <p:cNvSpPr txBox="1"/>
          <p:nvPr/>
        </p:nvSpPr>
        <p:spPr>
          <a:xfrm>
            <a:off x="5105895" y="3230716"/>
            <a:ext cx="1417956" cy="2358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33" b="1" i="0" u="none" strike="noStrike" kern="1200" cap="none" spc="0" normalizeH="0" baseline="0" noProof="0" dirty="0">
                <a:ln>
                  <a:noFill/>
                </a:ln>
                <a:solidFill>
                  <a:srgbClr val="D8261C"/>
                </a:solidFill>
                <a:effectLst/>
                <a:uLnTx/>
                <a:uFillTx/>
                <a:latin typeface="Arial Narrow" panose="020B0606020202030204" pitchFamily="34" charset="0"/>
                <a:ea typeface="+mn-ea"/>
                <a:cs typeface="+mn-cs"/>
              </a:rPr>
              <a:t>19.1%</a:t>
            </a:r>
          </a:p>
        </p:txBody>
      </p:sp>
      <p:sp>
        <p:nvSpPr>
          <p:cNvPr id="384" name="TextBox 383">
            <a:extLst>
              <a:ext uri="{FF2B5EF4-FFF2-40B4-BE49-F238E27FC236}">
                <a16:creationId xmlns:a16="http://schemas.microsoft.com/office/drawing/2014/main" id="{822EB8AA-6698-42A9-AAFB-3F2CA0C5E660}"/>
              </a:ext>
            </a:extLst>
          </p:cNvPr>
          <p:cNvSpPr txBox="1"/>
          <p:nvPr/>
        </p:nvSpPr>
        <p:spPr>
          <a:xfrm>
            <a:off x="5113161" y="3380590"/>
            <a:ext cx="1417956" cy="2358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33" b="1" i="0" u="none" strike="noStrike" kern="1200" cap="none" spc="0" normalizeH="0" baseline="0" noProof="0" dirty="0">
                <a:ln>
                  <a:noFill/>
                </a:ln>
                <a:solidFill>
                  <a:srgbClr val="4F74C8"/>
                </a:solidFill>
                <a:effectLst/>
                <a:uLnTx/>
                <a:uFillTx/>
                <a:latin typeface="Arial Narrow" panose="020B0606020202030204" pitchFamily="34" charset="0"/>
                <a:ea typeface="+mn-ea"/>
                <a:cs typeface="+mn-cs"/>
              </a:rPr>
              <a:t>18.1%</a:t>
            </a:r>
          </a:p>
        </p:txBody>
      </p:sp>
      <p:cxnSp>
        <p:nvCxnSpPr>
          <p:cNvPr id="385" name="Straight Connector 384">
            <a:extLst>
              <a:ext uri="{FF2B5EF4-FFF2-40B4-BE49-F238E27FC236}">
                <a16:creationId xmlns:a16="http://schemas.microsoft.com/office/drawing/2014/main" id="{925B3DA1-842B-4F50-9BD0-48A09F776093}"/>
              </a:ext>
            </a:extLst>
          </p:cNvPr>
          <p:cNvCxnSpPr>
            <a:cxnSpLocks/>
          </p:cNvCxnSpPr>
          <p:nvPr/>
        </p:nvCxnSpPr>
        <p:spPr>
          <a:xfrm flipV="1">
            <a:off x="6465597" y="3739420"/>
            <a:ext cx="0" cy="369587"/>
          </a:xfrm>
          <a:prstGeom prst="line">
            <a:avLst/>
          </a:prstGeom>
          <a:ln w="6350">
            <a:prstDash val="sysDash"/>
          </a:ln>
        </p:spPr>
        <p:style>
          <a:lnRef idx="1">
            <a:schemeClr val="accent1"/>
          </a:lnRef>
          <a:fillRef idx="0">
            <a:schemeClr val="accent1"/>
          </a:fillRef>
          <a:effectRef idx="0">
            <a:schemeClr val="accent1"/>
          </a:effectRef>
          <a:fontRef idx="minor">
            <a:schemeClr val="tx1"/>
          </a:fontRef>
        </p:style>
      </p:cxnSp>
      <p:sp>
        <p:nvSpPr>
          <p:cNvPr id="386" name="TextBox 385">
            <a:extLst>
              <a:ext uri="{FF2B5EF4-FFF2-40B4-BE49-F238E27FC236}">
                <a16:creationId xmlns:a16="http://schemas.microsoft.com/office/drawing/2014/main" id="{9320DD3F-D61C-47CD-8500-242FFEB00203}"/>
              </a:ext>
            </a:extLst>
          </p:cNvPr>
          <p:cNvSpPr txBox="1"/>
          <p:nvPr/>
        </p:nvSpPr>
        <p:spPr>
          <a:xfrm>
            <a:off x="6410345" y="3363382"/>
            <a:ext cx="1417956" cy="2358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33" b="1" i="0" u="none" strike="noStrike" kern="1200" cap="none" spc="0" normalizeH="0" baseline="0" noProof="0" dirty="0">
                <a:ln>
                  <a:noFill/>
                </a:ln>
                <a:solidFill>
                  <a:srgbClr val="D8261C"/>
                </a:solidFill>
                <a:effectLst/>
                <a:uLnTx/>
                <a:uFillTx/>
                <a:latin typeface="Arial Narrow" panose="020B0606020202030204" pitchFamily="34" charset="0"/>
                <a:ea typeface="+mn-ea"/>
                <a:cs typeface="+mn-cs"/>
              </a:rPr>
              <a:t>14.0%</a:t>
            </a:r>
          </a:p>
        </p:txBody>
      </p:sp>
      <p:sp>
        <p:nvSpPr>
          <p:cNvPr id="387" name="TextBox 386">
            <a:extLst>
              <a:ext uri="{FF2B5EF4-FFF2-40B4-BE49-F238E27FC236}">
                <a16:creationId xmlns:a16="http://schemas.microsoft.com/office/drawing/2014/main" id="{8831A788-D626-4C06-A650-A8AC0CB9470E}"/>
              </a:ext>
            </a:extLst>
          </p:cNvPr>
          <p:cNvSpPr txBox="1"/>
          <p:nvPr/>
        </p:nvSpPr>
        <p:spPr>
          <a:xfrm>
            <a:off x="6417610" y="3513257"/>
            <a:ext cx="1417956" cy="2358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33" b="1" i="0" u="none" strike="noStrike" kern="1200" cap="none" spc="0" normalizeH="0" baseline="0" noProof="0" dirty="0">
                <a:ln>
                  <a:noFill/>
                </a:ln>
                <a:solidFill>
                  <a:srgbClr val="4F74C8"/>
                </a:solidFill>
                <a:effectLst/>
                <a:uLnTx/>
                <a:uFillTx/>
                <a:latin typeface="Arial Narrow" panose="020B0606020202030204" pitchFamily="34" charset="0"/>
                <a:ea typeface="+mn-ea"/>
                <a:cs typeface="+mn-cs"/>
              </a:rPr>
              <a:t>6.1%</a:t>
            </a:r>
          </a:p>
        </p:txBody>
      </p:sp>
      <p:sp>
        <p:nvSpPr>
          <p:cNvPr id="4" name="TextBox 3">
            <a:extLst>
              <a:ext uri="{FF2B5EF4-FFF2-40B4-BE49-F238E27FC236}">
                <a16:creationId xmlns:a16="http://schemas.microsoft.com/office/drawing/2014/main" id="{5795DF06-22E9-F381-EF8F-7AE7D0130735}"/>
              </a:ext>
            </a:extLst>
          </p:cNvPr>
          <p:cNvSpPr txBox="1"/>
          <p:nvPr/>
        </p:nvSpPr>
        <p:spPr>
          <a:xfrm>
            <a:off x="2220604" y="5830406"/>
            <a:ext cx="1430200"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panose="020B0604020202020204"/>
                <a:ea typeface="+mn-ea"/>
                <a:cs typeface="+mn-cs"/>
              </a:rPr>
              <a:t>Abstract LBA36</a:t>
            </a:r>
          </a:p>
        </p:txBody>
      </p:sp>
    </p:spTree>
    <p:extLst>
      <p:ext uri="{BB962C8B-B14F-4D97-AF65-F5344CB8AC3E}">
        <p14:creationId xmlns:p14="http://schemas.microsoft.com/office/powerpoint/2010/main" val="196724036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2"/>
          </p:nvPr>
        </p:nvSpPr>
        <p:spPr>
          <a:xfrm>
            <a:off x="479999" y="911282"/>
            <a:ext cx="11213200" cy="600000"/>
          </a:xfrm>
        </p:spPr>
        <p:txBody>
          <a:bodyPr/>
          <a:lstStyle/>
          <a:p>
            <a:r>
              <a:rPr lang="en-GB" sz="2267" dirty="0"/>
              <a:t>TEAEs and treatment-related TEAEs at grade ≥3 were less frequent with tislelizumab and treatment with tislelizumab led to fewer discontinuations/dose modifications vs sorafenib</a:t>
            </a:r>
          </a:p>
        </p:txBody>
      </p:sp>
      <p:sp>
        <p:nvSpPr>
          <p:cNvPr id="3" name="Title 2"/>
          <p:cNvSpPr>
            <a:spLocks noGrp="1"/>
          </p:cNvSpPr>
          <p:nvPr>
            <p:ph type="ctrTitle"/>
          </p:nvPr>
        </p:nvSpPr>
        <p:spPr>
          <a:xfrm>
            <a:off x="479999" y="313965"/>
            <a:ext cx="11213020" cy="576000"/>
          </a:xfrm>
        </p:spPr>
        <p:txBody>
          <a:bodyPr/>
          <a:lstStyle/>
          <a:p>
            <a:r>
              <a:rPr lang="en-GB" dirty="0"/>
              <a:t>RATIONALE-301: Safety Summary</a:t>
            </a:r>
          </a:p>
        </p:txBody>
      </p:sp>
      <p:sp>
        <p:nvSpPr>
          <p:cNvPr id="4" name="Text Placeholder 3"/>
          <p:cNvSpPr>
            <a:spLocks noGrp="1"/>
          </p:cNvSpPr>
          <p:nvPr>
            <p:ph type="body" idx="1"/>
          </p:nvPr>
        </p:nvSpPr>
        <p:spPr>
          <a:xfrm>
            <a:off x="489667" y="1819406"/>
            <a:ext cx="11213200" cy="3600000"/>
          </a:xfrm>
        </p:spPr>
        <p:txBody>
          <a:bodyPr/>
          <a:lstStyle/>
          <a:p>
            <a:pPr marL="685783" indent="-380990">
              <a:buFont typeface="Arial" panose="020B0604020202020204" pitchFamily="34" charset="0"/>
              <a:buChar char="•"/>
            </a:pPr>
            <a:endParaRPr lang="en-GB" dirty="0"/>
          </a:p>
        </p:txBody>
      </p:sp>
      <p:sp>
        <p:nvSpPr>
          <p:cNvPr id="5" name="Text Placeholder 4"/>
          <p:cNvSpPr>
            <a:spLocks noGrp="1"/>
          </p:cNvSpPr>
          <p:nvPr>
            <p:ph type="body" idx="12"/>
          </p:nvPr>
        </p:nvSpPr>
        <p:spPr>
          <a:xfrm>
            <a:off x="2360388" y="6009456"/>
            <a:ext cx="3201037" cy="235962"/>
          </a:xfrm>
        </p:spPr>
        <p:txBody>
          <a:bodyPr/>
          <a:lstStyle/>
          <a:p>
            <a:r>
              <a:rPr lang="en-GB" dirty="0"/>
              <a:t>Masatoshi Kudo</a:t>
            </a:r>
          </a:p>
        </p:txBody>
      </p:sp>
      <p:sp>
        <p:nvSpPr>
          <p:cNvPr id="6" name="TextBox 5"/>
          <p:cNvSpPr txBox="1"/>
          <p:nvPr/>
        </p:nvSpPr>
        <p:spPr>
          <a:xfrm>
            <a:off x="479999" y="5562600"/>
            <a:ext cx="11348035" cy="3794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33" b="0" i="0" u="none" strike="noStrike" kern="1200" cap="none" spc="0" normalizeH="0" baseline="0" noProof="0" dirty="0">
                <a:ln>
                  <a:noFill/>
                </a:ln>
                <a:solidFill>
                  <a:srgbClr val="4472C4"/>
                </a:solidFill>
                <a:effectLst/>
                <a:uLnTx/>
                <a:uFillTx/>
                <a:latin typeface="Arial" panose="020B0604020202020204"/>
                <a:ea typeface="+mn-ea"/>
                <a:cs typeface="+mn-cs"/>
              </a:rPr>
              <a:t>Safety was assessed in the safety population. Data </a:t>
            </a:r>
            <a:r>
              <a:rPr kumimoji="0" lang="en-GB" sz="933" b="0" i="0" u="none" strike="noStrike" kern="1200" cap="none" spc="0" normalizeH="0" baseline="0" noProof="0" dirty="0" err="1">
                <a:ln>
                  <a:noFill/>
                </a:ln>
                <a:solidFill>
                  <a:srgbClr val="4472C4"/>
                </a:solidFill>
                <a:effectLst/>
                <a:uLnTx/>
                <a:uFillTx/>
                <a:latin typeface="Arial" panose="020B0604020202020204"/>
                <a:ea typeface="+mn-ea"/>
                <a:cs typeface="+mn-cs"/>
              </a:rPr>
              <a:t>cutoff</a:t>
            </a:r>
            <a:r>
              <a:rPr kumimoji="0" lang="en-GB" sz="933" b="0" i="0" u="none" strike="noStrike" kern="1200" cap="none" spc="0" normalizeH="0" baseline="0" noProof="0" dirty="0">
                <a:ln>
                  <a:noFill/>
                </a:ln>
                <a:solidFill>
                  <a:srgbClr val="4472C4"/>
                </a:solidFill>
                <a:effectLst/>
                <a:uLnTx/>
                <a:uFillTx/>
                <a:latin typeface="Arial" panose="020B0604020202020204"/>
                <a:ea typeface="+mn-ea"/>
                <a:cs typeface="+mn-cs"/>
              </a:rPr>
              <a:t>: July 11, 2022. </a:t>
            </a:r>
            <a:r>
              <a:rPr kumimoji="0" lang="en-GB" sz="933" b="0" i="0" u="none" strike="noStrike" kern="1200" cap="none" spc="0" normalizeH="0" baseline="30000" noProof="0" dirty="0" err="1">
                <a:ln>
                  <a:noFill/>
                </a:ln>
                <a:solidFill>
                  <a:srgbClr val="4472C4"/>
                </a:solidFill>
                <a:effectLst/>
                <a:uLnTx/>
                <a:uFillTx/>
                <a:latin typeface="Arial" panose="020B0604020202020204"/>
                <a:ea typeface="+mn-ea"/>
                <a:cs typeface="+mn-cs"/>
              </a:rPr>
              <a:t>a</a:t>
            </a:r>
            <a:r>
              <a:rPr kumimoji="0" lang="en-GB" sz="933" b="0" i="0" u="none" strike="noStrike" kern="1200" cap="none" spc="0" normalizeH="0" baseline="0" noProof="0" dirty="0" err="1">
                <a:ln>
                  <a:noFill/>
                </a:ln>
                <a:solidFill>
                  <a:srgbClr val="4472C4"/>
                </a:solidFill>
                <a:effectLst/>
                <a:uLnTx/>
                <a:uFillTx/>
                <a:latin typeface="Arial" panose="020B0604020202020204"/>
                <a:ea typeface="+mn-ea"/>
                <a:cs typeface="+mn-cs"/>
              </a:rPr>
              <a:t>Drug</a:t>
            </a:r>
            <a:r>
              <a:rPr kumimoji="0" lang="en-GB" sz="933" b="0" i="0" u="none" strike="noStrike" kern="1200" cap="none" spc="0" normalizeH="0" baseline="0" noProof="0" dirty="0">
                <a:ln>
                  <a:noFill/>
                </a:ln>
                <a:solidFill>
                  <a:srgbClr val="4472C4"/>
                </a:solidFill>
                <a:effectLst/>
                <a:uLnTx/>
                <a:uFillTx/>
                <a:latin typeface="Arial" panose="020B0604020202020204"/>
                <a:ea typeface="+mn-ea"/>
                <a:cs typeface="+mn-cs"/>
              </a:rPr>
              <a:t> modification included an interrupted/held or reduced dose. Abbreviations: AE, adverse event; TEAE, treatment-emergent adverse event.</a:t>
            </a:r>
          </a:p>
        </p:txBody>
      </p:sp>
      <p:graphicFrame>
        <p:nvGraphicFramePr>
          <p:cNvPr id="7" name="Table 6"/>
          <p:cNvGraphicFramePr>
            <a:graphicFrameLocks noGrp="1"/>
          </p:cNvGraphicFramePr>
          <p:nvPr/>
        </p:nvGraphicFramePr>
        <p:xfrm>
          <a:off x="457752" y="1718199"/>
          <a:ext cx="11235267" cy="3862833"/>
        </p:xfrm>
        <a:graphic>
          <a:graphicData uri="http://schemas.openxmlformats.org/drawingml/2006/table">
            <a:tbl>
              <a:tblPr firstRow="1" bandRow="1">
                <a:tableStyleId>{5C22544A-7EE6-4342-B048-85BDC9FD1C3A}</a:tableStyleId>
              </a:tblPr>
              <a:tblGrid>
                <a:gridCol w="3982820">
                  <a:extLst>
                    <a:ext uri="{9D8B030D-6E8A-4147-A177-3AD203B41FA5}">
                      <a16:colId xmlns:a16="http://schemas.microsoft.com/office/drawing/2014/main" val="20000"/>
                    </a:ext>
                  </a:extLst>
                </a:gridCol>
                <a:gridCol w="3382208">
                  <a:extLst>
                    <a:ext uri="{9D8B030D-6E8A-4147-A177-3AD203B41FA5}">
                      <a16:colId xmlns:a16="http://schemas.microsoft.com/office/drawing/2014/main" val="3881393091"/>
                    </a:ext>
                  </a:extLst>
                </a:gridCol>
                <a:gridCol w="3870239">
                  <a:extLst>
                    <a:ext uri="{9D8B030D-6E8A-4147-A177-3AD203B41FA5}">
                      <a16:colId xmlns:a16="http://schemas.microsoft.com/office/drawing/2014/main" val="20002"/>
                    </a:ext>
                  </a:extLst>
                </a:gridCol>
              </a:tblGrid>
              <a:tr h="205233">
                <a:tc>
                  <a:txBody>
                    <a:bodyPr/>
                    <a:lstStyle/>
                    <a:p>
                      <a:r>
                        <a:rPr lang="en-GB" sz="1200" dirty="0">
                          <a:latin typeface="Arial Narrow" panose="020B0606020202030204" pitchFamily="34" charset="0"/>
                        </a:rPr>
                        <a:t>Patients </a:t>
                      </a:r>
                    </a:p>
                  </a:txBody>
                  <a:tcPr marL="121920" marR="121920" marT="0" marB="0" anchor="ctr"/>
                </a:tc>
                <a:tc>
                  <a:txBody>
                    <a:bodyPr/>
                    <a:lstStyle/>
                    <a:p>
                      <a:pPr algn="ctr"/>
                      <a:r>
                        <a:rPr lang="en-GB" sz="1200" dirty="0">
                          <a:latin typeface="Arial Narrow" panose="020B0606020202030204" pitchFamily="34" charset="0"/>
                        </a:rPr>
                        <a:t>Tislelizumab (n=338)</a:t>
                      </a:r>
                    </a:p>
                  </a:txBody>
                  <a:tcPr marL="121920" marR="121920" marT="0" marB="0" anchor="ctr"/>
                </a:tc>
                <a:tc>
                  <a:txBody>
                    <a:bodyPr/>
                    <a:lstStyle/>
                    <a:p>
                      <a:pPr algn="ctr"/>
                      <a:r>
                        <a:rPr lang="en-GB" sz="1200" dirty="0" err="1">
                          <a:latin typeface="Arial Narrow" panose="020B0606020202030204" pitchFamily="34" charset="0"/>
                        </a:rPr>
                        <a:t>Sorafenib</a:t>
                      </a:r>
                      <a:r>
                        <a:rPr lang="en-GB" sz="1200" dirty="0">
                          <a:latin typeface="Arial Narrow" panose="020B0606020202030204" pitchFamily="34" charset="0"/>
                        </a:rPr>
                        <a:t> (n=324)</a:t>
                      </a:r>
                    </a:p>
                  </a:txBody>
                  <a:tcPr marL="121920" marR="121920" marT="0" marB="0" anchor="ctr"/>
                </a:tc>
                <a:extLst>
                  <a:ext uri="{0D108BD9-81ED-4DB2-BD59-A6C34878D82A}">
                    <a16:rowId xmlns:a16="http://schemas.microsoft.com/office/drawing/2014/main" val="10000"/>
                  </a:ext>
                </a:extLst>
              </a:tr>
              <a:tr h="182880">
                <a:tc gridSpan="3">
                  <a:txBody>
                    <a:bodyPr/>
                    <a:lstStyle/>
                    <a:p>
                      <a:r>
                        <a:rPr lang="en-GB" sz="1200" b="1" dirty="0">
                          <a:solidFill>
                            <a:schemeClr val="bg1"/>
                          </a:solidFill>
                          <a:latin typeface="Arial Narrow" panose="020B0606020202030204" pitchFamily="34" charset="0"/>
                        </a:rPr>
                        <a:t>Safety, </a:t>
                      </a:r>
                      <a:r>
                        <a:rPr lang="en-GB" sz="1200" dirty="0">
                          <a:solidFill>
                            <a:schemeClr val="bg1"/>
                          </a:solidFill>
                          <a:latin typeface="Arial Narrow" panose="020B0606020202030204" pitchFamily="34" charset="0"/>
                        </a:rPr>
                        <a:t>n (%)</a:t>
                      </a:r>
                      <a:endParaRPr lang="en-GB" sz="1200" b="1" dirty="0">
                        <a:solidFill>
                          <a:schemeClr val="bg1"/>
                        </a:solidFill>
                        <a:latin typeface="Arial Narrow" panose="020B0606020202030204" pitchFamily="34" charset="0"/>
                      </a:endParaRPr>
                    </a:p>
                  </a:txBody>
                  <a:tcPr marL="121920" marR="121920" marT="0" marB="0" anchor="ctr">
                    <a:solidFill>
                      <a:srgbClr val="1E325F"/>
                    </a:solidFill>
                  </a:tcPr>
                </a:tc>
                <a:tc hMerge="1">
                  <a:txBody>
                    <a:bodyPr/>
                    <a:lstStyle/>
                    <a:p>
                      <a:endParaRPr lang="en-GB"/>
                    </a:p>
                  </a:txBody>
                  <a:tcPr/>
                </a:tc>
                <a:tc hMerge="1">
                  <a:txBody>
                    <a:bodyPr/>
                    <a:lstStyle/>
                    <a:p>
                      <a:pPr algn="ctr"/>
                      <a:endParaRPr lang="en-GB" sz="1000" dirty="0">
                        <a:latin typeface="Arial Narrow" panose="020B0606020202030204" pitchFamily="34" charset="0"/>
                      </a:endParaRPr>
                    </a:p>
                  </a:txBody>
                  <a:tcPr marT="0" marB="0" anchor="ctr">
                    <a:solidFill>
                      <a:srgbClr val="1E325F"/>
                    </a:solidFill>
                  </a:tcPr>
                </a:tc>
                <a:extLst>
                  <a:ext uri="{0D108BD9-81ED-4DB2-BD59-A6C34878D82A}">
                    <a16:rowId xmlns:a16="http://schemas.microsoft.com/office/drawing/2014/main" val="635411348"/>
                  </a:ext>
                </a:extLst>
              </a:tr>
              <a:tr h="365760">
                <a:tc>
                  <a:txBody>
                    <a:bodyPr/>
                    <a:lstStyle/>
                    <a:p>
                      <a:r>
                        <a:rPr lang="en-GB" sz="1200" b="1" dirty="0">
                          <a:solidFill>
                            <a:schemeClr val="bg1"/>
                          </a:solidFill>
                          <a:latin typeface="Arial Narrow" panose="020B0606020202030204" pitchFamily="34" charset="0"/>
                        </a:rPr>
                        <a:t>Any TEAE</a:t>
                      </a:r>
                    </a:p>
                    <a:p>
                      <a:pPr marL="358775" indent="0"/>
                      <a:r>
                        <a:rPr lang="en-GB" sz="1200" b="1" dirty="0">
                          <a:solidFill>
                            <a:schemeClr val="bg1"/>
                          </a:solidFill>
                          <a:latin typeface="Arial Narrow" panose="020B0606020202030204" pitchFamily="34" charset="0"/>
                        </a:rPr>
                        <a:t>Treatment-related</a:t>
                      </a:r>
                    </a:p>
                  </a:txBody>
                  <a:tcPr marL="121920" marR="121920" marT="0" marB="0" anchor="ctr">
                    <a:solidFill>
                      <a:schemeClr val="accent1">
                        <a:lumMod val="60000"/>
                        <a:lumOff val="40000"/>
                      </a:schemeClr>
                    </a:solidFill>
                  </a:tcPr>
                </a:tc>
                <a:tc>
                  <a:txBody>
                    <a:bodyPr/>
                    <a:lstStyle/>
                    <a:p>
                      <a:pPr algn="ctr"/>
                      <a:r>
                        <a:rPr lang="en-GB" sz="1200">
                          <a:solidFill>
                            <a:schemeClr val="tx1"/>
                          </a:solidFill>
                          <a:latin typeface="Arial Narrow" panose="020B0606020202030204" pitchFamily="34" charset="0"/>
                        </a:rPr>
                        <a:t>325 (96.2)</a:t>
                      </a:r>
                    </a:p>
                    <a:p>
                      <a:pPr algn="ctr"/>
                      <a:r>
                        <a:rPr lang="en-GB" sz="1200">
                          <a:solidFill>
                            <a:schemeClr val="tx1"/>
                          </a:solidFill>
                          <a:latin typeface="Arial Narrow" panose="020B0606020202030204" pitchFamily="34" charset="0"/>
                        </a:rPr>
                        <a:t>259</a:t>
                      </a:r>
                      <a:r>
                        <a:rPr lang="en-GB" sz="1200" baseline="0">
                          <a:solidFill>
                            <a:schemeClr val="tx1"/>
                          </a:solidFill>
                          <a:latin typeface="Arial Narrow" panose="020B0606020202030204" pitchFamily="34" charset="0"/>
                        </a:rPr>
                        <a:t> (76.6)</a:t>
                      </a:r>
                      <a:endParaRPr lang="en-GB" sz="1200" dirty="0">
                        <a:solidFill>
                          <a:schemeClr val="tx1"/>
                        </a:solidFill>
                        <a:latin typeface="Arial Narrow" panose="020B0606020202030204" pitchFamily="34" charset="0"/>
                      </a:endParaRPr>
                    </a:p>
                  </a:txBody>
                  <a:tcPr marL="121920" marR="121920" marT="0" marB="0" anchor="ctr"/>
                </a:tc>
                <a:tc>
                  <a:txBody>
                    <a:bodyPr/>
                    <a:lstStyle/>
                    <a:p>
                      <a:pPr algn="ctr"/>
                      <a:r>
                        <a:rPr lang="en-GB" sz="1200" dirty="0">
                          <a:solidFill>
                            <a:schemeClr val="tx1"/>
                          </a:solidFill>
                          <a:latin typeface="Arial Narrow" panose="020B0606020202030204" pitchFamily="34" charset="0"/>
                        </a:rPr>
                        <a:t>324 (100.0)</a:t>
                      </a:r>
                    </a:p>
                    <a:p>
                      <a:pPr algn="ctr"/>
                      <a:r>
                        <a:rPr lang="en-GB" sz="1200" dirty="0">
                          <a:solidFill>
                            <a:schemeClr val="tx1"/>
                          </a:solidFill>
                          <a:latin typeface="Arial Narrow" panose="020B0606020202030204" pitchFamily="34" charset="0"/>
                        </a:rPr>
                        <a:t>311</a:t>
                      </a:r>
                      <a:r>
                        <a:rPr lang="en-GB" sz="1200" baseline="0" dirty="0">
                          <a:solidFill>
                            <a:schemeClr val="tx1"/>
                          </a:solidFill>
                          <a:latin typeface="Arial Narrow" panose="020B0606020202030204" pitchFamily="34" charset="0"/>
                        </a:rPr>
                        <a:t> (96.0)</a:t>
                      </a:r>
                      <a:endParaRPr lang="en-GB" sz="1200" dirty="0">
                        <a:solidFill>
                          <a:schemeClr val="tx1"/>
                        </a:solidFill>
                        <a:latin typeface="Arial Narrow" panose="020B0606020202030204" pitchFamily="34" charset="0"/>
                      </a:endParaRPr>
                    </a:p>
                  </a:txBody>
                  <a:tcPr marL="121920" marR="121920" marT="0" marB="0" anchor="ctr"/>
                </a:tc>
                <a:extLst>
                  <a:ext uri="{0D108BD9-81ED-4DB2-BD59-A6C34878D82A}">
                    <a16:rowId xmlns:a16="http://schemas.microsoft.com/office/drawing/2014/main" val="10001"/>
                  </a:ext>
                </a:extLst>
              </a:tr>
              <a:tr h="365760">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GB" sz="1200" b="1" dirty="0">
                          <a:solidFill>
                            <a:schemeClr val="bg1"/>
                          </a:solidFill>
                          <a:latin typeface="Arial Narrow" panose="020B0606020202030204" pitchFamily="34" charset="0"/>
                        </a:rPr>
                        <a:t>TEAE at ≥grade 3</a:t>
                      </a:r>
                    </a:p>
                    <a:p>
                      <a:pPr marL="358775"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GB" sz="1200" b="1" dirty="0">
                          <a:solidFill>
                            <a:schemeClr val="bg1"/>
                          </a:solidFill>
                          <a:latin typeface="Arial Narrow" panose="020B0606020202030204" pitchFamily="34" charset="0"/>
                        </a:rPr>
                        <a:t>Treatment-related</a:t>
                      </a:r>
                    </a:p>
                  </a:txBody>
                  <a:tcPr marL="121920" marR="121920" marT="0" marB="0" anchor="ctr">
                    <a:solidFill>
                      <a:schemeClr val="accent1">
                        <a:lumMod val="60000"/>
                        <a:lumOff val="40000"/>
                      </a:schemeClr>
                    </a:solidFill>
                  </a:tcPr>
                </a:tc>
                <a:tc>
                  <a:txBody>
                    <a:bodyPr/>
                    <a:lstStyle/>
                    <a:p>
                      <a:pPr algn="ctr"/>
                      <a:r>
                        <a:rPr lang="en-GB" sz="1200" dirty="0">
                          <a:solidFill>
                            <a:schemeClr val="tx1"/>
                          </a:solidFill>
                          <a:latin typeface="Arial Narrow" panose="020B0606020202030204" pitchFamily="34" charset="0"/>
                        </a:rPr>
                        <a:t>163 (48.2)</a:t>
                      </a:r>
                    </a:p>
                    <a:p>
                      <a:pPr algn="ctr"/>
                      <a:r>
                        <a:rPr lang="en-GB" sz="1200" dirty="0">
                          <a:solidFill>
                            <a:schemeClr val="tx1"/>
                          </a:solidFill>
                          <a:latin typeface="Arial Narrow" panose="020B0606020202030204" pitchFamily="34" charset="0"/>
                        </a:rPr>
                        <a:t>75</a:t>
                      </a:r>
                      <a:r>
                        <a:rPr lang="en-GB" sz="1200" baseline="0" dirty="0">
                          <a:solidFill>
                            <a:schemeClr val="tx1"/>
                          </a:solidFill>
                          <a:latin typeface="Arial Narrow" panose="020B0606020202030204" pitchFamily="34" charset="0"/>
                        </a:rPr>
                        <a:t> (22.2)</a:t>
                      </a:r>
                      <a:endParaRPr lang="en-GB" sz="1200" dirty="0">
                        <a:solidFill>
                          <a:schemeClr val="tx1"/>
                        </a:solidFill>
                        <a:latin typeface="Arial Narrow" panose="020B0606020202030204" pitchFamily="34" charset="0"/>
                      </a:endParaRPr>
                    </a:p>
                  </a:txBody>
                  <a:tcPr marL="121920" marR="121920" marT="0" marB="0" anchor="ctr"/>
                </a:tc>
                <a:tc>
                  <a:txBody>
                    <a:bodyPr/>
                    <a:lstStyle/>
                    <a:p>
                      <a:pPr algn="ctr"/>
                      <a:r>
                        <a:rPr lang="en-GB" sz="1200" dirty="0">
                          <a:solidFill>
                            <a:schemeClr val="tx1"/>
                          </a:solidFill>
                          <a:latin typeface="Arial Narrow" panose="020B0606020202030204" pitchFamily="34" charset="0"/>
                        </a:rPr>
                        <a:t>212 (65.4)</a:t>
                      </a:r>
                    </a:p>
                    <a:p>
                      <a:pPr algn="ctr"/>
                      <a:r>
                        <a:rPr lang="en-GB" sz="1200" dirty="0">
                          <a:solidFill>
                            <a:schemeClr val="tx1"/>
                          </a:solidFill>
                          <a:latin typeface="Arial Narrow" panose="020B0606020202030204" pitchFamily="34" charset="0"/>
                        </a:rPr>
                        <a:t>173 (53.4)</a:t>
                      </a:r>
                    </a:p>
                  </a:txBody>
                  <a:tcPr marL="121920" marR="121920" marT="0" marB="0" anchor="ctr"/>
                </a:tc>
                <a:extLst>
                  <a:ext uri="{0D108BD9-81ED-4DB2-BD59-A6C34878D82A}">
                    <a16:rowId xmlns:a16="http://schemas.microsoft.com/office/drawing/2014/main" val="10002"/>
                  </a:ext>
                </a:extLst>
              </a:tr>
              <a:tr h="365760">
                <a:tc>
                  <a:txBody>
                    <a:bodyPr/>
                    <a:lstStyle/>
                    <a:p>
                      <a:r>
                        <a:rPr lang="en-GB" sz="1200" b="1" dirty="0">
                          <a:solidFill>
                            <a:schemeClr val="bg1"/>
                          </a:solidFill>
                          <a:latin typeface="Arial Narrow" panose="020B0606020202030204" pitchFamily="34" charset="0"/>
                        </a:rPr>
                        <a:t>Serious TEAE</a:t>
                      </a:r>
                    </a:p>
                    <a:p>
                      <a:pPr marL="358775"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GB" sz="1200" b="1" dirty="0">
                          <a:solidFill>
                            <a:schemeClr val="bg1"/>
                          </a:solidFill>
                          <a:latin typeface="Arial Narrow" panose="020B0606020202030204" pitchFamily="34" charset="0"/>
                        </a:rPr>
                        <a:t>Treatment-related</a:t>
                      </a:r>
                    </a:p>
                  </a:txBody>
                  <a:tcPr marL="121920" marR="121920" marT="0" marB="0" anchor="ctr">
                    <a:solidFill>
                      <a:schemeClr val="accent1">
                        <a:lumMod val="60000"/>
                        <a:lumOff val="40000"/>
                      </a:schemeClr>
                    </a:solidFill>
                  </a:tcPr>
                </a:tc>
                <a:tc>
                  <a:txBody>
                    <a:bodyPr/>
                    <a:lstStyle/>
                    <a:p>
                      <a:pPr algn="ctr"/>
                      <a:r>
                        <a:rPr lang="en-GB" sz="1200">
                          <a:solidFill>
                            <a:schemeClr val="tx1"/>
                          </a:solidFill>
                          <a:latin typeface="Arial Narrow" panose="020B0606020202030204" pitchFamily="34" charset="0"/>
                        </a:rPr>
                        <a:t>101 (29.9)</a:t>
                      </a:r>
                    </a:p>
                    <a:p>
                      <a:pPr algn="ctr"/>
                      <a:r>
                        <a:rPr lang="en-GB" sz="1200">
                          <a:solidFill>
                            <a:schemeClr val="tx1"/>
                          </a:solidFill>
                          <a:latin typeface="Arial Narrow" panose="020B0606020202030204" pitchFamily="34" charset="0"/>
                        </a:rPr>
                        <a:t>40 (11.8)</a:t>
                      </a:r>
                      <a:endParaRPr lang="en-GB" sz="1200" dirty="0">
                        <a:solidFill>
                          <a:schemeClr val="tx1"/>
                        </a:solidFill>
                        <a:latin typeface="Arial Narrow" panose="020B0606020202030204" pitchFamily="34" charset="0"/>
                      </a:endParaRPr>
                    </a:p>
                  </a:txBody>
                  <a:tcPr marL="121920" marR="121920" marT="0" marB="0" anchor="ctr"/>
                </a:tc>
                <a:tc>
                  <a:txBody>
                    <a:bodyPr/>
                    <a:lstStyle/>
                    <a:p>
                      <a:pPr algn="ctr"/>
                      <a:r>
                        <a:rPr lang="en-GB" sz="1200" dirty="0">
                          <a:solidFill>
                            <a:schemeClr val="tx1"/>
                          </a:solidFill>
                          <a:latin typeface="Arial Narrow" panose="020B0606020202030204" pitchFamily="34" charset="0"/>
                        </a:rPr>
                        <a:t>91 (28.1)</a:t>
                      </a:r>
                    </a:p>
                    <a:p>
                      <a:pPr algn="ctr"/>
                      <a:r>
                        <a:rPr lang="en-GB" sz="1200" dirty="0">
                          <a:solidFill>
                            <a:schemeClr val="tx1"/>
                          </a:solidFill>
                          <a:latin typeface="Arial Narrow" panose="020B0606020202030204" pitchFamily="34" charset="0"/>
                        </a:rPr>
                        <a:t>33 (10.2)</a:t>
                      </a:r>
                    </a:p>
                  </a:txBody>
                  <a:tcPr marL="121920" marR="121920" marT="0" marB="0" anchor="ctr"/>
                </a:tc>
                <a:extLst>
                  <a:ext uri="{0D108BD9-81ED-4DB2-BD59-A6C34878D82A}">
                    <a16:rowId xmlns:a16="http://schemas.microsoft.com/office/drawing/2014/main" val="10003"/>
                  </a:ext>
                </a:extLst>
              </a:tr>
              <a:tr h="365760">
                <a:tc>
                  <a:txBody>
                    <a:bodyPr/>
                    <a:lstStyle/>
                    <a:p>
                      <a:r>
                        <a:rPr lang="en-GB" sz="1200" b="1" i="0" u="none" strike="noStrike" cap="none" dirty="0">
                          <a:solidFill>
                            <a:schemeClr val="bg1"/>
                          </a:solidFill>
                          <a:latin typeface="Arial Narrow" panose="020B0606020202030204" pitchFamily="34" charset="0"/>
                          <a:ea typeface="+mn-ea"/>
                          <a:cs typeface="+mn-cs"/>
                          <a:sym typeface="Arial"/>
                        </a:rPr>
                        <a:t>TEAE leading to discontinuation</a:t>
                      </a:r>
                    </a:p>
                    <a:p>
                      <a:pPr marL="358775"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GB" sz="1200" b="1" dirty="0">
                          <a:solidFill>
                            <a:schemeClr val="bg1"/>
                          </a:solidFill>
                          <a:latin typeface="Arial Narrow" panose="020B0606020202030204" pitchFamily="34" charset="0"/>
                        </a:rPr>
                        <a:t>Treatment-related</a:t>
                      </a:r>
                    </a:p>
                  </a:txBody>
                  <a:tcPr marL="121920" marR="121920" marT="0" marB="0" anchor="ctr">
                    <a:solidFill>
                      <a:schemeClr val="accent1">
                        <a:lumMod val="60000"/>
                        <a:lumOff val="40000"/>
                      </a:schemeClr>
                    </a:solidFill>
                  </a:tcPr>
                </a:tc>
                <a:tc>
                  <a:txBody>
                    <a:bodyPr/>
                    <a:lstStyle/>
                    <a:p>
                      <a:pPr algn="ctr"/>
                      <a:r>
                        <a:rPr lang="en-GB" sz="1200" dirty="0">
                          <a:solidFill>
                            <a:schemeClr val="tx1"/>
                          </a:solidFill>
                          <a:latin typeface="Arial Narrow" panose="020B0606020202030204" pitchFamily="34" charset="0"/>
                        </a:rPr>
                        <a:t>37 (10.9)</a:t>
                      </a:r>
                    </a:p>
                    <a:p>
                      <a:pPr algn="ctr"/>
                      <a:r>
                        <a:rPr lang="en-GB" sz="1200" dirty="0">
                          <a:solidFill>
                            <a:schemeClr val="tx1"/>
                          </a:solidFill>
                          <a:latin typeface="Arial Narrow" panose="020B0606020202030204" pitchFamily="34" charset="0"/>
                        </a:rPr>
                        <a:t>21 (6.2)</a:t>
                      </a:r>
                    </a:p>
                  </a:txBody>
                  <a:tcPr marL="121920" marR="121920" marT="0" marB="0" anchor="ctr"/>
                </a:tc>
                <a:tc>
                  <a:txBody>
                    <a:bodyPr/>
                    <a:lstStyle/>
                    <a:p>
                      <a:pPr algn="ctr"/>
                      <a:r>
                        <a:rPr lang="en-GB" sz="1200" dirty="0">
                          <a:solidFill>
                            <a:schemeClr val="tx1"/>
                          </a:solidFill>
                          <a:latin typeface="Arial Narrow" panose="020B0606020202030204" pitchFamily="34" charset="0"/>
                        </a:rPr>
                        <a:t>60 (18.5)</a:t>
                      </a:r>
                    </a:p>
                    <a:p>
                      <a:pPr algn="ctr"/>
                      <a:r>
                        <a:rPr lang="en-GB" sz="1200" dirty="0">
                          <a:solidFill>
                            <a:schemeClr val="tx1"/>
                          </a:solidFill>
                          <a:latin typeface="Arial Narrow" panose="020B0606020202030204" pitchFamily="34" charset="0"/>
                        </a:rPr>
                        <a:t>33 (10.2)</a:t>
                      </a:r>
                    </a:p>
                  </a:txBody>
                  <a:tcPr marL="121920" marR="121920" marT="0" marB="0" anchor="ctr"/>
                </a:tc>
                <a:extLst>
                  <a:ext uri="{0D108BD9-81ED-4DB2-BD59-A6C34878D82A}">
                    <a16:rowId xmlns:a16="http://schemas.microsoft.com/office/drawing/2014/main" val="10004"/>
                  </a:ext>
                </a:extLst>
              </a:tr>
              <a:tr h="365760">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GB" sz="1200" b="1" dirty="0">
                          <a:solidFill>
                            <a:schemeClr val="bg1"/>
                          </a:solidFill>
                          <a:latin typeface="Arial Narrow" panose="020B0606020202030204" pitchFamily="34" charset="0"/>
                        </a:rPr>
                        <a:t>TEAE leading to drug </a:t>
                      </a:r>
                      <a:r>
                        <a:rPr lang="en-GB" sz="1200" b="1" dirty="0" err="1">
                          <a:solidFill>
                            <a:schemeClr val="bg1"/>
                          </a:solidFill>
                          <a:latin typeface="Arial Narrow" panose="020B0606020202030204" pitchFamily="34" charset="0"/>
                        </a:rPr>
                        <a:t>modification</a:t>
                      </a:r>
                      <a:r>
                        <a:rPr lang="en-GB" sz="1200" b="1" baseline="30000" dirty="0" err="1">
                          <a:solidFill>
                            <a:schemeClr val="bg1"/>
                          </a:solidFill>
                          <a:latin typeface="Arial Narrow" panose="020B0606020202030204" pitchFamily="34" charset="0"/>
                        </a:rPr>
                        <a:t>a</a:t>
                      </a:r>
                      <a:endParaRPr lang="en-GB" sz="1200" b="1" dirty="0">
                        <a:solidFill>
                          <a:schemeClr val="bg1"/>
                        </a:solidFill>
                        <a:latin typeface="Arial Narrow" panose="020B0606020202030204" pitchFamily="34" charset="0"/>
                      </a:endParaRPr>
                    </a:p>
                    <a:p>
                      <a:pPr marL="358775"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GB" sz="1200" b="1" dirty="0">
                          <a:solidFill>
                            <a:schemeClr val="bg1"/>
                          </a:solidFill>
                          <a:latin typeface="Arial Narrow" panose="020B0606020202030204" pitchFamily="34" charset="0"/>
                        </a:rPr>
                        <a:t>Treatment-related</a:t>
                      </a:r>
                    </a:p>
                  </a:txBody>
                  <a:tcPr marL="121920" marR="121920" marT="0" marB="0" anchor="ctr">
                    <a:solidFill>
                      <a:schemeClr val="accent1">
                        <a:lumMod val="60000"/>
                        <a:lumOff val="40000"/>
                      </a:schemeClr>
                    </a:solidFill>
                  </a:tcPr>
                </a:tc>
                <a:tc>
                  <a:txBody>
                    <a:bodyPr/>
                    <a:lstStyle/>
                    <a:p>
                      <a:pPr algn="ctr"/>
                      <a:r>
                        <a:rPr lang="en-GB" sz="1200">
                          <a:solidFill>
                            <a:schemeClr val="tx1"/>
                          </a:solidFill>
                          <a:latin typeface="Arial Narrow" panose="020B0606020202030204" pitchFamily="34" charset="0"/>
                        </a:rPr>
                        <a:t>105 (31.1)</a:t>
                      </a:r>
                    </a:p>
                    <a:p>
                      <a:pPr algn="ctr"/>
                      <a:r>
                        <a:rPr lang="en-GB" sz="1200">
                          <a:solidFill>
                            <a:schemeClr val="tx1"/>
                          </a:solidFill>
                          <a:latin typeface="Arial Narrow" panose="020B0606020202030204" pitchFamily="34" charset="0"/>
                        </a:rPr>
                        <a:t>68 (20.1)</a:t>
                      </a:r>
                      <a:endParaRPr lang="en-GB" sz="1200" dirty="0">
                        <a:solidFill>
                          <a:schemeClr val="tx1"/>
                        </a:solidFill>
                        <a:latin typeface="Arial Narrow" panose="020B0606020202030204" pitchFamily="34" charset="0"/>
                      </a:endParaRPr>
                    </a:p>
                  </a:txBody>
                  <a:tcPr marL="121920" marR="121920" marT="0" marB="0" anchor="ctr"/>
                </a:tc>
                <a:tc>
                  <a:txBody>
                    <a:bodyPr/>
                    <a:lstStyle/>
                    <a:p>
                      <a:pPr algn="ctr"/>
                      <a:r>
                        <a:rPr lang="en-GB" sz="1200" dirty="0">
                          <a:solidFill>
                            <a:schemeClr val="tx1"/>
                          </a:solidFill>
                          <a:latin typeface="Arial Narrow" panose="020B0606020202030204" pitchFamily="34" charset="0"/>
                        </a:rPr>
                        <a:t>210 (64.8)</a:t>
                      </a:r>
                    </a:p>
                    <a:p>
                      <a:pPr algn="ctr"/>
                      <a:r>
                        <a:rPr lang="en-GB" sz="1200" dirty="0">
                          <a:solidFill>
                            <a:schemeClr val="tx1"/>
                          </a:solidFill>
                          <a:latin typeface="Arial Narrow" panose="020B0606020202030204" pitchFamily="34" charset="0"/>
                        </a:rPr>
                        <a:t>187 (57.7)</a:t>
                      </a:r>
                    </a:p>
                  </a:txBody>
                  <a:tcPr marL="121920" marR="121920" marT="0" marB="0" anchor="ctr"/>
                </a:tc>
                <a:extLst>
                  <a:ext uri="{0D108BD9-81ED-4DB2-BD59-A6C34878D82A}">
                    <a16:rowId xmlns:a16="http://schemas.microsoft.com/office/drawing/2014/main" val="3956047192"/>
                  </a:ext>
                </a:extLst>
              </a:tr>
              <a:tr h="365760">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GB" sz="1200" b="1" dirty="0">
                          <a:solidFill>
                            <a:schemeClr val="bg1"/>
                          </a:solidFill>
                          <a:latin typeface="Arial Narrow" panose="020B0606020202030204" pitchFamily="34" charset="0"/>
                        </a:rPr>
                        <a:t>TEAE leading to death</a:t>
                      </a:r>
                    </a:p>
                    <a:p>
                      <a:pPr marL="358775"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GB" sz="1200" b="1" dirty="0">
                          <a:solidFill>
                            <a:schemeClr val="bg1"/>
                          </a:solidFill>
                          <a:latin typeface="Arial Narrow" panose="020B0606020202030204" pitchFamily="34" charset="0"/>
                        </a:rPr>
                        <a:t>Treatment-related</a:t>
                      </a:r>
                    </a:p>
                  </a:txBody>
                  <a:tcPr marL="121920" marR="121920" marT="0" marB="0" anchor="ctr">
                    <a:solidFill>
                      <a:schemeClr val="accent1">
                        <a:lumMod val="60000"/>
                        <a:lumOff val="40000"/>
                      </a:schemeClr>
                    </a:solidFill>
                  </a:tcPr>
                </a:tc>
                <a:tc>
                  <a:txBody>
                    <a:bodyPr/>
                    <a:lstStyle/>
                    <a:p>
                      <a:pPr algn="ctr"/>
                      <a:r>
                        <a:rPr lang="en-GB" sz="1200">
                          <a:solidFill>
                            <a:schemeClr val="tx1"/>
                          </a:solidFill>
                          <a:latin typeface="Arial Narrow" panose="020B0606020202030204" pitchFamily="34" charset="0"/>
                        </a:rPr>
                        <a:t>15 (4.4)</a:t>
                      </a:r>
                    </a:p>
                    <a:p>
                      <a:pPr algn="ctr"/>
                      <a:r>
                        <a:rPr lang="en-GB" sz="1200">
                          <a:solidFill>
                            <a:schemeClr val="tx1"/>
                          </a:solidFill>
                          <a:latin typeface="Arial Narrow" panose="020B0606020202030204" pitchFamily="34" charset="0"/>
                        </a:rPr>
                        <a:t>3</a:t>
                      </a:r>
                      <a:r>
                        <a:rPr lang="en-GB" sz="1200" baseline="0">
                          <a:solidFill>
                            <a:schemeClr val="tx1"/>
                          </a:solidFill>
                          <a:latin typeface="Arial Narrow" panose="020B0606020202030204" pitchFamily="34" charset="0"/>
                        </a:rPr>
                        <a:t> (0.9)</a:t>
                      </a:r>
                      <a:endParaRPr lang="en-GB" sz="1200" dirty="0">
                        <a:solidFill>
                          <a:schemeClr val="tx1"/>
                        </a:solidFill>
                        <a:latin typeface="Arial Narrow" panose="020B0606020202030204" pitchFamily="34" charset="0"/>
                      </a:endParaRPr>
                    </a:p>
                  </a:txBody>
                  <a:tcPr marL="121920" marR="121920" marT="0" marB="0" anchor="ctr"/>
                </a:tc>
                <a:tc>
                  <a:txBody>
                    <a:bodyPr/>
                    <a:lstStyle/>
                    <a:p>
                      <a:pPr algn="ctr"/>
                      <a:r>
                        <a:rPr lang="en-GB" sz="1200" dirty="0">
                          <a:solidFill>
                            <a:schemeClr val="tx1"/>
                          </a:solidFill>
                          <a:latin typeface="Arial Narrow" panose="020B0606020202030204" pitchFamily="34" charset="0"/>
                        </a:rPr>
                        <a:t>17 (5.2)</a:t>
                      </a:r>
                    </a:p>
                    <a:p>
                      <a:pPr algn="ctr"/>
                      <a:r>
                        <a:rPr lang="en-GB" sz="1200" dirty="0">
                          <a:solidFill>
                            <a:schemeClr val="tx1"/>
                          </a:solidFill>
                          <a:latin typeface="Arial Narrow" panose="020B0606020202030204" pitchFamily="34" charset="0"/>
                        </a:rPr>
                        <a:t>2 (0.6)</a:t>
                      </a:r>
                    </a:p>
                  </a:txBody>
                  <a:tcPr marL="121920" marR="121920" marT="0" marB="0" anchor="ctr"/>
                </a:tc>
                <a:extLst>
                  <a:ext uri="{0D108BD9-81ED-4DB2-BD59-A6C34878D82A}">
                    <a16:rowId xmlns:a16="http://schemas.microsoft.com/office/drawing/2014/main" val="10005"/>
                  </a:ext>
                </a:extLst>
              </a:tr>
              <a:tr h="182880">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GB" sz="1200" b="1" dirty="0">
                          <a:solidFill>
                            <a:schemeClr val="bg1"/>
                          </a:solidFill>
                          <a:latin typeface="Arial Narrow" panose="020B0606020202030204" pitchFamily="34" charset="0"/>
                        </a:rPr>
                        <a:t>Immune-mediated AEs</a:t>
                      </a:r>
                      <a:endParaRPr lang="en-GB" sz="1200" b="1" baseline="0" dirty="0">
                        <a:solidFill>
                          <a:schemeClr val="bg1"/>
                        </a:solidFill>
                        <a:latin typeface="Arial Narrow" panose="020B0606020202030204" pitchFamily="34" charset="0"/>
                      </a:endParaRPr>
                    </a:p>
                  </a:txBody>
                  <a:tcPr marL="121920" marR="121920" marT="0" marB="0" anchor="ctr">
                    <a:solidFill>
                      <a:schemeClr val="accent1">
                        <a:lumMod val="60000"/>
                        <a:lumOff val="40000"/>
                      </a:schemeClr>
                    </a:solidFill>
                  </a:tcPr>
                </a:tc>
                <a:tc>
                  <a:txBody>
                    <a:bodyPr/>
                    <a:lstStyle/>
                    <a:p>
                      <a:pPr algn="ctr"/>
                      <a:r>
                        <a:rPr lang="en-GB" sz="1200">
                          <a:solidFill>
                            <a:schemeClr val="tx1"/>
                          </a:solidFill>
                          <a:latin typeface="Arial Narrow" panose="020B0606020202030204" pitchFamily="34" charset="0"/>
                        </a:rPr>
                        <a:t>58 (17.2)</a:t>
                      </a:r>
                      <a:endParaRPr lang="en-GB" sz="1200" dirty="0">
                        <a:solidFill>
                          <a:schemeClr val="tx1"/>
                        </a:solidFill>
                        <a:latin typeface="Arial Narrow" panose="020B0606020202030204" pitchFamily="34" charset="0"/>
                      </a:endParaRPr>
                    </a:p>
                  </a:txBody>
                  <a:tcPr marL="121920" marR="121920" marT="0" marB="0" anchor="ctr"/>
                </a:tc>
                <a:tc>
                  <a:txBody>
                    <a:bodyPr/>
                    <a:lstStyle/>
                    <a:p>
                      <a:pPr algn="ctr"/>
                      <a:r>
                        <a:rPr lang="en-GB" sz="1200" dirty="0">
                          <a:solidFill>
                            <a:schemeClr val="tx1"/>
                          </a:solidFill>
                          <a:latin typeface="Arial Narrow" panose="020B0606020202030204" pitchFamily="34" charset="0"/>
                        </a:rPr>
                        <a:t>10 (3.1)</a:t>
                      </a:r>
                    </a:p>
                  </a:txBody>
                  <a:tcPr marL="121920" marR="121920" marT="0" marB="0" anchor="ctr"/>
                </a:tc>
                <a:extLst>
                  <a:ext uri="{0D108BD9-81ED-4DB2-BD59-A6C34878D82A}">
                    <a16:rowId xmlns:a16="http://schemas.microsoft.com/office/drawing/2014/main" val="10006"/>
                  </a:ext>
                </a:extLst>
              </a:tr>
              <a:tr h="182880">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GB" sz="1200" b="1" baseline="0" dirty="0">
                          <a:solidFill>
                            <a:schemeClr val="bg1"/>
                          </a:solidFill>
                          <a:latin typeface="Arial Narrow" panose="020B0606020202030204" pitchFamily="34" charset="0"/>
                        </a:rPr>
                        <a:t>Immune-mediated AEs treated with systemic corticosteroids  </a:t>
                      </a:r>
                    </a:p>
                  </a:txBody>
                  <a:tcPr marL="121920" marR="121920" marT="0" marB="0" anchor="ctr">
                    <a:solidFill>
                      <a:schemeClr val="accent1">
                        <a:lumMod val="60000"/>
                        <a:lumOff val="40000"/>
                      </a:schemeClr>
                    </a:solidFill>
                  </a:tcPr>
                </a:tc>
                <a:tc>
                  <a:txBody>
                    <a:bodyPr/>
                    <a:lstStyle/>
                    <a:p>
                      <a:pPr algn="ctr"/>
                      <a:r>
                        <a:rPr lang="en-GB" sz="1200" dirty="0">
                          <a:solidFill>
                            <a:schemeClr val="tx1"/>
                          </a:solidFill>
                          <a:latin typeface="Arial Narrow" panose="020B0606020202030204" pitchFamily="34" charset="0"/>
                        </a:rPr>
                        <a:t>43 (12.7)</a:t>
                      </a:r>
                    </a:p>
                  </a:txBody>
                  <a:tcPr marL="121920" marR="121920" marT="0" marB="0" anchor="ctr"/>
                </a:tc>
                <a:tc>
                  <a:txBody>
                    <a:bodyPr/>
                    <a:lstStyle/>
                    <a:p>
                      <a:pPr algn="ctr"/>
                      <a:r>
                        <a:rPr lang="en-GB" sz="1200" dirty="0">
                          <a:solidFill>
                            <a:schemeClr val="tx1"/>
                          </a:solidFill>
                          <a:latin typeface="Arial Narrow" panose="020B0606020202030204" pitchFamily="34" charset="0"/>
                        </a:rPr>
                        <a:t>10 (3.1)</a:t>
                      </a:r>
                    </a:p>
                  </a:txBody>
                  <a:tcPr marL="121920" marR="121920" marT="0" marB="0" anchor="ctr"/>
                </a:tc>
                <a:extLst>
                  <a:ext uri="{0D108BD9-81ED-4DB2-BD59-A6C34878D82A}">
                    <a16:rowId xmlns:a16="http://schemas.microsoft.com/office/drawing/2014/main" val="2840712429"/>
                  </a:ext>
                </a:extLst>
              </a:tr>
              <a:tr h="548640">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GB" sz="1200" b="1" dirty="0">
                          <a:solidFill>
                            <a:schemeClr val="bg1"/>
                          </a:solidFill>
                          <a:latin typeface="Arial Narrow" panose="020B0606020202030204" pitchFamily="34" charset="0"/>
                        </a:rPr>
                        <a:t>Immune-mediated AEs in ≥5% of patients</a:t>
                      </a:r>
                    </a:p>
                    <a:p>
                      <a:pPr marL="36000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GB" sz="1200" b="1" baseline="0" dirty="0">
                          <a:solidFill>
                            <a:schemeClr val="bg1"/>
                          </a:solidFill>
                          <a:latin typeface="Arial Narrow" panose="020B0606020202030204" pitchFamily="34" charset="0"/>
                        </a:rPr>
                        <a:t>Hepatitis</a:t>
                      </a:r>
                    </a:p>
                    <a:p>
                      <a:pPr marL="36000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GB" sz="1200" b="1" baseline="0" dirty="0">
                          <a:solidFill>
                            <a:schemeClr val="bg1"/>
                          </a:solidFill>
                          <a:latin typeface="Arial Narrow" panose="020B0606020202030204" pitchFamily="34" charset="0"/>
                        </a:rPr>
                        <a:t>Hypothyroidism</a:t>
                      </a:r>
                      <a:endParaRPr lang="en-GB" sz="1200" b="1" dirty="0">
                        <a:solidFill>
                          <a:schemeClr val="bg1"/>
                        </a:solidFill>
                        <a:latin typeface="Arial Narrow" panose="020B0606020202030204" pitchFamily="34" charset="0"/>
                      </a:endParaRPr>
                    </a:p>
                  </a:txBody>
                  <a:tcPr marL="121920" marR="121920" marT="0" marB="0" anchor="ctr">
                    <a:solidFill>
                      <a:schemeClr val="accent1">
                        <a:lumMod val="60000"/>
                        <a:lumOff val="40000"/>
                      </a:schemeClr>
                    </a:solidFill>
                  </a:tcPr>
                </a:tc>
                <a:tc>
                  <a:txBody>
                    <a:bodyPr/>
                    <a:lstStyle/>
                    <a:p>
                      <a:pPr algn="ctr"/>
                      <a:endParaRPr lang="en-GB" sz="1200" dirty="0">
                        <a:solidFill>
                          <a:schemeClr val="tx1"/>
                        </a:solidFill>
                        <a:latin typeface="Arial Narrow" panose="020B0606020202030204" pitchFamily="34" charset="0"/>
                      </a:endParaRPr>
                    </a:p>
                    <a:p>
                      <a:pPr algn="ctr"/>
                      <a:r>
                        <a:rPr lang="en-GB" sz="1200" dirty="0">
                          <a:solidFill>
                            <a:schemeClr val="tx1"/>
                          </a:solidFill>
                          <a:latin typeface="Arial Narrow" panose="020B0606020202030204" pitchFamily="34" charset="0"/>
                        </a:rPr>
                        <a:t>18 (5.3)</a:t>
                      </a:r>
                    </a:p>
                    <a:p>
                      <a:pPr algn="ctr"/>
                      <a:r>
                        <a:rPr lang="en-GB" sz="1200" dirty="0">
                          <a:solidFill>
                            <a:schemeClr val="tx1"/>
                          </a:solidFill>
                          <a:latin typeface="Arial Narrow" panose="020B0606020202030204" pitchFamily="34" charset="0"/>
                        </a:rPr>
                        <a:t>18 (5.3)</a:t>
                      </a:r>
                    </a:p>
                  </a:txBody>
                  <a:tcPr marL="121920" marR="121920" marT="0" marB="0" anchor="ctr"/>
                </a:tc>
                <a:tc>
                  <a:txBody>
                    <a:bodyPr/>
                    <a:lstStyle/>
                    <a:p>
                      <a:pPr algn="ctr"/>
                      <a:endParaRPr lang="en-GB" sz="1200" dirty="0">
                        <a:solidFill>
                          <a:schemeClr val="tx1"/>
                        </a:solidFill>
                        <a:latin typeface="Arial Narrow" panose="020B0606020202030204" pitchFamily="34" charset="0"/>
                      </a:endParaRPr>
                    </a:p>
                    <a:p>
                      <a:pPr algn="ctr"/>
                      <a:r>
                        <a:rPr lang="en-GB" sz="1200" dirty="0">
                          <a:solidFill>
                            <a:schemeClr val="tx1"/>
                          </a:solidFill>
                          <a:latin typeface="Arial Narrow" panose="020B0606020202030204" pitchFamily="34" charset="0"/>
                        </a:rPr>
                        <a:t>1 (0.3)</a:t>
                      </a:r>
                    </a:p>
                    <a:p>
                      <a:pPr algn="ctr"/>
                      <a:r>
                        <a:rPr lang="en-GB" sz="1200" dirty="0">
                          <a:solidFill>
                            <a:schemeClr val="tx1"/>
                          </a:solidFill>
                          <a:latin typeface="Arial Narrow" panose="020B0606020202030204" pitchFamily="34" charset="0"/>
                        </a:rPr>
                        <a:t>0 (0)</a:t>
                      </a:r>
                    </a:p>
                  </a:txBody>
                  <a:tcPr marL="121920" marR="121920" marT="0" marB="0" anchor="ctr"/>
                </a:tc>
                <a:extLst>
                  <a:ext uri="{0D108BD9-81ED-4DB2-BD59-A6C34878D82A}">
                    <a16:rowId xmlns:a16="http://schemas.microsoft.com/office/drawing/2014/main" val="1069140047"/>
                  </a:ext>
                </a:extLst>
              </a:tr>
              <a:tr h="182880">
                <a:tc gridSpan="3">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GB" sz="1200" b="1" dirty="0">
                          <a:solidFill>
                            <a:schemeClr val="bg1"/>
                          </a:solidFill>
                          <a:latin typeface="Arial Narrow" panose="020B0606020202030204" pitchFamily="34" charset="0"/>
                        </a:rPr>
                        <a:t>Treatment</a:t>
                      </a:r>
                    </a:p>
                  </a:txBody>
                  <a:tcPr marL="121920" marR="121920" marT="0" marB="0" anchor="ctr">
                    <a:solidFill>
                      <a:srgbClr val="1E325F"/>
                    </a:solidFill>
                  </a:tcPr>
                </a:tc>
                <a:tc hMerge="1">
                  <a:txBody>
                    <a:bodyPr/>
                    <a:lstStyle/>
                    <a:p>
                      <a:endParaRPr lang="en-GB"/>
                    </a:p>
                  </a:txBody>
                  <a:tcPr/>
                </a:tc>
                <a:tc hMerge="1">
                  <a:txBody>
                    <a:bodyPr/>
                    <a:lstStyle/>
                    <a:p>
                      <a:pPr algn="ctr"/>
                      <a:endParaRPr lang="en-GB" sz="1000" dirty="0">
                        <a:solidFill>
                          <a:schemeClr val="tx1"/>
                        </a:solidFill>
                        <a:latin typeface="Arial Narrow" panose="020B0606020202030204" pitchFamily="34" charset="0"/>
                      </a:endParaRPr>
                    </a:p>
                  </a:txBody>
                  <a:tcPr marT="0" marB="0" anchor="ctr">
                    <a:solidFill>
                      <a:srgbClr val="1E325F"/>
                    </a:solidFill>
                  </a:tcPr>
                </a:tc>
                <a:extLst>
                  <a:ext uri="{0D108BD9-81ED-4DB2-BD59-A6C34878D82A}">
                    <a16:rowId xmlns:a16="http://schemas.microsoft.com/office/drawing/2014/main" val="2064542590"/>
                  </a:ext>
                </a:extLst>
              </a:tr>
              <a:tr h="182880">
                <a:tc>
                  <a:txBody>
                    <a:bodyPr/>
                    <a:lstStyle/>
                    <a:p>
                      <a:r>
                        <a:rPr lang="en-GB" sz="1200" b="1" dirty="0">
                          <a:solidFill>
                            <a:schemeClr val="bg1"/>
                          </a:solidFill>
                          <a:latin typeface="Arial Narrow" panose="020B0606020202030204" pitchFamily="34" charset="0"/>
                        </a:rPr>
                        <a:t>Median duration of treatment, months</a:t>
                      </a:r>
                      <a:endParaRPr lang="en-GB" sz="1200" b="1" baseline="30000" dirty="0">
                        <a:solidFill>
                          <a:schemeClr val="bg1"/>
                        </a:solidFill>
                        <a:latin typeface="Arial Narrow" panose="020B0606020202030204" pitchFamily="34" charset="0"/>
                      </a:endParaRPr>
                    </a:p>
                  </a:txBody>
                  <a:tcPr marL="121920" marR="121920" marT="0" marB="0" anchor="ctr">
                    <a:solidFill>
                      <a:schemeClr val="accent1">
                        <a:lumMod val="60000"/>
                        <a:lumOff val="40000"/>
                      </a:schemeClr>
                    </a:solidFill>
                  </a:tcPr>
                </a:tc>
                <a:tc>
                  <a:txBody>
                    <a:bodyPr/>
                    <a:lstStyle/>
                    <a:p>
                      <a:pPr algn="ctr"/>
                      <a:r>
                        <a:rPr lang="en-GB" sz="1200" dirty="0">
                          <a:latin typeface="Arial Narrow" panose="020B0606020202030204" pitchFamily="34" charset="0"/>
                        </a:rPr>
                        <a:t>4.1</a:t>
                      </a:r>
                    </a:p>
                  </a:txBody>
                  <a:tcPr marL="121920" marR="121920" marT="0" marB="0" anchor="ctr"/>
                </a:tc>
                <a:tc>
                  <a:txBody>
                    <a:bodyPr/>
                    <a:lstStyle/>
                    <a:p>
                      <a:pPr algn="ctr"/>
                      <a:r>
                        <a:rPr lang="en-GB" sz="1200" dirty="0">
                          <a:latin typeface="Arial Narrow" panose="020B0606020202030204" pitchFamily="34" charset="0"/>
                        </a:rPr>
                        <a:t>2.7</a:t>
                      </a:r>
                    </a:p>
                  </a:txBody>
                  <a:tcPr marL="121920" marR="121920" marT="0" marB="0" anchor="ctr"/>
                </a:tc>
                <a:extLst>
                  <a:ext uri="{0D108BD9-81ED-4DB2-BD59-A6C34878D82A}">
                    <a16:rowId xmlns:a16="http://schemas.microsoft.com/office/drawing/2014/main" val="496588500"/>
                  </a:ext>
                </a:extLst>
              </a:tr>
            </a:tbl>
          </a:graphicData>
        </a:graphic>
      </p:graphicFrame>
      <p:sp>
        <p:nvSpPr>
          <p:cNvPr id="8" name="TextBox 7">
            <a:extLst>
              <a:ext uri="{FF2B5EF4-FFF2-40B4-BE49-F238E27FC236}">
                <a16:creationId xmlns:a16="http://schemas.microsoft.com/office/drawing/2014/main" id="{7C5018A8-0AB8-71A5-BA80-ACC1F8236B15}"/>
              </a:ext>
            </a:extLst>
          </p:cNvPr>
          <p:cNvSpPr txBox="1"/>
          <p:nvPr/>
        </p:nvSpPr>
        <p:spPr>
          <a:xfrm>
            <a:off x="2220604" y="5830406"/>
            <a:ext cx="1430200"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panose="020B0604020202020204"/>
                <a:ea typeface="+mn-ea"/>
                <a:cs typeface="+mn-cs"/>
              </a:rPr>
              <a:t>Abstract LBA36</a:t>
            </a:r>
          </a:p>
        </p:txBody>
      </p:sp>
    </p:spTree>
    <p:extLst>
      <p:ext uri="{BB962C8B-B14F-4D97-AF65-F5344CB8AC3E}">
        <p14:creationId xmlns:p14="http://schemas.microsoft.com/office/powerpoint/2010/main" val="24999163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ooter Placeholder 6"/>
          <p:cNvSpPr>
            <a:spLocks noGrp="1"/>
          </p:cNvSpPr>
          <p:nvPr>
            <p:ph type="ftr" sz="quarter" idx="13"/>
          </p:nvPr>
        </p:nvSpPr>
        <p:spPr>
          <a:xfrm>
            <a:off x="195680" y="5962108"/>
            <a:ext cx="999744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1. </a:t>
            </a:r>
            <a:r>
              <a:rPr kumimoji="0" lang="en-US" sz="1800" b="0" i="0" u="none" strike="noStrike" kern="1200" cap="none" spc="0" normalizeH="0" baseline="0" noProof="0" dirty="0" err="1">
                <a:ln>
                  <a:noFill/>
                </a:ln>
                <a:solidFill>
                  <a:prstClr val="black"/>
                </a:solidFill>
                <a:effectLst/>
                <a:uLnTx/>
                <a:uFillTx/>
                <a:latin typeface="Calibri"/>
                <a:ea typeface="+mn-ea"/>
                <a:cs typeface="+mn-cs"/>
              </a:rPr>
              <a:t>Llovet</a:t>
            </a:r>
            <a:r>
              <a:rPr kumimoji="0" lang="en-US" sz="1800" b="0" i="0" u="none" strike="noStrike" kern="1200" cap="none" spc="0" normalizeH="0" baseline="0" noProof="0" dirty="0">
                <a:ln>
                  <a:noFill/>
                </a:ln>
                <a:solidFill>
                  <a:prstClr val="black"/>
                </a:solidFill>
                <a:effectLst/>
                <a:uLnTx/>
                <a:uFillTx/>
                <a:latin typeface="Calibri"/>
                <a:ea typeface="+mn-ea"/>
                <a:cs typeface="+mn-cs"/>
              </a:rPr>
              <a:t> JM et al. </a:t>
            </a:r>
            <a:r>
              <a:rPr kumimoji="0" lang="en-US" sz="1800" b="0" i="1" u="none" strike="noStrike" kern="1200" cap="none" spc="0" normalizeH="0" baseline="0" noProof="0" dirty="0">
                <a:ln>
                  <a:noFill/>
                </a:ln>
                <a:solidFill>
                  <a:prstClr val="black"/>
                </a:solidFill>
                <a:effectLst/>
                <a:uLnTx/>
                <a:uFillTx/>
                <a:latin typeface="Calibri"/>
                <a:ea typeface="+mn-ea"/>
                <a:cs typeface="+mn-cs"/>
              </a:rPr>
              <a:t>N </a:t>
            </a:r>
            <a:r>
              <a:rPr kumimoji="0" lang="en-US" sz="1800" b="0" i="1" u="none" strike="noStrike" kern="1200" cap="none" spc="0" normalizeH="0" baseline="0" noProof="0" dirty="0" err="1">
                <a:ln>
                  <a:noFill/>
                </a:ln>
                <a:solidFill>
                  <a:prstClr val="black"/>
                </a:solidFill>
                <a:effectLst/>
                <a:uLnTx/>
                <a:uFillTx/>
                <a:latin typeface="Calibri"/>
                <a:ea typeface="+mn-ea"/>
                <a:cs typeface="+mn-cs"/>
              </a:rPr>
              <a:t>Engl</a:t>
            </a:r>
            <a:r>
              <a:rPr kumimoji="0" lang="en-US" sz="1800" b="0" i="1" u="none" strike="noStrike" kern="1200" cap="none" spc="0" normalizeH="0" baseline="0" noProof="0" dirty="0">
                <a:ln>
                  <a:noFill/>
                </a:ln>
                <a:solidFill>
                  <a:prstClr val="black"/>
                </a:solidFill>
                <a:effectLst/>
                <a:uLnTx/>
                <a:uFillTx/>
                <a:latin typeface="Calibri"/>
                <a:ea typeface="+mn-ea"/>
                <a:cs typeface="+mn-cs"/>
              </a:rPr>
              <a:t> J Med</a:t>
            </a:r>
            <a:r>
              <a:rPr kumimoji="0" lang="en-US" sz="1800" b="0" i="0" u="none" strike="noStrike" kern="1200" cap="none" spc="0" normalizeH="0" baseline="0" noProof="0" dirty="0">
                <a:ln>
                  <a:noFill/>
                </a:ln>
                <a:solidFill>
                  <a:prstClr val="black"/>
                </a:solidFill>
                <a:effectLst/>
                <a:uLnTx/>
                <a:uFillTx/>
                <a:latin typeface="Calibri"/>
                <a:ea typeface="+mn-ea"/>
                <a:cs typeface="+mn-cs"/>
              </a:rPr>
              <a:t>. 2008;359:378-390. </a:t>
            </a:r>
            <a:r>
              <a:rPr kumimoji="0" lang="en-US" sz="1800" b="0" i="0" u="none" strike="noStrike" kern="1200" cap="none" spc="0" normalizeH="0" baseline="0" noProof="0" dirty="0">
                <a:ln>
                  <a:noFill/>
                </a:ln>
                <a:solidFill>
                  <a:srgbClr val="000000"/>
                </a:solidFill>
                <a:effectLst/>
                <a:uLnTx/>
                <a:uFillTx/>
                <a:latin typeface="Calibri"/>
                <a:ea typeface="+mn-ea"/>
                <a:cs typeface="+mn-cs"/>
              </a:rPr>
              <a:t>2. Kudo M et al. </a:t>
            </a:r>
            <a:r>
              <a:rPr kumimoji="0" lang="fr-FR" sz="1800" b="0" i="1" u="none" strike="noStrike" kern="1200" cap="none" spc="0" normalizeH="0" baseline="0" noProof="0" dirty="0">
                <a:ln>
                  <a:noFill/>
                </a:ln>
                <a:solidFill>
                  <a:srgbClr val="000000"/>
                </a:solidFill>
                <a:effectLst/>
                <a:uLnTx/>
                <a:uFillTx/>
                <a:latin typeface="Calibri"/>
                <a:ea typeface="+mn-ea"/>
                <a:cs typeface="+mn-cs"/>
              </a:rPr>
              <a:t>Lancet</a:t>
            </a:r>
            <a:r>
              <a:rPr kumimoji="0" lang="fr-FR" sz="1800" b="0" i="0" u="none" strike="noStrike" kern="1200" cap="none" spc="0" normalizeH="0" baseline="0" noProof="0" dirty="0">
                <a:ln>
                  <a:noFill/>
                </a:ln>
                <a:solidFill>
                  <a:srgbClr val="000000"/>
                </a:solidFill>
                <a:effectLst/>
                <a:uLnTx/>
                <a:uFillTx/>
                <a:latin typeface="Calibri"/>
                <a:ea typeface="+mn-ea"/>
                <a:cs typeface="+mn-cs"/>
              </a:rPr>
              <a:t>. 2018;391:1163-1173.</a:t>
            </a: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4" name="Title 3"/>
          <p:cNvSpPr>
            <a:spLocks noGrp="1"/>
          </p:cNvSpPr>
          <p:nvPr>
            <p:ph type="title"/>
          </p:nvPr>
        </p:nvSpPr>
        <p:spPr>
          <a:xfrm>
            <a:off x="640080" y="45714"/>
            <a:ext cx="10972800" cy="754103"/>
          </a:xfrm>
        </p:spPr>
        <p:txBody>
          <a:bodyPr/>
          <a:lstStyle/>
          <a:p>
            <a:r>
              <a:rPr lang="en-US" dirty="0"/>
              <a:t>Alternative First-Line TKI Options</a:t>
            </a:r>
          </a:p>
        </p:txBody>
      </p:sp>
      <p:sp>
        <p:nvSpPr>
          <p:cNvPr id="10" name="TextBox 9"/>
          <p:cNvSpPr txBox="1"/>
          <p:nvPr/>
        </p:nvSpPr>
        <p:spPr>
          <a:xfrm>
            <a:off x="887161" y="4676222"/>
            <a:ext cx="4837044" cy="830997"/>
          </a:xfrm>
          <a:prstGeom prst="rect">
            <a:avLst/>
          </a:prstGeom>
          <a:solidFill>
            <a:schemeClr val="tx2"/>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white"/>
                </a:solidFill>
                <a:effectLst/>
                <a:uLnTx/>
                <a:uFillTx/>
                <a:latin typeface="Calibri"/>
                <a:ea typeface="+mn-ea"/>
                <a:cs typeface="+mn-cs"/>
              </a:rPr>
              <a:t>Sorafenib OS: 10.7 month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white"/>
                </a:solidFill>
                <a:effectLst/>
                <a:uLnTx/>
                <a:uFillTx/>
                <a:latin typeface="Calibri"/>
                <a:ea typeface="+mn-ea"/>
                <a:cs typeface="+mn-cs"/>
              </a:rPr>
              <a:t>Placebo OS: 7.9 months</a:t>
            </a:r>
          </a:p>
        </p:txBody>
      </p:sp>
      <p:sp>
        <p:nvSpPr>
          <p:cNvPr id="3" name="TextBox 2"/>
          <p:cNvSpPr txBox="1"/>
          <p:nvPr/>
        </p:nvSpPr>
        <p:spPr>
          <a:xfrm>
            <a:off x="1165230" y="606329"/>
            <a:ext cx="2821863"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libri"/>
                <a:ea typeface="+mn-ea"/>
                <a:cs typeface="+mn-cs"/>
              </a:rPr>
              <a:t>Phase 3 SHARP Trial</a:t>
            </a:r>
            <a:r>
              <a:rPr kumimoji="0" lang="en-US" sz="2400" b="1" i="0" u="none" strike="noStrike" kern="1200" cap="none" spc="0" normalizeH="0" baseline="30000" noProof="0" dirty="0">
                <a:ln>
                  <a:noFill/>
                </a:ln>
                <a:solidFill>
                  <a:prstClr val="black"/>
                </a:solidFill>
                <a:effectLst/>
                <a:uLnTx/>
                <a:uFillTx/>
                <a:latin typeface="Calibri"/>
                <a:ea typeface="+mn-ea"/>
                <a:cs typeface="+mn-cs"/>
              </a:rPr>
              <a:t>1</a:t>
            </a:r>
          </a:p>
        </p:txBody>
      </p:sp>
      <p:pic>
        <p:nvPicPr>
          <p:cNvPr id="12"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b="12463"/>
          <a:stretch/>
        </p:blipFill>
        <p:spPr bwMode="auto">
          <a:xfrm>
            <a:off x="5286714" y="1303325"/>
            <a:ext cx="6869191" cy="31309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Rectangle 4"/>
          <p:cNvSpPr/>
          <p:nvPr/>
        </p:nvSpPr>
        <p:spPr>
          <a:xfrm>
            <a:off x="2596093" y="1098771"/>
            <a:ext cx="1794663" cy="31184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sp>
        <p:nvSpPr>
          <p:cNvPr id="14" name="Rectangle 13"/>
          <p:cNvSpPr/>
          <p:nvPr/>
        </p:nvSpPr>
        <p:spPr>
          <a:xfrm>
            <a:off x="98590" y="4278307"/>
            <a:ext cx="1766501" cy="31184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sp>
        <p:nvSpPr>
          <p:cNvPr id="19" name="Rectangle 18"/>
          <p:cNvSpPr/>
          <p:nvPr/>
        </p:nvSpPr>
        <p:spPr>
          <a:xfrm>
            <a:off x="5194400" y="4278306"/>
            <a:ext cx="1638605" cy="31184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sp>
        <p:nvSpPr>
          <p:cNvPr id="20" name="TextBox 19"/>
          <p:cNvSpPr txBox="1"/>
          <p:nvPr/>
        </p:nvSpPr>
        <p:spPr>
          <a:xfrm>
            <a:off x="6736754" y="4676222"/>
            <a:ext cx="4837044" cy="830997"/>
          </a:xfrm>
          <a:prstGeom prst="rect">
            <a:avLst/>
          </a:prstGeom>
          <a:solidFill>
            <a:schemeClr val="tx2"/>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white"/>
                </a:solidFill>
                <a:effectLst/>
                <a:uLnTx/>
                <a:uFillTx/>
                <a:latin typeface="Calibri"/>
                <a:ea typeface="+mn-ea"/>
                <a:cs typeface="+mn-cs"/>
              </a:rPr>
              <a:t>Lenvatinib OS: 13.6 month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white"/>
                </a:solidFill>
                <a:effectLst/>
                <a:uLnTx/>
                <a:uFillTx/>
                <a:latin typeface="Calibri"/>
                <a:ea typeface="+mn-ea"/>
                <a:cs typeface="+mn-cs"/>
              </a:rPr>
              <a:t>Sorafenib OS: 12.3 months</a:t>
            </a:r>
          </a:p>
        </p:txBody>
      </p:sp>
      <p:sp>
        <p:nvSpPr>
          <p:cNvPr id="21" name="Rectangle 20"/>
          <p:cNvSpPr/>
          <p:nvPr/>
        </p:nvSpPr>
        <p:spPr>
          <a:xfrm>
            <a:off x="8849435" y="1537412"/>
            <a:ext cx="3002824" cy="109240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a:ea typeface="+mn-ea"/>
              <a:cs typeface="+mn-cs"/>
            </a:endParaRPr>
          </a:p>
        </p:txBody>
      </p:sp>
      <p:sp>
        <p:nvSpPr>
          <p:cNvPr id="22" name="TextBox 21"/>
          <p:cNvSpPr txBox="1"/>
          <p:nvPr/>
        </p:nvSpPr>
        <p:spPr>
          <a:xfrm>
            <a:off x="6848745" y="606329"/>
            <a:ext cx="3017621"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libri"/>
                <a:ea typeface="+mn-ea"/>
                <a:cs typeface="+mn-cs"/>
              </a:rPr>
              <a:t>Phase 3 REFLECT Trial</a:t>
            </a:r>
            <a:r>
              <a:rPr kumimoji="0" lang="en-US" sz="2400" b="1" i="0" u="none" strike="noStrike" kern="1200" cap="none" spc="0" normalizeH="0" baseline="30000" noProof="0" dirty="0">
                <a:ln>
                  <a:noFill/>
                </a:ln>
                <a:solidFill>
                  <a:prstClr val="black"/>
                </a:solidFill>
                <a:effectLst/>
                <a:uLnTx/>
                <a:uFillTx/>
                <a:latin typeface="Calibri"/>
                <a:ea typeface="+mn-ea"/>
                <a:cs typeface="+mn-cs"/>
              </a:rPr>
              <a:t>2</a:t>
            </a:r>
          </a:p>
        </p:txBody>
      </p:sp>
      <p:sp>
        <p:nvSpPr>
          <p:cNvPr id="23" name="TextBox 22"/>
          <p:cNvSpPr txBox="1"/>
          <p:nvPr/>
        </p:nvSpPr>
        <p:spPr>
          <a:xfrm>
            <a:off x="7935503" y="2230034"/>
            <a:ext cx="897490" cy="2974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a:ln>
                  <a:noFill/>
                </a:ln>
                <a:solidFill>
                  <a:prstClr val="black"/>
                </a:solidFill>
                <a:effectLst/>
                <a:uLnTx/>
                <a:uFillTx/>
                <a:latin typeface="Calibri"/>
                <a:ea typeface="+mn-ea"/>
                <a:cs typeface="+mn-cs"/>
              </a:rPr>
              <a:t>Lenvatinib</a:t>
            </a:r>
          </a:p>
        </p:txBody>
      </p:sp>
      <p:sp>
        <p:nvSpPr>
          <p:cNvPr id="24" name="TextBox 23"/>
          <p:cNvSpPr txBox="1"/>
          <p:nvPr/>
        </p:nvSpPr>
        <p:spPr>
          <a:xfrm>
            <a:off x="8317624" y="3026580"/>
            <a:ext cx="841128" cy="2974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a:ln>
                  <a:noFill/>
                </a:ln>
                <a:solidFill>
                  <a:prstClr val="black"/>
                </a:solidFill>
                <a:effectLst/>
                <a:uLnTx/>
                <a:uFillTx/>
                <a:latin typeface="Calibri"/>
                <a:ea typeface="+mn-ea"/>
                <a:cs typeface="+mn-cs"/>
              </a:rPr>
              <a:t>Sorafenib</a:t>
            </a:r>
          </a:p>
        </p:txBody>
      </p:sp>
      <p:graphicFrame>
        <p:nvGraphicFramePr>
          <p:cNvPr id="25" name="Chart 24">
            <a:extLst>
              <a:ext uri="{FF2B5EF4-FFF2-40B4-BE49-F238E27FC236}">
                <a16:creationId xmlns:a16="http://schemas.microsoft.com/office/drawing/2014/main" id="{B9F4C515-B06B-214E-BCC0-F84372274D55}"/>
              </a:ext>
            </a:extLst>
          </p:cNvPr>
          <p:cNvGraphicFramePr/>
          <p:nvPr/>
        </p:nvGraphicFramePr>
        <p:xfrm>
          <a:off x="437099" y="863310"/>
          <a:ext cx="5467661" cy="3652181"/>
        </p:xfrm>
        <a:graphic>
          <a:graphicData uri="http://schemas.openxmlformats.org/drawingml/2006/chart">
            <c:chart xmlns:c="http://schemas.openxmlformats.org/drawingml/2006/chart" xmlns:r="http://schemas.openxmlformats.org/officeDocument/2006/relationships" r:id="rId4"/>
          </a:graphicData>
        </a:graphic>
      </p:graphicFrame>
      <p:sp>
        <p:nvSpPr>
          <p:cNvPr id="26" name="TextBox 25">
            <a:extLst>
              <a:ext uri="{FF2B5EF4-FFF2-40B4-BE49-F238E27FC236}">
                <a16:creationId xmlns:a16="http://schemas.microsoft.com/office/drawing/2014/main" id="{270494CF-7BE0-4E48-A438-E16560061122}"/>
              </a:ext>
            </a:extLst>
          </p:cNvPr>
          <p:cNvSpPr txBox="1"/>
          <p:nvPr/>
        </p:nvSpPr>
        <p:spPr>
          <a:xfrm>
            <a:off x="1165230" y="606329"/>
            <a:ext cx="2821863"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libri"/>
                <a:ea typeface="+mn-ea"/>
                <a:cs typeface="+mn-cs"/>
              </a:rPr>
              <a:t>Phase 3 SHARP Trial</a:t>
            </a:r>
            <a:r>
              <a:rPr kumimoji="0" lang="en-US" sz="2400" b="1" i="0" u="none" strike="noStrike" kern="1200" cap="none" spc="0" normalizeH="0" baseline="30000" noProof="0" dirty="0">
                <a:ln>
                  <a:noFill/>
                </a:ln>
                <a:solidFill>
                  <a:prstClr val="black"/>
                </a:solidFill>
                <a:effectLst/>
                <a:uLnTx/>
                <a:uFillTx/>
                <a:latin typeface="Calibri"/>
                <a:ea typeface="+mn-ea"/>
                <a:cs typeface="+mn-cs"/>
              </a:rPr>
              <a:t>1</a:t>
            </a:r>
          </a:p>
        </p:txBody>
      </p:sp>
      <p:sp>
        <p:nvSpPr>
          <p:cNvPr id="27" name="TextBox 26">
            <a:extLst>
              <a:ext uri="{FF2B5EF4-FFF2-40B4-BE49-F238E27FC236}">
                <a16:creationId xmlns:a16="http://schemas.microsoft.com/office/drawing/2014/main" id="{D19CF350-29BB-B047-9747-8496C5834CB9}"/>
              </a:ext>
            </a:extLst>
          </p:cNvPr>
          <p:cNvSpPr txBox="1"/>
          <p:nvPr/>
        </p:nvSpPr>
        <p:spPr>
          <a:xfrm>
            <a:off x="1165230" y="606329"/>
            <a:ext cx="2821863"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libri"/>
                <a:ea typeface="+mn-ea"/>
                <a:cs typeface="+mn-cs"/>
              </a:rPr>
              <a:t>Phase 3 SHARP Trial</a:t>
            </a:r>
            <a:r>
              <a:rPr kumimoji="0" lang="en-US" sz="2400" b="1" i="0" u="none" strike="noStrike" kern="1200" cap="none" spc="0" normalizeH="0" baseline="30000" noProof="0" dirty="0">
                <a:ln>
                  <a:noFill/>
                </a:ln>
                <a:solidFill>
                  <a:prstClr val="black"/>
                </a:solidFill>
                <a:effectLst/>
                <a:uLnTx/>
                <a:uFillTx/>
                <a:latin typeface="Calibri"/>
                <a:ea typeface="+mn-ea"/>
                <a:cs typeface="+mn-cs"/>
              </a:rPr>
              <a:t>1</a:t>
            </a:r>
          </a:p>
        </p:txBody>
      </p:sp>
      <p:sp>
        <p:nvSpPr>
          <p:cNvPr id="28" name="Rectangle 27">
            <a:extLst>
              <a:ext uri="{FF2B5EF4-FFF2-40B4-BE49-F238E27FC236}">
                <a16:creationId xmlns:a16="http://schemas.microsoft.com/office/drawing/2014/main" id="{A241D1AD-A406-7644-B92D-3E48E34277DA}"/>
              </a:ext>
            </a:extLst>
          </p:cNvPr>
          <p:cNvSpPr/>
          <p:nvPr/>
        </p:nvSpPr>
        <p:spPr>
          <a:xfrm>
            <a:off x="2596093" y="1098771"/>
            <a:ext cx="1794663" cy="31184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29" name="TextBox 28">
            <a:extLst>
              <a:ext uri="{FF2B5EF4-FFF2-40B4-BE49-F238E27FC236}">
                <a16:creationId xmlns:a16="http://schemas.microsoft.com/office/drawing/2014/main" id="{7A81EB3B-5B93-8641-B634-213EC3A99A18}"/>
              </a:ext>
            </a:extLst>
          </p:cNvPr>
          <p:cNvSpPr txBox="1"/>
          <p:nvPr/>
        </p:nvSpPr>
        <p:spPr>
          <a:xfrm>
            <a:off x="1947166" y="4144221"/>
            <a:ext cx="3339548"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a:ea typeface="+mn-ea"/>
                <a:cs typeface="+mn-cs"/>
              </a:rPr>
              <a:t>Time Since Randomization, mo</a:t>
            </a:r>
          </a:p>
        </p:txBody>
      </p:sp>
      <p:sp>
        <p:nvSpPr>
          <p:cNvPr id="30" name="TextBox 29">
            <a:extLst>
              <a:ext uri="{FF2B5EF4-FFF2-40B4-BE49-F238E27FC236}">
                <a16:creationId xmlns:a16="http://schemas.microsoft.com/office/drawing/2014/main" id="{A681C08C-A006-8B4F-B25C-93EA4CF1F3D6}"/>
              </a:ext>
            </a:extLst>
          </p:cNvPr>
          <p:cNvSpPr txBox="1"/>
          <p:nvPr/>
        </p:nvSpPr>
        <p:spPr>
          <a:xfrm>
            <a:off x="317529" y="1155910"/>
            <a:ext cx="400110" cy="3061741"/>
          </a:xfrm>
          <a:prstGeom prst="rect">
            <a:avLst/>
          </a:prstGeom>
          <a:solidFill>
            <a:schemeClr val="bg1"/>
          </a:solidFill>
        </p:spPr>
        <p:txBody>
          <a:bodyPr vert="vert270"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a:ea typeface="+mn-ea"/>
                <a:cs typeface="+mn-cs"/>
              </a:rPr>
              <a:t>Probability of Survival</a:t>
            </a:r>
          </a:p>
        </p:txBody>
      </p:sp>
      <p:sp>
        <p:nvSpPr>
          <p:cNvPr id="31" name="Freeform 30">
            <a:extLst>
              <a:ext uri="{FF2B5EF4-FFF2-40B4-BE49-F238E27FC236}">
                <a16:creationId xmlns:a16="http://schemas.microsoft.com/office/drawing/2014/main" id="{FD75A398-4B58-D44E-821A-B584EA2F33F1}"/>
              </a:ext>
            </a:extLst>
          </p:cNvPr>
          <p:cNvSpPr/>
          <p:nvPr/>
        </p:nvSpPr>
        <p:spPr>
          <a:xfrm>
            <a:off x="1232789" y="1371431"/>
            <a:ext cx="4250267" cy="1689100"/>
          </a:xfrm>
          <a:custGeom>
            <a:avLst/>
            <a:gdLst>
              <a:gd name="connsiteX0" fmla="*/ 3187700 w 3187700"/>
              <a:gd name="connsiteY0" fmla="*/ 1266825 h 1266825"/>
              <a:gd name="connsiteX1" fmla="*/ 2876550 w 3187700"/>
              <a:gd name="connsiteY1" fmla="*/ 1266825 h 1266825"/>
              <a:gd name="connsiteX2" fmla="*/ 2876550 w 3187700"/>
              <a:gd name="connsiteY2" fmla="*/ 1228725 h 1266825"/>
              <a:gd name="connsiteX3" fmla="*/ 2816225 w 3187700"/>
              <a:gd name="connsiteY3" fmla="*/ 1228725 h 1266825"/>
              <a:gd name="connsiteX4" fmla="*/ 2816225 w 3187700"/>
              <a:gd name="connsiteY4" fmla="*/ 1190625 h 1266825"/>
              <a:gd name="connsiteX5" fmla="*/ 2778125 w 3187700"/>
              <a:gd name="connsiteY5" fmla="*/ 1190625 h 1266825"/>
              <a:gd name="connsiteX6" fmla="*/ 2778125 w 3187700"/>
              <a:gd name="connsiteY6" fmla="*/ 1152525 h 1266825"/>
              <a:gd name="connsiteX7" fmla="*/ 2768600 w 3187700"/>
              <a:gd name="connsiteY7" fmla="*/ 1152525 h 1266825"/>
              <a:gd name="connsiteX8" fmla="*/ 2768600 w 3187700"/>
              <a:gd name="connsiteY8" fmla="*/ 1120775 h 1266825"/>
              <a:gd name="connsiteX9" fmla="*/ 2625725 w 3187700"/>
              <a:gd name="connsiteY9" fmla="*/ 1120775 h 1266825"/>
              <a:gd name="connsiteX10" fmla="*/ 2625725 w 3187700"/>
              <a:gd name="connsiteY10" fmla="*/ 1104900 h 1266825"/>
              <a:gd name="connsiteX11" fmla="*/ 2441575 w 3187700"/>
              <a:gd name="connsiteY11" fmla="*/ 1104900 h 1266825"/>
              <a:gd name="connsiteX12" fmla="*/ 2441575 w 3187700"/>
              <a:gd name="connsiteY12" fmla="*/ 1079500 h 1266825"/>
              <a:gd name="connsiteX13" fmla="*/ 2349500 w 3187700"/>
              <a:gd name="connsiteY13" fmla="*/ 1079500 h 1266825"/>
              <a:gd name="connsiteX14" fmla="*/ 2349500 w 3187700"/>
              <a:gd name="connsiteY14" fmla="*/ 1079500 h 1266825"/>
              <a:gd name="connsiteX15" fmla="*/ 2349500 w 3187700"/>
              <a:gd name="connsiteY15" fmla="*/ 1063625 h 1266825"/>
              <a:gd name="connsiteX16" fmla="*/ 2339975 w 3187700"/>
              <a:gd name="connsiteY16" fmla="*/ 1063625 h 1266825"/>
              <a:gd name="connsiteX17" fmla="*/ 2339975 w 3187700"/>
              <a:gd name="connsiteY17" fmla="*/ 1063625 h 1266825"/>
              <a:gd name="connsiteX18" fmla="*/ 2339975 w 3187700"/>
              <a:gd name="connsiteY18" fmla="*/ 1044575 h 1266825"/>
              <a:gd name="connsiteX19" fmla="*/ 2305050 w 3187700"/>
              <a:gd name="connsiteY19" fmla="*/ 1044575 h 1266825"/>
              <a:gd name="connsiteX20" fmla="*/ 2305050 w 3187700"/>
              <a:gd name="connsiteY20" fmla="*/ 1025525 h 1266825"/>
              <a:gd name="connsiteX21" fmla="*/ 2197100 w 3187700"/>
              <a:gd name="connsiteY21" fmla="*/ 1025525 h 1266825"/>
              <a:gd name="connsiteX22" fmla="*/ 2197100 w 3187700"/>
              <a:gd name="connsiteY22" fmla="*/ 977900 h 1266825"/>
              <a:gd name="connsiteX23" fmla="*/ 2117725 w 3187700"/>
              <a:gd name="connsiteY23" fmla="*/ 977900 h 1266825"/>
              <a:gd name="connsiteX24" fmla="*/ 2117725 w 3187700"/>
              <a:gd name="connsiteY24" fmla="*/ 968375 h 1266825"/>
              <a:gd name="connsiteX25" fmla="*/ 2117725 w 3187700"/>
              <a:gd name="connsiteY25" fmla="*/ 965200 h 1266825"/>
              <a:gd name="connsiteX26" fmla="*/ 2101850 w 3187700"/>
              <a:gd name="connsiteY26" fmla="*/ 965200 h 1266825"/>
              <a:gd name="connsiteX27" fmla="*/ 2101850 w 3187700"/>
              <a:gd name="connsiteY27" fmla="*/ 952500 h 1266825"/>
              <a:gd name="connsiteX28" fmla="*/ 2038350 w 3187700"/>
              <a:gd name="connsiteY28" fmla="*/ 952500 h 1266825"/>
              <a:gd name="connsiteX29" fmla="*/ 2038350 w 3187700"/>
              <a:gd name="connsiteY29" fmla="*/ 942975 h 1266825"/>
              <a:gd name="connsiteX30" fmla="*/ 1968500 w 3187700"/>
              <a:gd name="connsiteY30" fmla="*/ 942975 h 1266825"/>
              <a:gd name="connsiteX31" fmla="*/ 1968500 w 3187700"/>
              <a:gd name="connsiteY31" fmla="*/ 914400 h 1266825"/>
              <a:gd name="connsiteX32" fmla="*/ 1914525 w 3187700"/>
              <a:gd name="connsiteY32" fmla="*/ 914400 h 1266825"/>
              <a:gd name="connsiteX33" fmla="*/ 1914525 w 3187700"/>
              <a:gd name="connsiteY33" fmla="*/ 901700 h 1266825"/>
              <a:gd name="connsiteX34" fmla="*/ 1885950 w 3187700"/>
              <a:gd name="connsiteY34" fmla="*/ 901700 h 1266825"/>
              <a:gd name="connsiteX35" fmla="*/ 1885950 w 3187700"/>
              <a:gd name="connsiteY35" fmla="*/ 879475 h 1266825"/>
              <a:gd name="connsiteX36" fmla="*/ 1866900 w 3187700"/>
              <a:gd name="connsiteY36" fmla="*/ 879475 h 1266825"/>
              <a:gd name="connsiteX37" fmla="*/ 1866900 w 3187700"/>
              <a:gd name="connsiteY37" fmla="*/ 860425 h 1266825"/>
              <a:gd name="connsiteX38" fmla="*/ 1851025 w 3187700"/>
              <a:gd name="connsiteY38" fmla="*/ 860425 h 1266825"/>
              <a:gd name="connsiteX39" fmla="*/ 1851025 w 3187700"/>
              <a:gd name="connsiteY39" fmla="*/ 841375 h 1266825"/>
              <a:gd name="connsiteX40" fmla="*/ 1806575 w 3187700"/>
              <a:gd name="connsiteY40" fmla="*/ 841375 h 1266825"/>
              <a:gd name="connsiteX41" fmla="*/ 1806575 w 3187700"/>
              <a:gd name="connsiteY41" fmla="*/ 825500 h 1266825"/>
              <a:gd name="connsiteX42" fmla="*/ 1784350 w 3187700"/>
              <a:gd name="connsiteY42" fmla="*/ 825500 h 1266825"/>
              <a:gd name="connsiteX43" fmla="*/ 1784350 w 3187700"/>
              <a:gd name="connsiteY43" fmla="*/ 796925 h 1266825"/>
              <a:gd name="connsiteX44" fmla="*/ 1749425 w 3187700"/>
              <a:gd name="connsiteY44" fmla="*/ 796925 h 1266825"/>
              <a:gd name="connsiteX45" fmla="*/ 1749425 w 3187700"/>
              <a:gd name="connsiteY45" fmla="*/ 781050 h 1266825"/>
              <a:gd name="connsiteX46" fmla="*/ 1717675 w 3187700"/>
              <a:gd name="connsiteY46" fmla="*/ 781050 h 1266825"/>
              <a:gd name="connsiteX47" fmla="*/ 1717675 w 3187700"/>
              <a:gd name="connsiteY47" fmla="*/ 746125 h 1266825"/>
              <a:gd name="connsiteX48" fmla="*/ 1679575 w 3187700"/>
              <a:gd name="connsiteY48" fmla="*/ 746125 h 1266825"/>
              <a:gd name="connsiteX49" fmla="*/ 1679575 w 3187700"/>
              <a:gd name="connsiteY49" fmla="*/ 730250 h 1266825"/>
              <a:gd name="connsiteX50" fmla="*/ 1619250 w 3187700"/>
              <a:gd name="connsiteY50" fmla="*/ 730250 h 1266825"/>
              <a:gd name="connsiteX51" fmla="*/ 1619250 w 3187700"/>
              <a:gd name="connsiteY51" fmla="*/ 714375 h 1266825"/>
              <a:gd name="connsiteX52" fmla="*/ 1517650 w 3187700"/>
              <a:gd name="connsiteY52" fmla="*/ 714375 h 1266825"/>
              <a:gd name="connsiteX53" fmla="*/ 1517650 w 3187700"/>
              <a:gd name="connsiteY53" fmla="*/ 714375 h 1266825"/>
              <a:gd name="connsiteX54" fmla="*/ 1517650 w 3187700"/>
              <a:gd name="connsiteY54" fmla="*/ 698500 h 1266825"/>
              <a:gd name="connsiteX55" fmla="*/ 1485900 w 3187700"/>
              <a:gd name="connsiteY55" fmla="*/ 698500 h 1266825"/>
              <a:gd name="connsiteX56" fmla="*/ 1485900 w 3187700"/>
              <a:gd name="connsiteY56" fmla="*/ 688975 h 1266825"/>
              <a:gd name="connsiteX57" fmla="*/ 1454150 w 3187700"/>
              <a:gd name="connsiteY57" fmla="*/ 688975 h 1266825"/>
              <a:gd name="connsiteX58" fmla="*/ 1454150 w 3187700"/>
              <a:gd name="connsiteY58" fmla="*/ 650875 h 1266825"/>
              <a:gd name="connsiteX59" fmla="*/ 1393825 w 3187700"/>
              <a:gd name="connsiteY59" fmla="*/ 650875 h 1266825"/>
              <a:gd name="connsiteX60" fmla="*/ 1393825 w 3187700"/>
              <a:gd name="connsiteY60" fmla="*/ 644525 h 1266825"/>
              <a:gd name="connsiteX61" fmla="*/ 1400175 w 3187700"/>
              <a:gd name="connsiteY61" fmla="*/ 638175 h 1266825"/>
              <a:gd name="connsiteX62" fmla="*/ 1349375 w 3187700"/>
              <a:gd name="connsiteY62" fmla="*/ 638175 h 1266825"/>
              <a:gd name="connsiteX63" fmla="*/ 1349375 w 3187700"/>
              <a:gd name="connsiteY63" fmla="*/ 609600 h 1266825"/>
              <a:gd name="connsiteX64" fmla="*/ 1320800 w 3187700"/>
              <a:gd name="connsiteY64" fmla="*/ 609600 h 1266825"/>
              <a:gd name="connsiteX65" fmla="*/ 1320800 w 3187700"/>
              <a:gd name="connsiteY65" fmla="*/ 590550 h 1266825"/>
              <a:gd name="connsiteX66" fmla="*/ 1263650 w 3187700"/>
              <a:gd name="connsiteY66" fmla="*/ 590550 h 1266825"/>
              <a:gd name="connsiteX67" fmla="*/ 1263650 w 3187700"/>
              <a:gd name="connsiteY67" fmla="*/ 565150 h 1266825"/>
              <a:gd name="connsiteX68" fmla="*/ 1117600 w 3187700"/>
              <a:gd name="connsiteY68" fmla="*/ 565150 h 1266825"/>
              <a:gd name="connsiteX69" fmla="*/ 1117600 w 3187700"/>
              <a:gd name="connsiteY69" fmla="*/ 546100 h 1266825"/>
              <a:gd name="connsiteX70" fmla="*/ 1092200 w 3187700"/>
              <a:gd name="connsiteY70" fmla="*/ 546100 h 1266825"/>
              <a:gd name="connsiteX71" fmla="*/ 1092200 w 3187700"/>
              <a:gd name="connsiteY71" fmla="*/ 536575 h 1266825"/>
              <a:gd name="connsiteX72" fmla="*/ 1057275 w 3187700"/>
              <a:gd name="connsiteY72" fmla="*/ 536575 h 1266825"/>
              <a:gd name="connsiteX73" fmla="*/ 1057275 w 3187700"/>
              <a:gd name="connsiteY73" fmla="*/ 517525 h 1266825"/>
              <a:gd name="connsiteX74" fmla="*/ 1022350 w 3187700"/>
              <a:gd name="connsiteY74" fmla="*/ 517525 h 1266825"/>
              <a:gd name="connsiteX75" fmla="*/ 1022350 w 3187700"/>
              <a:gd name="connsiteY75" fmla="*/ 517525 h 1266825"/>
              <a:gd name="connsiteX76" fmla="*/ 1022350 w 3187700"/>
              <a:gd name="connsiteY76" fmla="*/ 495300 h 1266825"/>
              <a:gd name="connsiteX77" fmla="*/ 1012825 w 3187700"/>
              <a:gd name="connsiteY77" fmla="*/ 495300 h 1266825"/>
              <a:gd name="connsiteX78" fmla="*/ 1012825 w 3187700"/>
              <a:gd name="connsiteY78" fmla="*/ 485775 h 1266825"/>
              <a:gd name="connsiteX79" fmla="*/ 942975 w 3187700"/>
              <a:gd name="connsiteY79" fmla="*/ 485775 h 1266825"/>
              <a:gd name="connsiteX80" fmla="*/ 942975 w 3187700"/>
              <a:gd name="connsiteY80" fmla="*/ 463550 h 1266825"/>
              <a:gd name="connsiteX81" fmla="*/ 904875 w 3187700"/>
              <a:gd name="connsiteY81" fmla="*/ 463550 h 1266825"/>
              <a:gd name="connsiteX82" fmla="*/ 904875 w 3187700"/>
              <a:gd name="connsiteY82" fmla="*/ 441325 h 1266825"/>
              <a:gd name="connsiteX83" fmla="*/ 879475 w 3187700"/>
              <a:gd name="connsiteY83" fmla="*/ 441325 h 1266825"/>
              <a:gd name="connsiteX84" fmla="*/ 879475 w 3187700"/>
              <a:gd name="connsiteY84" fmla="*/ 441325 h 1266825"/>
              <a:gd name="connsiteX85" fmla="*/ 885825 w 3187700"/>
              <a:gd name="connsiteY85" fmla="*/ 434975 h 1266825"/>
              <a:gd name="connsiteX86" fmla="*/ 869950 w 3187700"/>
              <a:gd name="connsiteY86" fmla="*/ 434975 h 1266825"/>
              <a:gd name="connsiteX87" fmla="*/ 869950 w 3187700"/>
              <a:gd name="connsiteY87" fmla="*/ 412750 h 1266825"/>
              <a:gd name="connsiteX88" fmla="*/ 847725 w 3187700"/>
              <a:gd name="connsiteY88" fmla="*/ 412750 h 1266825"/>
              <a:gd name="connsiteX89" fmla="*/ 847725 w 3187700"/>
              <a:gd name="connsiteY89" fmla="*/ 412750 h 1266825"/>
              <a:gd name="connsiteX90" fmla="*/ 847725 w 3187700"/>
              <a:gd name="connsiteY90" fmla="*/ 393700 h 1266825"/>
              <a:gd name="connsiteX91" fmla="*/ 835025 w 3187700"/>
              <a:gd name="connsiteY91" fmla="*/ 393700 h 1266825"/>
              <a:gd name="connsiteX92" fmla="*/ 835025 w 3187700"/>
              <a:gd name="connsiteY92" fmla="*/ 393700 h 1266825"/>
              <a:gd name="connsiteX93" fmla="*/ 835025 w 3187700"/>
              <a:gd name="connsiteY93" fmla="*/ 393700 h 1266825"/>
              <a:gd name="connsiteX94" fmla="*/ 835025 w 3187700"/>
              <a:gd name="connsiteY94" fmla="*/ 361950 h 1266825"/>
              <a:gd name="connsiteX95" fmla="*/ 825500 w 3187700"/>
              <a:gd name="connsiteY95" fmla="*/ 361950 h 1266825"/>
              <a:gd name="connsiteX96" fmla="*/ 819150 w 3187700"/>
              <a:gd name="connsiteY96" fmla="*/ 355600 h 1266825"/>
              <a:gd name="connsiteX97" fmla="*/ 771525 w 3187700"/>
              <a:gd name="connsiteY97" fmla="*/ 355600 h 1266825"/>
              <a:gd name="connsiteX98" fmla="*/ 771525 w 3187700"/>
              <a:gd name="connsiteY98" fmla="*/ 330200 h 1266825"/>
              <a:gd name="connsiteX99" fmla="*/ 739775 w 3187700"/>
              <a:gd name="connsiteY99" fmla="*/ 330200 h 1266825"/>
              <a:gd name="connsiteX100" fmla="*/ 739775 w 3187700"/>
              <a:gd name="connsiteY100" fmla="*/ 311150 h 1266825"/>
              <a:gd name="connsiteX101" fmla="*/ 688975 w 3187700"/>
              <a:gd name="connsiteY101" fmla="*/ 311150 h 1266825"/>
              <a:gd name="connsiteX102" fmla="*/ 688975 w 3187700"/>
              <a:gd name="connsiteY102" fmla="*/ 295275 h 1266825"/>
              <a:gd name="connsiteX103" fmla="*/ 657225 w 3187700"/>
              <a:gd name="connsiteY103" fmla="*/ 295275 h 1266825"/>
              <a:gd name="connsiteX104" fmla="*/ 657225 w 3187700"/>
              <a:gd name="connsiteY104" fmla="*/ 276225 h 1266825"/>
              <a:gd name="connsiteX105" fmla="*/ 606425 w 3187700"/>
              <a:gd name="connsiteY105" fmla="*/ 276225 h 1266825"/>
              <a:gd name="connsiteX106" fmla="*/ 606425 w 3187700"/>
              <a:gd name="connsiteY106" fmla="*/ 263525 h 1266825"/>
              <a:gd name="connsiteX107" fmla="*/ 552450 w 3187700"/>
              <a:gd name="connsiteY107" fmla="*/ 263525 h 1266825"/>
              <a:gd name="connsiteX108" fmla="*/ 552450 w 3187700"/>
              <a:gd name="connsiteY108" fmla="*/ 238125 h 1266825"/>
              <a:gd name="connsiteX109" fmla="*/ 552450 w 3187700"/>
              <a:gd name="connsiteY109" fmla="*/ 238125 h 1266825"/>
              <a:gd name="connsiteX110" fmla="*/ 533400 w 3187700"/>
              <a:gd name="connsiteY110" fmla="*/ 238125 h 1266825"/>
              <a:gd name="connsiteX111" fmla="*/ 539750 w 3187700"/>
              <a:gd name="connsiteY111" fmla="*/ 231775 h 1266825"/>
              <a:gd name="connsiteX112" fmla="*/ 520700 w 3187700"/>
              <a:gd name="connsiteY112" fmla="*/ 231775 h 1266825"/>
              <a:gd name="connsiteX113" fmla="*/ 520700 w 3187700"/>
              <a:gd name="connsiteY113" fmla="*/ 203200 h 1266825"/>
              <a:gd name="connsiteX114" fmla="*/ 492125 w 3187700"/>
              <a:gd name="connsiteY114" fmla="*/ 203200 h 1266825"/>
              <a:gd name="connsiteX115" fmla="*/ 492125 w 3187700"/>
              <a:gd name="connsiteY115" fmla="*/ 187325 h 1266825"/>
              <a:gd name="connsiteX116" fmla="*/ 447675 w 3187700"/>
              <a:gd name="connsiteY116" fmla="*/ 187325 h 1266825"/>
              <a:gd name="connsiteX117" fmla="*/ 447675 w 3187700"/>
              <a:gd name="connsiteY117" fmla="*/ 177800 h 1266825"/>
              <a:gd name="connsiteX118" fmla="*/ 447675 w 3187700"/>
              <a:gd name="connsiteY118" fmla="*/ 177800 h 1266825"/>
              <a:gd name="connsiteX119" fmla="*/ 447675 w 3187700"/>
              <a:gd name="connsiteY119" fmla="*/ 177800 h 1266825"/>
              <a:gd name="connsiteX120" fmla="*/ 431800 w 3187700"/>
              <a:gd name="connsiteY120" fmla="*/ 177800 h 1266825"/>
              <a:gd name="connsiteX121" fmla="*/ 431800 w 3187700"/>
              <a:gd name="connsiteY121" fmla="*/ 161925 h 1266825"/>
              <a:gd name="connsiteX122" fmla="*/ 396875 w 3187700"/>
              <a:gd name="connsiteY122" fmla="*/ 161925 h 1266825"/>
              <a:gd name="connsiteX123" fmla="*/ 396875 w 3187700"/>
              <a:gd name="connsiteY123" fmla="*/ 142875 h 1266825"/>
              <a:gd name="connsiteX124" fmla="*/ 381000 w 3187700"/>
              <a:gd name="connsiteY124" fmla="*/ 142875 h 1266825"/>
              <a:gd name="connsiteX125" fmla="*/ 381000 w 3187700"/>
              <a:gd name="connsiteY125" fmla="*/ 142875 h 1266825"/>
              <a:gd name="connsiteX126" fmla="*/ 355600 w 3187700"/>
              <a:gd name="connsiteY126" fmla="*/ 117475 h 1266825"/>
              <a:gd name="connsiteX127" fmla="*/ 327025 w 3187700"/>
              <a:gd name="connsiteY127" fmla="*/ 117475 h 1266825"/>
              <a:gd name="connsiteX128" fmla="*/ 327025 w 3187700"/>
              <a:gd name="connsiteY128" fmla="*/ 85725 h 1266825"/>
              <a:gd name="connsiteX129" fmla="*/ 301625 w 3187700"/>
              <a:gd name="connsiteY129" fmla="*/ 85725 h 1266825"/>
              <a:gd name="connsiteX130" fmla="*/ 301625 w 3187700"/>
              <a:gd name="connsiteY130" fmla="*/ 79375 h 1266825"/>
              <a:gd name="connsiteX131" fmla="*/ 225425 w 3187700"/>
              <a:gd name="connsiteY131" fmla="*/ 79375 h 1266825"/>
              <a:gd name="connsiteX132" fmla="*/ 225425 w 3187700"/>
              <a:gd name="connsiteY132" fmla="*/ 47625 h 1266825"/>
              <a:gd name="connsiteX133" fmla="*/ 171450 w 3187700"/>
              <a:gd name="connsiteY133" fmla="*/ 47625 h 1266825"/>
              <a:gd name="connsiteX134" fmla="*/ 171450 w 3187700"/>
              <a:gd name="connsiteY134" fmla="*/ 19050 h 1266825"/>
              <a:gd name="connsiteX135" fmla="*/ 104775 w 3187700"/>
              <a:gd name="connsiteY135" fmla="*/ 19050 h 1266825"/>
              <a:gd name="connsiteX136" fmla="*/ 104775 w 3187700"/>
              <a:gd name="connsiteY136" fmla="*/ 19050 h 1266825"/>
              <a:gd name="connsiteX137" fmla="*/ 104775 w 3187700"/>
              <a:gd name="connsiteY137" fmla="*/ 0 h 1266825"/>
              <a:gd name="connsiteX138" fmla="*/ 0 w 3187700"/>
              <a:gd name="connsiteY138" fmla="*/ 0 h 1266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Lst>
            <a:rect l="l" t="t" r="r" b="b"/>
            <a:pathLst>
              <a:path w="3187700" h="1266825">
                <a:moveTo>
                  <a:pt x="3187700" y="1266825"/>
                </a:moveTo>
                <a:lnTo>
                  <a:pt x="2876550" y="1266825"/>
                </a:lnTo>
                <a:lnTo>
                  <a:pt x="2876550" y="1228725"/>
                </a:lnTo>
                <a:lnTo>
                  <a:pt x="2816225" y="1228725"/>
                </a:lnTo>
                <a:lnTo>
                  <a:pt x="2816225" y="1190625"/>
                </a:lnTo>
                <a:lnTo>
                  <a:pt x="2778125" y="1190625"/>
                </a:lnTo>
                <a:lnTo>
                  <a:pt x="2778125" y="1152525"/>
                </a:lnTo>
                <a:lnTo>
                  <a:pt x="2768600" y="1152525"/>
                </a:lnTo>
                <a:lnTo>
                  <a:pt x="2768600" y="1120775"/>
                </a:lnTo>
                <a:lnTo>
                  <a:pt x="2625725" y="1120775"/>
                </a:lnTo>
                <a:lnTo>
                  <a:pt x="2625725" y="1104900"/>
                </a:lnTo>
                <a:lnTo>
                  <a:pt x="2441575" y="1104900"/>
                </a:lnTo>
                <a:lnTo>
                  <a:pt x="2441575" y="1079500"/>
                </a:lnTo>
                <a:lnTo>
                  <a:pt x="2349500" y="1079500"/>
                </a:lnTo>
                <a:lnTo>
                  <a:pt x="2349500" y="1079500"/>
                </a:lnTo>
                <a:lnTo>
                  <a:pt x="2349500" y="1063625"/>
                </a:lnTo>
                <a:lnTo>
                  <a:pt x="2339975" y="1063625"/>
                </a:lnTo>
                <a:lnTo>
                  <a:pt x="2339975" y="1063625"/>
                </a:lnTo>
                <a:lnTo>
                  <a:pt x="2339975" y="1044575"/>
                </a:lnTo>
                <a:lnTo>
                  <a:pt x="2305050" y="1044575"/>
                </a:lnTo>
                <a:lnTo>
                  <a:pt x="2305050" y="1025525"/>
                </a:lnTo>
                <a:lnTo>
                  <a:pt x="2197100" y="1025525"/>
                </a:lnTo>
                <a:lnTo>
                  <a:pt x="2197100" y="977900"/>
                </a:lnTo>
                <a:lnTo>
                  <a:pt x="2117725" y="977900"/>
                </a:lnTo>
                <a:lnTo>
                  <a:pt x="2117725" y="968375"/>
                </a:lnTo>
                <a:lnTo>
                  <a:pt x="2117725" y="965200"/>
                </a:lnTo>
                <a:lnTo>
                  <a:pt x="2101850" y="965200"/>
                </a:lnTo>
                <a:lnTo>
                  <a:pt x="2101850" y="952500"/>
                </a:lnTo>
                <a:lnTo>
                  <a:pt x="2038350" y="952500"/>
                </a:lnTo>
                <a:lnTo>
                  <a:pt x="2038350" y="942975"/>
                </a:lnTo>
                <a:lnTo>
                  <a:pt x="1968500" y="942975"/>
                </a:lnTo>
                <a:lnTo>
                  <a:pt x="1968500" y="914400"/>
                </a:lnTo>
                <a:lnTo>
                  <a:pt x="1914525" y="914400"/>
                </a:lnTo>
                <a:lnTo>
                  <a:pt x="1914525" y="901700"/>
                </a:lnTo>
                <a:lnTo>
                  <a:pt x="1885950" y="901700"/>
                </a:lnTo>
                <a:lnTo>
                  <a:pt x="1885950" y="879475"/>
                </a:lnTo>
                <a:lnTo>
                  <a:pt x="1866900" y="879475"/>
                </a:lnTo>
                <a:lnTo>
                  <a:pt x="1866900" y="860425"/>
                </a:lnTo>
                <a:lnTo>
                  <a:pt x="1851025" y="860425"/>
                </a:lnTo>
                <a:lnTo>
                  <a:pt x="1851025" y="841375"/>
                </a:lnTo>
                <a:lnTo>
                  <a:pt x="1806575" y="841375"/>
                </a:lnTo>
                <a:lnTo>
                  <a:pt x="1806575" y="825500"/>
                </a:lnTo>
                <a:lnTo>
                  <a:pt x="1784350" y="825500"/>
                </a:lnTo>
                <a:lnTo>
                  <a:pt x="1784350" y="796925"/>
                </a:lnTo>
                <a:lnTo>
                  <a:pt x="1749425" y="796925"/>
                </a:lnTo>
                <a:lnTo>
                  <a:pt x="1749425" y="781050"/>
                </a:lnTo>
                <a:lnTo>
                  <a:pt x="1717675" y="781050"/>
                </a:lnTo>
                <a:lnTo>
                  <a:pt x="1717675" y="746125"/>
                </a:lnTo>
                <a:lnTo>
                  <a:pt x="1679575" y="746125"/>
                </a:lnTo>
                <a:lnTo>
                  <a:pt x="1679575" y="730250"/>
                </a:lnTo>
                <a:lnTo>
                  <a:pt x="1619250" y="730250"/>
                </a:lnTo>
                <a:lnTo>
                  <a:pt x="1619250" y="714375"/>
                </a:lnTo>
                <a:lnTo>
                  <a:pt x="1517650" y="714375"/>
                </a:lnTo>
                <a:lnTo>
                  <a:pt x="1517650" y="714375"/>
                </a:lnTo>
                <a:lnTo>
                  <a:pt x="1517650" y="698500"/>
                </a:lnTo>
                <a:lnTo>
                  <a:pt x="1485900" y="698500"/>
                </a:lnTo>
                <a:lnTo>
                  <a:pt x="1485900" y="688975"/>
                </a:lnTo>
                <a:lnTo>
                  <a:pt x="1454150" y="688975"/>
                </a:lnTo>
                <a:lnTo>
                  <a:pt x="1454150" y="650875"/>
                </a:lnTo>
                <a:lnTo>
                  <a:pt x="1393825" y="650875"/>
                </a:lnTo>
                <a:lnTo>
                  <a:pt x="1393825" y="644525"/>
                </a:lnTo>
                <a:lnTo>
                  <a:pt x="1400175" y="638175"/>
                </a:lnTo>
                <a:lnTo>
                  <a:pt x="1349375" y="638175"/>
                </a:lnTo>
                <a:lnTo>
                  <a:pt x="1349375" y="609600"/>
                </a:lnTo>
                <a:lnTo>
                  <a:pt x="1320800" y="609600"/>
                </a:lnTo>
                <a:lnTo>
                  <a:pt x="1320800" y="590550"/>
                </a:lnTo>
                <a:lnTo>
                  <a:pt x="1263650" y="590550"/>
                </a:lnTo>
                <a:lnTo>
                  <a:pt x="1263650" y="565150"/>
                </a:lnTo>
                <a:lnTo>
                  <a:pt x="1117600" y="565150"/>
                </a:lnTo>
                <a:lnTo>
                  <a:pt x="1117600" y="546100"/>
                </a:lnTo>
                <a:lnTo>
                  <a:pt x="1092200" y="546100"/>
                </a:lnTo>
                <a:lnTo>
                  <a:pt x="1092200" y="536575"/>
                </a:lnTo>
                <a:lnTo>
                  <a:pt x="1057275" y="536575"/>
                </a:lnTo>
                <a:lnTo>
                  <a:pt x="1057275" y="517525"/>
                </a:lnTo>
                <a:lnTo>
                  <a:pt x="1022350" y="517525"/>
                </a:lnTo>
                <a:lnTo>
                  <a:pt x="1022350" y="517525"/>
                </a:lnTo>
                <a:lnTo>
                  <a:pt x="1022350" y="495300"/>
                </a:lnTo>
                <a:lnTo>
                  <a:pt x="1012825" y="495300"/>
                </a:lnTo>
                <a:lnTo>
                  <a:pt x="1012825" y="485775"/>
                </a:lnTo>
                <a:lnTo>
                  <a:pt x="942975" y="485775"/>
                </a:lnTo>
                <a:lnTo>
                  <a:pt x="942975" y="463550"/>
                </a:lnTo>
                <a:lnTo>
                  <a:pt x="904875" y="463550"/>
                </a:lnTo>
                <a:lnTo>
                  <a:pt x="904875" y="441325"/>
                </a:lnTo>
                <a:lnTo>
                  <a:pt x="879475" y="441325"/>
                </a:lnTo>
                <a:lnTo>
                  <a:pt x="879475" y="441325"/>
                </a:lnTo>
                <a:lnTo>
                  <a:pt x="885825" y="434975"/>
                </a:lnTo>
                <a:lnTo>
                  <a:pt x="869950" y="434975"/>
                </a:lnTo>
                <a:lnTo>
                  <a:pt x="869950" y="412750"/>
                </a:lnTo>
                <a:lnTo>
                  <a:pt x="847725" y="412750"/>
                </a:lnTo>
                <a:lnTo>
                  <a:pt x="847725" y="412750"/>
                </a:lnTo>
                <a:lnTo>
                  <a:pt x="847725" y="393700"/>
                </a:lnTo>
                <a:lnTo>
                  <a:pt x="835025" y="393700"/>
                </a:lnTo>
                <a:lnTo>
                  <a:pt x="835025" y="393700"/>
                </a:lnTo>
                <a:lnTo>
                  <a:pt x="835025" y="393700"/>
                </a:lnTo>
                <a:lnTo>
                  <a:pt x="835025" y="361950"/>
                </a:lnTo>
                <a:lnTo>
                  <a:pt x="825500" y="361950"/>
                </a:lnTo>
                <a:lnTo>
                  <a:pt x="819150" y="355600"/>
                </a:lnTo>
                <a:lnTo>
                  <a:pt x="771525" y="355600"/>
                </a:lnTo>
                <a:lnTo>
                  <a:pt x="771525" y="330200"/>
                </a:lnTo>
                <a:lnTo>
                  <a:pt x="739775" y="330200"/>
                </a:lnTo>
                <a:lnTo>
                  <a:pt x="739775" y="311150"/>
                </a:lnTo>
                <a:lnTo>
                  <a:pt x="688975" y="311150"/>
                </a:lnTo>
                <a:lnTo>
                  <a:pt x="688975" y="295275"/>
                </a:lnTo>
                <a:lnTo>
                  <a:pt x="657225" y="295275"/>
                </a:lnTo>
                <a:lnTo>
                  <a:pt x="657225" y="276225"/>
                </a:lnTo>
                <a:lnTo>
                  <a:pt x="606425" y="276225"/>
                </a:lnTo>
                <a:lnTo>
                  <a:pt x="606425" y="263525"/>
                </a:lnTo>
                <a:lnTo>
                  <a:pt x="552450" y="263525"/>
                </a:lnTo>
                <a:lnTo>
                  <a:pt x="552450" y="238125"/>
                </a:lnTo>
                <a:lnTo>
                  <a:pt x="552450" y="238125"/>
                </a:lnTo>
                <a:lnTo>
                  <a:pt x="533400" y="238125"/>
                </a:lnTo>
                <a:lnTo>
                  <a:pt x="539750" y="231775"/>
                </a:lnTo>
                <a:lnTo>
                  <a:pt x="520700" y="231775"/>
                </a:lnTo>
                <a:lnTo>
                  <a:pt x="520700" y="203200"/>
                </a:lnTo>
                <a:lnTo>
                  <a:pt x="492125" y="203200"/>
                </a:lnTo>
                <a:lnTo>
                  <a:pt x="492125" y="187325"/>
                </a:lnTo>
                <a:lnTo>
                  <a:pt x="447675" y="187325"/>
                </a:lnTo>
                <a:lnTo>
                  <a:pt x="447675" y="177800"/>
                </a:lnTo>
                <a:lnTo>
                  <a:pt x="447675" y="177800"/>
                </a:lnTo>
                <a:lnTo>
                  <a:pt x="447675" y="177800"/>
                </a:lnTo>
                <a:lnTo>
                  <a:pt x="431800" y="177800"/>
                </a:lnTo>
                <a:lnTo>
                  <a:pt x="431800" y="161925"/>
                </a:lnTo>
                <a:lnTo>
                  <a:pt x="396875" y="161925"/>
                </a:lnTo>
                <a:lnTo>
                  <a:pt x="396875" y="142875"/>
                </a:lnTo>
                <a:lnTo>
                  <a:pt x="381000" y="142875"/>
                </a:lnTo>
                <a:lnTo>
                  <a:pt x="381000" y="142875"/>
                </a:lnTo>
                <a:lnTo>
                  <a:pt x="355600" y="117475"/>
                </a:lnTo>
                <a:lnTo>
                  <a:pt x="327025" y="117475"/>
                </a:lnTo>
                <a:lnTo>
                  <a:pt x="327025" y="85725"/>
                </a:lnTo>
                <a:lnTo>
                  <a:pt x="301625" y="85725"/>
                </a:lnTo>
                <a:lnTo>
                  <a:pt x="301625" y="79375"/>
                </a:lnTo>
                <a:lnTo>
                  <a:pt x="225425" y="79375"/>
                </a:lnTo>
                <a:lnTo>
                  <a:pt x="225425" y="47625"/>
                </a:lnTo>
                <a:lnTo>
                  <a:pt x="171450" y="47625"/>
                </a:lnTo>
                <a:lnTo>
                  <a:pt x="171450" y="19050"/>
                </a:lnTo>
                <a:lnTo>
                  <a:pt x="104775" y="19050"/>
                </a:lnTo>
                <a:lnTo>
                  <a:pt x="104775" y="19050"/>
                </a:lnTo>
                <a:lnTo>
                  <a:pt x="104775" y="0"/>
                </a:lnTo>
                <a:lnTo>
                  <a:pt x="0" y="0"/>
                </a:lnTo>
              </a:path>
            </a:pathLst>
          </a:cu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x-none" sz="2400" b="0" i="0" u="none" strike="noStrike" kern="1200" cap="none" spc="0" normalizeH="0" baseline="0" noProof="0">
              <a:ln>
                <a:noFill/>
              </a:ln>
              <a:solidFill>
                <a:prstClr val="white"/>
              </a:solidFill>
              <a:effectLst/>
              <a:uLnTx/>
              <a:uFillTx/>
              <a:latin typeface="Calibri"/>
              <a:ea typeface="+mn-ea"/>
              <a:cs typeface="+mn-cs"/>
            </a:endParaRPr>
          </a:p>
        </p:txBody>
      </p:sp>
      <p:sp>
        <p:nvSpPr>
          <p:cNvPr id="32" name="Freeform 31">
            <a:extLst>
              <a:ext uri="{FF2B5EF4-FFF2-40B4-BE49-F238E27FC236}">
                <a16:creationId xmlns:a16="http://schemas.microsoft.com/office/drawing/2014/main" id="{1CC86C15-667D-E340-9789-3CD9EDB6C68A}"/>
              </a:ext>
            </a:extLst>
          </p:cNvPr>
          <p:cNvSpPr/>
          <p:nvPr/>
        </p:nvSpPr>
        <p:spPr>
          <a:xfrm>
            <a:off x="1245490" y="1381084"/>
            <a:ext cx="4398433" cy="2112433"/>
          </a:xfrm>
          <a:custGeom>
            <a:avLst/>
            <a:gdLst>
              <a:gd name="connsiteX0" fmla="*/ 3298825 w 3298825"/>
              <a:gd name="connsiteY0" fmla="*/ 1584325 h 1584325"/>
              <a:gd name="connsiteX1" fmla="*/ 3063875 w 3298825"/>
              <a:gd name="connsiteY1" fmla="*/ 1584325 h 1584325"/>
              <a:gd name="connsiteX2" fmla="*/ 3063875 w 3298825"/>
              <a:gd name="connsiteY2" fmla="*/ 1508125 h 1584325"/>
              <a:gd name="connsiteX3" fmla="*/ 2898775 w 3298825"/>
              <a:gd name="connsiteY3" fmla="*/ 1508125 h 1584325"/>
              <a:gd name="connsiteX4" fmla="*/ 2898775 w 3298825"/>
              <a:gd name="connsiteY4" fmla="*/ 1450975 h 1584325"/>
              <a:gd name="connsiteX5" fmla="*/ 2822575 w 3298825"/>
              <a:gd name="connsiteY5" fmla="*/ 1450975 h 1584325"/>
              <a:gd name="connsiteX6" fmla="*/ 2822575 w 3298825"/>
              <a:gd name="connsiteY6" fmla="*/ 1393825 h 1584325"/>
              <a:gd name="connsiteX7" fmla="*/ 2784475 w 3298825"/>
              <a:gd name="connsiteY7" fmla="*/ 1393825 h 1584325"/>
              <a:gd name="connsiteX8" fmla="*/ 2784475 w 3298825"/>
              <a:gd name="connsiteY8" fmla="*/ 1346200 h 1584325"/>
              <a:gd name="connsiteX9" fmla="*/ 2711450 w 3298825"/>
              <a:gd name="connsiteY9" fmla="*/ 1346200 h 1584325"/>
              <a:gd name="connsiteX10" fmla="*/ 2711450 w 3298825"/>
              <a:gd name="connsiteY10" fmla="*/ 1304925 h 1584325"/>
              <a:gd name="connsiteX11" fmla="*/ 2384425 w 3298825"/>
              <a:gd name="connsiteY11" fmla="*/ 1304925 h 1584325"/>
              <a:gd name="connsiteX12" fmla="*/ 2384425 w 3298825"/>
              <a:gd name="connsiteY12" fmla="*/ 1304925 h 1584325"/>
              <a:gd name="connsiteX13" fmla="*/ 2384425 w 3298825"/>
              <a:gd name="connsiteY13" fmla="*/ 1289050 h 1584325"/>
              <a:gd name="connsiteX14" fmla="*/ 2254250 w 3298825"/>
              <a:gd name="connsiteY14" fmla="*/ 1289050 h 1584325"/>
              <a:gd name="connsiteX15" fmla="*/ 2254250 w 3298825"/>
              <a:gd name="connsiteY15" fmla="*/ 1270000 h 1584325"/>
              <a:gd name="connsiteX16" fmla="*/ 2241550 w 3298825"/>
              <a:gd name="connsiteY16" fmla="*/ 1270000 h 1584325"/>
              <a:gd name="connsiteX17" fmla="*/ 2241550 w 3298825"/>
              <a:gd name="connsiteY17" fmla="*/ 1254125 h 1584325"/>
              <a:gd name="connsiteX18" fmla="*/ 2232025 w 3298825"/>
              <a:gd name="connsiteY18" fmla="*/ 1254125 h 1584325"/>
              <a:gd name="connsiteX19" fmla="*/ 2232025 w 3298825"/>
              <a:gd name="connsiteY19" fmla="*/ 1241425 h 1584325"/>
              <a:gd name="connsiteX20" fmla="*/ 2216150 w 3298825"/>
              <a:gd name="connsiteY20" fmla="*/ 1241425 h 1584325"/>
              <a:gd name="connsiteX21" fmla="*/ 2216150 w 3298825"/>
              <a:gd name="connsiteY21" fmla="*/ 1219200 h 1584325"/>
              <a:gd name="connsiteX22" fmla="*/ 2197100 w 3298825"/>
              <a:gd name="connsiteY22" fmla="*/ 1219200 h 1584325"/>
              <a:gd name="connsiteX23" fmla="*/ 2197100 w 3298825"/>
              <a:gd name="connsiteY23" fmla="*/ 1209675 h 1584325"/>
              <a:gd name="connsiteX24" fmla="*/ 2146300 w 3298825"/>
              <a:gd name="connsiteY24" fmla="*/ 1209675 h 1584325"/>
              <a:gd name="connsiteX25" fmla="*/ 2146300 w 3298825"/>
              <a:gd name="connsiteY25" fmla="*/ 1187450 h 1584325"/>
              <a:gd name="connsiteX26" fmla="*/ 2082800 w 3298825"/>
              <a:gd name="connsiteY26" fmla="*/ 1187450 h 1584325"/>
              <a:gd name="connsiteX27" fmla="*/ 2082800 w 3298825"/>
              <a:gd name="connsiteY27" fmla="*/ 1174750 h 1584325"/>
              <a:gd name="connsiteX28" fmla="*/ 2051050 w 3298825"/>
              <a:gd name="connsiteY28" fmla="*/ 1174750 h 1584325"/>
              <a:gd name="connsiteX29" fmla="*/ 2051050 w 3298825"/>
              <a:gd name="connsiteY29" fmla="*/ 1168400 h 1584325"/>
              <a:gd name="connsiteX30" fmla="*/ 2012950 w 3298825"/>
              <a:gd name="connsiteY30" fmla="*/ 1168400 h 1584325"/>
              <a:gd name="connsiteX31" fmla="*/ 2012950 w 3298825"/>
              <a:gd name="connsiteY31" fmla="*/ 1158875 h 1584325"/>
              <a:gd name="connsiteX32" fmla="*/ 2012950 w 3298825"/>
              <a:gd name="connsiteY32" fmla="*/ 1158875 h 1584325"/>
              <a:gd name="connsiteX33" fmla="*/ 1984375 w 3298825"/>
              <a:gd name="connsiteY33" fmla="*/ 1158875 h 1584325"/>
              <a:gd name="connsiteX34" fmla="*/ 1984375 w 3298825"/>
              <a:gd name="connsiteY34" fmla="*/ 1123950 h 1584325"/>
              <a:gd name="connsiteX35" fmla="*/ 1968500 w 3298825"/>
              <a:gd name="connsiteY35" fmla="*/ 1123950 h 1584325"/>
              <a:gd name="connsiteX36" fmla="*/ 1968500 w 3298825"/>
              <a:gd name="connsiteY36" fmla="*/ 1111250 h 1584325"/>
              <a:gd name="connsiteX37" fmla="*/ 1917700 w 3298825"/>
              <a:gd name="connsiteY37" fmla="*/ 1111250 h 1584325"/>
              <a:gd name="connsiteX38" fmla="*/ 1917700 w 3298825"/>
              <a:gd name="connsiteY38" fmla="*/ 1095375 h 1584325"/>
              <a:gd name="connsiteX39" fmla="*/ 1873250 w 3298825"/>
              <a:gd name="connsiteY39" fmla="*/ 1095375 h 1584325"/>
              <a:gd name="connsiteX40" fmla="*/ 1873250 w 3298825"/>
              <a:gd name="connsiteY40" fmla="*/ 1085850 h 1584325"/>
              <a:gd name="connsiteX41" fmla="*/ 1819275 w 3298825"/>
              <a:gd name="connsiteY41" fmla="*/ 1085850 h 1584325"/>
              <a:gd name="connsiteX42" fmla="*/ 1819275 w 3298825"/>
              <a:gd name="connsiteY42" fmla="*/ 1073150 h 1584325"/>
              <a:gd name="connsiteX43" fmla="*/ 1793875 w 3298825"/>
              <a:gd name="connsiteY43" fmla="*/ 1073150 h 1584325"/>
              <a:gd name="connsiteX44" fmla="*/ 1793875 w 3298825"/>
              <a:gd name="connsiteY44" fmla="*/ 1063625 h 1584325"/>
              <a:gd name="connsiteX45" fmla="*/ 1746250 w 3298825"/>
              <a:gd name="connsiteY45" fmla="*/ 1063625 h 1584325"/>
              <a:gd name="connsiteX46" fmla="*/ 1746250 w 3298825"/>
              <a:gd name="connsiteY46" fmla="*/ 1063625 h 1584325"/>
              <a:gd name="connsiteX47" fmla="*/ 1746250 w 3298825"/>
              <a:gd name="connsiteY47" fmla="*/ 1063625 h 1584325"/>
              <a:gd name="connsiteX48" fmla="*/ 1746250 w 3298825"/>
              <a:gd name="connsiteY48" fmla="*/ 1063625 h 1584325"/>
              <a:gd name="connsiteX49" fmla="*/ 1746250 w 3298825"/>
              <a:gd name="connsiteY49" fmla="*/ 1041400 h 1584325"/>
              <a:gd name="connsiteX50" fmla="*/ 1746250 w 3298825"/>
              <a:gd name="connsiteY50" fmla="*/ 1041400 h 1584325"/>
              <a:gd name="connsiteX51" fmla="*/ 1727200 w 3298825"/>
              <a:gd name="connsiteY51" fmla="*/ 1041400 h 1584325"/>
              <a:gd name="connsiteX52" fmla="*/ 1727200 w 3298825"/>
              <a:gd name="connsiteY52" fmla="*/ 1041400 h 1584325"/>
              <a:gd name="connsiteX53" fmla="*/ 1701800 w 3298825"/>
              <a:gd name="connsiteY53" fmla="*/ 1016000 h 1584325"/>
              <a:gd name="connsiteX54" fmla="*/ 1701800 w 3298825"/>
              <a:gd name="connsiteY54" fmla="*/ 1016000 h 1584325"/>
              <a:gd name="connsiteX55" fmla="*/ 1701800 w 3298825"/>
              <a:gd name="connsiteY55" fmla="*/ 1016000 h 1584325"/>
              <a:gd name="connsiteX56" fmla="*/ 1679575 w 3298825"/>
              <a:gd name="connsiteY56" fmla="*/ 1016000 h 1584325"/>
              <a:gd name="connsiteX57" fmla="*/ 1679575 w 3298825"/>
              <a:gd name="connsiteY57" fmla="*/ 993775 h 1584325"/>
              <a:gd name="connsiteX58" fmla="*/ 1638300 w 3298825"/>
              <a:gd name="connsiteY58" fmla="*/ 993775 h 1584325"/>
              <a:gd name="connsiteX59" fmla="*/ 1638300 w 3298825"/>
              <a:gd name="connsiteY59" fmla="*/ 968375 h 1584325"/>
              <a:gd name="connsiteX60" fmla="*/ 1571625 w 3298825"/>
              <a:gd name="connsiteY60" fmla="*/ 968375 h 1584325"/>
              <a:gd name="connsiteX61" fmla="*/ 1571625 w 3298825"/>
              <a:gd name="connsiteY61" fmla="*/ 962025 h 1584325"/>
              <a:gd name="connsiteX62" fmla="*/ 1558925 w 3298825"/>
              <a:gd name="connsiteY62" fmla="*/ 962025 h 1584325"/>
              <a:gd name="connsiteX63" fmla="*/ 1558925 w 3298825"/>
              <a:gd name="connsiteY63" fmla="*/ 946150 h 1584325"/>
              <a:gd name="connsiteX64" fmla="*/ 1498600 w 3298825"/>
              <a:gd name="connsiteY64" fmla="*/ 946150 h 1584325"/>
              <a:gd name="connsiteX65" fmla="*/ 1498600 w 3298825"/>
              <a:gd name="connsiteY65" fmla="*/ 930275 h 1584325"/>
              <a:gd name="connsiteX66" fmla="*/ 1482725 w 3298825"/>
              <a:gd name="connsiteY66" fmla="*/ 930275 h 1584325"/>
              <a:gd name="connsiteX67" fmla="*/ 1482725 w 3298825"/>
              <a:gd name="connsiteY67" fmla="*/ 911225 h 1584325"/>
              <a:gd name="connsiteX68" fmla="*/ 1457325 w 3298825"/>
              <a:gd name="connsiteY68" fmla="*/ 911225 h 1584325"/>
              <a:gd name="connsiteX69" fmla="*/ 1457325 w 3298825"/>
              <a:gd name="connsiteY69" fmla="*/ 898525 h 1584325"/>
              <a:gd name="connsiteX70" fmla="*/ 1431925 w 3298825"/>
              <a:gd name="connsiteY70" fmla="*/ 898525 h 1584325"/>
              <a:gd name="connsiteX71" fmla="*/ 1431925 w 3298825"/>
              <a:gd name="connsiteY71" fmla="*/ 879475 h 1584325"/>
              <a:gd name="connsiteX72" fmla="*/ 1406525 w 3298825"/>
              <a:gd name="connsiteY72" fmla="*/ 879475 h 1584325"/>
              <a:gd name="connsiteX73" fmla="*/ 1406525 w 3298825"/>
              <a:gd name="connsiteY73" fmla="*/ 869950 h 1584325"/>
              <a:gd name="connsiteX74" fmla="*/ 1368425 w 3298825"/>
              <a:gd name="connsiteY74" fmla="*/ 869950 h 1584325"/>
              <a:gd name="connsiteX75" fmla="*/ 1368425 w 3298825"/>
              <a:gd name="connsiteY75" fmla="*/ 854075 h 1584325"/>
              <a:gd name="connsiteX76" fmla="*/ 1352550 w 3298825"/>
              <a:gd name="connsiteY76" fmla="*/ 854075 h 1584325"/>
              <a:gd name="connsiteX77" fmla="*/ 1352550 w 3298825"/>
              <a:gd name="connsiteY77" fmla="*/ 847725 h 1584325"/>
              <a:gd name="connsiteX78" fmla="*/ 1314450 w 3298825"/>
              <a:gd name="connsiteY78" fmla="*/ 847725 h 1584325"/>
              <a:gd name="connsiteX79" fmla="*/ 1314450 w 3298825"/>
              <a:gd name="connsiteY79" fmla="*/ 838200 h 1584325"/>
              <a:gd name="connsiteX80" fmla="*/ 1295400 w 3298825"/>
              <a:gd name="connsiteY80" fmla="*/ 838200 h 1584325"/>
              <a:gd name="connsiteX81" fmla="*/ 1295400 w 3298825"/>
              <a:gd name="connsiteY81" fmla="*/ 803275 h 1584325"/>
              <a:gd name="connsiteX82" fmla="*/ 1250950 w 3298825"/>
              <a:gd name="connsiteY82" fmla="*/ 803275 h 1584325"/>
              <a:gd name="connsiteX83" fmla="*/ 1250950 w 3298825"/>
              <a:gd name="connsiteY83" fmla="*/ 803275 h 1584325"/>
              <a:gd name="connsiteX84" fmla="*/ 1250950 w 3298825"/>
              <a:gd name="connsiteY84" fmla="*/ 793750 h 1584325"/>
              <a:gd name="connsiteX85" fmla="*/ 1225550 w 3298825"/>
              <a:gd name="connsiteY85" fmla="*/ 793750 h 1584325"/>
              <a:gd name="connsiteX86" fmla="*/ 1225550 w 3298825"/>
              <a:gd name="connsiteY86" fmla="*/ 781050 h 1584325"/>
              <a:gd name="connsiteX87" fmla="*/ 1190625 w 3298825"/>
              <a:gd name="connsiteY87" fmla="*/ 781050 h 1584325"/>
              <a:gd name="connsiteX88" fmla="*/ 1190625 w 3298825"/>
              <a:gd name="connsiteY88" fmla="*/ 749300 h 1584325"/>
              <a:gd name="connsiteX89" fmla="*/ 1143000 w 3298825"/>
              <a:gd name="connsiteY89" fmla="*/ 749300 h 1584325"/>
              <a:gd name="connsiteX90" fmla="*/ 1143000 w 3298825"/>
              <a:gd name="connsiteY90" fmla="*/ 739775 h 1584325"/>
              <a:gd name="connsiteX91" fmla="*/ 1098550 w 3298825"/>
              <a:gd name="connsiteY91" fmla="*/ 739775 h 1584325"/>
              <a:gd name="connsiteX92" fmla="*/ 1098550 w 3298825"/>
              <a:gd name="connsiteY92" fmla="*/ 739775 h 1584325"/>
              <a:gd name="connsiteX93" fmla="*/ 1098550 w 3298825"/>
              <a:gd name="connsiteY93" fmla="*/ 717550 h 1584325"/>
              <a:gd name="connsiteX94" fmla="*/ 1079500 w 3298825"/>
              <a:gd name="connsiteY94" fmla="*/ 717550 h 1584325"/>
              <a:gd name="connsiteX95" fmla="*/ 1079500 w 3298825"/>
              <a:gd name="connsiteY95" fmla="*/ 708025 h 1584325"/>
              <a:gd name="connsiteX96" fmla="*/ 1038225 w 3298825"/>
              <a:gd name="connsiteY96" fmla="*/ 708025 h 1584325"/>
              <a:gd name="connsiteX97" fmla="*/ 1038225 w 3298825"/>
              <a:gd name="connsiteY97" fmla="*/ 685800 h 1584325"/>
              <a:gd name="connsiteX98" fmla="*/ 1006475 w 3298825"/>
              <a:gd name="connsiteY98" fmla="*/ 685800 h 1584325"/>
              <a:gd name="connsiteX99" fmla="*/ 1006475 w 3298825"/>
              <a:gd name="connsiteY99" fmla="*/ 669925 h 1584325"/>
              <a:gd name="connsiteX100" fmla="*/ 984250 w 3298825"/>
              <a:gd name="connsiteY100" fmla="*/ 669925 h 1584325"/>
              <a:gd name="connsiteX101" fmla="*/ 984250 w 3298825"/>
              <a:gd name="connsiteY101" fmla="*/ 647700 h 1584325"/>
              <a:gd name="connsiteX102" fmla="*/ 955675 w 3298825"/>
              <a:gd name="connsiteY102" fmla="*/ 647700 h 1584325"/>
              <a:gd name="connsiteX103" fmla="*/ 955675 w 3298825"/>
              <a:gd name="connsiteY103" fmla="*/ 587375 h 1584325"/>
              <a:gd name="connsiteX104" fmla="*/ 936625 w 3298825"/>
              <a:gd name="connsiteY104" fmla="*/ 587375 h 1584325"/>
              <a:gd name="connsiteX105" fmla="*/ 936625 w 3298825"/>
              <a:gd name="connsiteY105" fmla="*/ 574675 h 1584325"/>
              <a:gd name="connsiteX106" fmla="*/ 885825 w 3298825"/>
              <a:gd name="connsiteY106" fmla="*/ 574675 h 1584325"/>
              <a:gd name="connsiteX107" fmla="*/ 885825 w 3298825"/>
              <a:gd name="connsiteY107" fmla="*/ 558800 h 1584325"/>
              <a:gd name="connsiteX108" fmla="*/ 873125 w 3298825"/>
              <a:gd name="connsiteY108" fmla="*/ 558800 h 1584325"/>
              <a:gd name="connsiteX109" fmla="*/ 873125 w 3298825"/>
              <a:gd name="connsiteY109" fmla="*/ 558800 h 1584325"/>
              <a:gd name="connsiteX110" fmla="*/ 873125 w 3298825"/>
              <a:gd name="connsiteY110" fmla="*/ 539750 h 1584325"/>
              <a:gd name="connsiteX111" fmla="*/ 854075 w 3298825"/>
              <a:gd name="connsiteY111" fmla="*/ 539750 h 1584325"/>
              <a:gd name="connsiteX112" fmla="*/ 854075 w 3298825"/>
              <a:gd name="connsiteY112" fmla="*/ 520700 h 1584325"/>
              <a:gd name="connsiteX113" fmla="*/ 831850 w 3298825"/>
              <a:gd name="connsiteY113" fmla="*/ 520700 h 1584325"/>
              <a:gd name="connsiteX114" fmla="*/ 831850 w 3298825"/>
              <a:gd name="connsiteY114" fmla="*/ 501650 h 1584325"/>
              <a:gd name="connsiteX115" fmla="*/ 796925 w 3298825"/>
              <a:gd name="connsiteY115" fmla="*/ 501650 h 1584325"/>
              <a:gd name="connsiteX116" fmla="*/ 796925 w 3298825"/>
              <a:gd name="connsiteY116" fmla="*/ 492125 h 1584325"/>
              <a:gd name="connsiteX117" fmla="*/ 768350 w 3298825"/>
              <a:gd name="connsiteY117" fmla="*/ 492125 h 1584325"/>
              <a:gd name="connsiteX118" fmla="*/ 768350 w 3298825"/>
              <a:gd name="connsiteY118" fmla="*/ 450850 h 1584325"/>
              <a:gd name="connsiteX119" fmla="*/ 739775 w 3298825"/>
              <a:gd name="connsiteY119" fmla="*/ 450850 h 1584325"/>
              <a:gd name="connsiteX120" fmla="*/ 739775 w 3298825"/>
              <a:gd name="connsiteY120" fmla="*/ 434975 h 1584325"/>
              <a:gd name="connsiteX121" fmla="*/ 708025 w 3298825"/>
              <a:gd name="connsiteY121" fmla="*/ 434975 h 1584325"/>
              <a:gd name="connsiteX122" fmla="*/ 708025 w 3298825"/>
              <a:gd name="connsiteY122" fmla="*/ 422275 h 1584325"/>
              <a:gd name="connsiteX123" fmla="*/ 685800 w 3298825"/>
              <a:gd name="connsiteY123" fmla="*/ 422275 h 1584325"/>
              <a:gd name="connsiteX124" fmla="*/ 685800 w 3298825"/>
              <a:gd name="connsiteY124" fmla="*/ 387350 h 1584325"/>
              <a:gd name="connsiteX125" fmla="*/ 660400 w 3298825"/>
              <a:gd name="connsiteY125" fmla="*/ 387350 h 1584325"/>
              <a:gd name="connsiteX126" fmla="*/ 660400 w 3298825"/>
              <a:gd name="connsiteY126" fmla="*/ 368300 h 1584325"/>
              <a:gd name="connsiteX127" fmla="*/ 631825 w 3298825"/>
              <a:gd name="connsiteY127" fmla="*/ 368300 h 1584325"/>
              <a:gd name="connsiteX128" fmla="*/ 631825 w 3298825"/>
              <a:gd name="connsiteY128" fmla="*/ 349250 h 1584325"/>
              <a:gd name="connsiteX129" fmla="*/ 619125 w 3298825"/>
              <a:gd name="connsiteY129" fmla="*/ 349250 h 1584325"/>
              <a:gd name="connsiteX130" fmla="*/ 619125 w 3298825"/>
              <a:gd name="connsiteY130" fmla="*/ 320675 h 1584325"/>
              <a:gd name="connsiteX131" fmla="*/ 577850 w 3298825"/>
              <a:gd name="connsiteY131" fmla="*/ 320675 h 1584325"/>
              <a:gd name="connsiteX132" fmla="*/ 577850 w 3298825"/>
              <a:gd name="connsiteY132" fmla="*/ 320675 h 1584325"/>
              <a:gd name="connsiteX133" fmla="*/ 577850 w 3298825"/>
              <a:gd name="connsiteY133" fmla="*/ 292100 h 1584325"/>
              <a:gd name="connsiteX134" fmla="*/ 542925 w 3298825"/>
              <a:gd name="connsiteY134" fmla="*/ 292100 h 1584325"/>
              <a:gd name="connsiteX135" fmla="*/ 542925 w 3298825"/>
              <a:gd name="connsiteY135" fmla="*/ 285750 h 1584325"/>
              <a:gd name="connsiteX136" fmla="*/ 527050 w 3298825"/>
              <a:gd name="connsiteY136" fmla="*/ 285750 h 1584325"/>
              <a:gd name="connsiteX137" fmla="*/ 527050 w 3298825"/>
              <a:gd name="connsiteY137" fmla="*/ 254000 h 1584325"/>
              <a:gd name="connsiteX138" fmla="*/ 495300 w 3298825"/>
              <a:gd name="connsiteY138" fmla="*/ 254000 h 1584325"/>
              <a:gd name="connsiteX139" fmla="*/ 495300 w 3298825"/>
              <a:gd name="connsiteY139" fmla="*/ 234950 h 1584325"/>
              <a:gd name="connsiteX140" fmla="*/ 460375 w 3298825"/>
              <a:gd name="connsiteY140" fmla="*/ 234950 h 1584325"/>
              <a:gd name="connsiteX141" fmla="*/ 460375 w 3298825"/>
              <a:gd name="connsiteY141" fmla="*/ 215900 h 1584325"/>
              <a:gd name="connsiteX142" fmla="*/ 438150 w 3298825"/>
              <a:gd name="connsiteY142" fmla="*/ 215900 h 1584325"/>
              <a:gd name="connsiteX143" fmla="*/ 438150 w 3298825"/>
              <a:gd name="connsiteY143" fmla="*/ 187325 h 1584325"/>
              <a:gd name="connsiteX144" fmla="*/ 412750 w 3298825"/>
              <a:gd name="connsiteY144" fmla="*/ 187325 h 1584325"/>
              <a:gd name="connsiteX145" fmla="*/ 412750 w 3298825"/>
              <a:gd name="connsiteY145" fmla="*/ 158750 h 1584325"/>
              <a:gd name="connsiteX146" fmla="*/ 387350 w 3298825"/>
              <a:gd name="connsiteY146" fmla="*/ 158750 h 1584325"/>
              <a:gd name="connsiteX147" fmla="*/ 387350 w 3298825"/>
              <a:gd name="connsiteY147" fmla="*/ 149225 h 1584325"/>
              <a:gd name="connsiteX148" fmla="*/ 352425 w 3298825"/>
              <a:gd name="connsiteY148" fmla="*/ 149225 h 1584325"/>
              <a:gd name="connsiteX149" fmla="*/ 352425 w 3298825"/>
              <a:gd name="connsiteY149" fmla="*/ 120650 h 1584325"/>
              <a:gd name="connsiteX150" fmla="*/ 320675 w 3298825"/>
              <a:gd name="connsiteY150" fmla="*/ 120650 h 1584325"/>
              <a:gd name="connsiteX151" fmla="*/ 320675 w 3298825"/>
              <a:gd name="connsiteY151" fmla="*/ 88900 h 1584325"/>
              <a:gd name="connsiteX152" fmla="*/ 282575 w 3298825"/>
              <a:gd name="connsiteY152" fmla="*/ 88900 h 1584325"/>
              <a:gd name="connsiteX153" fmla="*/ 282575 w 3298825"/>
              <a:gd name="connsiteY153" fmla="*/ 63500 h 1584325"/>
              <a:gd name="connsiteX154" fmla="*/ 250825 w 3298825"/>
              <a:gd name="connsiteY154" fmla="*/ 63500 h 1584325"/>
              <a:gd name="connsiteX155" fmla="*/ 250825 w 3298825"/>
              <a:gd name="connsiteY155" fmla="*/ 41275 h 1584325"/>
              <a:gd name="connsiteX156" fmla="*/ 161925 w 3298825"/>
              <a:gd name="connsiteY156" fmla="*/ 41275 h 1584325"/>
              <a:gd name="connsiteX157" fmla="*/ 161925 w 3298825"/>
              <a:gd name="connsiteY157" fmla="*/ 15875 h 1584325"/>
              <a:gd name="connsiteX158" fmla="*/ 92075 w 3298825"/>
              <a:gd name="connsiteY158" fmla="*/ 15875 h 1584325"/>
              <a:gd name="connsiteX159" fmla="*/ 92075 w 3298825"/>
              <a:gd name="connsiteY159" fmla="*/ 0 h 1584325"/>
              <a:gd name="connsiteX160" fmla="*/ 0 w 3298825"/>
              <a:gd name="connsiteY160" fmla="*/ 0 h 158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Lst>
            <a:rect l="l" t="t" r="r" b="b"/>
            <a:pathLst>
              <a:path w="3298825" h="1584325">
                <a:moveTo>
                  <a:pt x="3298825" y="1584325"/>
                </a:moveTo>
                <a:lnTo>
                  <a:pt x="3063875" y="1584325"/>
                </a:lnTo>
                <a:lnTo>
                  <a:pt x="3063875" y="1508125"/>
                </a:lnTo>
                <a:lnTo>
                  <a:pt x="2898775" y="1508125"/>
                </a:lnTo>
                <a:lnTo>
                  <a:pt x="2898775" y="1450975"/>
                </a:lnTo>
                <a:lnTo>
                  <a:pt x="2822575" y="1450975"/>
                </a:lnTo>
                <a:lnTo>
                  <a:pt x="2822575" y="1393825"/>
                </a:lnTo>
                <a:lnTo>
                  <a:pt x="2784475" y="1393825"/>
                </a:lnTo>
                <a:lnTo>
                  <a:pt x="2784475" y="1346200"/>
                </a:lnTo>
                <a:lnTo>
                  <a:pt x="2711450" y="1346200"/>
                </a:lnTo>
                <a:lnTo>
                  <a:pt x="2711450" y="1304925"/>
                </a:lnTo>
                <a:lnTo>
                  <a:pt x="2384425" y="1304925"/>
                </a:lnTo>
                <a:lnTo>
                  <a:pt x="2384425" y="1304925"/>
                </a:lnTo>
                <a:lnTo>
                  <a:pt x="2384425" y="1289050"/>
                </a:lnTo>
                <a:lnTo>
                  <a:pt x="2254250" y="1289050"/>
                </a:lnTo>
                <a:lnTo>
                  <a:pt x="2254250" y="1270000"/>
                </a:lnTo>
                <a:lnTo>
                  <a:pt x="2241550" y="1270000"/>
                </a:lnTo>
                <a:lnTo>
                  <a:pt x="2241550" y="1254125"/>
                </a:lnTo>
                <a:lnTo>
                  <a:pt x="2232025" y="1254125"/>
                </a:lnTo>
                <a:lnTo>
                  <a:pt x="2232025" y="1241425"/>
                </a:lnTo>
                <a:lnTo>
                  <a:pt x="2216150" y="1241425"/>
                </a:lnTo>
                <a:lnTo>
                  <a:pt x="2216150" y="1219200"/>
                </a:lnTo>
                <a:lnTo>
                  <a:pt x="2197100" y="1219200"/>
                </a:lnTo>
                <a:lnTo>
                  <a:pt x="2197100" y="1209675"/>
                </a:lnTo>
                <a:lnTo>
                  <a:pt x="2146300" y="1209675"/>
                </a:lnTo>
                <a:lnTo>
                  <a:pt x="2146300" y="1187450"/>
                </a:lnTo>
                <a:lnTo>
                  <a:pt x="2082800" y="1187450"/>
                </a:lnTo>
                <a:lnTo>
                  <a:pt x="2082800" y="1174750"/>
                </a:lnTo>
                <a:lnTo>
                  <a:pt x="2051050" y="1174750"/>
                </a:lnTo>
                <a:lnTo>
                  <a:pt x="2051050" y="1168400"/>
                </a:lnTo>
                <a:lnTo>
                  <a:pt x="2012950" y="1168400"/>
                </a:lnTo>
                <a:lnTo>
                  <a:pt x="2012950" y="1158875"/>
                </a:lnTo>
                <a:lnTo>
                  <a:pt x="2012950" y="1158875"/>
                </a:lnTo>
                <a:lnTo>
                  <a:pt x="1984375" y="1158875"/>
                </a:lnTo>
                <a:lnTo>
                  <a:pt x="1984375" y="1123950"/>
                </a:lnTo>
                <a:lnTo>
                  <a:pt x="1968500" y="1123950"/>
                </a:lnTo>
                <a:lnTo>
                  <a:pt x="1968500" y="1111250"/>
                </a:lnTo>
                <a:lnTo>
                  <a:pt x="1917700" y="1111250"/>
                </a:lnTo>
                <a:lnTo>
                  <a:pt x="1917700" y="1095375"/>
                </a:lnTo>
                <a:lnTo>
                  <a:pt x="1873250" y="1095375"/>
                </a:lnTo>
                <a:lnTo>
                  <a:pt x="1873250" y="1085850"/>
                </a:lnTo>
                <a:lnTo>
                  <a:pt x="1819275" y="1085850"/>
                </a:lnTo>
                <a:lnTo>
                  <a:pt x="1819275" y="1073150"/>
                </a:lnTo>
                <a:lnTo>
                  <a:pt x="1793875" y="1073150"/>
                </a:lnTo>
                <a:lnTo>
                  <a:pt x="1793875" y="1063625"/>
                </a:lnTo>
                <a:lnTo>
                  <a:pt x="1746250" y="1063625"/>
                </a:lnTo>
                <a:lnTo>
                  <a:pt x="1746250" y="1063625"/>
                </a:lnTo>
                <a:lnTo>
                  <a:pt x="1746250" y="1063625"/>
                </a:lnTo>
                <a:lnTo>
                  <a:pt x="1746250" y="1063625"/>
                </a:lnTo>
                <a:lnTo>
                  <a:pt x="1746250" y="1041400"/>
                </a:lnTo>
                <a:lnTo>
                  <a:pt x="1746250" y="1041400"/>
                </a:lnTo>
                <a:lnTo>
                  <a:pt x="1727200" y="1041400"/>
                </a:lnTo>
                <a:lnTo>
                  <a:pt x="1727200" y="1041400"/>
                </a:lnTo>
                <a:lnTo>
                  <a:pt x="1701800" y="1016000"/>
                </a:lnTo>
                <a:lnTo>
                  <a:pt x="1701800" y="1016000"/>
                </a:lnTo>
                <a:lnTo>
                  <a:pt x="1701800" y="1016000"/>
                </a:lnTo>
                <a:lnTo>
                  <a:pt x="1679575" y="1016000"/>
                </a:lnTo>
                <a:lnTo>
                  <a:pt x="1679575" y="993775"/>
                </a:lnTo>
                <a:lnTo>
                  <a:pt x="1638300" y="993775"/>
                </a:lnTo>
                <a:lnTo>
                  <a:pt x="1638300" y="968375"/>
                </a:lnTo>
                <a:lnTo>
                  <a:pt x="1571625" y="968375"/>
                </a:lnTo>
                <a:lnTo>
                  <a:pt x="1571625" y="962025"/>
                </a:lnTo>
                <a:lnTo>
                  <a:pt x="1558925" y="962025"/>
                </a:lnTo>
                <a:lnTo>
                  <a:pt x="1558925" y="946150"/>
                </a:lnTo>
                <a:lnTo>
                  <a:pt x="1498600" y="946150"/>
                </a:lnTo>
                <a:lnTo>
                  <a:pt x="1498600" y="930275"/>
                </a:lnTo>
                <a:lnTo>
                  <a:pt x="1482725" y="930275"/>
                </a:lnTo>
                <a:lnTo>
                  <a:pt x="1482725" y="911225"/>
                </a:lnTo>
                <a:lnTo>
                  <a:pt x="1457325" y="911225"/>
                </a:lnTo>
                <a:lnTo>
                  <a:pt x="1457325" y="898525"/>
                </a:lnTo>
                <a:lnTo>
                  <a:pt x="1431925" y="898525"/>
                </a:lnTo>
                <a:lnTo>
                  <a:pt x="1431925" y="879475"/>
                </a:lnTo>
                <a:lnTo>
                  <a:pt x="1406525" y="879475"/>
                </a:lnTo>
                <a:lnTo>
                  <a:pt x="1406525" y="869950"/>
                </a:lnTo>
                <a:lnTo>
                  <a:pt x="1368425" y="869950"/>
                </a:lnTo>
                <a:lnTo>
                  <a:pt x="1368425" y="854075"/>
                </a:lnTo>
                <a:lnTo>
                  <a:pt x="1352550" y="854075"/>
                </a:lnTo>
                <a:lnTo>
                  <a:pt x="1352550" y="847725"/>
                </a:lnTo>
                <a:lnTo>
                  <a:pt x="1314450" y="847725"/>
                </a:lnTo>
                <a:lnTo>
                  <a:pt x="1314450" y="838200"/>
                </a:lnTo>
                <a:lnTo>
                  <a:pt x="1295400" y="838200"/>
                </a:lnTo>
                <a:lnTo>
                  <a:pt x="1295400" y="803275"/>
                </a:lnTo>
                <a:lnTo>
                  <a:pt x="1250950" y="803275"/>
                </a:lnTo>
                <a:lnTo>
                  <a:pt x="1250950" y="803275"/>
                </a:lnTo>
                <a:lnTo>
                  <a:pt x="1250950" y="793750"/>
                </a:lnTo>
                <a:lnTo>
                  <a:pt x="1225550" y="793750"/>
                </a:lnTo>
                <a:lnTo>
                  <a:pt x="1225550" y="781050"/>
                </a:lnTo>
                <a:lnTo>
                  <a:pt x="1190625" y="781050"/>
                </a:lnTo>
                <a:lnTo>
                  <a:pt x="1190625" y="749300"/>
                </a:lnTo>
                <a:lnTo>
                  <a:pt x="1143000" y="749300"/>
                </a:lnTo>
                <a:lnTo>
                  <a:pt x="1143000" y="739775"/>
                </a:lnTo>
                <a:lnTo>
                  <a:pt x="1098550" y="739775"/>
                </a:lnTo>
                <a:lnTo>
                  <a:pt x="1098550" y="739775"/>
                </a:lnTo>
                <a:lnTo>
                  <a:pt x="1098550" y="717550"/>
                </a:lnTo>
                <a:lnTo>
                  <a:pt x="1079500" y="717550"/>
                </a:lnTo>
                <a:lnTo>
                  <a:pt x="1079500" y="708025"/>
                </a:lnTo>
                <a:lnTo>
                  <a:pt x="1038225" y="708025"/>
                </a:lnTo>
                <a:lnTo>
                  <a:pt x="1038225" y="685800"/>
                </a:lnTo>
                <a:lnTo>
                  <a:pt x="1006475" y="685800"/>
                </a:lnTo>
                <a:lnTo>
                  <a:pt x="1006475" y="669925"/>
                </a:lnTo>
                <a:lnTo>
                  <a:pt x="984250" y="669925"/>
                </a:lnTo>
                <a:lnTo>
                  <a:pt x="984250" y="647700"/>
                </a:lnTo>
                <a:lnTo>
                  <a:pt x="955675" y="647700"/>
                </a:lnTo>
                <a:lnTo>
                  <a:pt x="955675" y="587375"/>
                </a:lnTo>
                <a:lnTo>
                  <a:pt x="936625" y="587375"/>
                </a:lnTo>
                <a:lnTo>
                  <a:pt x="936625" y="574675"/>
                </a:lnTo>
                <a:lnTo>
                  <a:pt x="885825" y="574675"/>
                </a:lnTo>
                <a:lnTo>
                  <a:pt x="885825" y="558800"/>
                </a:lnTo>
                <a:lnTo>
                  <a:pt x="873125" y="558800"/>
                </a:lnTo>
                <a:lnTo>
                  <a:pt x="873125" y="558800"/>
                </a:lnTo>
                <a:lnTo>
                  <a:pt x="873125" y="539750"/>
                </a:lnTo>
                <a:lnTo>
                  <a:pt x="854075" y="539750"/>
                </a:lnTo>
                <a:lnTo>
                  <a:pt x="854075" y="520700"/>
                </a:lnTo>
                <a:lnTo>
                  <a:pt x="831850" y="520700"/>
                </a:lnTo>
                <a:lnTo>
                  <a:pt x="831850" y="501650"/>
                </a:lnTo>
                <a:lnTo>
                  <a:pt x="796925" y="501650"/>
                </a:lnTo>
                <a:lnTo>
                  <a:pt x="796925" y="492125"/>
                </a:lnTo>
                <a:lnTo>
                  <a:pt x="768350" y="492125"/>
                </a:lnTo>
                <a:lnTo>
                  <a:pt x="768350" y="450850"/>
                </a:lnTo>
                <a:lnTo>
                  <a:pt x="739775" y="450850"/>
                </a:lnTo>
                <a:lnTo>
                  <a:pt x="739775" y="434975"/>
                </a:lnTo>
                <a:lnTo>
                  <a:pt x="708025" y="434975"/>
                </a:lnTo>
                <a:lnTo>
                  <a:pt x="708025" y="422275"/>
                </a:lnTo>
                <a:lnTo>
                  <a:pt x="685800" y="422275"/>
                </a:lnTo>
                <a:lnTo>
                  <a:pt x="685800" y="387350"/>
                </a:lnTo>
                <a:lnTo>
                  <a:pt x="660400" y="387350"/>
                </a:lnTo>
                <a:lnTo>
                  <a:pt x="660400" y="368300"/>
                </a:lnTo>
                <a:lnTo>
                  <a:pt x="631825" y="368300"/>
                </a:lnTo>
                <a:lnTo>
                  <a:pt x="631825" y="349250"/>
                </a:lnTo>
                <a:lnTo>
                  <a:pt x="619125" y="349250"/>
                </a:lnTo>
                <a:lnTo>
                  <a:pt x="619125" y="320675"/>
                </a:lnTo>
                <a:lnTo>
                  <a:pt x="577850" y="320675"/>
                </a:lnTo>
                <a:lnTo>
                  <a:pt x="577850" y="320675"/>
                </a:lnTo>
                <a:lnTo>
                  <a:pt x="577850" y="292100"/>
                </a:lnTo>
                <a:lnTo>
                  <a:pt x="542925" y="292100"/>
                </a:lnTo>
                <a:lnTo>
                  <a:pt x="542925" y="285750"/>
                </a:lnTo>
                <a:lnTo>
                  <a:pt x="527050" y="285750"/>
                </a:lnTo>
                <a:lnTo>
                  <a:pt x="527050" y="254000"/>
                </a:lnTo>
                <a:lnTo>
                  <a:pt x="495300" y="254000"/>
                </a:lnTo>
                <a:lnTo>
                  <a:pt x="495300" y="234950"/>
                </a:lnTo>
                <a:lnTo>
                  <a:pt x="460375" y="234950"/>
                </a:lnTo>
                <a:lnTo>
                  <a:pt x="460375" y="215900"/>
                </a:lnTo>
                <a:lnTo>
                  <a:pt x="438150" y="215900"/>
                </a:lnTo>
                <a:lnTo>
                  <a:pt x="438150" y="187325"/>
                </a:lnTo>
                <a:lnTo>
                  <a:pt x="412750" y="187325"/>
                </a:lnTo>
                <a:lnTo>
                  <a:pt x="412750" y="158750"/>
                </a:lnTo>
                <a:lnTo>
                  <a:pt x="387350" y="158750"/>
                </a:lnTo>
                <a:lnTo>
                  <a:pt x="387350" y="149225"/>
                </a:lnTo>
                <a:lnTo>
                  <a:pt x="352425" y="149225"/>
                </a:lnTo>
                <a:lnTo>
                  <a:pt x="352425" y="120650"/>
                </a:lnTo>
                <a:lnTo>
                  <a:pt x="320675" y="120650"/>
                </a:lnTo>
                <a:lnTo>
                  <a:pt x="320675" y="88900"/>
                </a:lnTo>
                <a:lnTo>
                  <a:pt x="282575" y="88900"/>
                </a:lnTo>
                <a:lnTo>
                  <a:pt x="282575" y="63500"/>
                </a:lnTo>
                <a:lnTo>
                  <a:pt x="250825" y="63500"/>
                </a:lnTo>
                <a:lnTo>
                  <a:pt x="250825" y="41275"/>
                </a:lnTo>
                <a:lnTo>
                  <a:pt x="161925" y="41275"/>
                </a:lnTo>
                <a:lnTo>
                  <a:pt x="161925" y="15875"/>
                </a:lnTo>
                <a:lnTo>
                  <a:pt x="92075" y="15875"/>
                </a:lnTo>
                <a:lnTo>
                  <a:pt x="92075" y="0"/>
                </a:lnTo>
                <a:lnTo>
                  <a:pt x="0" y="0"/>
                </a:lnTo>
              </a:path>
            </a:pathLst>
          </a:cu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x-none" sz="2400" b="0" i="0" u="none" strike="noStrike" kern="1200" cap="none" spc="0" normalizeH="0" baseline="0" noProof="0">
              <a:ln>
                <a:noFill/>
              </a:ln>
              <a:solidFill>
                <a:prstClr val="white"/>
              </a:solidFill>
              <a:effectLst/>
              <a:uLnTx/>
              <a:uFillTx/>
              <a:latin typeface="Calibri"/>
              <a:ea typeface="+mn-ea"/>
              <a:cs typeface="+mn-cs"/>
            </a:endParaRPr>
          </a:p>
        </p:txBody>
      </p:sp>
      <p:sp>
        <p:nvSpPr>
          <p:cNvPr id="33" name="Rectangle 32">
            <a:extLst>
              <a:ext uri="{FF2B5EF4-FFF2-40B4-BE49-F238E27FC236}">
                <a16:creationId xmlns:a16="http://schemas.microsoft.com/office/drawing/2014/main" id="{58255BBF-DF90-4E4C-8DBD-C59850B699BC}"/>
              </a:ext>
            </a:extLst>
          </p:cNvPr>
          <p:cNvSpPr/>
          <p:nvPr/>
        </p:nvSpPr>
        <p:spPr>
          <a:xfrm>
            <a:off x="4511940" y="2526880"/>
            <a:ext cx="915635" cy="297454"/>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Sorafenib</a:t>
            </a:r>
            <a:endParaRPr kumimoji="0" lang="x-none" sz="1333" b="0" i="0" u="none" strike="noStrike" kern="1200" cap="none" spc="0" normalizeH="0" baseline="0" noProof="0" dirty="0">
              <a:ln>
                <a:noFill/>
              </a:ln>
              <a:solidFill>
                <a:prstClr val="black"/>
              </a:solidFill>
              <a:effectLst/>
              <a:uLnTx/>
              <a:uFillTx/>
              <a:latin typeface="Calibri"/>
              <a:ea typeface="+mn-ea"/>
              <a:cs typeface="+mn-cs"/>
            </a:endParaRPr>
          </a:p>
        </p:txBody>
      </p:sp>
      <p:sp>
        <p:nvSpPr>
          <p:cNvPr id="34" name="Rectangle 33">
            <a:extLst>
              <a:ext uri="{FF2B5EF4-FFF2-40B4-BE49-F238E27FC236}">
                <a16:creationId xmlns:a16="http://schemas.microsoft.com/office/drawing/2014/main" id="{BEF7873E-DE61-2B44-B0AB-FA74651D3097}"/>
              </a:ext>
            </a:extLst>
          </p:cNvPr>
          <p:cNvSpPr/>
          <p:nvPr/>
        </p:nvSpPr>
        <p:spPr>
          <a:xfrm>
            <a:off x="4493893" y="3353384"/>
            <a:ext cx="800219" cy="297454"/>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Placebo</a:t>
            </a:r>
            <a:endParaRPr kumimoji="0" lang="x-none" sz="1333" b="0" i="0" u="none" strike="noStrike" kern="1200" cap="none" spc="0" normalizeH="0" baseline="0" noProof="0" dirty="0">
              <a:ln>
                <a:noFill/>
              </a:ln>
              <a:solidFill>
                <a:prstClr val="black"/>
              </a:solidFill>
              <a:effectLst/>
              <a:uLnTx/>
              <a:uFillTx/>
              <a:latin typeface="Calibri"/>
              <a:ea typeface="+mn-ea"/>
              <a:cs typeface="+mn-cs"/>
            </a:endParaRPr>
          </a:p>
        </p:txBody>
      </p:sp>
      <p:sp>
        <p:nvSpPr>
          <p:cNvPr id="35" name="Rectangle 34">
            <a:extLst>
              <a:ext uri="{FF2B5EF4-FFF2-40B4-BE49-F238E27FC236}">
                <a16:creationId xmlns:a16="http://schemas.microsoft.com/office/drawing/2014/main" id="{ABF0274A-4D8D-624F-B7BB-8F03CA877D2E}"/>
              </a:ext>
            </a:extLst>
          </p:cNvPr>
          <p:cNvSpPr/>
          <p:nvPr/>
        </p:nvSpPr>
        <p:spPr>
          <a:xfrm>
            <a:off x="1274397" y="3446375"/>
            <a:ext cx="891591" cy="318100"/>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67" b="0" i="1" u="none" strike="noStrike" kern="1200" cap="none" spc="0" normalizeH="0" baseline="0" noProof="0" dirty="0">
                <a:ln>
                  <a:noFill/>
                </a:ln>
                <a:solidFill>
                  <a:srgbClr val="000000"/>
                </a:solidFill>
                <a:effectLst/>
                <a:uLnTx/>
                <a:uFillTx/>
                <a:latin typeface="Arial" panose="020B0604020202020204" pitchFamily="34" charset="0"/>
                <a:ea typeface="+mn-ea"/>
                <a:cs typeface="+mn-cs"/>
              </a:rPr>
              <a:t>P</a:t>
            </a:r>
            <a:r>
              <a:rPr kumimoji="0" lang="en-US" sz="1467"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 &lt; .001</a:t>
            </a:r>
          </a:p>
        </p:txBody>
      </p:sp>
      <p:sp>
        <p:nvSpPr>
          <p:cNvPr id="2" name="TextBox 1">
            <a:extLst>
              <a:ext uri="{FF2B5EF4-FFF2-40B4-BE49-F238E27FC236}">
                <a16:creationId xmlns:a16="http://schemas.microsoft.com/office/drawing/2014/main" id="{FF53F0BA-5BC4-5D4E-A0BA-8626A996525E}"/>
              </a:ext>
            </a:extLst>
          </p:cNvPr>
          <p:cNvSpPr txBox="1"/>
          <p:nvPr/>
        </p:nvSpPr>
        <p:spPr>
          <a:xfrm>
            <a:off x="819424" y="1279098"/>
            <a:ext cx="307345" cy="184666"/>
          </a:xfrm>
          <a:prstGeom prst="rect">
            <a:avLst/>
          </a:prstGeom>
          <a:solidFill>
            <a:schemeClr val="bg1"/>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1.0</a:t>
            </a:r>
          </a:p>
        </p:txBody>
      </p:sp>
    </p:spTree>
    <p:extLst>
      <p:ext uri="{BB962C8B-B14F-4D97-AF65-F5344CB8AC3E}">
        <p14:creationId xmlns:p14="http://schemas.microsoft.com/office/powerpoint/2010/main" val="2392917287"/>
      </p:ext>
    </p:extLst>
  </p:cSld>
  <p:clrMapOvr>
    <a:masterClrMapping/>
  </p:clrMapOvr>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DF4067-454E-4494-93B2-DF92AAB875E1}"/>
              </a:ext>
            </a:extLst>
          </p:cNvPr>
          <p:cNvSpPr>
            <a:spLocks noGrp="1"/>
          </p:cNvSpPr>
          <p:nvPr>
            <p:ph type="title"/>
          </p:nvPr>
        </p:nvSpPr>
        <p:spPr/>
        <p:txBody>
          <a:bodyPr/>
          <a:lstStyle/>
          <a:p>
            <a:r>
              <a:rPr lang="en-US" dirty="0"/>
              <a:t>LEAP-002: Overall Survival, ITT, FA</a:t>
            </a:r>
          </a:p>
        </p:txBody>
      </p:sp>
      <p:sp>
        <p:nvSpPr>
          <p:cNvPr id="4" name="Footer Placeholder 3">
            <a:extLst>
              <a:ext uri="{FF2B5EF4-FFF2-40B4-BE49-F238E27FC236}">
                <a16:creationId xmlns:a16="http://schemas.microsoft.com/office/drawing/2014/main" id="{2E205809-17CE-4DF8-8DBE-6F1337EFA500}"/>
              </a:ext>
            </a:extLst>
          </p:cNvPr>
          <p:cNvSpPr>
            <a:spLocks noGrp="1"/>
          </p:cNvSpPr>
          <p:nvPr>
            <p:ph type="ftr" sz="quarter" idx="3"/>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30000" noProof="0" dirty="0" err="1">
                <a:ln>
                  <a:noFill/>
                </a:ln>
                <a:solidFill>
                  <a:srgbClr val="000000"/>
                </a:solidFill>
                <a:effectLst/>
                <a:uLnTx/>
                <a:uFillTx/>
                <a:latin typeface="Arial Narrow" panose="020B0606020202030204" pitchFamily="34" charset="0"/>
                <a:ea typeface="Times New Roman" panose="02020603050405020304" pitchFamily="18" charset="0"/>
                <a:cs typeface="+mn-cs"/>
              </a:rPr>
              <a:t>a</a:t>
            </a:r>
            <a:r>
              <a:rPr kumimoji="0" lang="en-US" altLang="en-US" sz="1000" b="0" i="0" u="none" strike="noStrike" kern="1200" cap="none" spc="0" normalizeH="0" baseline="0" noProof="0" dirty="0" err="1">
                <a:ln>
                  <a:noFill/>
                </a:ln>
                <a:solidFill>
                  <a:srgbClr val="000000"/>
                </a:solidFill>
                <a:effectLst/>
                <a:uLnTx/>
                <a:uFillTx/>
                <a:latin typeface="Arial Narrow" panose="020B0606020202030204" pitchFamily="34" charset="0"/>
                <a:ea typeface="Times New Roman" panose="02020603050405020304" pitchFamily="18" charset="0"/>
                <a:cs typeface="+mn-cs"/>
              </a:rPr>
              <a:t>Did</a:t>
            </a:r>
            <a:r>
              <a:rPr kumimoji="0" lang="en-US" altLang="en-US" sz="1000" b="0" i="0" u="none" strike="noStrike" kern="1200" cap="none" spc="0" normalizeH="0" baseline="0" noProof="0" dirty="0">
                <a:ln>
                  <a:noFill/>
                </a:ln>
                <a:solidFill>
                  <a:srgbClr val="000000"/>
                </a:solidFill>
                <a:effectLst/>
                <a:uLnTx/>
                <a:uFillTx/>
                <a:latin typeface="Arial Narrow" panose="020B0606020202030204" pitchFamily="34" charset="0"/>
                <a:ea typeface="Times New Roman" panose="02020603050405020304" pitchFamily="18" charset="0"/>
                <a:cs typeface="+mn-cs"/>
              </a:rPr>
              <a:t> not reach superiority threshold, one-sided </a:t>
            </a:r>
            <a:r>
              <a:rPr kumimoji="0" lang="el-GR" sz="1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α</a:t>
            </a:r>
            <a:r>
              <a:rPr kumimoji="0" lang="en-US" altLang="en-US" sz="1000" b="0" i="0" u="none" strike="noStrike" kern="1200" cap="none" spc="0" normalizeH="0" baseline="0" noProof="0" dirty="0">
                <a:ln>
                  <a:noFill/>
                </a:ln>
                <a:solidFill>
                  <a:srgbClr val="000000"/>
                </a:solidFill>
                <a:effectLst/>
                <a:uLnTx/>
                <a:uFillTx/>
                <a:latin typeface="Arial Narrow" panose="020B0606020202030204" pitchFamily="34" charset="0"/>
                <a:ea typeface="Times New Roman" panose="02020603050405020304" pitchFamily="18" charset="0"/>
                <a:cs typeface="+mn-cs"/>
              </a:rPr>
              <a:t>=0.0185.</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Data cutoff date for FA: 21 June 2022.								Finn RS et al ESMO 2022; Abstract LBA34</a:t>
            </a:r>
          </a:p>
        </p:txBody>
      </p:sp>
      <p:sp>
        <p:nvSpPr>
          <p:cNvPr id="7" name="TextBox 6">
            <a:extLst>
              <a:ext uri="{FF2B5EF4-FFF2-40B4-BE49-F238E27FC236}">
                <a16:creationId xmlns:a16="http://schemas.microsoft.com/office/drawing/2014/main" id="{67135C85-21E9-4C56-944A-413266020D8D}"/>
              </a:ext>
            </a:extLst>
          </p:cNvPr>
          <p:cNvSpPr txBox="1"/>
          <p:nvPr/>
        </p:nvSpPr>
        <p:spPr>
          <a:xfrm>
            <a:off x="7744290" y="2282975"/>
            <a:ext cx="2233062" cy="523220"/>
          </a:xfrm>
          <a:prstGeom prst="rect">
            <a:avLst/>
          </a:prstGeom>
          <a:noFill/>
          <a:ln w="28575">
            <a:solidFill>
              <a:srgbClr val="C00000"/>
            </a:solidFill>
          </a:ln>
        </p:spPr>
        <p:txBody>
          <a:bodyPr wrap="squar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400" b="1" i="0" u="none" strike="noStrike" kern="1200" cap="none" spc="0" normalizeH="0" baseline="0" noProof="0" dirty="0">
                <a:ln>
                  <a:noFill/>
                </a:ln>
                <a:solidFill>
                  <a:srgbClr val="000000"/>
                </a:solidFill>
                <a:effectLst/>
                <a:uLnTx/>
                <a:uFillTx/>
                <a:latin typeface="Arial"/>
                <a:ea typeface="Times New Roman" panose="02020603050405020304" pitchFamily="18" charset="0"/>
                <a:cs typeface="+mn-cs"/>
              </a:rPr>
              <a:t>Superiority threshold, one-sided </a:t>
            </a:r>
            <a:r>
              <a:rPr kumimoji="0" lang="el-GR" sz="1400" b="1" i="0" u="none" strike="noStrike" kern="1200" cap="none" spc="0" normalizeH="0" baseline="0" noProof="0" dirty="0">
                <a:ln>
                  <a:noFill/>
                </a:ln>
                <a:solidFill>
                  <a:srgbClr val="000000"/>
                </a:solidFill>
                <a:effectLst/>
                <a:uLnTx/>
                <a:uFillTx/>
                <a:latin typeface="Arial"/>
                <a:ea typeface="+mn-ea"/>
                <a:cs typeface="+mn-cs"/>
              </a:rPr>
              <a:t>α</a:t>
            </a:r>
            <a:r>
              <a:rPr kumimoji="0" lang="en-US" sz="1400" b="1" i="0" u="none" strike="noStrike" kern="1200" cap="none" spc="0" normalizeH="0" baseline="0" noProof="0" dirty="0">
                <a:ln>
                  <a:noFill/>
                </a:ln>
                <a:solidFill>
                  <a:srgbClr val="000000"/>
                </a:solidFill>
                <a:effectLst/>
                <a:uLnTx/>
                <a:uFillTx/>
                <a:latin typeface="Arial"/>
                <a:ea typeface="+mn-ea"/>
                <a:cs typeface="+mn-cs"/>
              </a:rPr>
              <a:t> </a:t>
            </a:r>
            <a:r>
              <a:rPr kumimoji="0" lang="en-US" altLang="en-US" sz="1400" b="1" i="0" u="none" strike="noStrike" kern="1200" cap="none" spc="0" normalizeH="0" baseline="0" noProof="0" dirty="0">
                <a:ln>
                  <a:noFill/>
                </a:ln>
                <a:solidFill>
                  <a:srgbClr val="000000"/>
                </a:solidFill>
                <a:effectLst/>
                <a:uLnTx/>
                <a:uFillTx/>
                <a:latin typeface="Arial"/>
                <a:ea typeface="Times New Roman" panose="02020603050405020304" pitchFamily="18" charset="0"/>
                <a:cs typeface="+mn-cs"/>
              </a:rPr>
              <a:t>= 0.0185</a:t>
            </a:r>
          </a:p>
        </p:txBody>
      </p:sp>
      <p:graphicFrame>
        <p:nvGraphicFramePr>
          <p:cNvPr id="12" name="Object 11">
            <a:extLst>
              <a:ext uri="{FF2B5EF4-FFF2-40B4-BE49-F238E27FC236}">
                <a16:creationId xmlns:a16="http://schemas.microsoft.com/office/drawing/2014/main" id="{FB18BE14-D5E4-4D12-9F77-3E46E3FFDB53}"/>
              </a:ext>
            </a:extLst>
          </p:cNvPr>
          <p:cNvGraphicFramePr>
            <a:graphicFrameLocks noChangeAspect="1"/>
          </p:cNvGraphicFramePr>
          <p:nvPr/>
        </p:nvGraphicFramePr>
        <p:xfrm>
          <a:off x="1466566" y="1464753"/>
          <a:ext cx="8250903" cy="5079980"/>
        </p:xfrm>
        <a:graphic>
          <a:graphicData uri="http://schemas.openxmlformats.org/presentationml/2006/ole">
            <mc:AlternateContent xmlns:mc="http://schemas.openxmlformats.org/markup-compatibility/2006">
              <mc:Choice xmlns:v="urn:schemas-microsoft-com:vml" Requires="v">
                <p:oleObj spid="_x0000_s9217" name="Prism 8" r:id="rId3" imgW="6227827" imgH="3834560" progId="Prism8.Document">
                  <p:embed/>
                </p:oleObj>
              </mc:Choice>
              <mc:Fallback>
                <p:oleObj name="Prism 8" r:id="rId3" imgW="6227827" imgH="3834560" progId="Prism8.Document">
                  <p:embed/>
                  <p:pic>
                    <p:nvPicPr>
                      <p:cNvPr id="12" name="Object 11">
                        <a:extLst>
                          <a:ext uri="{FF2B5EF4-FFF2-40B4-BE49-F238E27FC236}">
                            <a16:creationId xmlns:a16="http://schemas.microsoft.com/office/drawing/2014/main" id="{FB18BE14-D5E4-4D12-9F77-3E46E3FFDB53}"/>
                          </a:ext>
                        </a:extLst>
                      </p:cNvPr>
                      <p:cNvPicPr/>
                      <p:nvPr/>
                    </p:nvPicPr>
                    <p:blipFill>
                      <a:blip r:embed="rId4"/>
                      <a:stretch>
                        <a:fillRect/>
                      </a:stretch>
                    </p:blipFill>
                    <p:spPr>
                      <a:xfrm>
                        <a:off x="1466566" y="1464753"/>
                        <a:ext cx="8250903" cy="5079980"/>
                      </a:xfrm>
                      <a:prstGeom prst="rect">
                        <a:avLst/>
                      </a:prstGeom>
                    </p:spPr>
                  </p:pic>
                </p:oleObj>
              </mc:Fallback>
            </mc:AlternateContent>
          </a:graphicData>
        </a:graphic>
      </p:graphicFrame>
      <p:cxnSp>
        <p:nvCxnSpPr>
          <p:cNvPr id="17" name="Straight Connector 16">
            <a:extLst>
              <a:ext uri="{FF2B5EF4-FFF2-40B4-BE49-F238E27FC236}">
                <a16:creationId xmlns:a16="http://schemas.microsoft.com/office/drawing/2014/main" id="{34BD86C1-C463-4ABA-8D9D-D5A188C655A0}"/>
              </a:ext>
            </a:extLst>
          </p:cNvPr>
          <p:cNvCxnSpPr>
            <a:cxnSpLocks/>
          </p:cNvCxnSpPr>
          <p:nvPr/>
        </p:nvCxnSpPr>
        <p:spPr>
          <a:xfrm>
            <a:off x="2329313" y="3474351"/>
            <a:ext cx="6675120" cy="24352"/>
          </a:xfrm>
          <a:prstGeom prst="line">
            <a:avLst/>
          </a:prstGeom>
          <a:ln w="19050" cap="flat" cmpd="sng" algn="ctr">
            <a:solidFill>
              <a:schemeClr val="tx1"/>
            </a:solidFill>
            <a:prstDash val="dash"/>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aphicFrame>
        <p:nvGraphicFramePr>
          <p:cNvPr id="25" name="Table 24">
            <a:extLst>
              <a:ext uri="{FF2B5EF4-FFF2-40B4-BE49-F238E27FC236}">
                <a16:creationId xmlns:a16="http://schemas.microsoft.com/office/drawing/2014/main" id="{276FCA75-7CDB-4322-B134-445CB9D716E7}"/>
              </a:ext>
            </a:extLst>
          </p:cNvPr>
          <p:cNvGraphicFramePr>
            <a:graphicFrameLocks noGrp="1"/>
          </p:cNvGraphicFramePr>
          <p:nvPr/>
        </p:nvGraphicFramePr>
        <p:xfrm>
          <a:off x="6939815" y="1367446"/>
          <a:ext cx="3570970" cy="804672"/>
        </p:xfrm>
        <a:graphic>
          <a:graphicData uri="http://schemas.openxmlformats.org/drawingml/2006/table">
            <a:tbl>
              <a:tblPr firstRow="1" bandRow="1"/>
              <a:tblGrid>
                <a:gridCol w="1155031">
                  <a:extLst>
                    <a:ext uri="{9D8B030D-6E8A-4147-A177-3AD203B41FA5}">
                      <a16:colId xmlns:a16="http://schemas.microsoft.com/office/drawing/2014/main" val="20000"/>
                    </a:ext>
                  </a:extLst>
                </a:gridCol>
                <a:gridCol w="856649">
                  <a:extLst>
                    <a:ext uri="{9D8B030D-6E8A-4147-A177-3AD203B41FA5}">
                      <a16:colId xmlns:a16="http://schemas.microsoft.com/office/drawing/2014/main" val="20001"/>
                    </a:ext>
                  </a:extLst>
                </a:gridCol>
                <a:gridCol w="1559290">
                  <a:extLst>
                    <a:ext uri="{9D8B030D-6E8A-4147-A177-3AD203B41FA5}">
                      <a16:colId xmlns:a16="http://schemas.microsoft.com/office/drawing/2014/main" val="20002"/>
                    </a:ext>
                  </a:extLst>
                </a:gridCol>
              </a:tblGrid>
              <a:tr h="0">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lnSpc>
                          <a:spcPct val="80000"/>
                        </a:lnSpc>
                      </a:pPr>
                      <a:endParaRPr lang="en-US" sz="1200" b="1" dirty="0">
                        <a:solidFill>
                          <a:schemeClr val="tx1"/>
                        </a:solidFill>
                        <a:latin typeface="Arial" panose="020B0604020202020204" pitchFamily="34" charset="0"/>
                        <a:cs typeface="Arial" panose="020B0604020202020204" pitchFamily="34" charset="0"/>
                      </a:endParaRPr>
                    </a:p>
                  </a:txBody>
                  <a:tcPr marL="60960" marR="60960" marT="60960" marB="60960" anchor="ctr">
                    <a:lnL w="12700" cmpd="sng">
                      <a:solidFill>
                        <a:sysClr val="window" lastClr="FFFFFF"/>
                      </a:solidFill>
                    </a:lnL>
                    <a:lnR w="12700" cmpd="sng">
                      <a:solidFill>
                        <a:sysClr val="window" lastClr="FFFFFF"/>
                      </a:solidFill>
                    </a:lnR>
                    <a:lnT w="12700" cap="flat" cmpd="sng" algn="ctr">
                      <a:noFill/>
                      <a:prstDash val="solid"/>
                      <a:round/>
                      <a:headEnd type="none" w="med" len="med"/>
                      <a:tailEnd type="none" w="med" len="med"/>
                    </a:lnT>
                    <a:lnB w="38100" cap="flat" cmpd="sng" algn="ctr">
                      <a:solidFill>
                        <a:srgbClr val="00877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lnSpc>
                          <a:spcPct val="80000"/>
                        </a:lnSpc>
                      </a:pPr>
                      <a:r>
                        <a:rPr lang="en-US" sz="1200" b="1" i="0" dirty="0">
                          <a:solidFill>
                            <a:schemeClr val="tx1"/>
                          </a:solidFill>
                          <a:latin typeface="Arial" panose="020B0604020202020204" pitchFamily="34" charset="0"/>
                          <a:cs typeface="Arial" panose="020B0604020202020204" pitchFamily="34" charset="0"/>
                        </a:rPr>
                        <a:t>Events</a:t>
                      </a:r>
                    </a:p>
                  </a:txBody>
                  <a:tcPr marL="60960" marR="60960" marT="60960" marB="60960" anchor="b">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noFill/>
                      <a:prstDash val="solid"/>
                      <a:round/>
                      <a:headEnd type="none" w="med" len="med"/>
                      <a:tailEnd type="none" w="med" len="med"/>
                    </a:lnT>
                    <a:lnB w="38100" cap="flat" cmpd="sng" algn="ctr">
                      <a:solidFill>
                        <a:srgbClr val="00877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lnSpc>
                          <a:spcPct val="80000"/>
                        </a:lnSpc>
                      </a:pPr>
                      <a:r>
                        <a:rPr lang="en-US" sz="1200" b="1" i="0" dirty="0">
                          <a:solidFill>
                            <a:schemeClr val="tx1"/>
                          </a:solidFill>
                          <a:latin typeface="Arial" panose="020B0604020202020204" pitchFamily="34" charset="0"/>
                          <a:cs typeface="Arial" panose="020B0604020202020204" pitchFamily="34" charset="0"/>
                        </a:rPr>
                        <a:t>HR (95% CI)</a:t>
                      </a:r>
                    </a:p>
                  </a:txBody>
                  <a:tcPr marL="60960" marR="60960" marT="60960" marB="60960" anchor="b">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rgbClr val="00877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l">
                        <a:lnSpc>
                          <a:spcPct val="80000"/>
                        </a:lnSpc>
                      </a:pPr>
                      <a:r>
                        <a:rPr lang="en-US" sz="1200" b="1" dirty="0">
                          <a:solidFill>
                            <a:srgbClr val="00877C"/>
                          </a:solidFill>
                          <a:latin typeface="Arial" panose="020B0604020202020204" pitchFamily="34" charset="0"/>
                          <a:cs typeface="Arial" panose="020B0604020202020204" pitchFamily="34" charset="0"/>
                        </a:rPr>
                        <a:t>Len + </a:t>
                      </a:r>
                      <a:r>
                        <a:rPr lang="en-US" sz="1200" b="1" dirty="0" err="1">
                          <a:solidFill>
                            <a:srgbClr val="00877C"/>
                          </a:solidFill>
                          <a:latin typeface="Arial" panose="020B0604020202020204" pitchFamily="34" charset="0"/>
                          <a:cs typeface="Arial" panose="020B0604020202020204" pitchFamily="34" charset="0"/>
                        </a:rPr>
                        <a:t>pembro</a:t>
                      </a:r>
                      <a:endParaRPr lang="en-US" sz="1200" b="1" dirty="0">
                        <a:solidFill>
                          <a:srgbClr val="00877C"/>
                        </a:solidFill>
                        <a:latin typeface="Arial" panose="020B0604020202020204" pitchFamily="34" charset="0"/>
                        <a:cs typeface="Arial" panose="020B0604020202020204" pitchFamily="34" charset="0"/>
                      </a:endParaRPr>
                    </a:p>
                  </a:txBody>
                  <a:tcPr marL="60960" marR="60960" marT="60960" marB="60960" anchor="ctr">
                    <a:lnL w="12700" cmpd="sng">
                      <a:solidFill>
                        <a:sysClr val="window" lastClr="FFFFFF"/>
                      </a:solidFill>
                    </a:lnL>
                    <a:lnR w="12700" cmpd="sng">
                      <a:solidFill>
                        <a:sysClr val="window" lastClr="FFFFFF"/>
                      </a:solidFill>
                    </a:lnR>
                    <a:lnT w="38100" cap="flat" cmpd="sng" algn="ctr">
                      <a:solidFill>
                        <a:srgbClr val="00877C"/>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lnSpc>
                          <a:spcPct val="80000"/>
                        </a:lnSpc>
                      </a:pPr>
                      <a:r>
                        <a:rPr lang="en-US" sz="1200" b="1" dirty="0">
                          <a:solidFill>
                            <a:srgbClr val="00877C"/>
                          </a:solidFill>
                          <a:latin typeface="Arial" panose="020B0604020202020204" pitchFamily="34" charset="0"/>
                          <a:cs typeface="Arial" panose="020B0604020202020204" pitchFamily="34" charset="0"/>
                        </a:rPr>
                        <a:t>63.8%</a:t>
                      </a:r>
                    </a:p>
                  </a:txBody>
                  <a:tcPr marL="60960" marR="60960" marT="60960" marB="60960" anchor="ctr">
                    <a:lnL w="12700" cap="flat" cmpd="sng" algn="ctr">
                      <a:solidFill>
                        <a:sysClr val="window" lastClr="FFFFFF"/>
                      </a:solidFill>
                      <a:prstDash val="solid"/>
                      <a:round/>
                      <a:headEnd type="none" w="med" len="med"/>
                      <a:tailEnd type="none" w="med" len="med"/>
                    </a:lnL>
                    <a:lnR w="12700" cmpd="sng">
                      <a:solidFill>
                        <a:sysClr val="window" lastClr="FFFFFF"/>
                      </a:solidFill>
                    </a:lnR>
                    <a:lnT w="38100" cap="flat" cmpd="sng" algn="ctr">
                      <a:solidFill>
                        <a:srgbClr val="00877C"/>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lnSpc>
                          <a:spcPct val="80000"/>
                        </a:lnSpc>
                      </a:pPr>
                      <a:r>
                        <a:rPr lang="en-US" sz="1200" b="1" dirty="0">
                          <a:solidFill>
                            <a:srgbClr val="00877C"/>
                          </a:solidFill>
                          <a:latin typeface="Arial" panose="020B0604020202020204" pitchFamily="34" charset="0"/>
                          <a:cs typeface="Arial" panose="020B0604020202020204" pitchFamily="34" charset="0"/>
                        </a:rPr>
                        <a:t>0.840 (0.708-0.997)</a:t>
                      </a:r>
                    </a:p>
                    <a:p>
                      <a:pPr algn="ctr">
                        <a:lnSpc>
                          <a:spcPct val="80000"/>
                        </a:lnSpc>
                      </a:pPr>
                      <a:r>
                        <a:rPr lang="en-US" sz="1200" b="1" i="1" dirty="0">
                          <a:solidFill>
                            <a:srgbClr val="00877C"/>
                          </a:solidFill>
                          <a:latin typeface="Arial" panose="020B0604020202020204" pitchFamily="34" charset="0"/>
                          <a:cs typeface="Arial" panose="020B0604020202020204" pitchFamily="34" charset="0"/>
                        </a:rPr>
                        <a:t>P</a:t>
                      </a:r>
                      <a:r>
                        <a:rPr lang="en-US" sz="1200" b="1" dirty="0">
                          <a:solidFill>
                            <a:srgbClr val="00877C"/>
                          </a:solidFill>
                          <a:latin typeface="Arial" panose="020B0604020202020204" pitchFamily="34" charset="0"/>
                          <a:cs typeface="Arial" panose="020B0604020202020204" pitchFamily="34" charset="0"/>
                        </a:rPr>
                        <a:t>=0.0227</a:t>
                      </a:r>
                      <a:r>
                        <a:rPr lang="en-US" sz="1200" b="1" baseline="30000" dirty="0">
                          <a:solidFill>
                            <a:srgbClr val="00877C"/>
                          </a:solidFill>
                          <a:latin typeface="Arial" panose="020B0604020202020204" pitchFamily="34" charset="0"/>
                          <a:cs typeface="Arial" panose="020B0604020202020204" pitchFamily="34" charset="0"/>
                        </a:rPr>
                        <a:t>a</a:t>
                      </a:r>
                      <a:endParaRPr lang="en-US" sz="1200" b="1" dirty="0">
                        <a:solidFill>
                          <a:srgbClr val="00877C"/>
                        </a:solidFill>
                        <a:latin typeface="Arial" panose="020B0604020202020204" pitchFamily="34" charset="0"/>
                        <a:cs typeface="Arial" panose="020B0604020202020204" pitchFamily="34" charset="0"/>
                      </a:endParaRPr>
                    </a:p>
                  </a:txBody>
                  <a:tcPr marL="60960" marR="60960" marT="60960" marB="60960" anchor="ctr">
                    <a:lnL w="12700" cmpd="sng">
                      <a:solidFill>
                        <a:sysClr val="window" lastClr="FFFFFF"/>
                      </a:solidFill>
                    </a:lnL>
                    <a:lnR w="12700" cap="flat" cmpd="sng" algn="ctr">
                      <a:solidFill>
                        <a:sysClr val="window" lastClr="FFFFFF"/>
                      </a:solidFill>
                      <a:prstDash val="solid"/>
                      <a:round/>
                      <a:headEnd type="none" w="med" len="med"/>
                      <a:tailEnd type="none" w="med" len="med"/>
                    </a:lnR>
                    <a:lnT w="38100" cap="flat" cmpd="sng" algn="ctr">
                      <a:solidFill>
                        <a:srgbClr val="00877C"/>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0">
                <a:tc>
                  <a:txBody>
                    <a:bodyPr/>
                    <a:lstStyle/>
                    <a:p>
                      <a:pPr algn="l">
                        <a:lnSpc>
                          <a:spcPct val="80000"/>
                        </a:lnSpc>
                      </a:pPr>
                      <a:r>
                        <a:rPr lang="en-US" sz="1200" b="1" dirty="0">
                          <a:solidFill>
                            <a:srgbClr val="66203A"/>
                          </a:solidFill>
                          <a:latin typeface="Arial" panose="020B0604020202020204" pitchFamily="34" charset="0"/>
                          <a:cs typeface="Arial" panose="020B0604020202020204" pitchFamily="34" charset="0"/>
                        </a:rPr>
                        <a:t>Len + placebo</a:t>
                      </a:r>
                    </a:p>
                  </a:txBody>
                  <a:tcPr marL="60960" marR="60960" marT="60960" marB="6096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p>
                      <a:pPr algn="ctr">
                        <a:lnSpc>
                          <a:spcPct val="80000"/>
                        </a:lnSpc>
                      </a:pPr>
                      <a:r>
                        <a:rPr lang="en-US" sz="1200" b="1" dirty="0">
                          <a:solidFill>
                            <a:srgbClr val="66203A"/>
                          </a:solidFill>
                          <a:latin typeface="Arial" panose="020B0604020202020204" pitchFamily="34" charset="0"/>
                          <a:cs typeface="Arial" panose="020B0604020202020204" pitchFamily="34" charset="0"/>
                        </a:rPr>
                        <a:t>70.7%</a:t>
                      </a:r>
                    </a:p>
                  </a:txBody>
                  <a:tcPr marL="121920" marR="121920" marT="60960" marB="6096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noFill/>
                  </a:tcPr>
                </a:tc>
                <a:tc vMerge="1">
                  <a:txBody>
                    <a:bodyPr/>
                    <a:lstStyle/>
                    <a:p>
                      <a:endParaRPr lang="en-US"/>
                    </a:p>
                  </a:txBody>
                  <a:tcPr/>
                </a:tc>
                <a:extLst>
                  <a:ext uri="{0D108BD9-81ED-4DB2-BD59-A6C34878D82A}">
                    <a16:rowId xmlns:a16="http://schemas.microsoft.com/office/drawing/2014/main" val="10002"/>
                  </a:ext>
                </a:extLst>
              </a:tr>
            </a:tbl>
          </a:graphicData>
        </a:graphic>
      </p:graphicFrame>
      <p:sp>
        <p:nvSpPr>
          <p:cNvPr id="27" name="TextBox 26">
            <a:extLst>
              <a:ext uri="{FF2B5EF4-FFF2-40B4-BE49-F238E27FC236}">
                <a16:creationId xmlns:a16="http://schemas.microsoft.com/office/drawing/2014/main" id="{36CBBED9-C1BC-4821-AFDE-25220D9A4283}"/>
              </a:ext>
            </a:extLst>
          </p:cNvPr>
          <p:cNvSpPr txBox="1"/>
          <p:nvPr/>
        </p:nvSpPr>
        <p:spPr>
          <a:xfrm>
            <a:off x="9004433" y="3175537"/>
            <a:ext cx="1660357" cy="646331"/>
          </a:xfrm>
          <a:prstGeom prst="rect">
            <a:avLst/>
          </a:prstGeom>
          <a:noFill/>
        </p:spPr>
        <p:txBody>
          <a:bodyPr wrap="square">
            <a:spAutoFit/>
          </a:bodyPr>
          <a:lstStyle/>
          <a:p>
            <a:pPr marL="0" marR="0" lvl="0" indent="0" algn="ctr" defTabSz="45725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Median (95% CI)</a:t>
            </a:r>
          </a:p>
          <a:p>
            <a:pPr marL="0" marR="0" lvl="0" indent="0" algn="ctr" defTabSz="45725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857C"/>
                </a:solidFill>
                <a:effectLst/>
                <a:uLnTx/>
                <a:uFillTx/>
                <a:latin typeface="Arial"/>
                <a:ea typeface="+mn-ea"/>
                <a:cs typeface="+mn-cs"/>
              </a:rPr>
              <a:t>21.2 </a:t>
            </a:r>
            <a:r>
              <a:rPr kumimoji="0" lang="en-US" sz="1200" b="1" i="0" u="none" strike="noStrike" kern="1200" cap="none" spc="0" normalizeH="0" baseline="0" noProof="0" dirty="0" err="1">
                <a:ln>
                  <a:noFill/>
                </a:ln>
                <a:solidFill>
                  <a:srgbClr val="00857C"/>
                </a:solidFill>
                <a:effectLst/>
                <a:uLnTx/>
                <a:uFillTx/>
                <a:latin typeface="Arial"/>
                <a:ea typeface="+mn-ea"/>
                <a:cs typeface="+mn-cs"/>
              </a:rPr>
              <a:t>mo</a:t>
            </a:r>
            <a:r>
              <a:rPr kumimoji="0" lang="en-US" sz="1200" b="1" i="0" u="none" strike="noStrike" kern="1200" cap="none" spc="0" normalizeH="0" baseline="0" noProof="0" dirty="0">
                <a:ln>
                  <a:noFill/>
                </a:ln>
                <a:solidFill>
                  <a:srgbClr val="00857C"/>
                </a:solidFill>
                <a:effectLst/>
                <a:uLnTx/>
                <a:uFillTx/>
                <a:latin typeface="Arial"/>
                <a:ea typeface="+mn-ea"/>
                <a:cs typeface="+mn-cs"/>
              </a:rPr>
              <a:t> (19.0-23.6)</a:t>
            </a:r>
          </a:p>
          <a:p>
            <a:pPr marL="0" marR="0" lvl="0" indent="0" algn="ctr" defTabSz="45725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66203A"/>
                </a:solidFill>
                <a:effectLst/>
                <a:uLnTx/>
                <a:uFillTx/>
                <a:latin typeface="Arial"/>
                <a:ea typeface="+mn-ea"/>
                <a:cs typeface="+mn-cs"/>
              </a:rPr>
              <a:t>19.0 </a:t>
            </a:r>
            <a:r>
              <a:rPr kumimoji="0" lang="en-US" sz="1200" b="1" i="0" u="none" strike="noStrike" kern="1200" cap="none" spc="0" normalizeH="0" baseline="0" noProof="0" dirty="0" err="1">
                <a:ln>
                  <a:noFill/>
                </a:ln>
                <a:solidFill>
                  <a:srgbClr val="66203A"/>
                </a:solidFill>
                <a:effectLst/>
                <a:uLnTx/>
                <a:uFillTx/>
                <a:latin typeface="Arial"/>
                <a:ea typeface="+mn-ea"/>
                <a:cs typeface="+mn-cs"/>
              </a:rPr>
              <a:t>mo</a:t>
            </a:r>
            <a:r>
              <a:rPr kumimoji="0" lang="en-US" sz="1200" b="1" i="0" u="none" strike="noStrike" kern="1200" cap="none" spc="0" normalizeH="0" baseline="0" noProof="0" dirty="0">
                <a:ln>
                  <a:noFill/>
                </a:ln>
                <a:solidFill>
                  <a:srgbClr val="66203A"/>
                </a:solidFill>
                <a:effectLst/>
                <a:uLnTx/>
                <a:uFillTx/>
                <a:latin typeface="Arial"/>
                <a:ea typeface="+mn-ea"/>
                <a:cs typeface="+mn-cs"/>
              </a:rPr>
              <a:t> (17.2-21.7)</a:t>
            </a:r>
          </a:p>
        </p:txBody>
      </p:sp>
      <p:grpSp>
        <p:nvGrpSpPr>
          <p:cNvPr id="30" name="Group 29">
            <a:extLst>
              <a:ext uri="{FF2B5EF4-FFF2-40B4-BE49-F238E27FC236}">
                <a16:creationId xmlns:a16="http://schemas.microsoft.com/office/drawing/2014/main" id="{9076CCBA-514C-4561-9400-9A0E9FF1AE90}"/>
              </a:ext>
            </a:extLst>
          </p:cNvPr>
          <p:cNvGrpSpPr/>
          <p:nvPr/>
        </p:nvGrpSpPr>
        <p:grpSpPr>
          <a:xfrm>
            <a:off x="5798358" y="2633122"/>
            <a:ext cx="1078029" cy="2568780"/>
            <a:chOff x="5798358" y="2633122"/>
            <a:chExt cx="1078029" cy="2568780"/>
          </a:xfrm>
        </p:grpSpPr>
        <p:cxnSp>
          <p:nvCxnSpPr>
            <p:cNvPr id="21" name="Straight Connector 20">
              <a:extLst>
                <a:ext uri="{FF2B5EF4-FFF2-40B4-BE49-F238E27FC236}">
                  <a16:creationId xmlns:a16="http://schemas.microsoft.com/office/drawing/2014/main" id="{E1B4759A-34E8-4B53-8656-4B4087281E88}"/>
                </a:ext>
              </a:extLst>
            </p:cNvPr>
            <p:cNvCxnSpPr>
              <a:cxnSpLocks/>
            </p:cNvCxnSpPr>
            <p:nvPr/>
          </p:nvCxnSpPr>
          <p:spPr>
            <a:xfrm flipV="1">
              <a:off x="6337373" y="3265714"/>
              <a:ext cx="0" cy="1936188"/>
            </a:xfrm>
            <a:prstGeom prst="line">
              <a:avLst/>
            </a:prstGeom>
            <a:ln w="19050" cap="flat" cmpd="sng" algn="ctr">
              <a:solidFill>
                <a:schemeClr val="tx1"/>
              </a:solidFill>
              <a:prstDash val="dash"/>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29" name="TextBox 28">
              <a:extLst>
                <a:ext uri="{FF2B5EF4-FFF2-40B4-BE49-F238E27FC236}">
                  <a16:creationId xmlns:a16="http://schemas.microsoft.com/office/drawing/2014/main" id="{F2F63A21-5A87-4918-894B-3EADA0E8681C}"/>
                </a:ext>
              </a:extLst>
            </p:cNvPr>
            <p:cNvSpPr txBox="1"/>
            <p:nvPr/>
          </p:nvSpPr>
          <p:spPr>
            <a:xfrm>
              <a:off x="5798358" y="2633122"/>
              <a:ext cx="1078029" cy="646331"/>
            </a:xfrm>
            <a:prstGeom prst="rect">
              <a:avLst/>
            </a:prstGeom>
            <a:noFill/>
          </p:spPr>
          <p:txBody>
            <a:bodyPr wrap="square">
              <a:spAutoFit/>
            </a:bodyPr>
            <a:lstStyle/>
            <a:p>
              <a:pPr marL="0" marR="0" lvl="0" indent="0" algn="ctr" defTabSz="45725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24-mo rate</a:t>
              </a:r>
            </a:p>
            <a:p>
              <a:pPr marL="0" marR="0" lvl="0" indent="0" algn="ctr" defTabSz="45725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857C"/>
                  </a:solidFill>
                  <a:effectLst/>
                  <a:uLnTx/>
                  <a:uFillTx/>
                  <a:latin typeface="Arial"/>
                  <a:ea typeface="+mn-ea"/>
                  <a:cs typeface="+mn-cs"/>
                </a:rPr>
                <a:t>43.7%</a:t>
              </a:r>
            </a:p>
            <a:p>
              <a:pPr marL="0" marR="0" lvl="0" indent="0" algn="ctr" defTabSz="45725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66203A"/>
                  </a:solidFill>
                  <a:effectLst/>
                  <a:uLnTx/>
                  <a:uFillTx/>
                  <a:latin typeface="Arial"/>
                  <a:ea typeface="+mn-ea"/>
                  <a:cs typeface="+mn-cs"/>
                </a:rPr>
                <a:t>40.0%</a:t>
              </a:r>
            </a:p>
          </p:txBody>
        </p:sp>
      </p:grpSp>
      <p:sp>
        <p:nvSpPr>
          <p:cNvPr id="13" name="Oval 12">
            <a:extLst>
              <a:ext uri="{FF2B5EF4-FFF2-40B4-BE49-F238E27FC236}">
                <a16:creationId xmlns:a16="http://schemas.microsoft.com/office/drawing/2014/main" id="{98FA2E19-599C-4998-84C5-049F4C6C549C}"/>
              </a:ext>
            </a:extLst>
          </p:cNvPr>
          <p:cNvSpPr/>
          <p:nvPr/>
        </p:nvSpPr>
        <p:spPr>
          <a:xfrm>
            <a:off x="9007645" y="3051702"/>
            <a:ext cx="1660355" cy="1066800"/>
          </a:xfrm>
          <a:prstGeom prst="ellipse">
            <a:avLst/>
          </a:prstGeom>
          <a:noFill/>
          <a:ln w="38100">
            <a:solidFill>
              <a:srgbClr val="3366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 name="TextBox 4">
            <a:extLst>
              <a:ext uri="{FF2B5EF4-FFF2-40B4-BE49-F238E27FC236}">
                <a16:creationId xmlns:a16="http://schemas.microsoft.com/office/drawing/2014/main" id="{1BCEC65B-3D30-4EE3-9423-BAFA9B844C1E}"/>
              </a:ext>
            </a:extLst>
          </p:cNvPr>
          <p:cNvSpPr txBox="1"/>
          <p:nvPr/>
        </p:nvSpPr>
        <p:spPr>
          <a:xfrm>
            <a:off x="9717469" y="4572000"/>
            <a:ext cx="2207014" cy="276999"/>
          </a:xfrm>
          <a:prstGeom prst="rect">
            <a:avLst/>
          </a:prstGeom>
          <a:noFill/>
        </p:spPr>
        <p:txBody>
          <a:bodyPr wrap="none" lIns="0" tIns="0" rIns="0" bIns="0"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600" cap="none" spc="30" normalizeH="0" baseline="0" noProof="0" dirty="0">
                <a:ln>
                  <a:noFill/>
                </a:ln>
                <a:solidFill>
                  <a:srgbClr val="002060"/>
                </a:solidFill>
                <a:effectLst/>
                <a:uLnTx/>
                <a:uFillTx/>
                <a:latin typeface="Arial"/>
                <a:ea typeface="+mn-ea"/>
                <a:cs typeface="+mn-cs"/>
              </a:rPr>
              <a:t>Excluded main PVT</a:t>
            </a:r>
          </a:p>
        </p:txBody>
      </p:sp>
    </p:spTree>
    <p:extLst>
      <p:ext uri="{BB962C8B-B14F-4D97-AF65-F5344CB8AC3E}">
        <p14:creationId xmlns:p14="http://schemas.microsoft.com/office/powerpoint/2010/main" val="21926801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blinds(horizontal)">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nodeType="clickEffect">
                                  <p:stCondLst>
                                    <p:cond delay="0"/>
                                  </p:stCondLst>
                                  <p:childTnLst>
                                    <p:set>
                                      <p:cBhvr>
                                        <p:cTn id="11" dur="1" fill="hold">
                                          <p:stCondLst>
                                            <p:cond delay="0"/>
                                          </p:stCondLst>
                                        </p:cTn>
                                        <p:tgtEl>
                                          <p:spTgt spid="30"/>
                                        </p:tgtEl>
                                        <p:attrNameLst>
                                          <p:attrName>style.visibility</p:attrName>
                                        </p:attrNameLst>
                                      </p:cBhvr>
                                      <p:to>
                                        <p:strVal val="visible"/>
                                      </p:to>
                                    </p:set>
                                    <p:animEffect transition="in" filter="blinds(horizontal)">
                                      <p:cBhvr>
                                        <p:cTn id="12"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2286" y="83408"/>
            <a:ext cx="10358967" cy="1257360"/>
          </a:xfrm>
        </p:spPr>
        <p:txBody>
          <a:bodyPr/>
          <a:lstStyle/>
          <a:p>
            <a:r>
              <a:rPr lang="en-US" sz="3200" dirty="0"/>
              <a:t>Richard S Finn, MD </a:t>
            </a:r>
            <a:r>
              <a:rPr lang="en-US" sz="3200" dirty="0">
                <a:solidFill>
                  <a:srgbClr val="0432FF"/>
                </a:solidFill>
              </a:rPr>
              <a:t>— Disclosures</a:t>
            </a:r>
            <a:br>
              <a:rPr lang="en-US" sz="3200" dirty="0">
                <a:solidFill>
                  <a:srgbClr val="0432FF"/>
                </a:solidFill>
              </a:rPr>
            </a:br>
            <a:r>
              <a:rPr lang="en-US" sz="2800" dirty="0">
                <a:solidFill>
                  <a:srgbClr val="0432FF"/>
                </a:solidFill>
              </a:rPr>
              <a:t>Faculty</a:t>
            </a:r>
          </a:p>
        </p:txBody>
      </p:sp>
      <p:graphicFrame>
        <p:nvGraphicFramePr>
          <p:cNvPr id="3" name="Table 2">
            <a:extLst>
              <a:ext uri="{FF2B5EF4-FFF2-40B4-BE49-F238E27FC236}">
                <a16:creationId xmlns:a16="http://schemas.microsoft.com/office/drawing/2014/main" id="{17EEBD4A-2374-A64B-8F45-399BD207A7C4}"/>
              </a:ext>
            </a:extLst>
          </p:cNvPr>
          <p:cNvGraphicFramePr>
            <a:graphicFrameLocks noGrp="1"/>
          </p:cNvGraphicFramePr>
          <p:nvPr/>
        </p:nvGraphicFramePr>
        <p:xfrm>
          <a:off x="996146" y="1484784"/>
          <a:ext cx="10199707" cy="4125625"/>
        </p:xfrm>
        <a:graphic>
          <a:graphicData uri="http://schemas.openxmlformats.org/drawingml/2006/table">
            <a:tbl>
              <a:tblPr firstRow="1" bandRow="1">
                <a:tableStyleId>{F2DE63D5-997A-4646-A377-4702673A728D}</a:tableStyleId>
              </a:tblPr>
              <a:tblGrid>
                <a:gridCol w="2998907">
                  <a:extLst>
                    <a:ext uri="{9D8B030D-6E8A-4147-A177-3AD203B41FA5}">
                      <a16:colId xmlns:a16="http://schemas.microsoft.com/office/drawing/2014/main" val="554462400"/>
                    </a:ext>
                  </a:extLst>
                </a:gridCol>
                <a:gridCol w="7200800">
                  <a:extLst>
                    <a:ext uri="{9D8B030D-6E8A-4147-A177-3AD203B41FA5}">
                      <a16:colId xmlns:a16="http://schemas.microsoft.com/office/drawing/2014/main" val="1695023928"/>
                    </a:ext>
                  </a:extLst>
                </a:gridCol>
              </a:tblGrid>
              <a:tr h="616082">
                <a:tc>
                  <a:txBody>
                    <a:bodyPr/>
                    <a:lstStyle/>
                    <a:p>
                      <a:r>
                        <a:rPr lang="en-US" b="1" dirty="0">
                          <a:solidFill>
                            <a:schemeClr val="tx1"/>
                          </a:solidFill>
                        </a:rPr>
                        <a:t>Advisory Committee</a:t>
                      </a:r>
                      <a:endParaRPr lang="en-US" sz="1800" b="1" kern="1200" dirty="0">
                        <a:solidFill>
                          <a:schemeClr val="tx1"/>
                        </a:solidFill>
                        <a:effectLst/>
                        <a:latin typeface="+mn-lt"/>
                        <a:ea typeface="+mn-ea"/>
                        <a:cs typeface="+mn-cs"/>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b="0" dirty="0" err="1">
                          <a:solidFill>
                            <a:schemeClr val="tx1"/>
                          </a:solidFill>
                        </a:rPr>
                        <a:t>CStone</a:t>
                      </a:r>
                      <a:r>
                        <a:rPr lang="en-US" b="0" dirty="0">
                          <a:solidFill>
                            <a:schemeClr val="tx1"/>
                          </a:solidFill>
                        </a:rPr>
                        <a:t> Pharmaceuticals</a:t>
                      </a:r>
                      <a:endParaRPr lang="en-US" sz="1800" b="0" kern="1200" dirty="0">
                        <a:solidFill>
                          <a:schemeClr val="tx1"/>
                        </a:solidFill>
                        <a:effectLst/>
                        <a:latin typeface="+mn-lt"/>
                        <a:ea typeface="+mn-ea"/>
                        <a:cs typeface="+mn-cs"/>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33472633"/>
                  </a:ext>
                </a:extLst>
              </a:tr>
              <a:tr h="1072683">
                <a:tc>
                  <a:txBody>
                    <a:bodyPr/>
                    <a:lstStyle/>
                    <a:p>
                      <a:r>
                        <a:rPr lang="en-US" b="1" dirty="0">
                          <a:solidFill>
                            <a:schemeClr val="tx1"/>
                          </a:solidFill>
                        </a:rPr>
                        <a:t>Consulting Agreements</a:t>
                      </a:r>
                      <a:endParaRPr lang="en-US" sz="1800" b="1" kern="1200" dirty="0">
                        <a:solidFill>
                          <a:schemeClr val="tx1"/>
                        </a:solidFill>
                        <a:effectLst/>
                        <a:latin typeface="+mn-lt"/>
                        <a:ea typeface="+mn-ea"/>
                        <a:cs typeface="+mn-cs"/>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dirty="0">
                          <a:solidFill>
                            <a:schemeClr val="tx1"/>
                          </a:solidFill>
                        </a:rPr>
                        <a:t>AstraZeneca Pharmaceuticals LP, Bayer HealthCare Pharmaceuticals, Bristol-Myers Squibb Company, Eisai Inc, </a:t>
                      </a:r>
                      <a:r>
                        <a:rPr lang="en-US" dirty="0" err="1">
                          <a:solidFill>
                            <a:schemeClr val="tx1"/>
                          </a:solidFill>
                        </a:rPr>
                        <a:t>Exelixis</a:t>
                      </a:r>
                      <a:r>
                        <a:rPr lang="en-US" dirty="0">
                          <a:solidFill>
                            <a:schemeClr val="tx1"/>
                          </a:solidFill>
                        </a:rPr>
                        <a:t> Inc, Genentech, a member of the Roche Group, </a:t>
                      </a:r>
                      <a:r>
                        <a:rPr lang="en-US" dirty="0" err="1">
                          <a:solidFill>
                            <a:schemeClr val="tx1"/>
                          </a:solidFill>
                        </a:rPr>
                        <a:t>Hengrui</a:t>
                      </a:r>
                      <a:r>
                        <a:rPr lang="en-US" dirty="0">
                          <a:solidFill>
                            <a:schemeClr val="tx1"/>
                          </a:solidFill>
                        </a:rPr>
                        <a:t> Therapeutics Inc, Lilly, Merck, Pfizer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96370210"/>
                  </a:ext>
                </a:extLst>
              </a:tr>
              <a:tr h="1072683">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800" b="1" kern="1200" dirty="0">
                          <a:solidFill>
                            <a:schemeClr val="tx1"/>
                          </a:solidFill>
                          <a:effectLst/>
                          <a:latin typeface="+mn-lt"/>
                          <a:ea typeface="+mn-ea"/>
                          <a:cs typeface="+mn-cs"/>
                        </a:rPr>
                        <a:t>Contracted Research (to Institution)</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dirty="0" err="1">
                          <a:solidFill>
                            <a:schemeClr val="tx1"/>
                          </a:solidFill>
                        </a:rPr>
                        <a:t>Adaptimmune</a:t>
                      </a:r>
                      <a:r>
                        <a:rPr lang="en-US" dirty="0">
                          <a:solidFill>
                            <a:schemeClr val="tx1"/>
                          </a:solidFill>
                        </a:rPr>
                        <a:t>, Bayer HealthCare Pharmaceuticals, </a:t>
                      </a:r>
                      <a:r>
                        <a:rPr lang="en-US" sz="1800" kern="1200" dirty="0">
                          <a:solidFill>
                            <a:schemeClr val="tx1"/>
                          </a:solidFill>
                          <a:effectLst/>
                          <a:latin typeface="+mn-lt"/>
                          <a:ea typeface="+mn-ea"/>
                          <a:cs typeface="+mn-cs"/>
                        </a:rPr>
                        <a:t>Bristol-Myers Squibb Company, </a:t>
                      </a:r>
                      <a:r>
                        <a:rPr lang="en-US" dirty="0">
                          <a:solidFill>
                            <a:schemeClr val="tx1"/>
                          </a:solidFill>
                        </a:rPr>
                        <a:t>Eisai Inc, Genentech, a member of the Roche Group, Lilly, Merck, Pfizer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29131303"/>
                  </a:ext>
                </a:extLst>
              </a:tr>
              <a:tr h="742154">
                <a:tc>
                  <a:txBody>
                    <a:bodyPr/>
                    <a:lstStyle/>
                    <a:p>
                      <a:r>
                        <a:rPr lang="en-US" sz="1800" b="1" kern="1200" dirty="0">
                          <a:solidFill>
                            <a:schemeClr val="tx1"/>
                          </a:solidFill>
                          <a:effectLst/>
                          <a:latin typeface="+mn-lt"/>
                          <a:ea typeface="+mn-ea"/>
                          <a:cs typeface="+mn-cs"/>
                        </a:rPr>
                        <a:t>Data and Safety Monitoring Board/Committee</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dirty="0">
                          <a:solidFill>
                            <a:schemeClr val="tx1"/>
                          </a:solidFill>
                        </a:rPr>
                        <a:t>AstraZeneca Pharmaceuticals LP, </a:t>
                      </a:r>
                      <a:r>
                        <a:rPr lang="en-US" dirty="0" err="1">
                          <a:solidFill>
                            <a:schemeClr val="tx1"/>
                          </a:solidFill>
                        </a:rPr>
                        <a:t>Hengrui</a:t>
                      </a:r>
                      <a:r>
                        <a:rPr lang="en-US" dirty="0">
                          <a:solidFill>
                            <a:schemeClr val="tx1"/>
                          </a:solidFill>
                        </a:rPr>
                        <a:t> Therapeutics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51295005"/>
                  </a:ext>
                </a:extLst>
              </a:tr>
              <a:tr h="528846">
                <a:tc>
                  <a:txBody>
                    <a:bodyPr/>
                    <a:lstStyle/>
                    <a:p>
                      <a:r>
                        <a:rPr lang="en-US" sz="1800" b="1" kern="1200" dirty="0">
                          <a:solidFill>
                            <a:schemeClr val="tx1"/>
                          </a:solidFill>
                          <a:effectLst/>
                          <a:latin typeface="+mn-lt"/>
                          <a:ea typeface="+mn-ea"/>
                          <a:cs typeface="+mn-cs"/>
                        </a:rPr>
                        <a:t>Speakers Bureau </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dirty="0">
                          <a:solidFill>
                            <a:schemeClr val="tx1"/>
                          </a:solidFill>
                        </a:rPr>
                        <a:t>Genentech, a member of the Roche Group</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50480950"/>
                  </a:ext>
                </a:extLst>
              </a:tr>
            </a:tbl>
          </a:graphicData>
        </a:graphic>
      </p:graphicFrame>
    </p:spTree>
    <p:custDataLst>
      <p:tags r:id="rId1"/>
    </p:custDataLst>
    <p:extLst>
      <p:ext uri="{BB962C8B-B14F-4D97-AF65-F5344CB8AC3E}">
        <p14:creationId xmlns:p14="http://schemas.microsoft.com/office/powerpoint/2010/main" val="8766813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09800" y="152400"/>
            <a:ext cx="7772400" cy="1143000"/>
          </a:xfrm>
        </p:spPr>
        <p:txBody>
          <a:bodyPr/>
          <a:lstStyle/>
          <a:p>
            <a:r>
              <a:rPr lang="en-US" sz="4000" dirty="0">
                <a:solidFill>
                  <a:srgbClr val="FFFF00"/>
                </a:solidFill>
              </a:rPr>
              <a:t>Conclusions:</a:t>
            </a:r>
          </a:p>
        </p:txBody>
      </p:sp>
      <p:sp>
        <p:nvSpPr>
          <p:cNvPr id="4" name="Content Placeholder 3"/>
          <p:cNvSpPr>
            <a:spLocks noGrp="1"/>
          </p:cNvSpPr>
          <p:nvPr>
            <p:ph idx="1"/>
          </p:nvPr>
        </p:nvSpPr>
        <p:spPr>
          <a:xfrm>
            <a:off x="533400" y="1371600"/>
            <a:ext cx="10668000" cy="4114800"/>
          </a:xfrm>
        </p:spPr>
        <p:txBody>
          <a:bodyPr/>
          <a:lstStyle/>
          <a:p>
            <a:r>
              <a:rPr lang="en-US" dirty="0">
                <a:solidFill>
                  <a:schemeClr val="bg1"/>
                </a:solidFill>
              </a:rPr>
              <a:t>We have made tremendous progress in improving the survival of patients with advanced HCC</a:t>
            </a:r>
          </a:p>
          <a:p>
            <a:r>
              <a:rPr lang="en-US" dirty="0">
                <a:solidFill>
                  <a:schemeClr val="bg1"/>
                </a:solidFill>
              </a:rPr>
              <a:t>The introduction of IO in the front-line setting is practice changing</a:t>
            </a:r>
          </a:p>
          <a:p>
            <a:pPr lvl="1"/>
            <a:r>
              <a:rPr lang="en-US" dirty="0">
                <a:solidFill>
                  <a:schemeClr val="bg1"/>
                </a:solidFill>
              </a:rPr>
              <a:t>No clear biomarker or patient population to serve as predictive markers of benefit</a:t>
            </a:r>
          </a:p>
          <a:p>
            <a:r>
              <a:rPr lang="en-US" dirty="0">
                <a:solidFill>
                  <a:schemeClr val="bg1"/>
                </a:solidFill>
              </a:rPr>
              <a:t>Not every patient will be a candidate for IO combinations</a:t>
            </a:r>
          </a:p>
          <a:p>
            <a:pPr lvl="1"/>
            <a:r>
              <a:rPr lang="en-US" dirty="0">
                <a:solidFill>
                  <a:schemeClr val="bg1"/>
                </a:solidFill>
              </a:rPr>
              <a:t>Consider TKIs or single agent IO</a:t>
            </a:r>
          </a:p>
          <a:p>
            <a:r>
              <a:rPr lang="en-US" dirty="0">
                <a:solidFill>
                  <a:schemeClr val="bg1"/>
                </a:solidFill>
              </a:rPr>
              <a:t>Studies evaluating the role of IO in earlier stage disease are ongoing</a:t>
            </a:r>
          </a:p>
        </p:txBody>
      </p:sp>
    </p:spTree>
    <p:extLst>
      <p:ext uri="{BB962C8B-B14F-4D97-AF65-F5344CB8AC3E}">
        <p14:creationId xmlns:p14="http://schemas.microsoft.com/office/powerpoint/2010/main" val="330799834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AC20CC-708A-0195-E609-F7945680C43E}"/>
              </a:ext>
            </a:extLst>
          </p:cNvPr>
          <p:cNvSpPr>
            <a:spLocks noGrp="1"/>
          </p:cNvSpPr>
          <p:nvPr>
            <p:ph type="title"/>
          </p:nvPr>
        </p:nvSpPr>
        <p:spPr/>
        <p:txBody>
          <a:bodyPr/>
          <a:lstStyle/>
          <a:p>
            <a:pPr algn="l"/>
            <a:r>
              <a:rPr lang="en-US" dirty="0"/>
              <a:t>Atezolizumab Plus Bevacizumab is the First Treatment Combination to Reduce the Risk of Liver Cancer Returning in Early-Stage HCC</a:t>
            </a:r>
            <a:br>
              <a:rPr lang="en-US" dirty="0"/>
            </a:br>
            <a:r>
              <a:rPr lang="en-US" sz="2400" dirty="0"/>
              <a:t>Press Release: January 18, 2023</a:t>
            </a:r>
            <a:endParaRPr lang="en-US" dirty="0"/>
          </a:p>
        </p:txBody>
      </p:sp>
      <p:sp>
        <p:nvSpPr>
          <p:cNvPr id="3" name="Content Placeholder 2">
            <a:extLst>
              <a:ext uri="{FF2B5EF4-FFF2-40B4-BE49-F238E27FC236}">
                <a16:creationId xmlns:a16="http://schemas.microsoft.com/office/drawing/2014/main" id="{53E34990-7C26-7BC5-CE1B-78E762901C58}"/>
              </a:ext>
            </a:extLst>
          </p:cNvPr>
          <p:cNvSpPr>
            <a:spLocks noGrp="1"/>
          </p:cNvSpPr>
          <p:nvPr>
            <p:ph idx="1"/>
          </p:nvPr>
        </p:nvSpPr>
        <p:spPr>
          <a:xfrm>
            <a:off x="912286" y="1962364"/>
            <a:ext cx="10358967" cy="3914454"/>
          </a:xfrm>
        </p:spPr>
        <p:txBody>
          <a:bodyPr/>
          <a:lstStyle/>
          <a:p>
            <a:pPr marL="98425" indent="0">
              <a:buNone/>
            </a:pPr>
            <a:r>
              <a:rPr lang="en-US" sz="2200" b="0" dirty="0"/>
              <a:t>The Phase III IMbrave050 study met its primary endpoint of recurrence-free survival (RFS) at the prespecified interim analysis. The study is evaluating atezolizumab in combination with bevacizumab as adjuvant treatment following surgery for people with early-stage hepatocellular carcinoma (HCC) at high risk of disease recurrence. The atezolizumab combination showed a statistically significant improvement in RFS in the intention-to-treat population of HCC patients who have an increased risk of recurrence following resection or ablation with curative intent, compared with active surveillance.</a:t>
            </a:r>
          </a:p>
          <a:p>
            <a:pPr marL="98425" indent="0">
              <a:buNone/>
            </a:pPr>
            <a:r>
              <a:rPr lang="en-US" sz="2200" b="0" dirty="0"/>
              <a:t>Overall survival data were immature at the time of interim analysis and follow-up will continue to the next analysis. Safety for atezolizumab and bevacizumab was consistent with the known safety profile of each therapeutic agent and with the underlying disease.</a:t>
            </a:r>
          </a:p>
        </p:txBody>
      </p:sp>
      <p:sp>
        <p:nvSpPr>
          <p:cNvPr id="5" name="TextBox 4">
            <a:extLst>
              <a:ext uri="{FF2B5EF4-FFF2-40B4-BE49-F238E27FC236}">
                <a16:creationId xmlns:a16="http://schemas.microsoft.com/office/drawing/2014/main" id="{308C7B64-9616-5C0D-0BF4-C21995F19432}"/>
              </a:ext>
            </a:extLst>
          </p:cNvPr>
          <p:cNvSpPr txBox="1"/>
          <p:nvPr/>
        </p:nvSpPr>
        <p:spPr>
          <a:xfrm>
            <a:off x="912286" y="6469169"/>
            <a:ext cx="7967053"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a:ea typeface="+mn-ea"/>
                <a:cs typeface="+mn-cs"/>
              </a:rPr>
              <a:t>https://</a:t>
            </a:r>
            <a:r>
              <a:rPr kumimoji="0" lang="en-US" sz="1400" b="0" i="0" u="none" strike="noStrike" kern="1200" cap="none" spc="0" normalizeH="0" baseline="0" noProof="0" dirty="0" err="1">
                <a:ln>
                  <a:noFill/>
                </a:ln>
                <a:solidFill>
                  <a:srgbClr val="000000"/>
                </a:solidFill>
                <a:effectLst/>
                <a:uLnTx/>
                <a:uFillTx/>
                <a:latin typeface="Calibri"/>
                <a:ea typeface="+mn-ea"/>
                <a:cs typeface="+mn-cs"/>
              </a:rPr>
              <a:t>www.gene.com</a:t>
            </a:r>
            <a:r>
              <a:rPr kumimoji="0" lang="en-US" sz="1400" b="0" i="0" u="none" strike="noStrike" kern="1200" cap="none" spc="0" normalizeH="0" baseline="0" noProof="0" dirty="0">
                <a:ln>
                  <a:noFill/>
                </a:ln>
                <a:solidFill>
                  <a:srgbClr val="000000"/>
                </a:solidFill>
                <a:effectLst/>
                <a:uLnTx/>
                <a:uFillTx/>
                <a:latin typeface="Calibri"/>
                <a:ea typeface="+mn-ea"/>
                <a:cs typeface="+mn-cs"/>
              </a:rPr>
              <a:t>/media/press-releases/14981/2023-01-18/</a:t>
            </a:r>
            <a:r>
              <a:rPr kumimoji="0" lang="en-US" sz="1400" b="0" i="0" u="none" strike="noStrike" kern="1200" cap="none" spc="0" normalizeH="0" baseline="0" noProof="0" dirty="0" err="1">
                <a:ln>
                  <a:noFill/>
                </a:ln>
                <a:solidFill>
                  <a:srgbClr val="000000"/>
                </a:solidFill>
                <a:effectLst/>
                <a:uLnTx/>
                <a:uFillTx/>
                <a:latin typeface="Calibri"/>
                <a:ea typeface="+mn-ea"/>
                <a:cs typeface="+mn-cs"/>
              </a:rPr>
              <a:t>genentechs</a:t>
            </a:r>
            <a:r>
              <a:rPr kumimoji="0" lang="en-US" sz="1400" b="0" i="0" u="none" strike="noStrike" kern="1200" cap="none" spc="0" normalizeH="0" baseline="0" noProof="0" dirty="0">
                <a:ln>
                  <a:noFill/>
                </a:ln>
                <a:solidFill>
                  <a:srgbClr val="000000"/>
                </a:solidFill>
                <a:effectLst/>
                <a:uLnTx/>
                <a:uFillTx/>
                <a:latin typeface="Calibri"/>
                <a:ea typeface="+mn-ea"/>
                <a:cs typeface="+mn-cs"/>
              </a:rPr>
              <a:t>-</a:t>
            </a:r>
            <a:r>
              <a:rPr kumimoji="0" lang="en-US" sz="1400" b="0" i="0" u="none" strike="noStrike" kern="1200" cap="none" spc="0" normalizeH="0" baseline="0" noProof="0" dirty="0" err="1">
                <a:ln>
                  <a:noFill/>
                </a:ln>
                <a:solidFill>
                  <a:srgbClr val="000000"/>
                </a:solidFill>
                <a:effectLst/>
                <a:uLnTx/>
                <a:uFillTx/>
                <a:latin typeface="Calibri"/>
                <a:ea typeface="+mn-ea"/>
                <a:cs typeface="+mn-cs"/>
              </a:rPr>
              <a:t>tecentriq</a:t>
            </a:r>
            <a:r>
              <a:rPr kumimoji="0" lang="en-US" sz="1400" b="0" i="0" u="none" strike="noStrike" kern="1200" cap="none" spc="0" normalizeH="0" baseline="0" noProof="0" dirty="0">
                <a:ln>
                  <a:noFill/>
                </a:ln>
                <a:solidFill>
                  <a:srgbClr val="000000"/>
                </a:solidFill>
                <a:effectLst/>
                <a:uLnTx/>
                <a:uFillTx/>
                <a:latin typeface="Calibri"/>
                <a:ea typeface="+mn-ea"/>
                <a:cs typeface="+mn-cs"/>
              </a:rPr>
              <a:t>-plus-</a:t>
            </a:r>
            <a:r>
              <a:rPr kumimoji="0" lang="en-US" sz="1400" b="0" i="0" u="none" strike="noStrike" kern="1200" cap="none" spc="0" normalizeH="0" baseline="0" noProof="0" dirty="0" err="1">
                <a:ln>
                  <a:noFill/>
                </a:ln>
                <a:solidFill>
                  <a:srgbClr val="000000"/>
                </a:solidFill>
                <a:effectLst/>
                <a:uLnTx/>
                <a:uFillTx/>
                <a:latin typeface="Calibri"/>
                <a:ea typeface="+mn-ea"/>
                <a:cs typeface="+mn-cs"/>
              </a:rPr>
              <a:t>avastin</a:t>
            </a:r>
            <a:r>
              <a:rPr kumimoji="0" lang="en-US" sz="1400" b="0" i="0" u="none" strike="noStrike" kern="1200" cap="none" spc="0" normalizeH="0" baseline="0" noProof="0" dirty="0">
                <a:ln>
                  <a:noFill/>
                </a:ln>
                <a:solidFill>
                  <a:srgbClr val="000000"/>
                </a:solidFill>
                <a:effectLst/>
                <a:uLnTx/>
                <a:uFillTx/>
                <a:latin typeface="Calibri"/>
                <a:ea typeface="+mn-ea"/>
                <a:cs typeface="+mn-cs"/>
              </a:rPr>
              <a:t>-is-the</a:t>
            </a:r>
          </a:p>
        </p:txBody>
      </p:sp>
    </p:spTree>
    <p:extLst>
      <p:ext uri="{BB962C8B-B14F-4D97-AF65-F5344CB8AC3E}">
        <p14:creationId xmlns:p14="http://schemas.microsoft.com/office/powerpoint/2010/main" val="33401272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46A9BE-9CB6-C7A2-56AC-F6ECE26D92C6}"/>
              </a:ext>
            </a:extLst>
          </p:cNvPr>
          <p:cNvSpPr>
            <a:spLocks noGrp="1"/>
          </p:cNvSpPr>
          <p:nvPr>
            <p:ph type="title"/>
          </p:nvPr>
        </p:nvSpPr>
        <p:spPr>
          <a:xfrm>
            <a:off x="1035575" y="1869897"/>
            <a:ext cx="10358967" cy="2130603"/>
          </a:xfrm>
        </p:spPr>
        <p:txBody>
          <a:bodyPr/>
          <a:lstStyle/>
          <a:p>
            <a:r>
              <a:rPr lang="en-US" sz="3600" dirty="0">
                <a:solidFill>
                  <a:srgbClr val="0432FF"/>
                </a:solidFill>
              </a:rPr>
              <a:t>MODULE 2: Selection and Sequencing of Therapies for Relapsed/Refractory HCC — Dr Kelley</a:t>
            </a:r>
          </a:p>
        </p:txBody>
      </p:sp>
    </p:spTree>
    <p:extLst>
      <p:ext uri="{BB962C8B-B14F-4D97-AF65-F5344CB8AC3E}">
        <p14:creationId xmlns:p14="http://schemas.microsoft.com/office/powerpoint/2010/main" val="22132646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6D99EA41-950A-FC4F-9049-A7DC9674DA45}"/>
              </a:ext>
            </a:extLst>
          </p:cNvPr>
          <p:cNvSpPr/>
          <p:nvPr/>
        </p:nvSpPr>
        <p:spPr bwMode="auto">
          <a:xfrm>
            <a:off x="1007220" y="460267"/>
            <a:ext cx="10177559" cy="1411719"/>
          </a:xfrm>
          <a:prstGeom prst="rect">
            <a:avLst/>
          </a:prstGeom>
          <a:solidFill>
            <a:srgbClr val="1599B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S PGothic" charset="0"/>
              <a:cs typeface="+mn-cs"/>
            </a:endParaRPr>
          </a:p>
        </p:txBody>
      </p:sp>
      <p:sp>
        <p:nvSpPr>
          <p:cNvPr id="14" name="Title 1">
            <a:extLst>
              <a:ext uri="{FF2B5EF4-FFF2-40B4-BE49-F238E27FC236}">
                <a16:creationId xmlns:a16="http://schemas.microsoft.com/office/drawing/2014/main" id="{95846D9E-D007-AA40-B7BA-36E748F96750}"/>
              </a:ext>
            </a:extLst>
          </p:cNvPr>
          <p:cNvSpPr>
            <a:spLocks noGrp="1"/>
          </p:cNvSpPr>
          <p:nvPr>
            <p:ph type="title"/>
          </p:nvPr>
        </p:nvSpPr>
        <p:spPr>
          <a:xfrm>
            <a:off x="1122024" y="677090"/>
            <a:ext cx="10062756" cy="1095726"/>
          </a:xfrm>
        </p:spPr>
        <p:txBody>
          <a:bodyPr lIns="91440" tIns="91440" rIns="91440" bIns="182880"/>
          <a:lstStyle/>
          <a:p>
            <a:pPr algn="l"/>
            <a:r>
              <a:rPr lang="en-US" dirty="0">
                <a:solidFill>
                  <a:schemeClr val="bg1"/>
                </a:solidFill>
              </a:rPr>
              <a:t>Case Presentation: 65-year-old man with metastatic HCC </a:t>
            </a:r>
            <a:br>
              <a:rPr lang="en-US" dirty="0">
                <a:solidFill>
                  <a:schemeClr val="bg1"/>
                </a:solidFill>
              </a:rPr>
            </a:br>
            <a:r>
              <a:rPr lang="en-US" dirty="0">
                <a:solidFill>
                  <a:schemeClr val="bg1"/>
                </a:solidFill>
              </a:rPr>
              <a:t>and a past medical history of hepatitis C develops ILD on atezolizumab/bevacizumab </a:t>
            </a:r>
          </a:p>
        </p:txBody>
      </p:sp>
      <p:sp>
        <p:nvSpPr>
          <p:cNvPr id="8" name="Title 1">
            <a:extLst>
              <a:ext uri="{FF2B5EF4-FFF2-40B4-BE49-F238E27FC236}">
                <a16:creationId xmlns:a16="http://schemas.microsoft.com/office/drawing/2014/main" id="{1531812E-AB8F-744C-8E9F-5771D5F41B77}"/>
              </a:ext>
            </a:extLst>
          </p:cNvPr>
          <p:cNvSpPr txBox="1">
            <a:spLocks/>
          </p:cNvSpPr>
          <p:nvPr/>
        </p:nvSpPr>
        <p:spPr bwMode="auto">
          <a:xfrm>
            <a:off x="0" y="5897286"/>
            <a:ext cx="12192000" cy="6858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800" b="1" i="0" u="none" strike="noStrike" kern="1200" cap="none" spc="0" normalizeH="0" baseline="0" noProof="0" dirty="0">
                <a:ln>
                  <a:noFill/>
                </a:ln>
                <a:solidFill>
                  <a:srgbClr val="062060"/>
                </a:solidFill>
                <a:effectLst/>
                <a:uLnTx/>
                <a:uFillTx/>
                <a:latin typeface="Calibri"/>
                <a:ea typeface="MS PGothic" pitchFamily="34" charset="-128"/>
                <a:cs typeface="Calibri"/>
              </a:rPr>
              <a:t>Dr Priya Rudolph (Athens, Georgia)</a:t>
            </a:r>
          </a:p>
        </p:txBody>
      </p:sp>
      <p:pic>
        <p:nvPicPr>
          <p:cNvPr id="5" name="Picture 4" descr="A person wearing headphones&#10;&#10;Description automatically generated with medium confidence">
            <a:extLst>
              <a:ext uri="{FF2B5EF4-FFF2-40B4-BE49-F238E27FC236}">
                <a16:creationId xmlns:a16="http://schemas.microsoft.com/office/drawing/2014/main" id="{2A57ABE8-655F-A4E3-650F-0EDD480A2C2C}"/>
              </a:ext>
            </a:extLst>
          </p:cNvPr>
          <p:cNvPicPr>
            <a:picLocks noChangeAspect="1"/>
          </p:cNvPicPr>
          <p:nvPr/>
        </p:nvPicPr>
        <p:blipFill>
          <a:blip r:embed="rId2"/>
          <a:stretch>
            <a:fillRect/>
          </a:stretch>
        </p:blipFill>
        <p:spPr>
          <a:xfrm>
            <a:off x="2865120" y="2295819"/>
            <a:ext cx="6402607" cy="3601467"/>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73931303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77CC42-B382-094E-87BE-7E42C0D145BA}"/>
              </a:ext>
            </a:extLst>
          </p:cNvPr>
          <p:cNvSpPr>
            <a:spLocks noGrp="1"/>
          </p:cNvSpPr>
          <p:nvPr>
            <p:ph type="title"/>
          </p:nvPr>
        </p:nvSpPr>
        <p:spPr>
          <a:xfrm>
            <a:off x="912286" y="0"/>
            <a:ext cx="10358967" cy="1143000"/>
          </a:xfrm>
        </p:spPr>
        <p:txBody>
          <a:bodyPr/>
          <a:lstStyle/>
          <a:p>
            <a:r>
              <a:rPr lang="en-US" dirty="0"/>
              <a:t>QUESTIONS FOR THE FACULTY </a:t>
            </a:r>
          </a:p>
        </p:txBody>
      </p:sp>
      <p:sp>
        <p:nvSpPr>
          <p:cNvPr id="3" name="Content Placeholder 2">
            <a:extLst>
              <a:ext uri="{FF2B5EF4-FFF2-40B4-BE49-F238E27FC236}">
                <a16:creationId xmlns:a16="http://schemas.microsoft.com/office/drawing/2014/main" id="{7EEFB5D1-2903-E84B-AAAB-8403A4D065E2}"/>
              </a:ext>
            </a:extLst>
          </p:cNvPr>
          <p:cNvSpPr>
            <a:spLocks noGrp="1"/>
          </p:cNvSpPr>
          <p:nvPr>
            <p:ph idx="1"/>
          </p:nvPr>
        </p:nvSpPr>
        <p:spPr>
          <a:xfrm>
            <a:off x="912286" y="3429000"/>
            <a:ext cx="10358967" cy="2786065"/>
          </a:xfrm>
        </p:spPr>
        <p:txBody>
          <a:bodyPr/>
          <a:lstStyle/>
          <a:p>
            <a:pPr marL="98425" indent="0">
              <a:buNone/>
            </a:pPr>
            <a:r>
              <a:rPr lang="en-US" sz="2200" i="1" dirty="0">
                <a:solidFill>
                  <a:schemeClr val="accent2"/>
                </a:solidFill>
              </a:rPr>
              <a:t>What would you recommend as his next systemic therapy?”</a:t>
            </a:r>
          </a:p>
          <a:p>
            <a:pPr marL="342900" indent="-342900">
              <a:spcBef>
                <a:spcPts val="1200"/>
              </a:spcBef>
              <a:spcAft>
                <a:spcPts val="0"/>
              </a:spcAft>
            </a:pPr>
            <a:r>
              <a:rPr lang="en-US" sz="20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What is your usual next systemic therapy after atezolizumab/bevacizumab, and what factors do you consider in this decision?</a:t>
            </a:r>
          </a:p>
          <a:p>
            <a:pPr marL="342900" indent="-342900">
              <a:spcBef>
                <a:spcPts val="1200"/>
              </a:spcBef>
              <a:spcAft>
                <a:spcPts val="0"/>
              </a:spcAft>
            </a:pPr>
            <a:r>
              <a:rPr lang="en-US" sz="20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What is your usual first-line systemic therapy for a patient with a contraindication to immunotherapy such as a major autoimmune disorder?</a:t>
            </a:r>
          </a:p>
        </p:txBody>
      </p:sp>
      <p:sp>
        <p:nvSpPr>
          <p:cNvPr id="4" name="Content Placeholder 2">
            <a:extLst>
              <a:ext uri="{FF2B5EF4-FFF2-40B4-BE49-F238E27FC236}">
                <a16:creationId xmlns:a16="http://schemas.microsoft.com/office/drawing/2014/main" id="{31DB941D-D5E9-D7BE-776C-374E7A37BA5B}"/>
              </a:ext>
            </a:extLst>
          </p:cNvPr>
          <p:cNvSpPr txBox="1">
            <a:spLocks/>
          </p:cNvSpPr>
          <p:nvPr/>
        </p:nvSpPr>
        <p:spPr bwMode="auto">
          <a:xfrm>
            <a:off x="3571556" y="1221832"/>
            <a:ext cx="7922738" cy="1828730"/>
          </a:xfrm>
          <a:prstGeom prst="rect">
            <a:avLst/>
          </a:prstGeom>
          <a:noFill/>
          <a:ln w="9525">
            <a:noFill/>
            <a:miter lim="800000"/>
            <a:headEnd/>
            <a:tailEnd/>
          </a:ln>
        </p:spPr>
        <p:txBody>
          <a:bodyPr vert="horz" wrap="square" lIns="137160" tIns="0" rIns="137160" bIns="0" numCol="1" anchor="t" anchorCtr="0" compatLnSpc="1">
            <a:prstTxWarp prst="textNoShape">
              <a:avLst/>
            </a:prstTxWarp>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l"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kumimoji="0" lang="en-US" sz="2200" b="1" i="1" u="none" strike="noStrike" kern="1200" cap="none" spc="0" normalizeH="0" baseline="0" noProof="0" dirty="0">
                <a:ln>
                  <a:noFill/>
                </a:ln>
                <a:solidFill>
                  <a:srgbClr val="3333CC"/>
                </a:solidFill>
                <a:effectLst/>
                <a:uLnTx/>
                <a:uFillTx/>
                <a:latin typeface="Calibri" charset="0"/>
                <a:ea typeface="MS PGothic" pitchFamily="34" charset="-128"/>
              </a:rPr>
              <a:t>“The patient developed dyspnea on exertion. CT scan showed ground-glass opacities. He was COVID-negative, but he had been cleaning his boat and possibly inhaled some strong chemicals. We held treatment and put him on a steroid taper. Are there any data to suggest that continuing single-agent bevacizumab has any efficacy, and can we just continue that for a while?</a:t>
            </a:r>
          </a:p>
        </p:txBody>
      </p:sp>
      <p:sp>
        <p:nvSpPr>
          <p:cNvPr id="9" name="TextBox 8">
            <a:extLst>
              <a:ext uri="{FF2B5EF4-FFF2-40B4-BE49-F238E27FC236}">
                <a16:creationId xmlns:a16="http://schemas.microsoft.com/office/drawing/2014/main" id="{C7B63D41-AF09-77DE-D866-A535957369BE}"/>
              </a:ext>
            </a:extLst>
          </p:cNvPr>
          <p:cNvSpPr txBox="1"/>
          <p:nvPr/>
        </p:nvSpPr>
        <p:spPr>
          <a:xfrm>
            <a:off x="912286" y="2808433"/>
            <a:ext cx="2660904" cy="338554"/>
          </a:xfrm>
          <a:prstGeom prst="rect">
            <a:avLst/>
          </a:prstGeom>
          <a:noFill/>
        </p:spPr>
        <p:txBody>
          <a:bodyPr wrap="square" rtlCol="0">
            <a:spAutoFit/>
          </a:bodyPr>
          <a:lstStyle/>
          <a:p>
            <a:pPr marL="98425"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n-ea"/>
                <a:cs typeface="+mn-cs"/>
              </a:rPr>
              <a:t>Priya Rudolph, MD, PhD</a:t>
            </a:r>
          </a:p>
        </p:txBody>
      </p:sp>
      <p:pic>
        <p:nvPicPr>
          <p:cNvPr id="5" name="Picture 4" descr="A person wearing headphones&#10;&#10;Description automatically generated with medium confidence">
            <a:extLst>
              <a:ext uri="{FF2B5EF4-FFF2-40B4-BE49-F238E27FC236}">
                <a16:creationId xmlns:a16="http://schemas.microsoft.com/office/drawing/2014/main" id="{C2A22013-18EB-A745-DCD6-CB75DF052378}"/>
              </a:ext>
            </a:extLst>
          </p:cNvPr>
          <p:cNvPicPr>
            <a:picLocks noChangeAspect="1"/>
          </p:cNvPicPr>
          <p:nvPr/>
        </p:nvPicPr>
        <p:blipFill>
          <a:blip r:embed="rId2"/>
          <a:stretch>
            <a:fillRect/>
          </a:stretch>
        </p:blipFill>
        <p:spPr>
          <a:xfrm>
            <a:off x="910652" y="1215183"/>
            <a:ext cx="2660904" cy="1496759"/>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1568363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6D99EA41-950A-FC4F-9049-A7DC9674DA45}"/>
              </a:ext>
            </a:extLst>
          </p:cNvPr>
          <p:cNvSpPr/>
          <p:nvPr/>
        </p:nvSpPr>
        <p:spPr bwMode="auto">
          <a:xfrm>
            <a:off x="3860100" y="592139"/>
            <a:ext cx="7795034" cy="1797032"/>
          </a:xfrm>
          <a:prstGeom prst="rect">
            <a:avLst/>
          </a:prstGeom>
          <a:solidFill>
            <a:srgbClr val="1599B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S PGothic" charset="0"/>
              <a:cs typeface="+mn-cs"/>
            </a:endParaRPr>
          </a:p>
        </p:txBody>
      </p:sp>
      <p:sp>
        <p:nvSpPr>
          <p:cNvPr id="14" name="Title 1">
            <a:extLst>
              <a:ext uri="{FF2B5EF4-FFF2-40B4-BE49-F238E27FC236}">
                <a16:creationId xmlns:a16="http://schemas.microsoft.com/office/drawing/2014/main" id="{95846D9E-D007-AA40-B7BA-36E748F96750}"/>
              </a:ext>
            </a:extLst>
          </p:cNvPr>
          <p:cNvSpPr>
            <a:spLocks noGrp="1"/>
          </p:cNvSpPr>
          <p:nvPr>
            <p:ph type="title"/>
          </p:nvPr>
        </p:nvSpPr>
        <p:spPr>
          <a:xfrm>
            <a:off x="3984133" y="942792"/>
            <a:ext cx="7647253" cy="1095726"/>
          </a:xfrm>
        </p:spPr>
        <p:txBody>
          <a:bodyPr lIns="91440" tIns="91440" rIns="91440" bIns="182880"/>
          <a:lstStyle/>
          <a:p>
            <a:pPr algn="l"/>
            <a:r>
              <a:rPr lang="en-US" sz="2800" dirty="0">
                <a:solidFill>
                  <a:schemeClr val="bg1"/>
                </a:solidFill>
              </a:rPr>
              <a:t>68-year-old man with post-transplant recurrence develops metastatic HCC and receives lenvatinib </a:t>
            </a:r>
            <a:r>
              <a:rPr lang="en-US" sz="2800" dirty="0">
                <a:solidFill>
                  <a:schemeClr val="bg1"/>
                </a:solidFill>
                <a:sym typeface="Wingdings" pitchFamily="2" charset="2"/>
              </a:rPr>
              <a:t>followed by</a:t>
            </a:r>
            <a:r>
              <a:rPr lang="en-US" sz="2800" dirty="0">
                <a:solidFill>
                  <a:schemeClr val="bg1"/>
                </a:solidFill>
              </a:rPr>
              <a:t> cabozantinib </a:t>
            </a:r>
            <a:r>
              <a:rPr lang="en-US" sz="2800" dirty="0">
                <a:solidFill>
                  <a:schemeClr val="bg1"/>
                </a:solidFill>
                <a:sym typeface="Wingdings" pitchFamily="2" charset="2"/>
              </a:rPr>
              <a:t>followed by</a:t>
            </a:r>
            <a:r>
              <a:rPr lang="en-US" sz="2800" dirty="0">
                <a:solidFill>
                  <a:schemeClr val="bg1"/>
                </a:solidFill>
              </a:rPr>
              <a:t> regorafenib </a:t>
            </a:r>
            <a:r>
              <a:rPr lang="en-US" sz="2800" dirty="0">
                <a:solidFill>
                  <a:schemeClr val="bg1"/>
                </a:solidFill>
                <a:effectLst/>
                <a:latin typeface="Calibri" panose="020F0502020204030204" pitchFamily="34" charset="0"/>
                <a:cs typeface="Calibri" panose="020F0502020204030204" pitchFamily="34" charset="0"/>
              </a:rPr>
              <a:t>  </a:t>
            </a:r>
            <a:endParaRPr lang="en-US" sz="2800" dirty="0">
              <a:solidFill>
                <a:schemeClr val="bg1"/>
              </a:solidFill>
              <a:latin typeface="Calibri" panose="020F0502020204030204" pitchFamily="34" charset="0"/>
              <a:cs typeface="Calibri" panose="020F0502020204030204" pitchFamily="34" charset="0"/>
            </a:endParaRPr>
          </a:p>
        </p:txBody>
      </p:sp>
      <p:sp>
        <p:nvSpPr>
          <p:cNvPr id="7" name="Rectangle 6">
            <a:extLst>
              <a:ext uri="{FF2B5EF4-FFF2-40B4-BE49-F238E27FC236}">
                <a16:creationId xmlns:a16="http://schemas.microsoft.com/office/drawing/2014/main" id="{C3C85040-99B6-270D-1813-0E9EFC13D4FF}"/>
              </a:ext>
            </a:extLst>
          </p:cNvPr>
          <p:cNvSpPr/>
          <p:nvPr/>
        </p:nvSpPr>
        <p:spPr bwMode="auto">
          <a:xfrm>
            <a:off x="3873956" y="3580458"/>
            <a:ext cx="7795034" cy="1792650"/>
          </a:xfrm>
          <a:prstGeom prst="rect">
            <a:avLst/>
          </a:prstGeom>
          <a:solidFill>
            <a:srgbClr val="1599B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S PGothic" charset="0"/>
              <a:cs typeface="+mn-cs"/>
            </a:endParaRPr>
          </a:p>
        </p:txBody>
      </p:sp>
      <p:sp>
        <p:nvSpPr>
          <p:cNvPr id="9" name="Title 1">
            <a:extLst>
              <a:ext uri="{FF2B5EF4-FFF2-40B4-BE49-F238E27FC236}">
                <a16:creationId xmlns:a16="http://schemas.microsoft.com/office/drawing/2014/main" id="{78621A71-974F-CBB6-0411-9258E996E147}"/>
              </a:ext>
            </a:extLst>
          </p:cNvPr>
          <p:cNvSpPr txBox="1">
            <a:spLocks/>
          </p:cNvSpPr>
          <p:nvPr/>
        </p:nvSpPr>
        <p:spPr bwMode="auto">
          <a:xfrm>
            <a:off x="4056045" y="3983478"/>
            <a:ext cx="7647253" cy="1095726"/>
          </a:xfrm>
          <a:prstGeom prst="rect">
            <a:avLst/>
          </a:prstGeom>
          <a:noFill/>
          <a:ln w="9525">
            <a:noFill/>
            <a:miter lim="800000"/>
            <a:headEnd/>
            <a:tailEnd/>
          </a:ln>
        </p:spPr>
        <p:txBody>
          <a:bodyPr vert="horz" wrap="square" lIns="91440" tIns="91440" rIns="91440" bIns="18288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l"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800" b="1" i="0" u="none" strike="noStrike" kern="0" cap="none" spc="0" normalizeH="0" baseline="0" noProof="0" dirty="0">
                <a:ln>
                  <a:noFill/>
                </a:ln>
                <a:solidFill>
                  <a:srgbClr val="FFFFFF"/>
                </a:solidFill>
                <a:effectLst/>
                <a:uLnTx/>
                <a:uFillTx/>
                <a:latin typeface="Calibri"/>
                <a:ea typeface="MS PGothic" pitchFamily="34" charset="-128"/>
                <a:cs typeface="Calibri"/>
              </a:rPr>
              <a:t>79-year-old man with metastatic HCC who is s/p treatment with atezolizumab/bevacizumab, </a:t>
            </a:r>
            <a:r>
              <a:rPr kumimoji="0" lang="en-US" sz="2800" b="1" i="0" u="none" strike="noStrike" kern="0" cap="none" spc="0" normalizeH="0" baseline="0" noProof="0" dirty="0" err="1">
                <a:ln>
                  <a:noFill/>
                </a:ln>
                <a:solidFill>
                  <a:srgbClr val="FFFFFF"/>
                </a:solidFill>
                <a:effectLst/>
                <a:uLnTx/>
                <a:uFillTx/>
                <a:latin typeface="Calibri"/>
                <a:ea typeface="MS PGothic" pitchFamily="34" charset="-128"/>
                <a:cs typeface="Calibri"/>
              </a:rPr>
              <a:t>lenvatinib</a:t>
            </a:r>
            <a:r>
              <a:rPr kumimoji="0" lang="en-US" sz="2800" b="1" i="0" u="none" strike="noStrike" kern="0" cap="none" spc="0" normalizeH="0" baseline="0" noProof="0" dirty="0">
                <a:ln>
                  <a:noFill/>
                </a:ln>
                <a:solidFill>
                  <a:srgbClr val="FFFFFF"/>
                </a:solidFill>
                <a:effectLst/>
                <a:uLnTx/>
                <a:uFillTx/>
                <a:latin typeface="Calibri"/>
                <a:ea typeface="MS PGothic" pitchFamily="34" charset="-128"/>
                <a:cs typeface="Calibri"/>
              </a:rPr>
              <a:t> and currently </a:t>
            </a:r>
            <a:r>
              <a:rPr kumimoji="0" lang="en-US" sz="2800" b="1" i="0" u="none" strike="noStrike" kern="0" cap="none" spc="0" normalizeH="0" baseline="0" noProof="0" dirty="0" err="1">
                <a:ln>
                  <a:noFill/>
                </a:ln>
                <a:solidFill>
                  <a:srgbClr val="FFFFFF"/>
                </a:solidFill>
                <a:effectLst/>
                <a:uLnTx/>
                <a:uFillTx/>
                <a:latin typeface="Calibri"/>
                <a:ea typeface="MS PGothic" pitchFamily="34" charset="-128"/>
                <a:cs typeface="Calibri"/>
              </a:rPr>
              <a:t>cabozantinib</a:t>
            </a:r>
            <a:r>
              <a:rPr kumimoji="0" lang="en-US" sz="2800" b="1" i="0" u="none" strike="noStrike" kern="0" cap="none" spc="0" normalizeH="0" baseline="0" noProof="0" dirty="0">
                <a:ln>
                  <a:noFill/>
                </a:ln>
                <a:solidFill>
                  <a:srgbClr val="FFFFFF"/>
                </a:solidFill>
                <a:effectLst/>
                <a:uLnTx/>
                <a:uFillTx/>
                <a:latin typeface="Calibri"/>
                <a:ea typeface="MS PGothic" pitchFamily="34" charset="-128"/>
                <a:cs typeface="Calibri"/>
              </a:rPr>
              <a:t>  </a:t>
            </a:r>
          </a:p>
        </p:txBody>
      </p:sp>
      <p:grpSp>
        <p:nvGrpSpPr>
          <p:cNvPr id="10" name="Group 9">
            <a:extLst>
              <a:ext uri="{FF2B5EF4-FFF2-40B4-BE49-F238E27FC236}">
                <a16:creationId xmlns:a16="http://schemas.microsoft.com/office/drawing/2014/main" id="{C44A41B5-6632-3C20-F421-A8E8C48B439A}"/>
              </a:ext>
            </a:extLst>
          </p:cNvPr>
          <p:cNvGrpSpPr/>
          <p:nvPr/>
        </p:nvGrpSpPr>
        <p:grpSpPr>
          <a:xfrm>
            <a:off x="218661" y="3329609"/>
            <a:ext cx="3462723" cy="2783031"/>
            <a:chOff x="218661" y="3329609"/>
            <a:chExt cx="3462723" cy="2783031"/>
          </a:xfrm>
        </p:grpSpPr>
        <p:sp>
          <p:nvSpPr>
            <p:cNvPr id="5" name="TextBox 4">
              <a:extLst>
                <a:ext uri="{FF2B5EF4-FFF2-40B4-BE49-F238E27FC236}">
                  <a16:creationId xmlns:a16="http://schemas.microsoft.com/office/drawing/2014/main" id="{FB9F9004-4DDC-E344-3174-A04D4F0F0B20}"/>
                </a:ext>
              </a:extLst>
            </p:cNvPr>
            <p:cNvSpPr txBox="1"/>
            <p:nvPr/>
          </p:nvSpPr>
          <p:spPr>
            <a:xfrm>
              <a:off x="536866" y="5466309"/>
              <a:ext cx="3144518" cy="64633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2060"/>
                  </a:solidFill>
                  <a:effectLst/>
                  <a:uLnTx/>
                  <a:uFillTx/>
                  <a:latin typeface="Calibri"/>
                  <a:ea typeface="+mn-ea"/>
                  <a:cs typeface="+mn-cs"/>
                </a:rPr>
                <a:t>Dr </a:t>
              </a:r>
              <a:r>
                <a:rPr kumimoji="0" lang="en-US" sz="1800" b="1" i="0" u="none" strike="noStrike" kern="1200" cap="none" spc="0" normalizeH="0" baseline="0" noProof="0" dirty="0" err="1">
                  <a:ln>
                    <a:noFill/>
                  </a:ln>
                  <a:solidFill>
                    <a:srgbClr val="002060"/>
                  </a:solidFill>
                  <a:effectLst/>
                  <a:uLnTx/>
                  <a:uFillTx/>
                  <a:latin typeface="Calibri"/>
                  <a:ea typeface="+mn-ea"/>
                  <a:cs typeface="+mn-cs"/>
                </a:rPr>
                <a:t>Susmitha</a:t>
              </a:r>
              <a:r>
                <a:rPr kumimoji="0" lang="en-US" sz="1800" b="1" i="0" u="none" strike="noStrike" kern="1200" cap="none" spc="0" normalizeH="0" baseline="0" noProof="0" dirty="0">
                  <a:ln>
                    <a:noFill/>
                  </a:ln>
                  <a:solidFill>
                    <a:srgbClr val="002060"/>
                  </a:solidFill>
                  <a:effectLst/>
                  <a:uLnTx/>
                  <a:uFillTx/>
                  <a:latin typeface="Calibri"/>
                  <a:ea typeface="+mn-ea"/>
                  <a:cs typeface="+mn-cs"/>
                </a:rPr>
                <a:t> </a:t>
              </a:r>
              <a:r>
                <a:rPr kumimoji="0" lang="en-US" sz="1800" b="1" i="0" u="none" strike="noStrike" kern="1200" cap="none" spc="0" normalizeH="0" baseline="0" noProof="0" dirty="0" err="1">
                  <a:ln>
                    <a:noFill/>
                  </a:ln>
                  <a:solidFill>
                    <a:srgbClr val="002060"/>
                  </a:solidFill>
                  <a:effectLst/>
                  <a:uLnTx/>
                  <a:uFillTx/>
                  <a:latin typeface="Calibri"/>
                  <a:ea typeface="+mn-ea"/>
                  <a:cs typeface="+mn-cs"/>
                </a:rPr>
                <a:t>Apuri</a:t>
              </a:r>
              <a:r>
                <a:rPr kumimoji="0" lang="en-US" sz="1800" b="1" i="0" u="none" strike="noStrike" kern="1200" cap="none" spc="0" normalizeH="0" baseline="0" noProof="0" dirty="0">
                  <a:ln>
                    <a:noFill/>
                  </a:ln>
                  <a:solidFill>
                    <a:srgbClr val="002060"/>
                  </a:solidFill>
                  <a:effectLst/>
                  <a:uLnTx/>
                  <a:uFillTx/>
                  <a:latin typeface="Calibri"/>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2060"/>
                  </a:solidFill>
                  <a:effectLst/>
                  <a:uLnTx/>
                  <a:uFillTx/>
                  <a:latin typeface="Calibri"/>
                  <a:ea typeface="+mn-ea"/>
                  <a:cs typeface="+mn-cs"/>
                </a:rPr>
                <a:t>(Lutz, Florida</a:t>
              </a:r>
              <a:r>
                <a:rPr kumimoji="0" lang="en-US" sz="1800" b="0" i="0" u="none" strike="noStrike" kern="1200" cap="none" spc="0" normalizeH="0" baseline="0" noProof="0" dirty="0">
                  <a:ln>
                    <a:noFill/>
                  </a:ln>
                  <a:solidFill>
                    <a:srgbClr val="002060"/>
                  </a:solidFill>
                  <a:effectLst/>
                  <a:uLnTx/>
                  <a:uFillTx/>
                  <a:latin typeface="Calibri"/>
                  <a:ea typeface="+mn-ea"/>
                  <a:cs typeface="+mn-cs"/>
                </a:rPr>
                <a:t>)</a:t>
              </a:r>
            </a:p>
          </p:txBody>
        </p:sp>
        <p:sp>
          <p:nvSpPr>
            <p:cNvPr id="6" name="TextBox 5">
              <a:extLst>
                <a:ext uri="{FF2B5EF4-FFF2-40B4-BE49-F238E27FC236}">
                  <a16:creationId xmlns:a16="http://schemas.microsoft.com/office/drawing/2014/main" id="{3FA0FF52-44CE-B0AF-1FF3-C2EFED822457}"/>
                </a:ext>
              </a:extLst>
            </p:cNvPr>
            <p:cNvSpPr txBox="1"/>
            <p:nvPr/>
          </p:nvSpPr>
          <p:spPr>
            <a:xfrm>
              <a:off x="218661" y="3329609"/>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p:txBody>
        </p:sp>
      </p:grpSp>
      <p:grpSp>
        <p:nvGrpSpPr>
          <p:cNvPr id="11" name="Group 10">
            <a:extLst>
              <a:ext uri="{FF2B5EF4-FFF2-40B4-BE49-F238E27FC236}">
                <a16:creationId xmlns:a16="http://schemas.microsoft.com/office/drawing/2014/main" id="{16309D43-4535-46F0-2E7F-80430B570E4D}"/>
              </a:ext>
            </a:extLst>
          </p:cNvPr>
          <p:cNvGrpSpPr/>
          <p:nvPr/>
        </p:nvGrpSpPr>
        <p:grpSpPr>
          <a:xfrm>
            <a:off x="216375" y="327992"/>
            <a:ext cx="3462723" cy="2783031"/>
            <a:chOff x="218661" y="3329609"/>
            <a:chExt cx="3462723" cy="2783031"/>
          </a:xfrm>
        </p:grpSpPr>
        <p:sp>
          <p:nvSpPr>
            <p:cNvPr id="12" name="TextBox 11">
              <a:extLst>
                <a:ext uri="{FF2B5EF4-FFF2-40B4-BE49-F238E27FC236}">
                  <a16:creationId xmlns:a16="http://schemas.microsoft.com/office/drawing/2014/main" id="{418E3E79-21D4-62C1-6526-D6A408783687}"/>
                </a:ext>
              </a:extLst>
            </p:cNvPr>
            <p:cNvSpPr txBox="1"/>
            <p:nvPr/>
          </p:nvSpPr>
          <p:spPr>
            <a:xfrm>
              <a:off x="536866" y="5466309"/>
              <a:ext cx="3144518" cy="64633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2060"/>
                  </a:solidFill>
                  <a:effectLst/>
                  <a:uLnTx/>
                  <a:uFillTx/>
                  <a:latin typeface="Calibri"/>
                  <a:ea typeface="+mn-ea"/>
                  <a:cs typeface="+mn-cs"/>
                </a:rPr>
                <a:t>Dr Lionel </a:t>
              </a:r>
              <a:r>
                <a:rPr kumimoji="0" lang="en-US" sz="1800" b="1" i="0" u="none" strike="noStrike" kern="1200" cap="none" spc="0" normalizeH="0" baseline="0" noProof="0" dirty="0" err="1">
                  <a:ln>
                    <a:noFill/>
                  </a:ln>
                  <a:solidFill>
                    <a:srgbClr val="002060"/>
                  </a:solidFill>
                  <a:effectLst/>
                  <a:uLnTx/>
                  <a:uFillTx/>
                  <a:latin typeface="Calibri"/>
                  <a:ea typeface="+mn-ea"/>
                  <a:cs typeface="+mn-cs"/>
                </a:rPr>
                <a:t>Kankeu</a:t>
              </a:r>
              <a:r>
                <a:rPr kumimoji="0" lang="en-US" sz="1800" b="1" i="0" u="none" strike="noStrike" kern="1200" cap="none" spc="0" normalizeH="0" baseline="0" noProof="0" dirty="0">
                  <a:ln>
                    <a:noFill/>
                  </a:ln>
                  <a:solidFill>
                    <a:srgbClr val="002060"/>
                  </a:solidFill>
                  <a:effectLst/>
                  <a:uLnTx/>
                  <a:uFillTx/>
                  <a:latin typeface="Calibri"/>
                  <a:ea typeface="+mn-ea"/>
                  <a:cs typeface="+mn-cs"/>
                </a:rPr>
                <a:t> </a:t>
              </a:r>
              <a:r>
                <a:rPr kumimoji="0" lang="en-US" sz="1800" b="1" i="0" u="none" strike="noStrike" kern="1200" cap="none" spc="0" normalizeH="0" baseline="0" noProof="0" dirty="0" err="1">
                  <a:ln>
                    <a:noFill/>
                  </a:ln>
                  <a:solidFill>
                    <a:srgbClr val="002060"/>
                  </a:solidFill>
                  <a:effectLst/>
                  <a:uLnTx/>
                  <a:uFillTx/>
                  <a:latin typeface="Calibri"/>
                  <a:ea typeface="+mn-ea"/>
                  <a:cs typeface="+mn-cs"/>
                </a:rPr>
                <a:t>Fonkoua</a:t>
              </a:r>
              <a:r>
                <a:rPr kumimoji="0" lang="en-US" sz="1800" b="1" i="0" u="none" strike="noStrike" kern="1200" cap="none" spc="0" normalizeH="0" baseline="0" noProof="0" dirty="0">
                  <a:ln>
                    <a:noFill/>
                  </a:ln>
                  <a:solidFill>
                    <a:srgbClr val="002060"/>
                  </a:solidFill>
                  <a:effectLst/>
                  <a:uLnTx/>
                  <a:uFillTx/>
                  <a:latin typeface="Calibri"/>
                  <a:ea typeface="+mn-ea"/>
                  <a:cs typeface="+mn-cs"/>
                </a:rPr>
                <a:t> (Rochester, Minnesota)</a:t>
              </a:r>
            </a:p>
          </p:txBody>
        </p:sp>
        <p:sp>
          <p:nvSpPr>
            <p:cNvPr id="16" name="TextBox 15">
              <a:extLst>
                <a:ext uri="{FF2B5EF4-FFF2-40B4-BE49-F238E27FC236}">
                  <a16:creationId xmlns:a16="http://schemas.microsoft.com/office/drawing/2014/main" id="{67B2FD31-55EF-8528-E1A2-7C8E9F125398}"/>
                </a:ext>
              </a:extLst>
            </p:cNvPr>
            <p:cNvSpPr txBox="1"/>
            <p:nvPr/>
          </p:nvSpPr>
          <p:spPr>
            <a:xfrm>
              <a:off x="218661" y="3329609"/>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p:txBody>
        </p:sp>
      </p:grpSp>
      <p:pic>
        <p:nvPicPr>
          <p:cNvPr id="17" name="Picture 16" descr="A person wearing headphones&#10;&#10;Description automatically generated with medium confidence">
            <a:extLst>
              <a:ext uri="{FF2B5EF4-FFF2-40B4-BE49-F238E27FC236}">
                <a16:creationId xmlns:a16="http://schemas.microsoft.com/office/drawing/2014/main" id="{ABBAF690-9E7B-6D45-4DC2-3C55A4B73472}"/>
              </a:ext>
            </a:extLst>
          </p:cNvPr>
          <p:cNvPicPr>
            <a:picLocks noChangeAspect="1"/>
          </p:cNvPicPr>
          <p:nvPr/>
        </p:nvPicPr>
        <p:blipFill>
          <a:blip r:embed="rId2"/>
          <a:stretch>
            <a:fillRect/>
          </a:stretch>
        </p:blipFill>
        <p:spPr>
          <a:xfrm>
            <a:off x="478952" y="578841"/>
            <a:ext cx="3202433" cy="1801368"/>
          </a:xfrm>
          <a:prstGeom prst="rect">
            <a:avLst/>
          </a:prstGeom>
          <a:effectLst>
            <a:outerShdw blurRad="50800" dist="38100" dir="2700000" algn="tl" rotWithShape="0">
              <a:prstClr val="black">
                <a:alpha val="40000"/>
              </a:prstClr>
            </a:outerShdw>
          </a:effectLst>
        </p:spPr>
      </p:pic>
      <p:pic>
        <p:nvPicPr>
          <p:cNvPr id="18" name="Picture 17" descr="A person wearing glasses and headphones&#10;&#10;Description automatically generated with medium confidence">
            <a:extLst>
              <a:ext uri="{FF2B5EF4-FFF2-40B4-BE49-F238E27FC236}">
                <a16:creationId xmlns:a16="http://schemas.microsoft.com/office/drawing/2014/main" id="{F42032AA-1E43-7209-D26D-246A7FB0F417}"/>
              </a:ext>
            </a:extLst>
          </p:cNvPr>
          <p:cNvPicPr>
            <a:picLocks noChangeAspect="1"/>
          </p:cNvPicPr>
          <p:nvPr/>
        </p:nvPicPr>
        <p:blipFill>
          <a:blip r:embed="rId3"/>
          <a:stretch>
            <a:fillRect/>
          </a:stretch>
        </p:blipFill>
        <p:spPr>
          <a:xfrm>
            <a:off x="523009" y="3580457"/>
            <a:ext cx="3186935" cy="1792651"/>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46456555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77CC42-B382-094E-87BE-7E42C0D145BA}"/>
              </a:ext>
            </a:extLst>
          </p:cNvPr>
          <p:cNvSpPr>
            <a:spLocks noGrp="1"/>
          </p:cNvSpPr>
          <p:nvPr>
            <p:ph type="title"/>
          </p:nvPr>
        </p:nvSpPr>
        <p:spPr>
          <a:xfrm>
            <a:off x="912286" y="0"/>
            <a:ext cx="10358967" cy="1143000"/>
          </a:xfrm>
        </p:spPr>
        <p:txBody>
          <a:bodyPr/>
          <a:lstStyle/>
          <a:p>
            <a:r>
              <a:rPr lang="en-US" dirty="0"/>
              <a:t>QUESTIONS FOR THE FACULTY </a:t>
            </a:r>
          </a:p>
        </p:txBody>
      </p:sp>
      <p:sp>
        <p:nvSpPr>
          <p:cNvPr id="3" name="Content Placeholder 2">
            <a:extLst>
              <a:ext uri="{FF2B5EF4-FFF2-40B4-BE49-F238E27FC236}">
                <a16:creationId xmlns:a16="http://schemas.microsoft.com/office/drawing/2014/main" id="{7EEFB5D1-2903-E84B-AAAB-8403A4D065E2}"/>
              </a:ext>
            </a:extLst>
          </p:cNvPr>
          <p:cNvSpPr>
            <a:spLocks noGrp="1"/>
          </p:cNvSpPr>
          <p:nvPr>
            <p:ph idx="1"/>
          </p:nvPr>
        </p:nvSpPr>
        <p:spPr>
          <a:xfrm>
            <a:off x="912286" y="3807438"/>
            <a:ext cx="10358967" cy="2407627"/>
          </a:xfrm>
        </p:spPr>
        <p:txBody>
          <a:bodyPr/>
          <a:lstStyle/>
          <a:p>
            <a:pPr marL="98425" indent="0">
              <a:buNone/>
            </a:pPr>
            <a:r>
              <a:rPr lang="en-US" sz="2200" i="1" dirty="0">
                <a:solidFill>
                  <a:schemeClr val="accent2"/>
                </a:solidFill>
              </a:rPr>
              <a:t>The patient wanted to remain aggressive, but I just didn’t feel comfortable knowing the graft failure rate is about 30% to 40% in this patient population.</a:t>
            </a:r>
          </a:p>
          <a:p>
            <a:pPr marL="98425" indent="0">
              <a:buNone/>
            </a:pPr>
            <a:r>
              <a:rPr lang="en-US" sz="2200" i="1" dirty="0">
                <a:solidFill>
                  <a:schemeClr val="accent2"/>
                </a:solidFill>
              </a:rPr>
              <a:t>The second question is, there have been some data suggesting that activating mutations in </a:t>
            </a:r>
            <a:r>
              <a:rPr lang="el-GR" sz="2200" i="1" dirty="0">
                <a:solidFill>
                  <a:schemeClr val="accent2"/>
                </a:solidFill>
              </a:rPr>
              <a:t>β-</a:t>
            </a:r>
            <a:r>
              <a:rPr lang="en-US" sz="2200" i="1" dirty="0">
                <a:solidFill>
                  <a:schemeClr val="accent2"/>
                </a:solidFill>
              </a:rPr>
              <a:t>catenin actually confer resistance to immune checkpoint inhibition. Would that be a factor in this setting — in a patient who you already have reservations?”</a:t>
            </a:r>
          </a:p>
        </p:txBody>
      </p:sp>
      <p:sp>
        <p:nvSpPr>
          <p:cNvPr id="4" name="Content Placeholder 2">
            <a:extLst>
              <a:ext uri="{FF2B5EF4-FFF2-40B4-BE49-F238E27FC236}">
                <a16:creationId xmlns:a16="http://schemas.microsoft.com/office/drawing/2014/main" id="{31DB941D-D5E9-D7BE-776C-374E7A37BA5B}"/>
              </a:ext>
            </a:extLst>
          </p:cNvPr>
          <p:cNvSpPr txBox="1">
            <a:spLocks/>
          </p:cNvSpPr>
          <p:nvPr/>
        </p:nvSpPr>
        <p:spPr bwMode="auto">
          <a:xfrm>
            <a:off x="3571556" y="1221832"/>
            <a:ext cx="7812172" cy="1828730"/>
          </a:xfrm>
          <a:prstGeom prst="rect">
            <a:avLst/>
          </a:prstGeom>
          <a:noFill/>
          <a:ln w="9525">
            <a:noFill/>
            <a:miter lim="800000"/>
            <a:headEnd/>
            <a:tailEnd/>
          </a:ln>
        </p:spPr>
        <p:txBody>
          <a:bodyPr vert="horz" wrap="square" lIns="137160" tIns="0" rIns="137160" bIns="0" numCol="1" anchor="t" anchorCtr="0" compatLnSpc="1">
            <a:prstTxWarp prst="textNoShape">
              <a:avLst/>
            </a:prstTxWarp>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l"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kumimoji="0" lang="en-US" sz="2200" b="1" i="1" u="none" strike="noStrike" kern="1200" cap="none" spc="0" normalizeH="0" baseline="0" noProof="0" dirty="0">
                <a:ln>
                  <a:noFill/>
                </a:ln>
                <a:solidFill>
                  <a:srgbClr val="3333CC"/>
                </a:solidFill>
                <a:effectLst/>
                <a:uLnTx/>
                <a:uFillTx/>
                <a:latin typeface="Calibri" charset="0"/>
                <a:ea typeface="MS PGothic" pitchFamily="34" charset="-128"/>
              </a:rPr>
              <a:t>“The patient had a transplant years ago for multifocal HCC in the background of alcoholic cirrhosis and was doing fine on immunosuppressive therapy but had a post-transplant recurrence. He started on </a:t>
            </a:r>
            <a:r>
              <a:rPr kumimoji="0" lang="en-US" sz="2200" b="1" i="1" u="none" strike="noStrike" kern="1200" cap="none" spc="0" normalizeH="0" baseline="0" noProof="0" dirty="0" err="1">
                <a:ln>
                  <a:noFill/>
                </a:ln>
                <a:solidFill>
                  <a:srgbClr val="3333CC"/>
                </a:solidFill>
                <a:effectLst/>
                <a:uLnTx/>
                <a:uFillTx/>
                <a:latin typeface="Calibri" charset="0"/>
                <a:ea typeface="MS PGothic" pitchFamily="34" charset="-128"/>
              </a:rPr>
              <a:t>lenvatinib</a:t>
            </a:r>
            <a:r>
              <a:rPr kumimoji="0" lang="en-US" sz="2200" b="1" i="1" u="none" strike="noStrike" kern="1200" cap="none" spc="0" normalizeH="0" baseline="0" noProof="0" dirty="0">
                <a:ln>
                  <a:noFill/>
                </a:ln>
                <a:solidFill>
                  <a:srgbClr val="3333CC"/>
                </a:solidFill>
                <a:effectLst/>
                <a:uLnTx/>
                <a:uFillTx/>
                <a:latin typeface="Calibri" charset="0"/>
                <a:ea typeface="MS PGothic" pitchFamily="34" charset="-128"/>
              </a:rPr>
              <a:t> and then eventually progressed, switched to </a:t>
            </a:r>
            <a:r>
              <a:rPr kumimoji="0" lang="en-US" sz="2200" b="1" i="1" u="none" strike="noStrike" kern="1200" cap="none" spc="0" normalizeH="0" baseline="0" noProof="0" dirty="0" err="1">
                <a:ln>
                  <a:noFill/>
                </a:ln>
                <a:solidFill>
                  <a:srgbClr val="3333CC"/>
                </a:solidFill>
                <a:effectLst/>
                <a:uLnTx/>
                <a:uFillTx/>
                <a:latin typeface="Calibri" charset="0"/>
                <a:ea typeface="MS PGothic" pitchFamily="34" charset="-128"/>
              </a:rPr>
              <a:t>cabozantinib</a:t>
            </a:r>
            <a:r>
              <a:rPr kumimoji="0" lang="en-US" sz="2200" b="1" i="1" u="none" strike="noStrike" kern="1200" cap="none" spc="0" normalizeH="0" baseline="0" noProof="0" dirty="0">
                <a:ln>
                  <a:noFill/>
                </a:ln>
                <a:solidFill>
                  <a:srgbClr val="3333CC"/>
                </a:solidFill>
                <a:effectLst/>
                <a:uLnTx/>
                <a:uFillTx/>
                <a:latin typeface="Calibri" charset="0"/>
                <a:ea typeface="MS PGothic" pitchFamily="34" charset="-128"/>
              </a:rPr>
              <a:t> and then progressed and was placed on regorafenib. In a patient like this, would you consider atezolizumab/bevacizumab? </a:t>
            </a:r>
          </a:p>
        </p:txBody>
      </p:sp>
      <p:sp>
        <p:nvSpPr>
          <p:cNvPr id="9" name="TextBox 8">
            <a:extLst>
              <a:ext uri="{FF2B5EF4-FFF2-40B4-BE49-F238E27FC236}">
                <a16:creationId xmlns:a16="http://schemas.microsoft.com/office/drawing/2014/main" id="{C7B63D41-AF09-77DE-D866-A535957369BE}"/>
              </a:ext>
            </a:extLst>
          </p:cNvPr>
          <p:cNvSpPr txBox="1"/>
          <p:nvPr/>
        </p:nvSpPr>
        <p:spPr>
          <a:xfrm>
            <a:off x="808273" y="2808433"/>
            <a:ext cx="2885046"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Lionel A </a:t>
            </a:r>
            <a:r>
              <a:rPr kumimoji="0" lang="en-US" sz="1600" b="1"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Kankeu</a:t>
            </a: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a:t>
            </a:r>
            <a:r>
              <a:rPr kumimoji="0" lang="en-US" sz="1600" b="1"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Fonkoua</a:t>
            </a: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MD</a:t>
            </a:r>
          </a:p>
        </p:txBody>
      </p:sp>
      <p:pic>
        <p:nvPicPr>
          <p:cNvPr id="5" name="Picture 4" descr="A person wearing headphones&#10;&#10;Description automatically generated with medium confidence">
            <a:extLst>
              <a:ext uri="{FF2B5EF4-FFF2-40B4-BE49-F238E27FC236}">
                <a16:creationId xmlns:a16="http://schemas.microsoft.com/office/drawing/2014/main" id="{1CB2A411-9DFF-8C53-0FF6-F6491733B660}"/>
              </a:ext>
            </a:extLst>
          </p:cNvPr>
          <p:cNvPicPr>
            <a:picLocks noChangeAspect="1"/>
          </p:cNvPicPr>
          <p:nvPr/>
        </p:nvPicPr>
        <p:blipFill>
          <a:blip r:embed="rId2"/>
          <a:stretch>
            <a:fillRect/>
          </a:stretch>
        </p:blipFill>
        <p:spPr>
          <a:xfrm>
            <a:off x="912286" y="1214263"/>
            <a:ext cx="2660904" cy="1496759"/>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4850675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77CC42-B382-094E-87BE-7E42C0D145BA}"/>
              </a:ext>
            </a:extLst>
          </p:cNvPr>
          <p:cNvSpPr>
            <a:spLocks noGrp="1"/>
          </p:cNvSpPr>
          <p:nvPr>
            <p:ph type="title"/>
          </p:nvPr>
        </p:nvSpPr>
        <p:spPr>
          <a:xfrm>
            <a:off x="912286" y="0"/>
            <a:ext cx="10358967" cy="1143000"/>
          </a:xfrm>
        </p:spPr>
        <p:txBody>
          <a:bodyPr/>
          <a:lstStyle/>
          <a:p>
            <a:r>
              <a:rPr lang="en-US" dirty="0"/>
              <a:t>QUESTIONS FOR THE FACULTY </a:t>
            </a:r>
          </a:p>
        </p:txBody>
      </p:sp>
      <p:sp>
        <p:nvSpPr>
          <p:cNvPr id="4" name="Content Placeholder 2">
            <a:extLst>
              <a:ext uri="{FF2B5EF4-FFF2-40B4-BE49-F238E27FC236}">
                <a16:creationId xmlns:a16="http://schemas.microsoft.com/office/drawing/2014/main" id="{31DB941D-D5E9-D7BE-776C-374E7A37BA5B}"/>
              </a:ext>
            </a:extLst>
          </p:cNvPr>
          <p:cNvSpPr txBox="1">
            <a:spLocks/>
          </p:cNvSpPr>
          <p:nvPr/>
        </p:nvSpPr>
        <p:spPr bwMode="auto">
          <a:xfrm>
            <a:off x="3571556" y="1221832"/>
            <a:ext cx="7812172" cy="1828730"/>
          </a:xfrm>
          <a:prstGeom prst="rect">
            <a:avLst/>
          </a:prstGeom>
          <a:noFill/>
          <a:ln w="9525">
            <a:noFill/>
            <a:miter lim="800000"/>
            <a:headEnd/>
            <a:tailEnd/>
          </a:ln>
        </p:spPr>
        <p:txBody>
          <a:bodyPr vert="horz" wrap="square" lIns="137160" tIns="0" rIns="137160" bIns="0" numCol="1" anchor="t" anchorCtr="0" compatLnSpc="1">
            <a:prstTxWarp prst="textNoShape">
              <a:avLst/>
            </a:prstTxWarp>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l"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kumimoji="0" lang="en-US" sz="2200" b="1" i="1" u="none" strike="noStrike" kern="1200" cap="none" spc="0" normalizeH="0" baseline="0" noProof="0" dirty="0">
                <a:ln>
                  <a:noFill/>
                </a:ln>
                <a:solidFill>
                  <a:srgbClr val="3333CC"/>
                </a:solidFill>
                <a:effectLst/>
                <a:uLnTx/>
                <a:uFillTx/>
                <a:latin typeface="Calibri" charset="0"/>
                <a:ea typeface="MS PGothic" pitchFamily="34" charset="-128"/>
              </a:rPr>
              <a:t>“He’s on </a:t>
            </a:r>
            <a:r>
              <a:rPr kumimoji="0" lang="en-US" sz="2200" b="1" i="1" u="none" strike="noStrike" kern="1200" cap="none" spc="0" normalizeH="0" baseline="0" noProof="0" dirty="0" err="1">
                <a:ln>
                  <a:noFill/>
                </a:ln>
                <a:solidFill>
                  <a:srgbClr val="3333CC"/>
                </a:solidFill>
                <a:effectLst/>
                <a:uLnTx/>
                <a:uFillTx/>
                <a:latin typeface="Calibri" charset="0"/>
                <a:ea typeface="MS PGothic" pitchFamily="34" charset="-128"/>
              </a:rPr>
              <a:t>cabozantinib</a:t>
            </a:r>
            <a:r>
              <a:rPr kumimoji="0" lang="en-US" sz="2200" b="1" i="1" u="none" strike="noStrike" kern="1200" cap="none" spc="0" normalizeH="0" baseline="0" noProof="0" dirty="0">
                <a:ln>
                  <a:noFill/>
                </a:ln>
                <a:solidFill>
                  <a:srgbClr val="3333CC"/>
                </a:solidFill>
                <a:effectLst/>
                <a:uLnTx/>
                <a:uFillTx/>
                <a:latin typeface="Calibri" charset="0"/>
                <a:ea typeface="MS PGothic" pitchFamily="34" charset="-128"/>
              </a:rPr>
              <a:t> right now with an ECOG PS of 0. He’s back to his woodworking. He has a PIK3CA somatic mutation. Would an agent like </a:t>
            </a:r>
            <a:r>
              <a:rPr kumimoji="0" lang="en-US" sz="2200" b="1" i="1" u="none" strike="noStrike" kern="1200" cap="none" spc="0" normalizeH="0" baseline="0" noProof="0" dirty="0" err="1">
                <a:ln>
                  <a:noFill/>
                </a:ln>
                <a:solidFill>
                  <a:srgbClr val="3333CC"/>
                </a:solidFill>
                <a:effectLst/>
                <a:uLnTx/>
                <a:uFillTx/>
                <a:latin typeface="Calibri" charset="0"/>
                <a:ea typeface="MS PGothic" pitchFamily="34" charset="-128"/>
              </a:rPr>
              <a:t>alpelisib</a:t>
            </a:r>
            <a:r>
              <a:rPr kumimoji="0" lang="en-US" sz="2200" b="1" i="1" u="none" strike="noStrike" kern="1200" cap="none" spc="0" normalizeH="0" baseline="0" noProof="0" dirty="0">
                <a:ln>
                  <a:noFill/>
                </a:ln>
                <a:solidFill>
                  <a:srgbClr val="3333CC"/>
                </a:solidFill>
                <a:effectLst/>
                <a:uLnTx/>
                <a:uFillTx/>
                <a:latin typeface="Calibri" charset="0"/>
                <a:ea typeface="MS PGothic" pitchFamily="34" charset="-128"/>
              </a:rPr>
              <a:t> be helpful? Would he be a candidate for ipilimumab/nivolumab.”</a:t>
            </a:r>
          </a:p>
        </p:txBody>
      </p:sp>
      <p:sp>
        <p:nvSpPr>
          <p:cNvPr id="9" name="TextBox 8">
            <a:extLst>
              <a:ext uri="{FF2B5EF4-FFF2-40B4-BE49-F238E27FC236}">
                <a16:creationId xmlns:a16="http://schemas.microsoft.com/office/drawing/2014/main" id="{C7B63D41-AF09-77DE-D866-A535957369BE}"/>
              </a:ext>
            </a:extLst>
          </p:cNvPr>
          <p:cNvSpPr txBox="1"/>
          <p:nvPr/>
        </p:nvSpPr>
        <p:spPr>
          <a:xfrm>
            <a:off x="912286" y="2808433"/>
            <a:ext cx="2660904"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Susmitha</a:t>
            </a: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a:t>
            </a:r>
            <a:r>
              <a:rPr kumimoji="0" lang="en-US" sz="1600" b="1"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Apuri</a:t>
            </a: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MD</a:t>
            </a:r>
          </a:p>
        </p:txBody>
      </p:sp>
      <p:pic>
        <p:nvPicPr>
          <p:cNvPr id="6" name="Picture 5" descr="A person wearing glasses and headphones&#10;&#10;Description automatically generated with medium confidence">
            <a:extLst>
              <a:ext uri="{FF2B5EF4-FFF2-40B4-BE49-F238E27FC236}">
                <a16:creationId xmlns:a16="http://schemas.microsoft.com/office/drawing/2014/main" id="{DCA64B61-33DC-6DC1-3E37-F3A8F518C402}"/>
              </a:ext>
            </a:extLst>
          </p:cNvPr>
          <p:cNvPicPr>
            <a:picLocks noChangeAspect="1"/>
          </p:cNvPicPr>
          <p:nvPr/>
        </p:nvPicPr>
        <p:blipFill>
          <a:blip r:embed="rId2"/>
          <a:stretch>
            <a:fillRect/>
          </a:stretch>
        </p:blipFill>
        <p:spPr>
          <a:xfrm>
            <a:off x="910648" y="1232843"/>
            <a:ext cx="2660904" cy="1496759"/>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52382611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3A144F-BF9E-421C-8FB0-74334B868069}"/>
              </a:ext>
            </a:extLst>
          </p:cNvPr>
          <p:cNvSpPr>
            <a:spLocks noGrp="1"/>
          </p:cNvSpPr>
          <p:nvPr>
            <p:ph type="ctrTitle"/>
          </p:nvPr>
        </p:nvSpPr>
        <p:spPr/>
        <p:txBody>
          <a:bodyPr>
            <a:normAutofit fontScale="90000"/>
          </a:bodyPr>
          <a:lstStyle/>
          <a:p>
            <a:r>
              <a:rPr lang="en-US" dirty="0"/>
              <a:t>Selection and Sequencing of Therapies for Advanced HCC:</a:t>
            </a:r>
            <a:br>
              <a:rPr lang="en-US" dirty="0"/>
            </a:br>
            <a:r>
              <a:rPr lang="en-US" sz="5300" i="1" dirty="0"/>
              <a:t>Second-Line and Beyond</a:t>
            </a:r>
            <a:endParaRPr lang="en-US" dirty="0"/>
          </a:p>
        </p:txBody>
      </p:sp>
      <p:sp>
        <p:nvSpPr>
          <p:cNvPr id="3" name="Subtitle 2">
            <a:extLst>
              <a:ext uri="{FF2B5EF4-FFF2-40B4-BE49-F238E27FC236}">
                <a16:creationId xmlns:a16="http://schemas.microsoft.com/office/drawing/2014/main" id="{51C1F646-153C-46A0-A952-565C6FAE99C0}"/>
              </a:ext>
            </a:extLst>
          </p:cNvPr>
          <p:cNvSpPr>
            <a:spLocks noGrp="1"/>
          </p:cNvSpPr>
          <p:nvPr>
            <p:ph type="subTitle" idx="1"/>
          </p:nvPr>
        </p:nvSpPr>
        <p:spPr>
          <a:xfrm>
            <a:off x="1524000" y="4346092"/>
            <a:ext cx="9144000" cy="1655762"/>
          </a:xfrm>
        </p:spPr>
        <p:txBody>
          <a:bodyPr>
            <a:normAutofit/>
          </a:bodyPr>
          <a:lstStyle/>
          <a:p>
            <a:r>
              <a:rPr lang="en-US" b="1" dirty="0"/>
              <a:t>Katie Kelley, MD</a:t>
            </a:r>
          </a:p>
          <a:p>
            <a:r>
              <a:rPr lang="en-US" dirty="0"/>
              <a:t>Helen Diller Family Comprehensive Cancer Center</a:t>
            </a:r>
          </a:p>
          <a:p>
            <a:r>
              <a:rPr lang="en-US" dirty="0"/>
              <a:t>University of California, San Francisco</a:t>
            </a:r>
          </a:p>
        </p:txBody>
      </p:sp>
    </p:spTree>
    <p:extLst>
      <p:ext uri="{BB962C8B-B14F-4D97-AF65-F5344CB8AC3E}">
        <p14:creationId xmlns:p14="http://schemas.microsoft.com/office/powerpoint/2010/main" val="258039310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A0BC76-0F30-45F1-A86D-6346ACC6DEFF}"/>
              </a:ext>
            </a:extLst>
          </p:cNvPr>
          <p:cNvSpPr>
            <a:spLocks noGrp="1"/>
          </p:cNvSpPr>
          <p:nvPr>
            <p:ph type="title"/>
          </p:nvPr>
        </p:nvSpPr>
        <p:spPr/>
        <p:txBody>
          <a:bodyPr/>
          <a:lstStyle/>
          <a:p>
            <a:r>
              <a:rPr lang="en-US" dirty="0"/>
              <a:t>Outline</a:t>
            </a:r>
          </a:p>
        </p:txBody>
      </p:sp>
      <p:sp>
        <p:nvSpPr>
          <p:cNvPr id="3" name="Content Placeholder 2">
            <a:extLst>
              <a:ext uri="{FF2B5EF4-FFF2-40B4-BE49-F238E27FC236}">
                <a16:creationId xmlns:a16="http://schemas.microsoft.com/office/drawing/2014/main" id="{E41074F1-5F04-4796-A839-1672BDB3F4AF}"/>
              </a:ext>
            </a:extLst>
          </p:cNvPr>
          <p:cNvSpPr>
            <a:spLocks noGrp="1"/>
          </p:cNvSpPr>
          <p:nvPr>
            <p:ph idx="1"/>
          </p:nvPr>
        </p:nvSpPr>
        <p:spPr/>
        <p:txBody>
          <a:bodyPr>
            <a:normAutofit/>
          </a:bodyPr>
          <a:lstStyle/>
          <a:p>
            <a:r>
              <a:rPr lang="en-US" dirty="0"/>
              <a:t>Increasing utilization of subsequent lines of therapies in HCC</a:t>
            </a:r>
          </a:p>
          <a:p>
            <a:r>
              <a:rPr lang="en-US" dirty="0"/>
              <a:t>Currently available 2</a:t>
            </a:r>
            <a:r>
              <a:rPr lang="en-US" baseline="30000" dirty="0"/>
              <a:t>nd</a:t>
            </a:r>
            <a:r>
              <a:rPr lang="en-US" dirty="0"/>
              <a:t> line therapies</a:t>
            </a:r>
          </a:p>
          <a:p>
            <a:pPr lvl="1"/>
            <a:r>
              <a:rPr lang="en-US" dirty="0"/>
              <a:t>Agents with FDA approval after progression on sorafenib</a:t>
            </a:r>
          </a:p>
          <a:p>
            <a:pPr lvl="1"/>
            <a:r>
              <a:rPr lang="en-US" dirty="0"/>
              <a:t>Role for sorafenib, lenvatinib, or other </a:t>
            </a:r>
            <a:r>
              <a:rPr lang="en-US" dirty="0" err="1"/>
              <a:t>multikinase</a:t>
            </a:r>
            <a:r>
              <a:rPr lang="en-US" dirty="0"/>
              <a:t> tyrosine kinase inhibitors (TKI) after 1</a:t>
            </a:r>
            <a:r>
              <a:rPr lang="en-US" baseline="30000" dirty="0"/>
              <a:t>st</a:t>
            </a:r>
            <a:r>
              <a:rPr lang="en-US" dirty="0"/>
              <a:t> line immune checkpoint inhibitor (ICI)-based combinations?</a:t>
            </a:r>
          </a:p>
          <a:p>
            <a:pPr lvl="1"/>
            <a:r>
              <a:rPr lang="en-US" dirty="0"/>
              <a:t>Role for anti-PD-(L)1 and anti-CTLA-4 combination regimens after prior ICI-based combinations?</a:t>
            </a:r>
          </a:p>
          <a:p>
            <a:r>
              <a:rPr lang="en-US" dirty="0"/>
              <a:t>Factors in selection and sequencing of ≥ 2</a:t>
            </a:r>
            <a:r>
              <a:rPr lang="en-US" baseline="30000" dirty="0"/>
              <a:t>nd</a:t>
            </a:r>
            <a:r>
              <a:rPr lang="en-US" dirty="0"/>
              <a:t> line treatment options</a:t>
            </a:r>
          </a:p>
          <a:p>
            <a:r>
              <a:rPr lang="en-US" dirty="0"/>
              <a:t>Other promising agents and strategies under investigation as subsequent lines of therapy</a:t>
            </a:r>
            <a:endParaRPr lang="en-US" sz="2800" dirty="0">
              <a:effectLst/>
              <a:latin typeface="Calibri" panose="020F0502020204030204" pitchFamily="34" charset="0"/>
              <a:ea typeface="Times New Roman" panose="02020603050405020304" pitchFamily="18" charset="0"/>
            </a:endParaRPr>
          </a:p>
          <a:p>
            <a:endParaRPr lang="en-US" dirty="0"/>
          </a:p>
          <a:p>
            <a:endParaRPr lang="en-US" dirty="0"/>
          </a:p>
          <a:p>
            <a:endParaRPr lang="en-US" dirty="0"/>
          </a:p>
        </p:txBody>
      </p:sp>
    </p:spTree>
    <p:extLst>
      <p:ext uri="{BB962C8B-B14F-4D97-AF65-F5344CB8AC3E}">
        <p14:creationId xmlns:p14="http://schemas.microsoft.com/office/powerpoint/2010/main" val="79424335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2286" y="83408"/>
            <a:ext cx="10358967" cy="1257360"/>
          </a:xfrm>
        </p:spPr>
        <p:txBody>
          <a:bodyPr/>
          <a:lstStyle/>
          <a:p>
            <a:r>
              <a:rPr lang="en-US" sz="3200" dirty="0" err="1"/>
              <a:t>Lipika</a:t>
            </a:r>
            <a:r>
              <a:rPr lang="en-US" sz="3200" dirty="0"/>
              <a:t> Goyal, MD, MPhil </a:t>
            </a:r>
            <a:r>
              <a:rPr lang="en-US" sz="3200" dirty="0">
                <a:solidFill>
                  <a:srgbClr val="0432FF"/>
                </a:solidFill>
              </a:rPr>
              <a:t>— Disclosures</a:t>
            </a:r>
            <a:br>
              <a:rPr lang="en-US" sz="3200" dirty="0">
                <a:solidFill>
                  <a:srgbClr val="0432FF"/>
                </a:solidFill>
              </a:rPr>
            </a:br>
            <a:r>
              <a:rPr lang="en-US" sz="2800" dirty="0">
                <a:solidFill>
                  <a:srgbClr val="0432FF"/>
                </a:solidFill>
              </a:rPr>
              <a:t>Faculty</a:t>
            </a:r>
          </a:p>
        </p:txBody>
      </p:sp>
      <p:graphicFrame>
        <p:nvGraphicFramePr>
          <p:cNvPr id="3" name="Table 2">
            <a:extLst>
              <a:ext uri="{FF2B5EF4-FFF2-40B4-BE49-F238E27FC236}">
                <a16:creationId xmlns:a16="http://schemas.microsoft.com/office/drawing/2014/main" id="{17EEBD4A-2374-A64B-8F45-399BD207A7C4}"/>
              </a:ext>
            </a:extLst>
          </p:cNvPr>
          <p:cNvGraphicFramePr>
            <a:graphicFrameLocks noGrp="1"/>
          </p:cNvGraphicFramePr>
          <p:nvPr/>
        </p:nvGraphicFramePr>
        <p:xfrm>
          <a:off x="996146" y="1772816"/>
          <a:ext cx="10199707" cy="2664296"/>
        </p:xfrm>
        <a:graphic>
          <a:graphicData uri="http://schemas.openxmlformats.org/drawingml/2006/table">
            <a:tbl>
              <a:tblPr firstRow="1" bandRow="1">
                <a:tableStyleId>{F2DE63D5-997A-4646-A377-4702673A728D}</a:tableStyleId>
              </a:tblPr>
              <a:tblGrid>
                <a:gridCol w="2998907">
                  <a:extLst>
                    <a:ext uri="{9D8B030D-6E8A-4147-A177-3AD203B41FA5}">
                      <a16:colId xmlns:a16="http://schemas.microsoft.com/office/drawing/2014/main" val="554462400"/>
                    </a:ext>
                  </a:extLst>
                </a:gridCol>
                <a:gridCol w="7200800">
                  <a:extLst>
                    <a:ext uri="{9D8B030D-6E8A-4147-A177-3AD203B41FA5}">
                      <a16:colId xmlns:a16="http://schemas.microsoft.com/office/drawing/2014/main" val="1695023928"/>
                    </a:ext>
                  </a:extLst>
                </a:gridCol>
              </a:tblGrid>
              <a:tr h="1776222">
                <a:tc>
                  <a:txBody>
                    <a:bodyPr/>
                    <a:lstStyle/>
                    <a:p>
                      <a:r>
                        <a:rPr lang="en-US" b="1" dirty="0">
                          <a:solidFill>
                            <a:schemeClr val="tx1"/>
                          </a:solidFill>
                        </a:rPr>
                        <a:t>Advisory Board and Consulting Agreements</a:t>
                      </a:r>
                      <a:endParaRPr lang="en-US" sz="1800" b="1" kern="1200" dirty="0">
                        <a:solidFill>
                          <a:schemeClr val="tx1"/>
                        </a:solidFill>
                        <a:effectLst/>
                        <a:latin typeface="+mn-lt"/>
                        <a:ea typeface="+mn-ea"/>
                        <a:cs typeface="+mn-cs"/>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b="0" dirty="0" err="1">
                          <a:solidFill>
                            <a:schemeClr val="tx1"/>
                          </a:solidFill>
                        </a:rPr>
                        <a:t>Alentis</a:t>
                      </a:r>
                      <a:r>
                        <a:rPr lang="en-US" b="0" dirty="0">
                          <a:solidFill>
                            <a:schemeClr val="tx1"/>
                          </a:solidFill>
                        </a:rPr>
                        <a:t> Therapeutics AG, Black Diamond Therapeutics Inc, </a:t>
                      </a:r>
                      <a:r>
                        <a:rPr lang="en-US" b="0" dirty="0" err="1">
                          <a:solidFill>
                            <a:schemeClr val="tx1"/>
                          </a:solidFill>
                        </a:rPr>
                        <a:t>Exelixis</a:t>
                      </a:r>
                      <a:r>
                        <a:rPr lang="en-US" b="0" dirty="0">
                          <a:solidFill>
                            <a:schemeClr val="tx1"/>
                          </a:solidFill>
                        </a:rPr>
                        <a:t> Inc, Genentech, a member of the Roche Group, H3 Biomedicine, Incyte Corporation, </a:t>
                      </a:r>
                      <a:r>
                        <a:rPr lang="en-US" b="0" dirty="0" err="1">
                          <a:solidFill>
                            <a:schemeClr val="tx1"/>
                          </a:solidFill>
                        </a:rPr>
                        <a:t>Kinnate</a:t>
                      </a:r>
                      <a:r>
                        <a:rPr lang="en-US" b="0" dirty="0">
                          <a:solidFill>
                            <a:schemeClr val="tx1"/>
                          </a:solidFill>
                        </a:rPr>
                        <a:t> Biopharma, Merck, QED Therapeutics, </a:t>
                      </a:r>
                      <a:r>
                        <a:rPr lang="en-US" b="0" dirty="0" err="1">
                          <a:solidFill>
                            <a:schemeClr val="tx1"/>
                          </a:solidFill>
                        </a:rPr>
                        <a:t>Servier</a:t>
                      </a:r>
                      <a:r>
                        <a:rPr lang="en-US" b="0" dirty="0">
                          <a:solidFill>
                            <a:schemeClr val="tx1"/>
                          </a:solidFill>
                        </a:rPr>
                        <a:t> Pharmaceuticals LLC, </a:t>
                      </a:r>
                      <a:r>
                        <a:rPr lang="en-US" b="0" dirty="0" err="1">
                          <a:solidFill>
                            <a:schemeClr val="tx1"/>
                          </a:solidFill>
                        </a:rPr>
                        <a:t>Sirtex</a:t>
                      </a:r>
                      <a:r>
                        <a:rPr lang="en-US" b="0" dirty="0">
                          <a:solidFill>
                            <a:schemeClr val="tx1"/>
                          </a:solidFill>
                        </a:rPr>
                        <a:t> Medical Ltd, Surface Oncology, Taiho Oncology Inc, </a:t>
                      </a:r>
                      <a:r>
                        <a:rPr lang="en-US" b="0" dirty="0" err="1">
                          <a:solidFill>
                            <a:schemeClr val="tx1"/>
                          </a:solidFill>
                        </a:rPr>
                        <a:t>TransThera</a:t>
                      </a:r>
                      <a:r>
                        <a:rPr lang="en-US" b="0" dirty="0">
                          <a:solidFill>
                            <a:schemeClr val="tx1"/>
                          </a:solidFill>
                        </a:rPr>
                        <a:t> Biosciences, Tyra Biosciences</a:t>
                      </a:r>
                      <a:endParaRPr lang="en-US" sz="1800" b="0" kern="1200" dirty="0">
                        <a:solidFill>
                          <a:schemeClr val="tx1"/>
                        </a:solidFill>
                        <a:effectLst/>
                        <a:latin typeface="+mn-lt"/>
                        <a:ea typeface="+mn-ea"/>
                        <a:cs typeface="+mn-cs"/>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33472633"/>
                  </a:ext>
                </a:extLst>
              </a:tr>
              <a:tr h="888074">
                <a:tc>
                  <a:txBody>
                    <a:bodyPr/>
                    <a:lstStyle/>
                    <a:p>
                      <a:r>
                        <a:rPr lang="en-US" b="1" dirty="0">
                          <a:solidFill>
                            <a:schemeClr val="tx1"/>
                          </a:solidFill>
                        </a:rPr>
                        <a:t>Data and Safety Monitoring Board/Committee</a:t>
                      </a:r>
                      <a:endParaRPr lang="en-US" sz="1800" b="1" kern="1200" dirty="0">
                        <a:solidFill>
                          <a:schemeClr val="tx1"/>
                        </a:solidFill>
                        <a:effectLst/>
                        <a:latin typeface="+mn-lt"/>
                        <a:ea typeface="+mn-ea"/>
                        <a:cs typeface="+mn-cs"/>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dirty="0">
                          <a:solidFill>
                            <a:schemeClr val="tx1"/>
                          </a:solidFill>
                        </a:rPr>
                        <a:t>AstraZeneca Pharmaceuticals LP</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96370210"/>
                  </a:ext>
                </a:extLst>
              </a:tr>
            </a:tbl>
          </a:graphicData>
        </a:graphic>
      </p:graphicFrame>
    </p:spTree>
    <p:custDataLst>
      <p:tags r:id="rId1"/>
    </p:custDataLst>
    <p:extLst>
      <p:ext uri="{BB962C8B-B14F-4D97-AF65-F5344CB8AC3E}">
        <p14:creationId xmlns:p14="http://schemas.microsoft.com/office/powerpoint/2010/main" val="377652419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5627B1-CFC3-4209-8139-838310179BEE}"/>
              </a:ext>
            </a:extLst>
          </p:cNvPr>
          <p:cNvSpPr>
            <a:spLocks noGrp="1"/>
          </p:cNvSpPr>
          <p:nvPr>
            <p:ph type="title"/>
          </p:nvPr>
        </p:nvSpPr>
        <p:spPr/>
        <p:txBody>
          <a:bodyPr/>
          <a:lstStyle/>
          <a:p>
            <a:r>
              <a:rPr lang="en-US" dirty="0"/>
              <a:t>Increasing Uptake of Subsequent Lines of Therapy</a:t>
            </a:r>
          </a:p>
        </p:txBody>
      </p:sp>
      <p:sp>
        <p:nvSpPr>
          <p:cNvPr id="3" name="Content Placeholder 2">
            <a:extLst>
              <a:ext uri="{FF2B5EF4-FFF2-40B4-BE49-F238E27FC236}">
                <a16:creationId xmlns:a16="http://schemas.microsoft.com/office/drawing/2014/main" id="{F0D11EF6-1854-4345-8B3B-8CD439432468}"/>
              </a:ext>
            </a:extLst>
          </p:cNvPr>
          <p:cNvSpPr>
            <a:spLocks noGrp="1"/>
          </p:cNvSpPr>
          <p:nvPr>
            <p:ph idx="1"/>
          </p:nvPr>
        </p:nvSpPr>
        <p:spPr>
          <a:xfrm>
            <a:off x="838200" y="1825625"/>
            <a:ext cx="11049000" cy="4351338"/>
          </a:xfrm>
        </p:spPr>
        <p:txBody>
          <a:bodyPr>
            <a:normAutofit/>
          </a:bodyPr>
          <a:lstStyle/>
          <a:p>
            <a:r>
              <a:rPr lang="en-US" sz="2400" dirty="0"/>
              <a:t>A meaningful number of patients receive ≥ 2</a:t>
            </a:r>
            <a:r>
              <a:rPr lang="en-US" sz="2400" baseline="30000" dirty="0"/>
              <a:t>nd</a:t>
            </a:r>
            <a:r>
              <a:rPr lang="en-US" sz="2400" dirty="0"/>
              <a:t> line therapies </a:t>
            </a:r>
          </a:p>
          <a:p>
            <a:r>
              <a:rPr lang="en-US" sz="2400" dirty="0"/>
              <a:t>Increase may be due to:</a:t>
            </a:r>
          </a:p>
          <a:p>
            <a:pPr lvl="1"/>
            <a:r>
              <a:rPr lang="en-US" sz="2000" dirty="0"/>
              <a:t>More efficacious 1</a:t>
            </a:r>
            <a:r>
              <a:rPr lang="en-US" sz="2000" baseline="30000" dirty="0"/>
              <a:t>st</a:t>
            </a:r>
            <a:r>
              <a:rPr lang="en-US" sz="2000" dirty="0"/>
              <a:t> line options?</a:t>
            </a:r>
          </a:p>
          <a:p>
            <a:pPr lvl="1"/>
            <a:r>
              <a:rPr lang="en-US" sz="2000" dirty="0"/>
              <a:t>Better supportive care?</a:t>
            </a:r>
          </a:p>
          <a:p>
            <a:pPr lvl="1"/>
            <a:r>
              <a:rPr lang="en-US" sz="2000" dirty="0"/>
              <a:t>Stage migration? </a:t>
            </a:r>
          </a:p>
        </p:txBody>
      </p:sp>
      <p:grpSp>
        <p:nvGrpSpPr>
          <p:cNvPr id="13" name="Group 12">
            <a:extLst>
              <a:ext uri="{FF2B5EF4-FFF2-40B4-BE49-F238E27FC236}">
                <a16:creationId xmlns:a16="http://schemas.microsoft.com/office/drawing/2014/main" id="{8313AA84-D848-480E-9CCA-915577162FCE}"/>
              </a:ext>
            </a:extLst>
          </p:cNvPr>
          <p:cNvGrpSpPr/>
          <p:nvPr/>
        </p:nvGrpSpPr>
        <p:grpSpPr>
          <a:xfrm>
            <a:off x="924956" y="5097007"/>
            <a:ext cx="7160300" cy="1714490"/>
            <a:chOff x="5146350" y="5113785"/>
            <a:chExt cx="7160300" cy="1714490"/>
          </a:xfrm>
        </p:grpSpPr>
        <p:pic>
          <p:nvPicPr>
            <p:cNvPr id="4" name="Picture 3">
              <a:extLst>
                <a:ext uri="{FF2B5EF4-FFF2-40B4-BE49-F238E27FC236}">
                  <a16:creationId xmlns:a16="http://schemas.microsoft.com/office/drawing/2014/main" id="{CFE9FB58-E2FD-4B7A-99E5-9EB0ED90C15D}"/>
                </a:ext>
              </a:extLst>
            </p:cNvPr>
            <p:cNvPicPr>
              <a:picLocks noChangeAspect="1"/>
            </p:cNvPicPr>
            <p:nvPr/>
          </p:nvPicPr>
          <p:blipFill rotWithShape="1">
            <a:blip r:embed="rId2"/>
            <a:srcRect l="34427" t="23241" r="19427" b="63611"/>
            <a:stretch/>
          </p:blipFill>
          <p:spPr>
            <a:xfrm>
              <a:off x="5186262" y="5430016"/>
              <a:ext cx="6751344" cy="1082028"/>
            </a:xfrm>
            <a:prstGeom prst="rect">
              <a:avLst/>
            </a:prstGeom>
          </p:spPr>
        </p:pic>
        <p:sp>
          <p:nvSpPr>
            <p:cNvPr id="5" name="TextBox 4">
              <a:extLst>
                <a:ext uri="{FF2B5EF4-FFF2-40B4-BE49-F238E27FC236}">
                  <a16:creationId xmlns:a16="http://schemas.microsoft.com/office/drawing/2014/main" id="{DB3F4DB4-9E5F-4C4D-B0FE-216DFE017B9B}"/>
                </a:ext>
              </a:extLst>
            </p:cNvPr>
            <p:cNvSpPr txBox="1"/>
            <p:nvPr/>
          </p:nvSpPr>
          <p:spPr>
            <a:xfrm>
              <a:off x="8470803" y="6520498"/>
              <a:ext cx="3835063" cy="307777"/>
            </a:xfrm>
            <a:prstGeom prst="rect">
              <a:avLst/>
            </a:prstGeom>
            <a:noFill/>
          </p:spPr>
          <p:txBody>
            <a:bodyPr wrap="square" rtlCol="0">
              <a:sp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Kelley et al. J Clin </a:t>
              </a:r>
              <a:r>
                <a:rPr kumimoji="0" lang="en-US" sz="1400" b="0" i="0" u="none" strike="noStrike" kern="1200" cap="none" spc="0" normalizeH="0" baseline="0" noProof="0" dirty="0" err="1">
                  <a:ln>
                    <a:noFill/>
                  </a:ln>
                  <a:solidFill>
                    <a:prstClr val="black"/>
                  </a:solidFill>
                  <a:effectLst/>
                  <a:uLnTx/>
                  <a:uFillTx/>
                  <a:latin typeface="Calibri" panose="020F0502020204030204"/>
                  <a:ea typeface="+mn-ea"/>
                  <a:cs typeface="+mn-cs"/>
                </a:rPr>
                <a:t>Oncol</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2021; </a:t>
              </a:r>
              <a:r>
                <a:rPr kumimoji="0" lang="en-US" sz="1400" b="0" i="0" u="none" strike="noStrike" kern="1200" cap="none" spc="0" normalizeH="0" baseline="0" noProof="0" dirty="0" err="1">
                  <a:ln>
                    <a:noFill/>
                  </a:ln>
                  <a:solidFill>
                    <a:prstClr val="black"/>
                  </a:solidFill>
                  <a:effectLst/>
                  <a:uLnTx/>
                  <a:uFillTx/>
                  <a:latin typeface="Calibri" panose="020F0502020204030204"/>
                  <a:ea typeface="+mn-ea"/>
                  <a:cs typeface="+mn-cs"/>
                </a:rPr>
                <a:t>epub</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22Jul21</a:t>
              </a:r>
            </a:p>
          </p:txBody>
        </p:sp>
        <p:sp>
          <p:nvSpPr>
            <p:cNvPr id="6" name="TextBox 5">
              <a:extLst>
                <a:ext uri="{FF2B5EF4-FFF2-40B4-BE49-F238E27FC236}">
                  <a16:creationId xmlns:a16="http://schemas.microsoft.com/office/drawing/2014/main" id="{C06E9FDF-40EA-4948-922B-0A29C8ECC639}"/>
                </a:ext>
              </a:extLst>
            </p:cNvPr>
            <p:cNvSpPr txBox="1"/>
            <p:nvPr/>
          </p:nvSpPr>
          <p:spPr>
            <a:xfrm>
              <a:off x="5146350" y="5113785"/>
              <a:ext cx="716030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Incidence of subsequent therapies post 2</a:t>
              </a:r>
              <a:r>
                <a:rPr kumimoji="0" lang="en-US" sz="1800" b="1" i="0" u="none" strike="noStrike" kern="1200" cap="none" spc="0" normalizeH="0" baseline="30000" noProof="0" dirty="0">
                  <a:ln>
                    <a:noFill/>
                  </a:ln>
                  <a:solidFill>
                    <a:prstClr val="black"/>
                  </a:solidFill>
                  <a:effectLst/>
                  <a:uLnTx/>
                  <a:uFillTx/>
                  <a:latin typeface="Calibri" panose="020F0502020204030204"/>
                  <a:ea typeface="+mn-ea"/>
                  <a:cs typeface="+mn-cs"/>
                </a:rPr>
                <a:t>nd</a:t>
              </a: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 line </a:t>
              </a:r>
              <a:r>
                <a:rPr kumimoji="0" lang="en-US" sz="1800" b="1" i="0" u="none" strike="noStrike" kern="1200" cap="none" spc="0" normalizeH="0" baseline="0" noProof="0" dirty="0" err="1">
                  <a:ln>
                    <a:noFill/>
                  </a:ln>
                  <a:solidFill>
                    <a:prstClr val="black"/>
                  </a:solidFill>
                  <a:effectLst/>
                  <a:uLnTx/>
                  <a:uFillTx/>
                  <a:latin typeface="Calibri" panose="020F0502020204030204"/>
                  <a:ea typeface="+mn-ea"/>
                  <a:cs typeface="+mn-cs"/>
                </a:rPr>
                <a:t>durva</a:t>
              </a: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a:t>
              </a:r>
              <a:r>
                <a:rPr kumimoji="0" lang="en-US" sz="1800" b="1" i="0" u="none" strike="noStrike" kern="1200" cap="none" spc="0" normalizeH="0" baseline="0" noProof="0" dirty="0" err="1">
                  <a:ln>
                    <a:noFill/>
                  </a:ln>
                  <a:solidFill>
                    <a:prstClr val="black"/>
                  </a:solidFill>
                  <a:effectLst/>
                  <a:uLnTx/>
                  <a:uFillTx/>
                  <a:latin typeface="Calibri" panose="020F0502020204030204"/>
                  <a:ea typeface="+mn-ea"/>
                  <a:cs typeface="+mn-cs"/>
                </a:rPr>
                <a:t>treme</a:t>
              </a: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 in Study 22:</a:t>
              </a:r>
            </a:p>
          </p:txBody>
        </p:sp>
      </p:grpSp>
      <p:grpSp>
        <p:nvGrpSpPr>
          <p:cNvPr id="12" name="Group 11">
            <a:extLst>
              <a:ext uri="{FF2B5EF4-FFF2-40B4-BE49-F238E27FC236}">
                <a16:creationId xmlns:a16="http://schemas.microsoft.com/office/drawing/2014/main" id="{EB33C876-AE88-46F9-8116-213E233173D9}"/>
              </a:ext>
            </a:extLst>
          </p:cNvPr>
          <p:cNvGrpSpPr/>
          <p:nvPr/>
        </p:nvGrpSpPr>
        <p:grpSpPr>
          <a:xfrm>
            <a:off x="5595097" y="2300165"/>
            <a:ext cx="6292103" cy="2755016"/>
            <a:chOff x="3998525" y="2538037"/>
            <a:chExt cx="6292103" cy="2755016"/>
          </a:xfrm>
        </p:grpSpPr>
        <p:pic>
          <p:nvPicPr>
            <p:cNvPr id="8" name="Picture 7">
              <a:extLst>
                <a:ext uri="{FF2B5EF4-FFF2-40B4-BE49-F238E27FC236}">
                  <a16:creationId xmlns:a16="http://schemas.microsoft.com/office/drawing/2014/main" id="{BADBF5D7-24AB-432E-8493-4E5E6F2C0E70}"/>
                </a:ext>
              </a:extLst>
            </p:cNvPr>
            <p:cNvPicPr>
              <a:picLocks noChangeAspect="1"/>
            </p:cNvPicPr>
            <p:nvPr/>
          </p:nvPicPr>
          <p:blipFill rotWithShape="1">
            <a:blip r:embed="rId3"/>
            <a:srcRect l="10390" t="19449" r="22179" b="38395"/>
            <a:stretch/>
          </p:blipFill>
          <p:spPr>
            <a:xfrm>
              <a:off x="4000922" y="2820371"/>
              <a:ext cx="6165891" cy="2168294"/>
            </a:xfrm>
            <a:prstGeom prst="rect">
              <a:avLst/>
            </a:prstGeom>
          </p:spPr>
        </p:pic>
        <p:sp>
          <p:nvSpPr>
            <p:cNvPr id="10" name="TextBox 9">
              <a:extLst>
                <a:ext uri="{FF2B5EF4-FFF2-40B4-BE49-F238E27FC236}">
                  <a16:creationId xmlns:a16="http://schemas.microsoft.com/office/drawing/2014/main" id="{3588150F-F3F2-4D7A-90D0-2DF7834CB31A}"/>
                </a:ext>
              </a:extLst>
            </p:cNvPr>
            <p:cNvSpPr txBox="1"/>
            <p:nvPr/>
          </p:nvSpPr>
          <p:spPr>
            <a:xfrm>
              <a:off x="7217644" y="4985405"/>
              <a:ext cx="3072984" cy="307648"/>
            </a:xfrm>
            <a:prstGeom prst="rect">
              <a:avLst/>
            </a:prstGeom>
            <a:noFill/>
          </p:spPr>
          <p:txBody>
            <a:bodyPr wrap="square" rtlCol="0">
              <a:spAutoFit/>
            </a:bodyPr>
            <a:lstStyle/>
            <a:p>
              <a:pPr marL="0" marR="0" lvl="0" indent="0" algn="l" defTabSz="913532" rtl="0" eaLnBrk="1" fontAlgn="auto" latinLnBrk="0" hangingPunct="1">
                <a:lnSpc>
                  <a:spcPct val="100000"/>
                </a:lnSpc>
                <a:spcBef>
                  <a:spcPts val="0"/>
                </a:spcBef>
                <a:spcAft>
                  <a:spcPts val="0"/>
                </a:spcAft>
                <a:buClrTx/>
                <a:buSzTx/>
                <a:buFontTx/>
                <a:buNone/>
                <a:tabLst/>
                <a:defRPr/>
              </a:pPr>
              <a:r>
                <a:rPr kumimoji="0" lang="en-US" sz="1399" b="0" i="0" u="none" strike="noStrike" kern="1200" cap="none" spc="0" normalizeH="0" baseline="0" noProof="0" dirty="0">
                  <a:ln>
                    <a:noFill/>
                  </a:ln>
                  <a:solidFill>
                    <a:prstClr val="black"/>
                  </a:solidFill>
                  <a:effectLst/>
                  <a:uLnTx/>
                  <a:uFillTx/>
                  <a:latin typeface="Calibri" panose="020F0502020204030204"/>
                  <a:ea typeface="+mn-ea"/>
                  <a:cs typeface="Calibri" panose="020F0502020204030204" pitchFamily="34" charset="0"/>
                </a:rPr>
                <a:t>Cheng et al. J Hepatol 2022;76:862-73</a:t>
              </a:r>
            </a:p>
          </p:txBody>
        </p:sp>
        <p:sp>
          <p:nvSpPr>
            <p:cNvPr id="9" name="TextBox 8">
              <a:extLst>
                <a:ext uri="{FF2B5EF4-FFF2-40B4-BE49-F238E27FC236}">
                  <a16:creationId xmlns:a16="http://schemas.microsoft.com/office/drawing/2014/main" id="{28CBD87E-664A-4967-B205-3F6F3C68C491}"/>
                </a:ext>
              </a:extLst>
            </p:cNvPr>
            <p:cNvSpPr txBox="1"/>
            <p:nvPr/>
          </p:nvSpPr>
          <p:spPr>
            <a:xfrm>
              <a:off x="3998525" y="2538037"/>
              <a:ext cx="604278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Incidence of ≥2nd line therapy in IMbrave150:</a:t>
              </a:r>
            </a:p>
          </p:txBody>
        </p:sp>
      </p:grpSp>
    </p:spTree>
    <p:extLst>
      <p:ext uri="{BB962C8B-B14F-4D97-AF65-F5344CB8AC3E}">
        <p14:creationId xmlns:p14="http://schemas.microsoft.com/office/powerpoint/2010/main" val="3047976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left)">
                                      <p:cBhvr>
                                        <p:cTn id="7" dur="500"/>
                                        <p:tgtEl>
                                          <p:spTgt spid="12"/>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wipe(left)">
                                      <p:cBhvr>
                                        <p:cTn id="12"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7155" y="0"/>
            <a:ext cx="12180722" cy="803305"/>
          </a:xfrm>
        </p:spPr>
        <p:txBody>
          <a:bodyPr>
            <a:normAutofit/>
          </a:bodyPr>
          <a:lstStyle/>
          <a:p>
            <a:r>
              <a:rPr lang="en-US" sz="4400" dirty="0"/>
              <a:t>Updated BCLC Algorithm 2022</a:t>
            </a:r>
          </a:p>
        </p:txBody>
      </p:sp>
      <p:pic>
        <p:nvPicPr>
          <p:cNvPr id="5" name="Picture 4">
            <a:extLst>
              <a:ext uri="{FF2B5EF4-FFF2-40B4-BE49-F238E27FC236}">
                <a16:creationId xmlns:a16="http://schemas.microsoft.com/office/drawing/2014/main" id="{63F22486-2A05-4627-BEC3-EBF557C9B0A3}"/>
              </a:ext>
            </a:extLst>
          </p:cNvPr>
          <p:cNvPicPr>
            <a:picLocks noChangeAspect="1"/>
          </p:cNvPicPr>
          <p:nvPr/>
        </p:nvPicPr>
        <p:blipFill rotWithShape="1">
          <a:blip r:embed="rId2"/>
          <a:srcRect l="20757" t="16602" r="18435" b="19906"/>
          <a:stretch/>
        </p:blipFill>
        <p:spPr>
          <a:xfrm>
            <a:off x="1271883" y="879714"/>
            <a:ext cx="9628910" cy="5655336"/>
          </a:xfrm>
          <a:prstGeom prst="rect">
            <a:avLst/>
          </a:prstGeom>
        </p:spPr>
      </p:pic>
      <p:sp>
        <p:nvSpPr>
          <p:cNvPr id="6" name="TextBox 5">
            <a:extLst>
              <a:ext uri="{FF2B5EF4-FFF2-40B4-BE49-F238E27FC236}">
                <a16:creationId xmlns:a16="http://schemas.microsoft.com/office/drawing/2014/main" id="{0F34C4CF-7D63-464C-9C0B-EDCEA588AC16}"/>
              </a:ext>
            </a:extLst>
          </p:cNvPr>
          <p:cNvSpPr txBox="1"/>
          <p:nvPr/>
        </p:nvSpPr>
        <p:spPr>
          <a:xfrm>
            <a:off x="2954152" y="6521942"/>
            <a:ext cx="6264370" cy="33842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99" b="0" i="0" u="none" strike="noStrike" kern="1200" cap="none" spc="0" normalizeH="0" baseline="0" noProof="0" dirty="0">
                <a:ln>
                  <a:noFill/>
                </a:ln>
                <a:solidFill>
                  <a:prstClr val="black"/>
                </a:solidFill>
                <a:effectLst/>
                <a:uLnTx/>
                <a:uFillTx/>
                <a:latin typeface="Calibri" panose="020F0502020204030204"/>
                <a:ea typeface="+mn-ea"/>
                <a:cs typeface="+mn-cs"/>
              </a:rPr>
              <a:t>Reig et al. J Hepatol. 2022</a:t>
            </a:r>
          </a:p>
        </p:txBody>
      </p:sp>
      <p:pic>
        <p:nvPicPr>
          <p:cNvPr id="8" name="Picture 7">
            <a:extLst>
              <a:ext uri="{FF2B5EF4-FFF2-40B4-BE49-F238E27FC236}">
                <a16:creationId xmlns:a16="http://schemas.microsoft.com/office/drawing/2014/main" id="{5772EF67-2932-49D1-A4BF-DF22DAF2C688}"/>
              </a:ext>
            </a:extLst>
          </p:cNvPr>
          <p:cNvPicPr>
            <a:picLocks noChangeAspect="1"/>
          </p:cNvPicPr>
          <p:nvPr/>
        </p:nvPicPr>
        <p:blipFill rotWithShape="1">
          <a:blip r:embed="rId3"/>
          <a:srcRect l="18602" t="35879" r="60952" b="26213"/>
          <a:stretch/>
        </p:blipFill>
        <p:spPr>
          <a:xfrm>
            <a:off x="3008648" y="2352959"/>
            <a:ext cx="6209875" cy="3238194"/>
          </a:xfrm>
          <a:prstGeom prst="rect">
            <a:avLst/>
          </a:prstGeom>
        </p:spPr>
      </p:pic>
    </p:spTree>
    <p:extLst>
      <p:ext uri="{BB962C8B-B14F-4D97-AF65-F5344CB8AC3E}">
        <p14:creationId xmlns:p14="http://schemas.microsoft.com/office/powerpoint/2010/main" val="15115809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5"/>
                                        </p:tgtEl>
                                      </p:cBhvr>
                                    </p:animEffect>
                                    <p:set>
                                      <p:cBhvr>
                                        <p:cTn id="7" dur="1" fill="hold">
                                          <p:stCondLst>
                                            <p:cond delay="499"/>
                                          </p:stCondLst>
                                        </p:cTn>
                                        <p:tgtEl>
                                          <p:spTgt spid="5"/>
                                        </p:tgtEl>
                                        <p:attrNameLst>
                                          <p:attrName>style.visibility</p:attrName>
                                        </p:attrNameLst>
                                      </p:cBhvr>
                                      <p:to>
                                        <p:strVal val="hidden"/>
                                      </p:to>
                                    </p:set>
                                  </p:childTnLst>
                                </p:cTn>
                              </p:par>
                              <p:par>
                                <p:cTn id="8" presetID="6" presetClass="emph" presetSubtype="0" fill="hold" nodeType="withEffect">
                                  <p:stCondLst>
                                    <p:cond delay="0"/>
                                  </p:stCondLst>
                                  <p:childTnLst>
                                    <p:animScale>
                                      <p:cBhvr>
                                        <p:cTn id="9" dur="2000" fill="hold"/>
                                        <p:tgtEl>
                                          <p:spTgt spid="8"/>
                                        </p:tgtEl>
                                      </p:cBhvr>
                                      <p:by x="150000" y="1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4675" y="180567"/>
            <a:ext cx="10739125" cy="1325563"/>
          </a:xfrm>
        </p:spPr>
        <p:txBody>
          <a:bodyPr>
            <a:normAutofit/>
          </a:bodyPr>
          <a:lstStyle/>
          <a:p>
            <a:r>
              <a:rPr lang="en-US" dirty="0">
                <a:latin typeface="Calibri" panose="020F0502020204030204" pitchFamily="34" charset="0"/>
                <a:cs typeface="Calibri" panose="020F0502020204030204" pitchFamily="34" charset="0"/>
              </a:rPr>
              <a:t>Beyond 1</a:t>
            </a:r>
            <a:r>
              <a:rPr lang="en-US" baseline="30000" dirty="0">
                <a:latin typeface="Calibri" panose="020F0502020204030204" pitchFamily="34" charset="0"/>
                <a:cs typeface="Calibri" panose="020F0502020204030204" pitchFamily="34" charset="0"/>
              </a:rPr>
              <a:t>st</a:t>
            </a:r>
            <a:r>
              <a:rPr lang="en-US" dirty="0">
                <a:latin typeface="Calibri" panose="020F0502020204030204" pitchFamily="34" charset="0"/>
                <a:cs typeface="Calibri" panose="020F0502020204030204" pitchFamily="34" charset="0"/>
              </a:rPr>
              <a:t> Line: </a:t>
            </a:r>
            <a:br>
              <a:rPr lang="en-US" dirty="0">
                <a:latin typeface="Calibri" panose="020F0502020204030204" pitchFamily="34" charset="0"/>
                <a:cs typeface="Calibri" panose="020F0502020204030204" pitchFamily="34" charset="0"/>
              </a:rPr>
            </a:br>
            <a:r>
              <a:rPr lang="en-US" dirty="0">
                <a:latin typeface="Calibri" panose="020F0502020204030204" pitchFamily="34" charset="0"/>
                <a:cs typeface="Calibri" panose="020F0502020204030204" pitchFamily="34" charset="0"/>
              </a:rPr>
              <a:t>Currently Approved 2</a:t>
            </a:r>
            <a:r>
              <a:rPr lang="en-US" baseline="30000" dirty="0">
                <a:latin typeface="Calibri" panose="020F0502020204030204" pitchFamily="34" charset="0"/>
                <a:cs typeface="Calibri" panose="020F0502020204030204" pitchFamily="34" charset="0"/>
              </a:rPr>
              <a:t>nd</a:t>
            </a:r>
            <a:r>
              <a:rPr lang="en-US" dirty="0">
                <a:latin typeface="Calibri" panose="020F0502020204030204" pitchFamily="34" charset="0"/>
                <a:cs typeface="Calibri" panose="020F0502020204030204" pitchFamily="34" charset="0"/>
              </a:rPr>
              <a:t> Line Therapies for HCC</a:t>
            </a:r>
          </a:p>
        </p:txBody>
      </p:sp>
      <p:sp>
        <p:nvSpPr>
          <p:cNvPr id="3" name="Content Placeholder 2"/>
          <p:cNvSpPr>
            <a:spLocks noGrp="1"/>
          </p:cNvSpPr>
          <p:nvPr>
            <p:ph sz="half" idx="1"/>
          </p:nvPr>
        </p:nvSpPr>
        <p:spPr>
          <a:xfrm>
            <a:off x="614676" y="1601894"/>
            <a:ext cx="10962649" cy="4521776"/>
          </a:xfrm>
        </p:spPr>
        <p:txBody>
          <a:bodyPr>
            <a:normAutofit lnSpcReduction="10000"/>
          </a:bodyPr>
          <a:lstStyle/>
          <a:p>
            <a:r>
              <a:rPr lang="en-US" dirty="0"/>
              <a:t>Antiangiogenic therapies with USFDA approval and level 1 evidence:</a:t>
            </a:r>
          </a:p>
          <a:p>
            <a:pPr marL="799360" lvl="1" indent="-342583"/>
            <a:r>
              <a:rPr lang="en-US" dirty="0"/>
              <a:t>Regorafenib: Multikinase inhibitor, similar to sorafenib including VEGFR1-3, BRAF, PDGFR, RET</a:t>
            </a:r>
          </a:p>
          <a:p>
            <a:pPr marL="799360" lvl="1" indent="-342583"/>
            <a:r>
              <a:rPr lang="en-US" dirty="0"/>
              <a:t>Cabozantinib: </a:t>
            </a:r>
            <a:r>
              <a:rPr lang="en-US" dirty="0" err="1"/>
              <a:t>Multikinase</a:t>
            </a:r>
            <a:r>
              <a:rPr lang="en-US" dirty="0"/>
              <a:t> inhibitor with targets including VEGFR1-3, MET, AXL</a:t>
            </a:r>
          </a:p>
          <a:p>
            <a:pPr marL="799360" lvl="1" indent="-342583"/>
            <a:r>
              <a:rPr lang="en-US" dirty="0"/>
              <a:t>Ramucirumab (serum AFP ≥400 ng/mL): Monoclonal antibody targeting VEGFR2 </a:t>
            </a:r>
          </a:p>
          <a:p>
            <a:r>
              <a:rPr lang="en-US" dirty="0"/>
              <a:t>ICI with USFDA accelerated approval based upon phase 1/2 studies:</a:t>
            </a:r>
          </a:p>
          <a:p>
            <a:pPr marL="799360" lvl="1" indent="-342583"/>
            <a:r>
              <a:rPr lang="en-US" dirty="0"/>
              <a:t>Pembrolizumab: Anti-PD-1 ICI</a:t>
            </a:r>
          </a:p>
          <a:p>
            <a:pPr marL="799360" lvl="1" indent="-342583"/>
            <a:r>
              <a:rPr lang="en-US" dirty="0"/>
              <a:t>Nivolumab + ipilimumab: Anti-PD-1 plus anti-CTLA-4 ICI combinations</a:t>
            </a:r>
          </a:p>
          <a:p>
            <a:pPr lvl="1"/>
            <a:endParaRPr lang="en-US" dirty="0"/>
          </a:p>
          <a:p>
            <a:pPr marL="0" indent="0">
              <a:buNone/>
            </a:pPr>
            <a:r>
              <a:rPr lang="en-US" i="1" dirty="0"/>
              <a:t>All of these 2</a:t>
            </a:r>
            <a:r>
              <a:rPr lang="en-US" i="1" baseline="30000" dirty="0"/>
              <a:t>nd</a:t>
            </a:r>
            <a:r>
              <a:rPr lang="en-US" i="1" dirty="0"/>
              <a:t> line treatments have been studied after sorafenib as 1</a:t>
            </a:r>
            <a:r>
              <a:rPr lang="en-US" i="1" baseline="30000" dirty="0"/>
              <a:t>st</a:t>
            </a:r>
            <a:r>
              <a:rPr lang="en-US" i="1" dirty="0"/>
              <a:t> line treatment.</a:t>
            </a:r>
          </a:p>
          <a:p>
            <a:endParaRPr lang="en-US" dirty="0"/>
          </a:p>
        </p:txBody>
      </p:sp>
      <p:sp>
        <p:nvSpPr>
          <p:cNvPr id="5" name="Rectangle 4"/>
          <p:cNvSpPr/>
          <p:nvPr/>
        </p:nvSpPr>
        <p:spPr>
          <a:xfrm>
            <a:off x="614676" y="1601893"/>
            <a:ext cx="10962649" cy="1762091"/>
          </a:xfrm>
          <a:prstGeom prst="rect">
            <a:avLst/>
          </a:prstGeom>
          <a:noFill/>
          <a:ln w="38100"/>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98"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133365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3">
                                            <p:txEl>
                                              <p:pRg st="8" end="8"/>
                                            </p:txEl>
                                          </p:spTgt>
                                        </p:tgtEl>
                                        <p:attrNameLst>
                                          <p:attrName>style.visibility</p:attrName>
                                        </p:attrNameLst>
                                      </p:cBhvr>
                                      <p:to>
                                        <p:strVal val="visible"/>
                                      </p:to>
                                    </p:set>
                                    <p:animEffect transition="in" filter="wipe(left)">
                                      <p:cBhvr>
                                        <p:cTn id="7" dur="500"/>
                                        <p:tgtEl>
                                          <p:spTgt spid="3">
                                            <p:txEl>
                                              <p:pRg st="8" end="8"/>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wipe(left)">
                                      <p:cBhvr>
                                        <p:cTn id="12"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90316" y="58696"/>
            <a:ext cx="10776556" cy="977960"/>
          </a:xfrm>
        </p:spPr>
        <p:txBody>
          <a:bodyPr/>
          <a:lstStyle/>
          <a:p>
            <a:pPr algn="l"/>
            <a:r>
              <a:rPr lang="en-US" sz="3197" dirty="0">
                <a:latin typeface="Calibri" panose="020F0502020204030204" pitchFamily="34" charset="0"/>
                <a:cs typeface="Calibri" panose="020F0502020204030204" pitchFamily="34" charset="0"/>
              </a:rPr>
              <a:t>2</a:t>
            </a:r>
            <a:r>
              <a:rPr lang="en-US" sz="3197" baseline="30000" dirty="0">
                <a:latin typeface="Calibri" panose="020F0502020204030204" pitchFamily="34" charset="0"/>
                <a:cs typeface="Calibri" panose="020F0502020204030204" pitchFamily="34" charset="0"/>
              </a:rPr>
              <a:t>nd</a:t>
            </a:r>
            <a:r>
              <a:rPr lang="en-US" sz="3197" dirty="0">
                <a:latin typeface="Calibri" panose="020F0502020204030204" pitchFamily="34" charset="0"/>
                <a:cs typeface="Calibri" panose="020F0502020204030204" pitchFamily="34" charset="0"/>
              </a:rPr>
              <a:t> Line Systemic Therapies</a:t>
            </a:r>
            <a:br>
              <a:rPr lang="en-US" sz="3197" dirty="0">
                <a:latin typeface="Calibri" panose="020F0502020204030204" pitchFamily="34" charset="0"/>
                <a:cs typeface="Calibri" panose="020F0502020204030204" pitchFamily="34" charset="0"/>
              </a:rPr>
            </a:br>
            <a:r>
              <a:rPr lang="en-US" sz="3197" dirty="0">
                <a:latin typeface="Calibri" panose="020F0502020204030204" pitchFamily="34" charset="0"/>
                <a:cs typeface="Calibri" panose="020F0502020204030204" pitchFamily="34" charset="0"/>
              </a:rPr>
              <a:t>With Level 1 Evidence</a:t>
            </a:r>
          </a:p>
        </p:txBody>
      </p:sp>
      <p:sp>
        <p:nvSpPr>
          <p:cNvPr id="3" name="Content Placeholder 2"/>
          <p:cNvSpPr>
            <a:spLocks noGrp="1"/>
          </p:cNvSpPr>
          <p:nvPr>
            <p:ph idx="1"/>
          </p:nvPr>
        </p:nvSpPr>
        <p:spPr>
          <a:xfrm>
            <a:off x="590316" y="1458205"/>
            <a:ext cx="5033565" cy="4687457"/>
          </a:xfrm>
        </p:spPr>
        <p:txBody>
          <a:bodyPr/>
          <a:lstStyle/>
          <a:p>
            <a:r>
              <a:rPr lang="en-US" sz="2131" dirty="0"/>
              <a:t>Regorafenib improved OS as 2</a:t>
            </a:r>
            <a:r>
              <a:rPr lang="en-US" sz="2131" baseline="30000" dirty="0"/>
              <a:t>nd</a:t>
            </a:r>
            <a:r>
              <a:rPr lang="en-US" sz="2131" dirty="0"/>
              <a:t> line therapy after progression on sorafenib in patients who tolerated sorafenib</a:t>
            </a:r>
            <a:r>
              <a:rPr lang="en-US" sz="2131" baseline="30000" dirty="0"/>
              <a:t>1</a:t>
            </a:r>
          </a:p>
          <a:p>
            <a:r>
              <a:rPr lang="en-US" sz="2131" dirty="0"/>
              <a:t>Cabozantinib improved OS as 2</a:t>
            </a:r>
            <a:r>
              <a:rPr lang="en-US" sz="2131" baseline="30000" dirty="0"/>
              <a:t>nd</a:t>
            </a:r>
            <a:r>
              <a:rPr lang="en-US" sz="2131" dirty="0"/>
              <a:t> or 3</a:t>
            </a:r>
            <a:r>
              <a:rPr lang="en-US" sz="2131" baseline="30000" dirty="0"/>
              <a:t>rd</a:t>
            </a:r>
            <a:r>
              <a:rPr lang="en-US" sz="2131" dirty="0"/>
              <a:t> line of therapy after sorafenib</a:t>
            </a:r>
            <a:r>
              <a:rPr lang="en-US" sz="2131" baseline="30000" dirty="0"/>
              <a:t>2</a:t>
            </a:r>
            <a:endParaRPr lang="en-US" sz="2131" dirty="0"/>
          </a:p>
          <a:p>
            <a:r>
              <a:rPr lang="en-US" sz="2131" dirty="0"/>
              <a:t>Ramucirumab improved OS as 2</a:t>
            </a:r>
            <a:r>
              <a:rPr lang="en-US" sz="2131" baseline="30000" dirty="0"/>
              <a:t>nd</a:t>
            </a:r>
            <a:r>
              <a:rPr lang="en-US" sz="2131" dirty="0"/>
              <a:t> line therapy after sorafenib in patients with AFP ≥ 400 ng/mL</a:t>
            </a:r>
            <a:r>
              <a:rPr lang="en-US" sz="2131" baseline="30000" dirty="0"/>
              <a:t>3</a:t>
            </a:r>
            <a:endParaRPr lang="en-US" sz="2131" dirty="0"/>
          </a:p>
          <a:p>
            <a:pPr lvl="1"/>
            <a:r>
              <a:rPr lang="en-US" sz="1332" dirty="0"/>
              <a:t>First biomarker-selected therapy in HCC</a:t>
            </a:r>
          </a:p>
        </p:txBody>
      </p:sp>
      <p:pic>
        <p:nvPicPr>
          <p:cNvPr id="9" name="Picture 8"/>
          <p:cNvPicPr>
            <a:picLocks noChangeAspect="1"/>
          </p:cNvPicPr>
          <p:nvPr/>
        </p:nvPicPr>
        <p:blipFill rotWithShape="1">
          <a:blip r:embed="rId3"/>
          <a:srcRect t="4271"/>
          <a:stretch/>
        </p:blipFill>
        <p:spPr>
          <a:xfrm>
            <a:off x="8233648" y="149136"/>
            <a:ext cx="3735421" cy="1911024"/>
          </a:xfrm>
          <a:prstGeom prst="rect">
            <a:avLst/>
          </a:prstGeom>
        </p:spPr>
      </p:pic>
      <p:pic>
        <p:nvPicPr>
          <p:cNvPr id="10" name="Picture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803460" y="2547014"/>
            <a:ext cx="3867379" cy="2035196"/>
          </a:xfrm>
          <a:prstGeom prst="rect">
            <a:avLst/>
          </a:prstGeom>
        </p:spPr>
      </p:pic>
      <p:pic>
        <p:nvPicPr>
          <p:cNvPr id="4" name="Picture 3"/>
          <p:cNvPicPr>
            <a:picLocks noChangeAspect="1"/>
          </p:cNvPicPr>
          <p:nvPr/>
        </p:nvPicPr>
        <p:blipFill rotWithShape="1">
          <a:blip r:embed="rId5" cstate="email">
            <a:extLst>
              <a:ext uri="{BEBA8EAE-BF5A-486C-A8C5-ECC9F3942E4B}">
                <a14:imgProps xmlns:a14="http://schemas.microsoft.com/office/drawing/2010/main">
                  <a14:imgLayer r:embed="rId6">
                    <a14:imgEffect>
                      <a14:sharpenSoften amount="25000"/>
                    </a14:imgEffect>
                  </a14:imgLayer>
                </a14:imgProps>
              </a:ext>
              <a:ext uri="{28A0092B-C50C-407E-A947-70E740481C1C}">
                <a14:useLocalDpi xmlns:a14="http://schemas.microsoft.com/office/drawing/2010/main"/>
              </a:ext>
            </a:extLst>
          </a:blip>
          <a:srcRect/>
          <a:stretch/>
        </p:blipFill>
        <p:spPr>
          <a:xfrm>
            <a:off x="8030736" y="4583689"/>
            <a:ext cx="4164673" cy="2190641"/>
          </a:xfrm>
          <a:prstGeom prst="rect">
            <a:avLst/>
          </a:prstGeom>
        </p:spPr>
      </p:pic>
      <p:sp>
        <p:nvSpPr>
          <p:cNvPr id="12" name="TextBox 11"/>
          <p:cNvSpPr txBox="1"/>
          <p:nvPr/>
        </p:nvSpPr>
        <p:spPr bwMode="auto">
          <a:xfrm>
            <a:off x="9754925" y="379076"/>
            <a:ext cx="2214145" cy="492186"/>
          </a:xfrm>
          <a:prstGeom prst="rect">
            <a:avLst/>
          </a:prstGeom>
          <a:noFill/>
          <a:ln w="19050" algn="ctr">
            <a:noFill/>
            <a:miter lim="800000"/>
            <a:headEnd/>
            <a:tailEnd/>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99" b="0" i="0" u="none" strike="noStrike" kern="1200" cap="none" spc="0" normalizeH="0" baseline="0" noProof="0" dirty="0">
                <a:ln>
                  <a:noFill/>
                </a:ln>
                <a:solidFill>
                  <a:prstClr val="black"/>
                </a:solidFill>
                <a:effectLst/>
                <a:uLnTx/>
                <a:uFillTx/>
                <a:latin typeface="Calibri Light" panose="020F0302020204030204"/>
                <a:ea typeface="+mn-ea"/>
                <a:cs typeface="+mn-cs"/>
              </a:rPr>
              <a:t>Regorafenib vs. Placebo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99" b="0" i="0" u="none" strike="noStrike" kern="1200" cap="none" spc="0" normalizeH="0" baseline="0" noProof="0" dirty="0">
                <a:ln>
                  <a:noFill/>
                </a:ln>
                <a:solidFill>
                  <a:prstClr val="black"/>
                </a:solidFill>
                <a:effectLst/>
                <a:uLnTx/>
                <a:uFillTx/>
                <a:latin typeface="Calibri Light" panose="020F0302020204030204"/>
                <a:ea typeface="+mn-ea"/>
                <a:cs typeface="+mn-cs"/>
              </a:rPr>
              <a:t>HR 0.63</a:t>
            </a:r>
          </a:p>
        </p:txBody>
      </p:sp>
      <p:sp>
        <p:nvSpPr>
          <p:cNvPr id="13" name="TextBox 12"/>
          <p:cNvSpPr txBox="1"/>
          <p:nvPr/>
        </p:nvSpPr>
        <p:spPr bwMode="auto">
          <a:xfrm>
            <a:off x="9372610" y="4778647"/>
            <a:ext cx="2596461" cy="492186"/>
          </a:xfrm>
          <a:prstGeom prst="rect">
            <a:avLst/>
          </a:prstGeom>
          <a:noFill/>
          <a:ln w="19050" algn="ctr">
            <a:noFill/>
            <a:miter lim="800000"/>
            <a:headEnd/>
            <a:tailEnd/>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99" b="0" i="0" u="none" strike="noStrike" kern="1200" cap="none" spc="0" normalizeH="0" baseline="0" noProof="0" dirty="0">
                <a:ln>
                  <a:noFill/>
                </a:ln>
                <a:solidFill>
                  <a:prstClr val="black"/>
                </a:solidFill>
                <a:effectLst/>
                <a:uLnTx/>
                <a:uFillTx/>
                <a:latin typeface="Calibri Light" panose="020F0302020204030204"/>
                <a:ea typeface="+mn-ea"/>
                <a:cs typeface="+mn-cs"/>
              </a:rPr>
              <a:t>Ramucirumab vs. Placebo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99" b="0" i="0" u="none" strike="noStrike" kern="1200" cap="none" spc="0" normalizeH="0" baseline="0" noProof="0" dirty="0">
                <a:ln>
                  <a:noFill/>
                </a:ln>
                <a:solidFill>
                  <a:prstClr val="black"/>
                </a:solidFill>
                <a:effectLst/>
                <a:uLnTx/>
                <a:uFillTx/>
                <a:latin typeface="Calibri Light" panose="020F0302020204030204"/>
                <a:ea typeface="+mn-ea"/>
                <a:cs typeface="+mn-cs"/>
              </a:rPr>
              <a:t>HR 0.71</a:t>
            </a:r>
          </a:p>
        </p:txBody>
      </p:sp>
      <p:sp>
        <p:nvSpPr>
          <p:cNvPr id="6" name="TextBox 5"/>
          <p:cNvSpPr txBox="1"/>
          <p:nvPr/>
        </p:nvSpPr>
        <p:spPr bwMode="auto">
          <a:xfrm>
            <a:off x="590316" y="6101592"/>
            <a:ext cx="7144435" cy="646331"/>
          </a:xfrm>
          <a:prstGeom prst="rect">
            <a:avLst/>
          </a:prstGeom>
          <a:noFill/>
          <a:ln w="19050" algn="ctr">
            <a:noFill/>
            <a:miter lim="800000"/>
            <a:headEnd/>
            <a:tailEnd/>
          </a:ln>
        </p:spPr>
        <p:txBody>
          <a:bodyPr wrap="square" lIns="0" tIns="0" rIns="0" bIns="0" rtlCol="0">
            <a:spAutoFit/>
          </a:bodyPr>
          <a:lstStyle/>
          <a:p>
            <a:pPr marL="304518" marR="0" lvl="0" indent="-304518" algn="l" defTabSz="914400" rtl="0" eaLnBrk="1" fontAlgn="auto" latinLnBrk="0" hangingPunct="1">
              <a:lnSpc>
                <a:spcPct val="100000"/>
              </a:lnSpc>
              <a:spcBef>
                <a:spcPts val="0"/>
              </a:spcBef>
              <a:spcAft>
                <a:spcPts val="0"/>
              </a:spcAft>
              <a:buClrTx/>
              <a:buSzTx/>
              <a:buFontTx/>
              <a:buAutoNum type="arabicPeriod"/>
              <a:tabLst/>
              <a:defRPr/>
            </a:pPr>
            <a:r>
              <a:rPr kumimoji="0" lang="en-US" sz="1400" b="0" i="0" u="none" strike="noStrike" kern="1200" cap="none" spc="0" normalizeH="0" baseline="0" noProof="0" dirty="0" err="1">
                <a:ln>
                  <a:noFill/>
                </a:ln>
                <a:solidFill>
                  <a:prstClr val="black"/>
                </a:solidFill>
                <a:effectLst/>
                <a:uLnTx/>
                <a:uFillTx/>
                <a:latin typeface="Calibri" panose="020F0502020204030204"/>
                <a:ea typeface="+mn-ea"/>
                <a:cs typeface="+mn-cs"/>
              </a:rPr>
              <a:t>Bruix</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J, et al. </a:t>
            </a:r>
            <a:r>
              <a:rPr kumimoji="0" lang="en-US" sz="1400" b="0" i="1" u="none" strike="noStrike" kern="1200" cap="none" spc="0" normalizeH="0" baseline="0" noProof="0" dirty="0">
                <a:ln>
                  <a:noFill/>
                </a:ln>
                <a:solidFill>
                  <a:prstClr val="black"/>
                </a:solidFill>
                <a:effectLst/>
                <a:uLnTx/>
                <a:uFillTx/>
                <a:latin typeface="Calibri" panose="020F0502020204030204"/>
                <a:ea typeface="+mn-ea"/>
                <a:cs typeface="+mn-cs"/>
              </a:rPr>
              <a:t>Lancet</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2017;389(10064):56-66</a:t>
            </a:r>
          </a:p>
          <a:p>
            <a:pPr marL="304518" marR="0" lvl="0" indent="-304518" algn="l" defTabSz="914400" rtl="0" eaLnBrk="1" fontAlgn="auto" latinLnBrk="0" hangingPunct="1">
              <a:lnSpc>
                <a:spcPct val="100000"/>
              </a:lnSpc>
              <a:spcBef>
                <a:spcPts val="0"/>
              </a:spcBef>
              <a:spcAft>
                <a:spcPts val="0"/>
              </a:spcAft>
              <a:buClrTx/>
              <a:buSzTx/>
              <a:buFontTx/>
              <a:buAutoNum type="arabicPeriod"/>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Abou-Alfa G, et al. </a:t>
            </a:r>
            <a:r>
              <a:rPr kumimoji="0" lang="en-US" sz="1400" b="0" i="1" u="none" strike="noStrike" kern="1200" cap="none" spc="0" normalizeH="0" baseline="0" noProof="0" dirty="0">
                <a:ln>
                  <a:noFill/>
                </a:ln>
                <a:solidFill>
                  <a:prstClr val="black"/>
                </a:solidFill>
                <a:effectLst/>
                <a:uLnTx/>
                <a:uFillTx/>
                <a:latin typeface="Calibri" panose="020F0502020204030204"/>
                <a:ea typeface="+mn-ea"/>
                <a:cs typeface="+mn-cs"/>
              </a:rPr>
              <a:t>N </a:t>
            </a:r>
            <a:r>
              <a:rPr kumimoji="0" lang="en-US" sz="1400" b="0" i="1" u="none" strike="noStrike" kern="1200" cap="none" spc="0" normalizeH="0" baseline="0" noProof="0" dirty="0" err="1">
                <a:ln>
                  <a:noFill/>
                </a:ln>
                <a:solidFill>
                  <a:prstClr val="black"/>
                </a:solidFill>
                <a:effectLst/>
                <a:uLnTx/>
                <a:uFillTx/>
                <a:latin typeface="Calibri" panose="020F0502020204030204"/>
                <a:ea typeface="+mn-ea"/>
                <a:cs typeface="+mn-cs"/>
              </a:rPr>
              <a:t>Engl</a:t>
            </a:r>
            <a:r>
              <a:rPr kumimoji="0" lang="en-US" sz="1400" b="0" i="1" u="none" strike="noStrike" kern="1200" cap="none" spc="0" normalizeH="0" baseline="0" noProof="0" dirty="0">
                <a:ln>
                  <a:noFill/>
                </a:ln>
                <a:solidFill>
                  <a:prstClr val="black"/>
                </a:solidFill>
                <a:effectLst/>
                <a:uLnTx/>
                <a:uFillTx/>
                <a:latin typeface="Calibri" panose="020F0502020204030204"/>
                <a:ea typeface="+mn-ea"/>
                <a:cs typeface="+mn-cs"/>
              </a:rPr>
              <a:t> J Med</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2018;379(1):54-63</a:t>
            </a:r>
          </a:p>
          <a:p>
            <a:pPr marL="304518" marR="0" lvl="0" indent="-304518" algn="l" defTabSz="914400" rtl="0" eaLnBrk="1" fontAlgn="auto" latinLnBrk="0" hangingPunct="1">
              <a:lnSpc>
                <a:spcPct val="100000"/>
              </a:lnSpc>
              <a:spcBef>
                <a:spcPts val="0"/>
              </a:spcBef>
              <a:spcAft>
                <a:spcPts val="0"/>
              </a:spcAft>
              <a:buClrTx/>
              <a:buSzTx/>
              <a:buFontTx/>
              <a:buAutoNum type="arabicPeriod"/>
              <a:tabLst/>
              <a:defRPr/>
            </a:pPr>
            <a:r>
              <a:rPr kumimoji="0" lang="fr-FR" sz="1400" b="0" i="0" u="none" strike="noStrike" kern="1200" cap="none" spc="0" normalizeH="0" baseline="0" noProof="0" dirty="0">
                <a:ln>
                  <a:noFill/>
                </a:ln>
                <a:solidFill>
                  <a:prstClr val="black"/>
                </a:solidFill>
                <a:effectLst/>
                <a:uLnTx/>
                <a:uFillTx/>
                <a:latin typeface="Calibri" panose="020F0502020204030204"/>
                <a:ea typeface="+mn-ea"/>
                <a:cs typeface="+mn-cs"/>
              </a:rPr>
              <a:t>Zhu AX et al.</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400" b="0" i="1" u="none" strike="noStrike" kern="1200" cap="none" spc="0" normalizeH="0" baseline="0" noProof="0" dirty="0">
                <a:ln>
                  <a:noFill/>
                </a:ln>
                <a:solidFill>
                  <a:prstClr val="black"/>
                </a:solidFill>
                <a:effectLst/>
                <a:uLnTx/>
                <a:uFillTx/>
                <a:latin typeface="Calibri" panose="020F0502020204030204"/>
                <a:ea typeface="+mn-ea"/>
                <a:cs typeface="+mn-cs"/>
              </a:rPr>
              <a:t>Lancet </a:t>
            </a:r>
            <a:r>
              <a:rPr kumimoji="0" lang="en-US" sz="1400" b="0" i="1" u="none" strike="noStrike" kern="1200" cap="none" spc="0" normalizeH="0" baseline="0" noProof="0" dirty="0" err="1">
                <a:ln>
                  <a:noFill/>
                </a:ln>
                <a:solidFill>
                  <a:prstClr val="black"/>
                </a:solidFill>
                <a:effectLst/>
                <a:uLnTx/>
                <a:uFillTx/>
                <a:latin typeface="Calibri" panose="020F0502020204030204"/>
                <a:ea typeface="+mn-ea"/>
                <a:cs typeface="+mn-cs"/>
              </a:rPr>
              <a:t>Oncol</a:t>
            </a:r>
            <a:r>
              <a:rPr kumimoji="0" lang="en-US" sz="1400" b="0" i="1"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2019;20(2):282-96</a:t>
            </a:r>
          </a:p>
        </p:txBody>
      </p:sp>
      <p:sp>
        <p:nvSpPr>
          <p:cNvPr id="11" name="TextBox 10">
            <a:extLst>
              <a:ext uri="{FF2B5EF4-FFF2-40B4-BE49-F238E27FC236}">
                <a16:creationId xmlns:a16="http://schemas.microsoft.com/office/drawing/2014/main" id="{576BF286-E87C-47B6-917B-388E7C765149}"/>
              </a:ext>
            </a:extLst>
          </p:cNvPr>
          <p:cNvSpPr txBox="1"/>
          <p:nvPr/>
        </p:nvSpPr>
        <p:spPr bwMode="auto">
          <a:xfrm>
            <a:off x="9460637" y="3195797"/>
            <a:ext cx="2420403" cy="492186"/>
          </a:xfrm>
          <a:prstGeom prst="rect">
            <a:avLst/>
          </a:prstGeom>
          <a:noFill/>
          <a:ln w="19050" algn="ctr">
            <a:noFill/>
            <a:miter lim="800000"/>
            <a:headEnd/>
            <a:tailEnd/>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99" b="0" i="0" u="none" strike="noStrike" kern="1200" cap="none" spc="0" normalizeH="0" baseline="0" noProof="0" dirty="0" err="1">
                <a:ln>
                  <a:noFill/>
                </a:ln>
                <a:solidFill>
                  <a:prstClr val="black"/>
                </a:solidFill>
                <a:effectLst/>
                <a:uLnTx/>
                <a:uFillTx/>
                <a:latin typeface="Calibri Light" panose="020F0302020204030204"/>
                <a:ea typeface="+mn-ea"/>
                <a:cs typeface="+mn-cs"/>
              </a:rPr>
              <a:t>Cabozantinib</a:t>
            </a:r>
            <a:r>
              <a:rPr kumimoji="0" lang="en-US" sz="1599" b="0" i="0" u="none" strike="noStrike" kern="1200" cap="none" spc="0" normalizeH="0" baseline="0" noProof="0" dirty="0">
                <a:ln>
                  <a:noFill/>
                </a:ln>
                <a:solidFill>
                  <a:prstClr val="black"/>
                </a:solidFill>
                <a:effectLst/>
                <a:uLnTx/>
                <a:uFillTx/>
                <a:latin typeface="Calibri Light" panose="020F0302020204030204"/>
                <a:ea typeface="+mn-ea"/>
                <a:cs typeface="+mn-cs"/>
              </a:rPr>
              <a:t> vs. Placebo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99" b="0" i="0" u="none" strike="noStrike" kern="1200" cap="none" spc="0" normalizeH="0" baseline="0" noProof="0" dirty="0">
                <a:ln>
                  <a:noFill/>
                </a:ln>
                <a:solidFill>
                  <a:prstClr val="black"/>
                </a:solidFill>
                <a:effectLst/>
                <a:uLnTx/>
                <a:uFillTx/>
                <a:latin typeface="Calibri Light" panose="020F0302020204030204"/>
                <a:ea typeface="+mn-ea"/>
                <a:cs typeface="+mn-cs"/>
              </a:rPr>
              <a:t>HR 0.76</a:t>
            </a:r>
          </a:p>
        </p:txBody>
      </p:sp>
    </p:spTree>
    <p:extLst>
      <p:ext uri="{BB962C8B-B14F-4D97-AF65-F5344CB8AC3E}">
        <p14:creationId xmlns:p14="http://schemas.microsoft.com/office/powerpoint/2010/main" val="357525023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3">
                                            <p:txEl>
                                              <p:pRg st="3" end="3"/>
                                            </p:txEl>
                                          </p:spTgt>
                                        </p:tgtEl>
                                        <p:attrNameLst>
                                          <p:attrName>style.visibility</p:attrName>
                                        </p:attrNameLst>
                                      </p:cBhvr>
                                      <p:to>
                                        <p:strVal val="visible"/>
                                      </p:to>
                                    </p:set>
                                    <p:animEffect transition="in" filter="wipe(left)">
                                      <p:cBhvr>
                                        <p:cTn id="7" dur="500"/>
                                        <p:tgtEl>
                                          <p:spTgt spid="3">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E8D820-A81E-4535-BA26-EF3233C93ACA}"/>
              </a:ext>
            </a:extLst>
          </p:cNvPr>
          <p:cNvSpPr>
            <a:spLocks noGrp="1"/>
          </p:cNvSpPr>
          <p:nvPr>
            <p:ph type="title"/>
          </p:nvPr>
        </p:nvSpPr>
        <p:spPr>
          <a:xfrm>
            <a:off x="609602" y="426659"/>
            <a:ext cx="10786535" cy="1311128"/>
          </a:xfrm>
        </p:spPr>
        <p:txBody>
          <a:bodyPr/>
          <a:lstStyle/>
          <a:p>
            <a:r>
              <a:rPr lang="en-US" dirty="0">
                <a:latin typeface="+mn-lt"/>
              </a:rPr>
              <a:t>Role for Multikinase Inhibitors After 1</a:t>
            </a:r>
            <a:r>
              <a:rPr lang="en-US" baseline="30000" dirty="0">
                <a:latin typeface="+mn-lt"/>
              </a:rPr>
              <a:t>st</a:t>
            </a:r>
            <a:r>
              <a:rPr lang="en-US" dirty="0">
                <a:latin typeface="+mn-lt"/>
              </a:rPr>
              <a:t> Line ICI-Based Therapy</a:t>
            </a:r>
          </a:p>
        </p:txBody>
      </p:sp>
      <p:sp>
        <p:nvSpPr>
          <p:cNvPr id="3" name="Content Placeholder 2">
            <a:extLst>
              <a:ext uri="{FF2B5EF4-FFF2-40B4-BE49-F238E27FC236}">
                <a16:creationId xmlns:a16="http://schemas.microsoft.com/office/drawing/2014/main" id="{DCBBAECA-FA5A-4833-AD38-27DAAF49B251}"/>
              </a:ext>
            </a:extLst>
          </p:cNvPr>
          <p:cNvSpPr>
            <a:spLocks noGrp="1"/>
          </p:cNvSpPr>
          <p:nvPr>
            <p:ph idx="1"/>
          </p:nvPr>
        </p:nvSpPr>
        <p:spPr>
          <a:xfrm>
            <a:off x="582033" y="1963024"/>
            <a:ext cx="11100731" cy="4020306"/>
          </a:xfrm>
        </p:spPr>
        <p:txBody>
          <a:bodyPr/>
          <a:lstStyle/>
          <a:p>
            <a:r>
              <a:rPr lang="en-US" dirty="0"/>
              <a:t>There is limited prospective data for treatment selection after 1</a:t>
            </a:r>
            <a:r>
              <a:rPr lang="en-US" baseline="30000" dirty="0"/>
              <a:t>st</a:t>
            </a:r>
            <a:r>
              <a:rPr lang="en-US" dirty="0"/>
              <a:t> line ICI-based therapies; </a:t>
            </a:r>
            <a:r>
              <a:rPr lang="en-US" dirty="0" err="1"/>
              <a:t>multikinase</a:t>
            </a:r>
            <a:r>
              <a:rPr lang="en-US" dirty="0"/>
              <a:t> inhibition has biologic rationale</a:t>
            </a:r>
          </a:p>
          <a:p>
            <a:r>
              <a:rPr lang="en-US" dirty="0"/>
              <a:t>Retrospective analysis of 71 patients treated with 2</a:t>
            </a:r>
            <a:r>
              <a:rPr lang="en-US" baseline="30000" dirty="0"/>
              <a:t>nd</a:t>
            </a:r>
            <a:r>
              <a:rPr lang="en-US" dirty="0"/>
              <a:t> line TKI (sorafenib or lenvatinib) after 1</a:t>
            </a:r>
            <a:r>
              <a:rPr lang="en-US" baseline="30000" dirty="0"/>
              <a:t>st</a:t>
            </a:r>
            <a:r>
              <a:rPr lang="en-US" dirty="0"/>
              <a:t> line </a:t>
            </a:r>
            <a:r>
              <a:rPr lang="en-US" dirty="0" err="1"/>
              <a:t>atezo+beva</a:t>
            </a:r>
            <a:r>
              <a:rPr lang="en-US" dirty="0"/>
              <a:t> reported median PFS 3.4 months, median OS 14.7 months</a:t>
            </a:r>
            <a:r>
              <a:rPr lang="en-US" baseline="30000" dirty="0"/>
              <a:t>1</a:t>
            </a:r>
          </a:p>
          <a:p>
            <a:pPr lvl="1"/>
            <a:r>
              <a:rPr lang="en-US" dirty="0"/>
              <a:t>Median PFS was longest for lenvatinib-treated patients: 6.1 vs 2.5 months (p=0.004)</a:t>
            </a:r>
          </a:p>
          <a:p>
            <a:r>
              <a:rPr lang="en-US" dirty="0"/>
              <a:t>A systematic literature review of cabozantinib treatment after prior ICI therapies showed benefit across range of tumor types including HCC</a:t>
            </a:r>
            <a:r>
              <a:rPr lang="en-US" baseline="30000" dirty="0"/>
              <a:t>2</a:t>
            </a:r>
          </a:p>
        </p:txBody>
      </p:sp>
      <p:sp>
        <p:nvSpPr>
          <p:cNvPr id="11" name="Footer Placeholder 10">
            <a:extLst>
              <a:ext uri="{FF2B5EF4-FFF2-40B4-BE49-F238E27FC236}">
                <a16:creationId xmlns:a16="http://schemas.microsoft.com/office/drawing/2014/main" id="{4889A860-44C8-457E-B0FF-0C71A2A66EC5}"/>
              </a:ext>
            </a:extLst>
          </p:cNvPr>
          <p:cNvSpPr>
            <a:spLocks noGrp="1"/>
          </p:cNvSpPr>
          <p:nvPr>
            <p:ph type="ftr" sz="quarter" idx="3"/>
          </p:nvPr>
        </p:nvSpPr>
        <p:spPr>
          <a:xfrm rot="10800000" flipV="1">
            <a:off x="1954633" y="6431340"/>
            <a:ext cx="8355436" cy="241403"/>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pitchFamily="34" charset="0"/>
                <a:ea typeface="+mn-ea"/>
                <a:cs typeface="Arial" pitchFamily="34" charset="0"/>
              </a:rPr>
              <a:t>1. Yoo et al. Liver Cancer 2021;10:107-14; 2. Graham et al. Cancer Treatment Rev 2022;110:102453</a:t>
            </a:r>
          </a:p>
        </p:txBody>
      </p:sp>
    </p:spTree>
    <p:extLst>
      <p:ext uri="{BB962C8B-B14F-4D97-AF65-F5344CB8AC3E}">
        <p14:creationId xmlns:p14="http://schemas.microsoft.com/office/powerpoint/2010/main" val="1071850311"/>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4675" y="172178"/>
            <a:ext cx="10739125" cy="1325563"/>
          </a:xfrm>
        </p:spPr>
        <p:txBody>
          <a:bodyPr>
            <a:normAutofit/>
          </a:bodyPr>
          <a:lstStyle/>
          <a:p>
            <a:r>
              <a:rPr lang="en-US" dirty="0">
                <a:latin typeface="Calibri" panose="020F0502020204030204" pitchFamily="34" charset="0"/>
                <a:cs typeface="Calibri" panose="020F0502020204030204" pitchFamily="34" charset="0"/>
              </a:rPr>
              <a:t>Beyond 1</a:t>
            </a:r>
            <a:r>
              <a:rPr lang="en-US" baseline="30000" dirty="0">
                <a:latin typeface="Calibri" panose="020F0502020204030204" pitchFamily="34" charset="0"/>
                <a:cs typeface="Calibri" panose="020F0502020204030204" pitchFamily="34" charset="0"/>
              </a:rPr>
              <a:t>st</a:t>
            </a:r>
            <a:r>
              <a:rPr lang="en-US" dirty="0">
                <a:latin typeface="Calibri" panose="020F0502020204030204" pitchFamily="34" charset="0"/>
                <a:cs typeface="Calibri" panose="020F0502020204030204" pitchFamily="34" charset="0"/>
              </a:rPr>
              <a:t> Line: </a:t>
            </a:r>
            <a:br>
              <a:rPr lang="en-US" dirty="0">
                <a:latin typeface="Calibri" panose="020F0502020204030204" pitchFamily="34" charset="0"/>
                <a:cs typeface="Calibri" panose="020F0502020204030204" pitchFamily="34" charset="0"/>
              </a:rPr>
            </a:br>
            <a:r>
              <a:rPr lang="en-US" dirty="0">
                <a:latin typeface="Calibri" panose="020F0502020204030204" pitchFamily="34" charset="0"/>
                <a:cs typeface="Calibri" panose="020F0502020204030204" pitchFamily="34" charset="0"/>
              </a:rPr>
              <a:t>Currently Approved 2</a:t>
            </a:r>
            <a:r>
              <a:rPr lang="en-US" baseline="30000" dirty="0">
                <a:latin typeface="Calibri" panose="020F0502020204030204" pitchFamily="34" charset="0"/>
                <a:cs typeface="Calibri" panose="020F0502020204030204" pitchFamily="34" charset="0"/>
              </a:rPr>
              <a:t>nd</a:t>
            </a:r>
            <a:r>
              <a:rPr lang="en-US" dirty="0">
                <a:latin typeface="Calibri" panose="020F0502020204030204" pitchFamily="34" charset="0"/>
                <a:cs typeface="Calibri" panose="020F0502020204030204" pitchFamily="34" charset="0"/>
              </a:rPr>
              <a:t> Line Therapies for HCC</a:t>
            </a:r>
          </a:p>
        </p:txBody>
      </p:sp>
      <p:sp>
        <p:nvSpPr>
          <p:cNvPr id="3" name="Content Placeholder 2"/>
          <p:cNvSpPr>
            <a:spLocks noGrp="1"/>
          </p:cNvSpPr>
          <p:nvPr>
            <p:ph sz="half" idx="1"/>
          </p:nvPr>
        </p:nvSpPr>
        <p:spPr>
          <a:xfrm>
            <a:off x="614676" y="1601894"/>
            <a:ext cx="10962649" cy="4521776"/>
          </a:xfrm>
        </p:spPr>
        <p:txBody>
          <a:bodyPr>
            <a:normAutofit lnSpcReduction="10000"/>
          </a:bodyPr>
          <a:lstStyle/>
          <a:p>
            <a:r>
              <a:rPr lang="en-US" dirty="0"/>
              <a:t>Antiangiogenic therapies with USFDA approval and level 1 evidence:</a:t>
            </a:r>
          </a:p>
          <a:p>
            <a:pPr marL="799360" lvl="1" indent="-342583"/>
            <a:r>
              <a:rPr lang="en-US" dirty="0"/>
              <a:t>Regorafenib: </a:t>
            </a:r>
            <a:r>
              <a:rPr lang="en-US" dirty="0" err="1"/>
              <a:t>Multikinase</a:t>
            </a:r>
            <a:r>
              <a:rPr lang="en-US" dirty="0"/>
              <a:t> inhibitor, similar to sorafenib including VEGFR1-3, BRAF, PDGFR, RET</a:t>
            </a:r>
          </a:p>
          <a:p>
            <a:pPr marL="799360" lvl="1" indent="-342583"/>
            <a:r>
              <a:rPr lang="en-US" dirty="0"/>
              <a:t>Cabozantinib: </a:t>
            </a:r>
            <a:r>
              <a:rPr lang="en-US" dirty="0" err="1"/>
              <a:t>Multikinase</a:t>
            </a:r>
            <a:r>
              <a:rPr lang="en-US" dirty="0"/>
              <a:t> inhibitor with targets including VEGFR1-3, MET, AXL</a:t>
            </a:r>
          </a:p>
          <a:p>
            <a:pPr marL="799360" lvl="1" indent="-342583"/>
            <a:r>
              <a:rPr lang="en-US" dirty="0"/>
              <a:t>Ramucirumab (serum AFP ≥400 ng/mL): Monoclonal antibody targeting VEGFR2 </a:t>
            </a:r>
          </a:p>
          <a:p>
            <a:r>
              <a:rPr lang="en-US" dirty="0"/>
              <a:t>ICI with USFDA accelerated approval based upon phase 1/2 studies:</a:t>
            </a:r>
          </a:p>
          <a:p>
            <a:pPr marL="799360" lvl="1" indent="-342583"/>
            <a:r>
              <a:rPr lang="en-US" dirty="0"/>
              <a:t>Pembrolizumab: Anti-PD-1 ICI</a:t>
            </a:r>
          </a:p>
          <a:p>
            <a:pPr marL="799360" lvl="1" indent="-342583"/>
            <a:r>
              <a:rPr lang="en-US" dirty="0"/>
              <a:t>Nivolumab + ipilimumab: Anti-PD-1 plus anti-CTLA-4 ICI combinations</a:t>
            </a:r>
          </a:p>
          <a:p>
            <a:pPr lvl="1"/>
            <a:endParaRPr lang="en-US" dirty="0"/>
          </a:p>
          <a:p>
            <a:pPr marL="0" indent="0">
              <a:buNone/>
            </a:pPr>
            <a:r>
              <a:rPr lang="en-US" i="1" dirty="0"/>
              <a:t>All of these 2</a:t>
            </a:r>
            <a:r>
              <a:rPr lang="en-US" i="1" baseline="30000" dirty="0"/>
              <a:t>nd</a:t>
            </a:r>
            <a:r>
              <a:rPr lang="en-US" i="1" dirty="0"/>
              <a:t> line treatments have been studied after sorafenib as 1</a:t>
            </a:r>
            <a:r>
              <a:rPr lang="en-US" i="1" baseline="30000" dirty="0"/>
              <a:t>st</a:t>
            </a:r>
            <a:r>
              <a:rPr lang="en-US" i="1" dirty="0"/>
              <a:t> line treatment.</a:t>
            </a:r>
          </a:p>
          <a:p>
            <a:endParaRPr lang="en-US" dirty="0"/>
          </a:p>
        </p:txBody>
      </p:sp>
      <p:sp>
        <p:nvSpPr>
          <p:cNvPr id="5" name="Rectangle 4"/>
          <p:cNvSpPr/>
          <p:nvPr/>
        </p:nvSpPr>
        <p:spPr>
          <a:xfrm>
            <a:off x="614676" y="3428999"/>
            <a:ext cx="10962649" cy="1325563"/>
          </a:xfrm>
          <a:prstGeom prst="rect">
            <a:avLst/>
          </a:prstGeom>
          <a:noFill/>
          <a:ln w="38100"/>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98"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92465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4677" y="186169"/>
            <a:ext cx="11368672" cy="682751"/>
          </a:xfrm>
        </p:spPr>
        <p:txBody>
          <a:bodyPr/>
          <a:lstStyle/>
          <a:p>
            <a:pPr algn="l"/>
            <a:r>
              <a:rPr lang="en-US" sz="4263" dirty="0">
                <a:latin typeface="Calibri" panose="020F0502020204030204" pitchFamily="34" charset="0"/>
                <a:cs typeface="Calibri" panose="020F0502020204030204" pitchFamily="34" charset="0"/>
              </a:rPr>
              <a:t>2</a:t>
            </a:r>
            <a:r>
              <a:rPr lang="en-US" sz="4263" baseline="30000" dirty="0">
                <a:latin typeface="Calibri" panose="020F0502020204030204" pitchFamily="34" charset="0"/>
                <a:cs typeface="Calibri" panose="020F0502020204030204" pitchFamily="34" charset="0"/>
              </a:rPr>
              <a:t>nd</a:t>
            </a:r>
            <a:r>
              <a:rPr lang="en-US" sz="4263" dirty="0">
                <a:latin typeface="Calibri" panose="020F0502020204030204" pitchFamily="34" charset="0"/>
                <a:cs typeface="Calibri" panose="020F0502020204030204" pitchFamily="34" charset="0"/>
              </a:rPr>
              <a:t> Line ICI Therapies with Accelerated Approvals</a:t>
            </a:r>
          </a:p>
        </p:txBody>
      </p:sp>
      <p:sp>
        <p:nvSpPr>
          <p:cNvPr id="3" name="Content Placeholder 2"/>
          <p:cNvSpPr>
            <a:spLocks noGrp="1"/>
          </p:cNvSpPr>
          <p:nvPr>
            <p:ph idx="1"/>
          </p:nvPr>
        </p:nvSpPr>
        <p:spPr>
          <a:xfrm>
            <a:off x="505338" y="1315671"/>
            <a:ext cx="4025643" cy="4668572"/>
          </a:xfrm>
        </p:spPr>
        <p:txBody>
          <a:bodyPr/>
          <a:lstStyle/>
          <a:p>
            <a:pPr>
              <a:spcBef>
                <a:spcPts val="599"/>
              </a:spcBef>
            </a:pPr>
            <a:r>
              <a:rPr lang="en-US" sz="1998" dirty="0"/>
              <a:t>Pembrolizumab</a:t>
            </a:r>
            <a:endParaRPr lang="en-US" sz="1998" baseline="30000" dirty="0"/>
          </a:p>
          <a:p>
            <a:pPr lvl="1">
              <a:spcBef>
                <a:spcPts val="599"/>
              </a:spcBef>
            </a:pPr>
            <a:r>
              <a:rPr lang="en-US" sz="1798" dirty="0"/>
              <a:t>KEYNOTE 240</a:t>
            </a:r>
            <a:r>
              <a:rPr lang="en-US" sz="1798" baseline="30000" dirty="0"/>
              <a:t>1</a:t>
            </a:r>
            <a:r>
              <a:rPr lang="en-US" sz="1798" dirty="0"/>
              <a:t> did not improve OS but showed durable ORR 18.3%; KEYNOTE-394</a:t>
            </a:r>
            <a:r>
              <a:rPr lang="en-US" sz="1798" baseline="30000" dirty="0"/>
              <a:t>2</a:t>
            </a:r>
            <a:r>
              <a:rPr lang="en-US" sz="1798" dirty="0"/>
              <a:t> improved OS, PFS, and ORR compared to placebo</a:t>
            </a:r>
            <a:endParaRPr lang="en-US" sz="1998" dirty="0"/>
          </a:p>
          <a:p>
            <a:pPr>
              <a:spcBef>
                <a:spcPts val="599"/>
              </a:spcBef>
            </a:pPr>
            <a:r>
              <a:rPr lang="en-US" sz="1998" dirty="0"/>
              <a:t>Nivolumab + Ipilimumab</a:t>
            </a:r>
            <a:r>
              <a:rPr lang="en-US" sz="1998" baseline="30000" dirty="0"/>
              <a:t>3</a:t>
            </a:r>
          </a:p>
          <a:p>
            <a:pPr lvl="1">
              <a:spcBef>
                <a:spcPts val="599"/>
              </a:spcBef>
            </a:pPr>
            <a:r>
              <a:rPr lang="en-US" sz="1798" dirty="0"/>
              <a:t>Deep and durable responses in ~30% by RECIST 1.1</a:t>
            </a:r>
          </a:p>
          <a:p>
            <a:pPr lvl="1">
              <a:spcBef>
                <a:spcPts val="599"/>
              </a:spcBef>
            </a:pPr>
            <a:r>
              <a:rPr lang="en-US" sz="1798" dirty="0"/>
              <a:t>Median DOR &gt; ~17 months</a:t>
            </a:r>
          </a:p>
          <a:p>
            <a:pPr lvl="1">
              <a:spcBef>
                <a:spcPts val="599"/>
              </a:spcBef>
            </a:pPr>
            <a:r>
              <a:rPr lang="en-US" sz="1798" dirty="0"/>
              <a:t>Steroids required ~25-50%</a:t>
            </a:r>
          </a:p>
        </p:txBody>
      </p:sp>
      <p:pic>
        <p:nvPicPr>
          <p:cNvPr id="8" name="Picture 7"/>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713807" y="1453209"/>
            <a:ext cx="4607901" cy="2766629"/>
          </a:xfrm>
          <a:prstGeom prst="rect">
            <a:avLst/>
          </a:prstGeom>
        </p:spPr>
      </p:pic>
      <p:pic>
        <p:nvPicPr>
          <p:cNvPr id="9" name="Picture 8"/>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9268655" y="1548529"/>
            <a:ext cx="2917708" cy="2171757"/>
          </a:xfrm>
          <a:prstGeom prst="rect">
            <a:avLst/>
          </a:prstGeom>
        </p:spPr>
      </p:pic>
      <p:sp>
        <p:nvSpPr>
          <p:cNvPr id="10" name="Left Brace 9"/>
          <p:cNvSpPr/>
          <p:nvPr/>
        </p:nvSpPr>
        <p:spPr>
          <a:xfrm>
            <a:off x="4405468" y="1409969"/>
            <a:ext cx="393660" cy="1980060"/>
          </a:xfrm>
          <a:prstGeom prst="leftBrace">
            <a:avLst>
              <a:gd name="adj1" fmla="val 8333"/>
              <a:gd name="adj2" fmla="val 49662"/>
            </a:avLst>
          </a:prstGeom>
          <a:ln w="1587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398"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4" name="Group 3">
            <a:extLst>
              <a:ext uri="{FF2B5EF4-FFF2-40B4-BE49-F238E27FC236}">
                <a16:creationId xmlns:a16="http://schemas.microsoft.com/office/drawing/2014/main" id="{CD0E78DD-1622-4949-BDCE-F90DF949EC9A}"/>
              </a:ext>
            </a:extLst>
          </p:cNvPr>
          <p:cNvGrpSpPr/>
          <p:nvPr/>
        </p:nvGrpSpPr>
        <p:grpSpPr>
          <a:xfrm>
            <a:off x="6095013" y="4626708"/>
            <a:ext cx="5197035" cy="1992547"/>
            <a:chOff x="4571259" y="2786808"/>
            <a:chExt cx="3901385" cy="1495794"/>
          </a:xfrm>
        </p:grpSpPr>
        <p:pic>
          <p:nvPicPr>
            <p:cNvPr id="11" name="Picture 10"/>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4571259" y="2786808"/>
              <a:ext cx="3703347" cy="1495794"/>
            </a:xfrm>
            <a:prstGeom prst="rect">
              <a:avLst/>
            </a:prstGeom>
          </p:spPr>
        </p:pic>
        <p:sp>
          <p:nvSpPr>
            <p:cNvPr id="12" name="TextBox 11"/>
            <p:cNvSpPr txBox="1"/>
            <p:nvPr/>
          </p:nvSpPr>
          <p:spPr>
            <a:xfrm>
              <a:off x="4970660" y="2997108"/>
              <a:ext cx="1068513" cy="284765"/>
            </a:xfrm>
            <a:prstGeom prst="rect">
              <a:avLst/>
            </a:prstGeom>
            <a:noFill/>
          </p:spPr>
          <p:txBody>
            <a:bodyPr wrap="square" rtlCol="0">
              <a:spAutoFit/>
            </a:bodyPr>
            <a:lstStyle/>
            <a:p>
              <a:pPr marL="0" marR="0" lvl="0" indent="0" algn="l" defTabSz="1218043" rtl="0" eaLnBrk="1" fontAlgn="auto" latinLnBrk="0" hangingPunct="1">
                <a:lnSpc>
                  <a:spcPct val="100000"/>
                </a:lnSpc>
                <a:spcBef>
                  <a:spcPts val="0"/>
                </a:spcBef>
                <a:spcAft>
                  <a:spcPts val="0"/>
                </a:spcAft>
                <a:buClrTx/>
                <a:buSzTx/>
                <a:buFontTx/>
                <a:buNone/>
                <a:tabLst/>
                <a:defRPr/>
              </a:pPr>
              <a:r>
                <a:rPr kumimoji="0" lang="en-US" sz="1865" b="1" i="0" u="none" strike="noStrike" kern="1200" cap="none" spc="0" normalizeH="0" baseline="0" noProof="0" dirty="0">
                  <a:ln>
                    <a:noFill/>
                  </a:ln>
                  <a:solidFill>
                    <a:prstClr val="black"/>
                  </a:solidFill>
                  <a:effectLst/>
                  <a:uLnTx/>
                  <a:uFillTx/>
                  <a:latin typeface="Calibri" panose="020F0502020204030204"/>
                  <a:ea typeface="+mn-ea"/>
                  <a:cs typeface="+mn-cs"/>
                </a:rPr>
                <a:t>ORR 32%</a:t>
              </a:r>
            </a:p>
          </p:txBody>
        </p:sp>
        <p:sp>
          <p:nvSpPr>
            <p:cNvPr id="13" name="TextBox 12"/>
            <p:cNvSpPr txBox="1"/>
            <p:nvPr/>
          </p:nvSpPr>
          <p:spPr>
            <a:xfrm>
              <a:off x="6198372" y="3028487"/>
              <a:ext cx="1068513" cy="284765"/>
            </a:xfrm>
            <a:prstGeom prst="rect">
              <a:avLst/>
            </a:prstGeom>
            <a:noFill/>
          </p:spPr>
          <p:txBody>
            <a:bodyPr wrap="square" rtlCol="0">
              <a:spAutoFit/>
            </a:bodyPr>
            <a:lstStyle/>
            <a:p>
              <a:pPr marL="0" marR="0" lvl="0" indent="0" algn="l" defTabSz="1218043" rtl="0" eaLnBrk="1" fontAlgn="auto" latinLnBrk="0" hangingPunct="1">
                <a:lnSpc>
                  <a:spcPct val="100000"/>
                </a:lnSpc>
                <a:spcBef>
                  <a:spcPts val="0"/>
                </a:spcBef>
                <a:spcAft>
                  <a:spcPts val="0"/>
                </a:spcAft>
                <a:buClrTx/>
                <a:buSzTx/>
                <a:buFontTx/>
                <a:buNone/>
                <a:tabLst/>
                <a:defRPr/>
              </a:pPr>
              <a:r>
                <a:rPr kumimoji="0" lang="en-US" sz="1865" b="1" i="0" u="none" strike="noStrike" kern="1200" cap="none" spc="0" normalizeH="0" baseline="0" noProof="0" dirty="0">
                  <a:ln>
                    <a:noFill/>
                  </a:ln>
                  <a:solidFill>
                    <a:prstClr val="black"/>
                  </a:solidFill>
                  <a:effectLst/>
                  <a:uLnTx/>
                  <a:uFillTx/>
                  <a:latin typeface="Calibri" panose="020F0502020204030204"/>
                  <a:ea typeface="+mn-ea"/>
                  <a:cs typeface="+mn-cs"/>
                </a:rPr>
                <a:t>ORR 31%</a:t>
              </a:r>
            </a:p>
          </p:txBody>
        </p:sp>
        <p:sp>
          <p:nvSpPr>
            <p:cNvPr id="14" name="TextBox 13"/>
            <p:cNvSpPr txBox="1"/>
            <p:nvPr/>
          </p:nvSpPr>
          <p:spPr>
            <a:xfrm>
              <a:off x="7404131" y="3026127"/>
              <a:ext cx="1068513" cy="284765"/>
            </a:xfrm>
            <a:prstGeom prst="rect">
              <a:avLst/>
            </a:prstGeom>
            <a:noFill/>
          </p:spPr>
          <p:txBody>
            <a:bodyPr wrap="square" rtlCol="0">
              <a:spAutoFit/>
            </a:bodyPr>
            <a:lstStyle/>
            <a:p>
              <a:pPr marL="0" marR="0" lvl="0" indent="0" algn="l" defTabSz="1218043" rtl="0" eaLnBrk="1" fontAlgn="auto" latinLnBrk="0" hangingPunct="1">
                <a:lnSpc>
                  <a:spcPct val="100000"/>
                </a:lnSpc>
                <a:spcBef>
                  <a:spcPts val="0"/>
                </a:spcBef>
                <a:spcAft>
                  <a:spcPts val="0"/>
                </a:spcAft>
                <a:buClrTx/>
                <a:buSzTx/>
                <a:buFontTx/>
                <a:buNone/>
                <a:tabLst/>
                <a:defRPr/>
              </a:pPr>
              <a:r>
                <a:rPr kumimoji="0" lang="en-US" sz="1865" b="1" i="0" u="none" strike="noStrike" kern="1200" cap="none" spc="0" normalizeH="0" baseline="0" noProof="0" dirty="0">
                  <a:ln>
                    <a:noFill/>
                  </a:ln>
                  <a:solidFill>
                    <a:prstClr val="black"/>
                  </a:solidFill>
                  <a:effectLst/>
                  <a:uLnTx/>
                  <a:uFillTx/>
                  <a:latin typeface="Calibri" panose="020F0502020204030204"/>
                  <a:ea typeface="+mn-ea"/>
                  <a:cs typeface="+mn-cs"/>
                </a:rPr>
                <a:t>ORR 31%</a:t>
              </a:r>
            </a:p>
          </p:txBody>
        </p:sp>
      </p:grpSp>
      <p:cxnSp>
        <p:nvCxnSpPr>
          <p:cNvPr id="16" name="Straight Arrow Connector 15"/>
          <p:cNvCxnSpPr>
            <a:cxnSpLocks/>
            <a:endCxn id="11" idx="1"/>
          </p:cNvCxnSpPr>
          <p:nvPr/>
        </p:nvCxnSpPr>
        <p:spPr>
          <a:xfrm>
            <a:off x="4058969" y="4381459"/>
            <a:ext cx="2036044" cy="1241523"/>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068B44D2-01B6-4A27-98D3-2469941392E9}"/>
              </a:ext>
            </a:extLst>
          </p:cNvPr>
          <p:cNvSpPr txBox="1"/>
          <p:nvPr/>
        </p:nvSpPr>
        <p:spPr bwMode="auto">
          <a:xfrm>
            <a:off x="614677" y="6145864"/>
            <a:ext cx="9405773" cy="646331"/>
          </a:xfrm>
          <a:prstGeom prst="rect">
            <a:avLst/>
          </a:prstGeom>
          <a:noFill/>
          <a:ln w="19050" algn="ctr">
            <a:noFill/>
            <a:miter lim="800000"/>
            <a:headEnd/>
            <a:tailEnd/>
          </a:ln>
        </p:spPr>
        <p:txBody>
          <a:bodyPr wrap="square" lIns="0" tIns="0" rIns="0" bIns="0" rtlCol="0">
            <a:spAutoFit/>
          </a:bodyPr>
          <a:lstStyle/>
          <a:p>
            <a:pPr marL="304518" marR="0" lvl="0" indent="-304518" algn="l" defTabSz="914400" rtl="0" eaLnBrk="1" fontAlgn="auto" latinLnBrk="0" hangingPunct="1">
              <a:lnSpc>
                <a:spcPct val="100000"/>
              </a:lnSpc>
              <a:spcBef>
                <a:spcPts val="0"/>
              </a:spcBef>
              <a:spcAft>
                <a:spcPts val="0"/>
              </a:spcAft>
              <a:buClrTx/>
              <a:buSzTx/>
              <a:buFontTx/>
              <a:buAutoNum type="arabicPeriod"/>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Finn RS, et al. </a:t>
            </a:r>
            <a:r>
              <a:rPr kumimoji="0" lang="en-US" sz="1400" b="0" i="1"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J Clin Oncol. </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2020;38(3):193-202</a:t>
            </a:r>
          </a:p>
          <a:p>
            <a:pPr marL="304518" marR="0" lvl="0" indent="-304518" algn="l" defTabSz="914400" rtl="0" eaLnBrk="1" fontAlgn="auto" latinLnBrk="0" hangingPunct="1">
              <a:lnSpc>
                <a:spcPct val="100000"/>
              </a:lnSpc>
              <a:spcBef>
                <a:spcPts val="0"/>
              </a:spcBef>
              <a:spcAft>
                <a:spcPts val="0"/>
              </a:spcAft>
              <a:buClrTx/>
              <a:buSzTx/>
              <a:buFontTx/>
              <a:buAutoNum type="arabicPeriod"/>
              <a:tabLst/>
              <a:defRPr/>
            </a:pPr>
            <a:r>
              <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mn-cs"/>
              </a:rPr>
              <a:t>Clinicaltrials.gov, NCT03062358; Qin et al. GI ASCO 2022</a:t>
            </a: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304518" marR="0" lvl="0" indent="-304518" algn="l" defTabSz="914400" rtl="0" eaLnBrk="1" fontAlgn="auto" latinLnBrk="0" hangingPunct="1">
              <a:lnSpc>
                <a:spcPct val="100000"/>
              </a:lnSpc>
              <a:spcBef>
                <a:spcPts val="0"/>
              </a:spcBef>
              <a:spcAft>
                <a:spcPts val="0"/>
              </a:spcAft>
              <a:buClrTx/>
              <a:buSzTx/>
              <a:buFontTx/>
              <a:buAutoNum type="arabicPeriod"/>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Yau T, et al. </a:t>
            </a:r>
            <a:r>
              <a:rPr kumimoji="0" lang="en-US" sz="1400" b="0" i="1"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JAMA Oncol.</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 2020;6(11):</a:t>
            </a:r>
            <a:r>
              <a:rPr kumimoji="0" lang="en-US" sz="1400" b="0" i="0" u="none" strike="noStrike" kern="1200" cap="none" spc="0" normalizeH="0" baseline="0" noProof="0" dirty="0">
                <a:ln>
                  <a:noFill/>
                </a:ln>
                <a:solidFill>
                  <a:srgbClr val="333333"/>
                </a:solidFill>
                <a:effectLst/>
                <a:uLnTx/>
                <a:uFillTx/>
                <a:latin typeface="Calibri" panose="020F0502020204030204"/>
                <a:ea typeface="+mn-ea"/>
                <a:cs typeface="+mn-cs"/>
              </a:rPr>
              <a:t>e204564</a:t>
            </a: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p:txBody>
      </p:sp>
      <p:sp>
        <p:nvSpPr>
          <p:cNvPr id="6" name="TextBox 5">
            <a:extLst>
              <a:ext uri="{FF2B5EF4-FFF2-40B4-BE49-F238E27FC236}">
                <a16:creationId xmlns:a16="http://schemas.microsoft.com/office/drawing/2014/main" id="{D66299ED-EBB9-4DF9-B161-4EC76BD7A9D1}"/>
              </a:ext>
            </a:extLst>
          </p:cNvPr>
          <p:cNvSpPr txBox="1"/>
          <p:nvPr/>
        </p:nvSpPr>
        <p:spPr>
          <a:xfrm>
            <a:off x="6076605" y="1096296"/>
            <a:ext cx="490317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KEYNOTE 240: Pembrolizumab vs. Placebo</a:t>
            </a:r>
            <a:r>
              <a:rPr kumimoji="0" lang="en-US" sz="1800" b="1" i="0" u="none" strike="noStrike" kern="1200" cap="none" spc="0" normalizeH="0" baseline="30000" noProof="0" dirty="0">
                <a:ln>
                  <a:noFill/>
                </a:ln>
                <a:solidFill>
                  <a:prstClr val="black"/>
                </a:solidFill>
                <a:effectLst/>
                <a:uLnTx/>
                <a:uFillTx/>
                <a:latin typeface="Calibri" panose="020F0502020204030204"/>
                <a:ea typeface="+mn-ea"/>
                <a:cs typeface="+mn-cs"/>
              </a:rPr>
              <a:t>1</a:t>
            </a:r>
          </a:p>
        </p:txBody>
      </p:sp>
      <p:sp>
        <p:nvSpPr>
          <p:cNvPr id="17" name="TextBox 16">
            <a:extLst>
              <a:ext uri="{FF2B5EF4-FFF2-40B4-BE49-F238E27FC236}">
                <a16:creationId xmlns:a16="http://schemas.microsoft.com/office/drawing/2014/main" id="{F0BF0424-5DA1-46E3-98F1-70B908CDDA78}"/>
              </a:ext>
            </a:extLst>
          </p:cNvPr>
          <p:cNvSpPr txBox="1"/>
          <p:nvPr/>
        </p:nvSpPr>
        <p:spPr>
          <a:xfrm>
            <a:off x="6128337" y="4335848"/>
            <a:ext cx="490317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CheckMate-040: Nivolumab + Ipilimumab Cohort</a:t>
            </a:r>
            <a:r>
              <a:rPr kumimoji="0" lang="en-US" sz="1800" b="1" i="0" u="none" strike="noStrike" kern="1200" cap="none" spc="0" normalizeH="0" baseline="30000" noProof="0" dirty="0">
                <a:ln>
                  <a:noFill/>
                </a:ln>
                <a:solidFill>
                  <a:prstClr val="black"/>
                </a:solidFill>
                <a:effectLst/>
                <a:uLnTx/>
                <a:uFillTx/>
                <a:latin typeface="Calibri" panose="020F0502020204030204"/>
                <a:ea typeface="+mn-ea"/>
                <a:cs typeface="+mn-cs"/>
              </a:rPr>
              <a:t>3</a:t>
            </a:r>
          </a:p>
        </p:txBody>
      </p:sp>
    </p:spTree>
    <p:extLst>
      <p:ext uri="{BB962C8B-B14F-4D97-AF65-F5344CB8AC3E}">
        <p14:creationId xmlns:p14="http://schemas.microsoft.com/office/powerpoint/2010/main" val="3200219738"/>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lide3">
            <a:extLst>
              <a:ext uri="{FF2B5EF4-FFF2-40B4-BE49-F238E27FC236}">
                <a16:creationId xmlns:a16="http://schemas.microsoft.com/office/drawing/2014/main" id="{5036DC84-FE3F-4DE8-A8FC-DC5C1DE699B0}"/>
              </a:ext>
            </a:extLst>
          </p:cNvPr>
          <p:cNvPicPr>
            <a:picLocks noGrp="1" noChangeAspect="1"/>
          </p:cNvPicPr>
          <p:nvPr isPhoto="1"/>
        </p:nvPicPr>
        <p:blipFill>
          <a:blip r:embed="rId2">
            <a:lum/>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172912381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lide4">
            <a:extLst>
              <a:ext uri="{FF2B5EF4-FFF2-40B4-BE49-F238E27FC236}">
                <a16:creationId xmlns:a16="http://schemas.microsoft.com/office/drawing/2014/main" id="{E2BAF705-31F9-4F20-B10E-454E6D65A755}"/>
              </a:ext>
            </a:extLst>
          </p:cNvPr>
          <p:cNvPicPr>
            <a:picLocks noGrp="1" noChangeAspect="1"/>
          </p:cNvPicPr>
          <p:nvPr isPhoto="1"/>
        </p:nvPicPr>
        <p:blipFill>
          <a:blip r:embed="rId2">
            <a:lum/>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128185727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lide5">
            <a:extLst>
              <a:ext uri="{FF2B5EF4-FFF2-40B4-BE49-F238E27FC236}">
                <a16:creationId xmlns:a16="http://schemas.microsoft.com/office/drawing/2014/main" id="{45EA0ED0-319E-42A6-BDC0-53F798703BD0}"/>
              </a:ext>
            </a:extLst>
          </p:cNvPr>
          <p:cNvPicPr>
            <a:picLocks noGrp="1" noChangeAspect="1"/>
          </p:cNvPicPr>
          <p:nvPr isPhoto="1"/>
        </p:nvPicPr>
        <p:blipFill>
          <a:blip r:embed="rId2">
            <a:lum/>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224430634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2286" y="83408"/>
            <a:ext cx="10358967" cy="1257360"/>
          </a:xfrm>
        </p:spPr>
        <p:txBody>
          <a:bodyPr/>
          <a:lstStyle/>
          <a:p>
            <a:r>
              <a:rPr lang="en-US" sz="3200" dirty="0"/>
              <a:t>Professor Arndt Vogel, MD </a:t>
            </a:r>
            <a:r>
              <a:rPr lang="en-US" sz="3200" dirty="0">
                <a:solidFill>
                  <a:srgbClr val="0432FF"/>
                </a:solidFill>
              </a:rPr>
              <a:t>— Disclosures</a:t>
            </a:r>
            <a:br>
              <a:rPr lang="en-US" sz="3200" dirty="0">
                <a:solidFill>
                  <a:srgbClr val="0432FF"/>
                </a:solidFill>
              </a:rPr>
            </a:br>
            <a:r>
              <a:rPr lang="en-US" sz="2800" dirty="0">
                <a:solidFill>
                  <a:srgbClr val="0432FF"/>
                </a:solidFill>
              </a:rPr>
              <a:t>Faculty</a:t>
            </a:r>
          </a:p>
        </p:txBody>
      </p:sp>
      <p:graphicFrame>
        <p:nvGraphicFramePr>
          <p:cNvPr id="3" name="Table 2">
            <a:extLst>
              <a:ext uri="{FF2B5EF4-FFF2-40B4-BE49-F238E27FC236}">
                <a16:creationId xmlns:a16="http://schemas.microsoft.com/office/drawing/2014/main" id="{17EEBD4A-2374-A64B-8F45-399BD207A7C4}"/>
              </a:ext>
            </a:extLst>
          </p:cNvPr>
          <p:cNvGraphicFramePr>
            <a:graphicFrameLocks noGrp="1"/>
          </p:cNvGraphicFramePr>
          <p:nvPr/>
        </p:nvGraphicFramePr>
        <p:xfrm>
          <a:off x="996146" y="1772816"/>
          <a:ext cx="10199707" cy="4116392"/>
        </p:xfrm>
        <a:graphic>
          <a:graphicData uri="http://schemas.openxmlformats.org/drawingml/2006/table">
            <a:tbl>
              <a:tblPr firstRow="1" bandRow="1">
                <a:tableStyleId>{F2DE63D5-997A-4646-A377-4702673A728D}</a:tableStyleId>
              </a:tblPr>
              <a:tblGrid>
                <a:gridCol w="2998907">
                  <a:extLst>
                    <a:ext uri="{9D8B030D-6E8A-4147-A177-3AD203B41FA5}">
                      <a16:colId xmlns:a16="http://schemas.microsoft.com/office/drawing/2014/main" val="554462400"/>
                    </a:ext>
                  </a:extLst>
                </a:gridCol>
                <a:gridCol w="7200800">
                  <a:extLst>
                    <a:ext uri="{9D8B030D-6E8A-4147-A177-3AD203B41FA5}">
                      <a16:colId xmlns:a16="http://schemas.microsoft.com/office/drawing/2014/main" val="1695023928"/>
                    </a:ext>
                  </a:extLst>
                </a:gridCol>
              </a:tblGrid>
              <a:tr h="1872208">
                <a:tc>
                  <a:txBody>
                    <a:bodyPr/>
                    <a:lstStyle/>
                    <a:p>
                      <a:r>
                        <a:rPr lang="en-US" b="1" dirty="0">
                          <a:solidFill>
                            <a:schemeClr val="tx1"/>
                          </a:solidFill>
                        </a:rPr>
                        <a:t>Consulting Agreements</a:t>
                      </a:r>
                      <a:endParaRPr lang="en-US" sz="1800" b="1" kern="1200" dirty="0">
                        <a:solidFill>
                          <a:schemeClr val="tx1"/>
                        </a:solidFill>
                        <a:effectLst/>
                        <a:latin typeface="+mn-lt"/>
                        <a:ea typeface="+mn-ea"/>
                        <a:cs typeface="+mn-cs"/>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b="0" dirty="0">
                          <a:solidFill>
                            <a:schemeClr val="tx1"/>
                          </a:solidFill>
                        </a:rPr>
                        <a:t>Amgen Inc, AstraZeneca Pharmaceuticals LP, </a:t>
                      </a:r>
                      <a:r>
                        <a:rPr lang="en-US" b="0" dirty="0" err="1">
                          <a:solidFill>
                            <a:schemeClr val="tx1"/>
                          </a:solidFill>
                        </a:rPr>
                        <a:t>BeiGene</a:t>
                      </a:r>
                      <a:r>
                        <a:rPr lang="en-US" b="0" dirty="0">
                          <a:solidFill>
                            <a:schemeClr val="tx1"/>
                          </a:solidFill>
                        </a:rPr>
                        <a:t> Ltd, </a:t>
                      </a:r>
                      <a:r>
                        <a:rPr lang="en-US" b="0" dirty="0" err="1">
                          <a:solidFill>
                            <a:schemeClr val="tx1"/>
                          </a:solidFill>
                        </a:rPr>
                        <a:t>Böhringer</a:t>
                      </a:r>
                      <a:r>
                        <a:rPr lang="en-US" b="0" dirty="0">
                          <a:solidFill>
                            <a:schemeClr val="tx1"/>
                          </a:solidFill>
                        </a:rPr>
                        <a:t> Mannheim, Bristol-Myers Squibb Company, BTG, Daiichi Sankyo Inc, Eisai Inc, Incyte Corporation, Ipsen Biopharmaceuticals Inc, Merck Sharp &amp; Dohme LLC, Pierre Fabre, Roche Laboratories Inc, </a:t>
                      </a:r>
                      <a:r>
                        <a:rPr lang="en-US" b="0" dirty="0" err="1">
                          <a:solidFill>
                            <a:schemeClr val="tx1"/>
                          </a:solidFill>
                        </a:rPr>
                        <a:t>Servier</a:t>
                      </a:r>
                      <a:r>
                        <a:rPr lang="en-US" b="0" dirty="0">
                          <a:solidFill>
                            <a:schemeClr val="tx1"/>
                          </a:solidFill>
                        </a:rPr>
                        <a:t> Pharmaceuticals LLC, </a:t>
                      </a:r>
                      <a:r>
                        <a:rPr lang="en-US" b="0" dirty="0" err="1">
                          <a:solidFill>
                            <a:schemeClr val="tx1"/>
                          </a:solidFill>
                        </a:rPr>
                        <a:t>Sirtex</a:t>
                      </a:r>
                      <a:r>
                        <a:rPr lang="en-US" b="0" dirty="0">
                          <a:solidFill>
                            <a:schemeClr val="tx1"/>
                          </a:solidFill>
                        </a:rPr>
                        <a:t> Medical Ltd, Taiho Oncology Inc, Terumo Medical Corporation</a:t>
                      </a:r>
                      <a:endParaRPr lang="en-US" sz="1800" b="0" kern="1200" dirty="0">
                        <a:solidFill>
                          <a:schemeClr val="tx1"/>
                        </a:solidFill>
                        <a:effectLst/>
                        <a:latin typeface="+mn-lt"/>
                        <a:ea typeface="+mn-ea"/>
                        <a:cs typeface="+mn-cs"/>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33472633"/>
                  </a:ext>
                </a:extLst>
              </a:tr>
              <a:tr h="2244184">
                <a:tc>
                  <a:txBody>
                    <a:bodyPr/>
                    <a:lstStyle/>
                    <a:p>
                      <a:r>
                        <a:rPr lang="en-US" b="1" dirty="0">
                          <a:solidFill>
                            <a:schemeClr val="tx1"/>
                          </a:solidFill>
                        </a:rPr>
                        <a:t>Speaker</a:t>
                      </a:r>
                      <a:endParaRPr lang="en-US" sz="1800" b="1" kern="1200" dirty="0">
                        <a:solidFill>
                          <a:schemeClr val="tx1"/>
                        </a:solidFill>
                        <a:effectLst/>
                        <a:latin typeface="+mn-lt"/>
                        <a:ea typeface="+mn-ea"/>
                        <a:cs typeface="+mn-cs"/>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dirty="0">
                          <a:solidFill>
                            <a:schemeClr val="tx1"/>
                          </a:solidFill>
                        </a:rPr>
                        <a:t>Advanced Accelerator Applications, Amgen Inc, AstraZeneca Pharmaceuticals LP, </a:t>
                      </a:r>
                      <a:r>
                        <a:rPr lang="en-US" dirty="0" err="1">
                          <a:solidFill>
                            <a:schemeClr val="tx1"/>
                          </a:solidFill>
                        </a:rPr>
                        <a:t>BeiGene</a:t>
                      </a:r>
                      <a:r>
                        <a:rPr lang="en-US" dirty="0">
                          <a:solidFill>
                            <a:schemeClr val="tx1"/>
                          </a:solidFill>
                        </a:rPr>
                        <a:t> Ltd, </a:t>
                      </a:r>
                      <a:r>
                        <a:rPr lang="en-US" dirty="0" err="1">
                          <a:solidFill>
                            <a:schemeClr val="tx1"/>
                          </a:solidFill>
                        </a:rPr>
                        <a:t>Böhringer</a:t>
                      </a:r>
                      <a:r>
                        <a:rPr lang="en-US" dirty="0">
                          <a:solidFill>
                            <a:schemeClr val="tx1"/>
                          </a:solidFill>
                        </a:rPr>
                        <a:t> Mannheim, Bristol-Myers Squibb Company, BTG, Daiichi Sankyo Inc, Eisai Inc, GlaxoSmithKline, Incyte Corporation, Ipsen Biopharmaceuticals Inc, Jiangsu </a:t>
                      </a:r>
                      <a:r>
                        <a:rPr lang="en-US" dirty="0" err="1">
                          <a:solidFill>
                            <a:schemeClr val="tx1"/>
                          </a:solidFill>
                        </a:rPr>
                        <a:t>Hengrui</a:t>
                      </a:r>
                      <a:r>
                        <a:rPr lang="en-US" dirty="0">
                          <a:solidFill>
                            <a:schemeClr val="tx1"/>
                          </a:solidFill>
                        </a:rPr>
                        <a:t> Medicine Co Ltd, Merck Sharp &amp; Dohme LLC, Pierre Fabre, Roche Laboratories Inc, </a:t>
                      </a:r>
                      <a:r>
                        <a:rPr lang="en-US" dirty="0" err="1">
                          <a:solidFill>
                            <a:schemeClr val="tx1"/>
                          </a:solidFill>
                        </a:rPr>
                        <a:t>Servier</a:t>
                      </a:r>
                      <a:r>
                        <a:rPr lang="en-US" dirty="0">
                          <a:solidFill>
                            <a:schemeClr val="tx1"/>
                          </a:solidFill>
                        </a:rPr>
                        <a:t> Pharmaceuticals LLC, </a:t>
                      </a:r>
                      <a:r>
                        <a:rPr lang="en-US" dirty="0" err="1">
                          <a:solidFill>
                            <a:schemeClr val="tx1"/>
                          </a:solidFill>
                        </a:rPr>
                        <a:t>Sirtex</a:t>
                      </a:r>
                      <a:r>
                        <a:rPr lang="en-US" dirty="0">
                          <a:solidFill>
                            <a:schemeClr val="tx1"/>
                          </a:solidFill>
                        </a:rPr>
                        <a:t> Medical Ltd, Taiho Oncology Inc, Terumo Medical Corporation</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96370210"/>
                  </a:ext>
                </a:extLst>
              </a:tr>
            </a:tbl>
          </a:graphicData>
        </a:graphic>
      </p:graphicFrame>
    </p:spTree>
    <p:custDataLst>
      <p:tags r:id="rId1"/>
    </p:custDataLst>
    <p:extLst>
      <p:ext uri="{BB962C8B-B14F-4D97-AF65-F5344CB8AC3E}">
        <p14:creationId xmlns:p14="http://schemas.microsoft.com/office/powerpoint/2010/main" val="130857850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lide7">
            <a:extLst>
              <a:ext uri="{FF2B5EF4-FFF2-40B4-BE49-F238E27FC236}">
                <a16:creationId xmlns:a16="http://schemas.microsoft.com/office/drawing/2014/main" id="{63CA9223-2821-41B0-BA68-B9BC8E9E0576}"/>
              </a:ext>
            </a:extLst>
          </p:cNvPr>
          <p:cNvPicPr>
            <a:picLocks noGrp="1" noChangeAspect="1"/>
          </p:cNvPicPr>
          <p:nvPr isPhoto="1"/>
        </p:nvPicPr>
        <p:blipFill>
          <a:blip r:embed="rId2">
            <a:lum/>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113835074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lide8">
            <a:extLst>
              <a:ext uri="{FF2B5EF4-FFF2-40B4-BE49-F238E27FC236}">
                <a16:creationId xmlns:a16="http://schemas.microsoft.com/office/drawing/2014/main" id="{E1F35E37-D4A9-449E-83F0-5BB82365257C}"/>
              </a:ext>
            </a:extLst>
          </p:cNvPr>
          <p:cNvPicPr>
            <a:picLocks noGrp="1" noChangeAspect="1"/>
          </p:cNvPicPr>
          <p:nvPr isPhoto="1"/>
        </p:nvPicPr>
        <p:blipFill>
          <a:blip r:embed="rId2">
            <a:lum/>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152069776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21BBF2-81CF-4F9B-9208-052F2AA8E6D3}"/>
              </a:ext>
            </a:extLst>
          </p:cNvPr>
          <p:cNvSpPr>
            <a:spLocks noGrp="1"/>
          </p:cNvSpPr>
          <p:nvPr>
            <p:ph type="title"/>
          </p:nvPr>
        </p:nvSpPr>
        <p:spPr>
          <a:xfrm>
            <a:off x="609602" y="426659"/>
            <a:ext cx="10786535" cy="1089529"/>
          </a:xfrm>
        </p:spPr>
        <p:txBody>
          <a:bodyPr/>
          <a:lstStyle/>
          <a:p>
            <a:r>
              <a:rPr lang="en-US" sz="3600" dirty="0">
                <a:latin typeface="+mn-lt"/>
              </a:rPr>
              <a:t>Role of Anti-PD-(L)1 and Anti-CTLA-4 Therapies After Prior ICI-based Combinations</a:t>
            </a:r>
          </a:p>
        </p:txBody>
      </p:sp>
      <p:sp>
        <p:nvSpPr>
          <p:cNvPr id="3" name="Content Placeholder 2">
            <a:extLst>
              <a:ext uri="{FF2B5EF4-FFF2-40B4-BE49-F238E27FC236}">
                <a16:creationId xmlns:a16="http://schemas.microsoft.com/office/drawing/2014/main" id="{BCD91770-E557-4AE8-A540-DD836F8EA8DF}"/>
              </a:ext>
            </a:extLst>
          </p:cNvPr>
          <p:cNvSpPr>
            <a:spLocks noGrp="1"/>
          </p:cNvSpPr>
          <p:nvPr>
            <p:ph idx="1"/>
          </p:nvPr>
        </p:nvSpPr>
        <p:spPr/>
        <p:txBody>
          <a:bodyPr/>
          <a:lstStyle/>
          <a:p>
            <a:r>
              <a:rPr lang="en-US" dirty="0"/>
              <a:t>There is no established role for ICI monotherapy after receipt of prior ICI monotherapy or in combination </a:t>
            </a:r>
          </a:p>
          <a:p>
            <a:r>
              <a:rPr lang="en-US" dirty="0"/>
              <a:t>Combination of anti-PD-(L)1 + anti-CTLA-4 has shown potential for eliciting responses after progression on anti-PD-(L)1 monotherapy in multiple tumor types</a:t>
            </a:r>
            <a:r>
              <a:rPr lang="en-US" baseline="30000" dirty="0"/>
              <a:t>1,2</a:t>
            </a:r>
          </a:p>
          <a:p>
            <a:r>
              <a:rPr lang="en-US" dirty="0"/>
              <a:t>A retrospective analysis of patients treated with nivolumab plus ipilimumab after 1</a:t>
            </a:r>
            <a:r>
              <a:rPr lang="en-US" baseline="30000" dirty="0"/>
              <a:t>st</a:t>
            </a:r>
            <a:r>
              <a:rPr lang="en-US" dirty="0"/>
              <a:t> line </a:t>
            </a:r>
            <a:r>
              <a:rPr lang="en-US" dirty="0" err="1"/>
              <a:t>atezo+beva</a:t>
            </a:r>
            <a:r>
              <a:rPr lang="en-US" dirty="0"/>
              <a:t> reported objective responses in 3 of 10 (30%) patients treated</a:t>
            </a:r>
            <a:r>
              <a:rPr lang="en-US" baseline="30000" dirty="0"/>
              <a:t>3</a:t>
            </a:r>
            <a:endParaRPr lang="en-US" dirty="0"/>
          </a:p>
        </p:txBody>
      </p:sp>
      <p:sp>
        <p:nvSpPr>
          <p:cNvPr id="5" name="Footer Placeholder 4">
            <a:extLst>
              <a:ext uri="{FF2B5EF4-FFF2-40B4-BE49-F238E27FC236}">
                <a16:creationId xmlns:a16="http://schemas.microsoft.com/office/drawing/2014/main" id="{217F7EE7-23A9-4D37-AA49-6A005E4A911E}"/>
              </a:ext>
            </a:extLst>
          </p:cNvPr>
          <p:cNvSpPr>
            <a:spLocks noGrp="1"/>
          </p:cNvSpPr>
          <p:nvPr>
            <p:ph type="ftr" sz="quarter" idx="3"/>
          </p:nvPr>
        </p:nvSpPr>
        <p:spPr>
          <a:xfrm>
            <a:off x="609601" y="6266576"/>
            <a:ext cx="10967205" cy="34167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pitchFamily="34" charset="0"/>
                <a:ea typeface="+mn-ea"/>
                <a:cs typeface="Arial" pitchFamily="34" charset="0"/>
              </a:rPr>
              <a:t>1. Pires da Silva et al. Lancet Oncol. 2021;22(6):836-47; 2. Choueiri et al. J </a:t>
            </a:r>
            <a:r>
              <a:rPr kumimoji="0" lang="en-US" sz="1400" b="0" i="0" u="none" strike="noStrike" kern="1200" cap="none" spc="0" normalizeH="0" baseline="0" noProof="0" dirty="0" err="1">
                <a:ln>
                  <a:noFill/>
                </a:ln>
                <a:solidFill>
                  <a:prstClr val="black"/>
                </a:solidFill>
                <a:effectLst/>
                <a:uLnTx/>
                <a:uFillTx/>
                <a:latin typeface="Arial" pitchFamily="34" charset="0"/>
                <a:ea typeface="+mn-ea"/>
                <a:cs typeface="Arial" pitchFamily="34" charset="0"/>
              </a:rPr>
              <a:t>Immunother</a:t>
            </a:r>
            <a:r>
              <a:rPr kumimoji="0" lang="en-US" sz="1400" b="0" i="0" u="none" strike="noStrike" kern="1200" cap="none" spc="0" normalizeH="0" baseline="0" noProof="0" dirty="0">
                <a:ln>
                  <a:noFill/>
                </a:ln>
                <a:solidFill>
                  <a:prstClr val="black"/>
                </a:solidFill>
                <a:effectLst/>
                <a:uLnTx/>
                <a:uFillTx/>
                <a:latin typeface="Arial" pitchFamily="34" charset="0"/>
                <a:ea typeface="+mn-ea"/>
                <a:cs typeface="Arial" pitchFamily="34" charset="0"/>
              </a:rPr>
              <a:t> Cancer 2022; e005780; 3. Roessler et al. J Cancer Res and Clin Oncol 2022;doi:10.1007/s00432-022-04206-8</a:t>
            </a:r>
          </a:p>
        </p:txBody>
      </p:sp>
    </p:spTree>
    <p:extLst>
      <p:ext uri="{BB962C8B-B14F-4D97-AF65-F5344CB8AC3E}">
        <p14:creationId xmlns:p14="http://schemas.microsoft.com/office/powerpoint/2010/main" val="2986864484"/>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A1B407-AD8D-4B8D-AF22-A4EB104D05A1}"/>
              </a:ext>
            </a:extLst>
          </p:cNvPr>
          <p:cNvSpPr>
            <a:spLocks noGrp="1"/>
          </p:cNvSpPr>
          <p:nvPr>
            <p:ph type="title"/>
          </p:nvPr>
        </p:nvSpPr>
        <p:spPr/>
        <p:txBody>
          <a:bodyPr/>
          <a:lstStyle/>
          <a:p>
            <a:r>
              <a:rPr lang="en-US" sz="4000" dirty="0">
                <a:latin typeface="+mn-lt"/>
              </a:rPr>
              <a:t>Selection and Sequencing of ≥ 2</a:t>
            </a:r>
            <a:r>
              <a:rPr lang="en-US" sz="4000" baseline="30000" dirty="0">
                <a:latin typeface="+mn-lt"/>
              </a:rPr>
              <a:t>nd</a:t>
            </a:r>
            <a:r>
              <a:rPr lang="en-US" sz="4000" dirty="0">
                <a:latin typeface="+mn-lt"/>
              </a:rPr>
              <a:t> Line Treatments</a:t>
            </a:r>
          </a:p>
        </p:txBody>
      </p:sp>
      <p:sp>
        <p:nvSpPr>
          <p:cNvPr id="3" name="Content Placeholder 2">
            <a:extLst>
              <a:ext uri="{FF2B5EF4-FFF2-40B4-BE49-F238E27FC236}">
                <a16:creationId xmlns:a16="http://schemas.microsoft.com/office/drawing/2014/main" id="{FDF32A75-2C15-4F1D-B61A-C2B613981987}"/>
              </a:ext>
            </a:extLst>
          </p:cNvPr>
          <p:cNvSpPr>
            <a:spLocks noGrp="1"/>
          </p:cNvSpPr>
          <p:nvPr>
            <p:ph sz="half" idx="1"/>
          </p:nvPr>
        </p:nvSpPr>
        <p:spPr>
          <a:xfrm>
            <a:off x="838200" y="1690688"/>
            <a:ext cx="5181600" cy="4760370"/>
          </a:xfrm>
        </p:spPr>
        <p:txBody>
          <a:bodyPr>
            <a:normAutofit fontScale="62500" lnSpcReduction="20000"/>
          </a:bodyPr>
          <a:lstStyle/>
          <a:p>
            <a:pPr marL="0" indent="0">
              <a:lnSpc>
                <a:spcPct val="120000"/>
              </a:lnSpc>
              <a:buNone/>
            </a:pPr>
            <a:r>
              <a:rPr lang="en-US" u="sng" dirty="0"/>
              <a:t>Factors to consider:</a:t>
            </a:r>
          </a:p>
          <a:p>
            <a:pPr>
              <a:lnSpc>
                <a:spcPct val="120000"/>
              </a:lnSpc>
            </a:pPr>
            <a:r>
              <a:rPr lang="en-US" dirty="0"/>
              <a:t>Which 1</a:t>
            </a:r>
            <a:r>
              <a:rPr lang="en-US" baseline="30000" dirty="0"/>
              <a:t>st</a:t>
            </a:r>
            <a:r>
              <a:rPr lang="en-US" dirty="0"/>
              <a:t> line therapy was received?</a:t>
            </a:r>
          </a:p>
          <a:p>
            <a:pPr lvl="1">
              <a:lnSpc>
                <a:spcPct val="120000"/>
              </a:lnSpc>
            </a:pPr>
            <a:r>
              <a:rPr lang="en-US" dirty="0"/>
              <a:t>What was response and duration?</a:t>
            </a:r>
          </a:p>
          <a:p>
            <a:pPr lvl="1">
              <a:lnSpc>
                <a:spcPct val="120000"/>
              </a:lnSpc>
            </a:pPr>
            <a:r>
              <a:rPr lang="en-US" dirty="0"/>
              <a:t>What was AE profile?</a:t>
            </a:r>
          </a:p>
          <a:p>
            <a:pPr>
              <a:lnSpc>
                <a:spcPct val="120000"/>
              </a:lnSpc>
            </a:pPr>
            <a:r>
              <a:rPr lang="en-US" dirty="0"/>
              <a:t>Contraindication to ICI?</a:t>
            </a:r>
          </a:p>
          <a:p>
            <a:pPr lvl="1">
              <a:lnSpc>
                <a:spcPct val="120000"/>
              </a:lnSpc>
            </a:pPr>
            <a:r>
              <a:rPr lang="en-US" dirty="0"/>
              <a:t>E.g. transplant, prior high-grade immune-related toxicity, significant autoimmune disease</a:t>
            </a:r>
          </a:p>
          <a:p>
            <a:pPr>
              <a:lnSpc>
                <a:spcPct val="120000"/>
              </a:lnSpc>
            </a:pPr>
            <a:r>
              <a:rPr lang="en-US" dirty="0"/>
              <a:t>Contraindication to anti-angiogenic therapies?</a:t>
            </a:r>
          </a:p>
          <a:p>
            <a:pPr lvl="1">
              <a:lnSpc>
                <a:spcPct val="120000"/>
              </a:lnSpc>
            </a:pPr>
            <a:r>
              <a:rPr lang="en-US" dirty="0"/>
              <a:t>E.g. significant vascular disease, severe proteinuria, non-healing wounds, high risk for bleeding</a:t>
            </a:r>
          </a:p>
          <a:p>
            <a:pPr>
              <a:lnSpc>
                <a:spcPct val="120000"/>
              </a:lnSpc>
            </a:pPr>
            <a:r>
              <a:rPr lang="en-US" dirty="0"/>
              <a:t>AFP</a:t>
            </a:r>
          </a:p>
          <a:p>
            <a:pPr>
              <a:lnSpc>
                <a:spcPct val="120000"/>
              </a:lnSpc>
            </a:pPr>
            <a:r>
              <a:rPr lang="en-US" dirty="0"/>
              <a:t>Liver function</a:t>
            </a:r>
          </a:p>
        </p:txBody>
      </p:sp>
      <p:sp>
        <p:nvSpPr>
          <p:cNvPr id="5" name="Content Placeholder 4">
            <a:extLst>
              <a:ext uri="{FF2B5EF4-FFF2-40B4-BE49-F238E27FC236}">
                <a16:creationId xmlns:a16="http://schemas.microsoft.com/office/drawing/2014/main" id="{24EDFF1E-CCC6-48BD-A014-8F6C17F7F1CD}"/>
              </a:ext>
            </a:extLst>
          </p:cNvPr>
          <p:cNvSpPr>
            <a:spLocks noGrp="1"/>
          </p:cNvSpPr>
          <p:nvPr>
            <p:ph sz="half" idx="2"/>
          </p:nvPr>
        </p:nvSpPr>
        <p:spPr>
          <a:xfrm>
            <a:off x="6172200" y="1825624"/>
            <a:ext cx="5370226" cy="4945565"/>
          </a:xfrm>
        </p:spPr>
        <p:txBody>
          <a:bodyPr>
            <a:noAutofit/>
          </a:bodyPr>
          <a:lstStyle/>
          <a:p>
            <a:pPr marL="0" indent="0">
              <a:lnSpc>
                <a:spcPct val="100000"/>
              </a:lnSpc>
              <a:spcBef>
                <a:spcPts val="300"/>
              </a:spcBef>
              <a:buNone/>
            </a:pPr>
            <a:r>
              <a:rPr lang="en-US" sz="1800" u="sng" dirty="0"/>
              <a:t>Current consensus strategies:</a:t>
            </a:r>
          </a:p>
          <a:p>
            <a:pPr>
              <a:lnSpc>
                <a:spcPct val="100000"/>
              </a:lnSpc>
              <a:spcBef>
                <a:spcPts val="300"/>
              </a:spcBef>
            </a:pPr>
            <a:r>
              <a:rPr lang="en-US" sz="1800" dirty="0"/>
              <a:t>Progressed on 1</a:t>
            </a:r>
            <a:r>
              <a:rPr lang="en-US" sz="1800" baseline="30000" dirty="0"/>
              <a:t>st</a:t>
            </a:r>
            <a:r>
              <a:rPr lang="en-US" sz="1800" dirty="0"/>
              <a:t> line ICI-based combination </a:t>
            </a:r>
            <a:r>
              <a:rPr lang="en-US" sz="1800" dirty="0">
                <a:sym typeface="Wingdings" panose="05000000000000000000" pitchFamily="2" charset="2"/>
              </a:rPr>
              <a:t> 2</a:t>
            </a:r>
            <a:r>
              <a:rPr lang="en-US" sz="1800" baseline="30000" dirty="0">
                <a:sym typeface="Wingdings" panose="05000000000000000000" pitchFamily="2" charset="2"/>
              </a:rPr>
              <a:t>nd</a:t>
            </a:r>
            <a:r>
              <a:rPr lang="en-US" sz="1800" dirty="0">
                <a:sym typeface="Wingdings" panose="05000000000000000000" pitchFamily="2" charset="2"/>
              </a:rPr>
              <a:t> line TKI</a:t>
            </a:r>
            <a:endParaRPr lang="en-US" sz="1800" dirty="0"/>
          </a:p>
          <a:p>
            <a:pPr>
              <a:lnSpc>
                <a:spcPct val="100000"/>
              </a:lnSpc>
              <a:spcBef>
                <a:spcPts val="300"/>
              </a:spcBef>
            </a:pPr>
            <a:r>
              <a:rPr lang="en-US" sz="1800" dirty="0"/>
              <a:t>Progressed on 1</a:t>
            </a:r>
            <a:r>
              <a:rPr lang="en-US" sz="1800" baseline="30000" dirty="0"/>
              <a:t>st</a:t>
            </a:r>
            <a:r>
              <a:rPr lang="en-US" sz="1800" dirty="0"/>
              <a:t> line TKI </a:t>
            </a:r>
            <a:r>
              <a:rPr lang="en-US" sz="1800" dirty="0">
                <a:sym typeface="Wingdings" panose="05000000000000000000" pitchFamily="2" charset="2"/>
              </a:rPr>
              <a:t> 2</a:t>
            </a:r>
            <a:r>
              <a:rPr lang="en-US" sz="1800" baseline="30000" dirty="0">
                <a:sym typeface="Wingdings" panose="05000000000000000000" pitchFamily="2" charset="2"/>
              </a:rPr>
              <a:t>nd</a:t>
            </a:r>
            <a:r>
              <a:rPr lang="en-US" sz="1800" dirty="0">
                <a:sym typeface="Wingdings" panose="05000000000000000000" pitchFamily="2" charset="2"/>
              </a:rPr>
              <a:t> line</a:t>
            </a:r>
            <a:r>
              <a:rPr lang="en-US" sz="1800" dirty="0"/>
              <a:t> ICI or ICI combination</a:t>
            </a:r>
          </a:p>
          <a:p>
            <a:pPr>
              <a:lnSpc>
                <a:spcPct val="100000"/>
              </a:lnSpc>
              <a:spcBef>
                <a:spcPts val="300"/>
              </a:spcBef>
            </a:pPr>
            <a:r>
              <a:rPr lang="en-US" sz="1800" dirty="0"/>
              <a:t>Contraindication to ICI </a:t>
            </a:r>
            <a:r>
              <a:rPr lang="en-US" sz="1800" dirty="0">
                <a:sym typeface="Wingdings" panose="05000000000000000000" pitchFamily="2" charset="2"/>
              </a:rPr>
              <a:t> TKI or ramucirumab if AFP </a:t>
            </a:r>
            <a:br>
              <a:rPr lang="en-US" sz="1800" dirty="0">
                <a:sym typeface="Wingdings" panose="05000000000000000000" pitchFamily="2" charset="2"/>
              </a:rPr>
            </a:br>
            <a:r>
              <a:rPr lang="en-US" sz="1800" dirty="0">
                <a:sym typeface="Wingdings" panose="05000000000000000000" pitchFamily="2" charset="2"/>
              </a:rPr>
              <a:t>≥ 400 ng/mL</a:t>
            </a:r>
            <a:endParaRPr lang="en-US" sz="1800" dirty="0"/>
          </a:p>
          <a:p>
            <a:pPr>
              <a:lnSpc>
                <a:spcPct val="100000"/>
              </a:lnSpc>
              <a:spcBef>
                <a:spcPts val="300"/>
              </a:spcBef>
            </a:pPr>
            <a:r>
              <a:rPr lang="en-US" sz="1800" dirty="0"/>
              <a:t>Contraindication to anti-angiogenic therapy </a:t>
            </a:r>
            <a:r>
              <a:rPr lang="en-US" sz="1800" dirty="0">
                <a:sym typeface="Wingdings" panose="05000000000000000000" pitchFamily="2" charset="2"/>
              </a:rPr>
              <a:t> pembrolizumab, nivolumab + ipilimumab</a:t>
            </a:r>
            <a:endParaRPr lang="en-US" sz="1800" dirty="0"/>
          </a:p>
          <a:p>
            <a:pPr>
              <a:lnSpc>
                <a:spcPct val="100000"/>
              </a:lnSpc>
              <a:spcBef>
                <a:spcPts val="300"/>
              </a:spcBef>
            </a:pPr>
            <a:r>
              <a:rPr lang="en-US" sz="1800" dirty="0"/>
              <a:t>Discontinued 1</a:t>
            </a:r>
            <a:r>
              <a:rPr lang="en-US" sz="1800" baseline="30000" dirty="0"/>
              <a:t>st</a:t>
            </a:r>
            <a:r>
              <a:rPr lang="en-US" sz="1800" dirty="0"/>
              <a:t> line therapy for reasons other than progression </a:t>
            </a:r>
            <a:r>
              <a:rPr lang="en-US" sz="1800" dirty="0">
                <a:sym typeface="Wingdings" panose="05000000000000000000" pitchFamily="2" charset="2"/>
              </a:rPr>
              <a:t> individualized treatment decision</a:t>
            </a:r>
            <a:endParaRPr lang="en-US" sz="1800" dirty="0"/>
          </a:p>
          <a:p>
            <a:pPr>
              <a:lnSpc>
                <a:spcPct val="100000"/>
              </a:lnSpc>
              <a:spcBef>
                <a:spcPts val="300"/>
              </a:spcBef>
            </a:pPr>
            <a:r>
              <a:rPr lang="en-US" sz="1800" dirty="0"/>
              <a:t>Child Pugh B liver function </a:t>
            </a:r>
            <a:r>
              <a:rPr lang="en-US" sz="1800" dirty="0">
                <a:sym typeface="Wingdings" panose="05000000000000000000" pitchFamily="2" charset="2"/>
              </a:rPr>
              <a:t> limited data; ICI monotherapy has shown acceptable safety in small studies in Child Pugh B HCC; consider empiric TKI dose reduction</a:t>
            </a:r>
          </a:p>
          <a:p>
            <a:pPr>
              <a:lnSpc>
                <a:spcPct val="100000"/>
              </a:lnSpc>
              <a:spcBef>
                <a:spcPts val="300"/>
              </a:spcBef>
            </a:pPr>
            <a:r>
              <a:rPr lang="en-US" sz="1800" dirty="0">
                <a:sym typeface="Wingdings" panose="05000000000000000000" pitchFamily="2" charset="2"/>
              </a:rPr>
              <a:t>Clinical trials are needed!</a:t>
            </a:r>
            <a:endParaRPr lang="en-US" sz="1800" dirty="0"/>
          </a:p>
        </p:txBody>
      </p:sp>
    </p:spTree>
    <p:extLst>
      <p:ext uri="{BB962C8B-B14F-4D97-AF65-F5344CB8AC3E}">
        <p14:creationId xmlns:p14="http://schemas.microsoft.com/office/powerpoint/2010/main" val="34092712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wipe(left)">
                                      <p:cBhvr>
                                        <p:cTn id="7" dur="500"/>
                                        <p:tgtEl>
                                          <p:spTgt spid="5">
                                            <p:txEl>
                                              <p:pRg st="0" end="0"/>
                                            </p:txEl>
                                          </p:spTgt>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animEffect transition="in" filter="wipe(left)">
                                      <p:cBhvr>
                                        <p:cTn id="11" dur="500"/>
                                        <p:tgtEl>
                                          <p:spTgt spid="5">
                                            <p:txEl>
                                              <p:pRg st="1" end="1"/>
                                            </p:txEl>
                                          </p:spTgt>
                                        </p:tgtEl>
                                      </p:cBhvr>
                                    </p:animEffect>
                                  </p:childTnLst>
                                </p:cTn>
                              </p:par>
                            </p:childTnLst>
                          </p:cTn>
                        </p:par>
                        <p:par>
                          <p:cTn id="12" fill="hold">
                            <p:stCondLst>
                              <p:cond delay="1000"/>
                            </p:stCondLst>
                            <p:childTnLst>
                              <p:par>
                                <p:cTn id="13" presetID="22" presetClass="entr" presetSubtype="8" fill="hold" nodeType="after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Effect transition="in" filter="wipe(left)">
                                      <p:cBhvr>
                                        <p:cTn id="15" dur="500"/>
                                        <p:tgtEl>
                                          <p:spTgt spid="5">
                                            <p:txEl>
                                              <p:pRg st="2" end="2"/>
                                            </p:txEl>
                                          </p:spTgt>
                                        </p:tgtEl>
                                      </p:cBhvr>
                                    </p:animEffect>
                                  </p:childTnLst>
                                </p:cTn>
                              </p:par>
                            </p:childTnLst>
                          </p:cTn>
                        </p:par>
                        <p:par>
                          <p:cTn id="16" fill="hold">
                            <p:stCondLst>
                              <p:cond delay="1500"/>
                            </p:stCondLst>
                            <p:childTnLst>
                              <p:par>
                                <p:cTn id="17" presetID="22" presetClass="entr" presetSubtype="8" fill="hold" nodeType="after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animEffect transition="in" filter="wipe(left)">
                                      <p:cBhvr>
                                        <p:cTn id="19" dur="500"/>
                                        <p:tgtEl>
                                          <p:spTgt spid="5">
                                            <p:txEl>
                                              <p:pRg st="3" end="3"/>
                                            </p:txEl>
                                          </p:spTgt>
                                        </p:tgtEl>
                                      </p:cBhvr>
                                    </p:animEffect>
                                  </p:childTnLst>
                                </p:cTn>
                              </p:par>
                            </p:childTnLst>
                          </p:cTn>
                        </p:par>
                        <p:par>
                          <p:cTn id="20" fill="hold">
                            <p:stCondLst>
                              <p:cond delay="2000"/>
                            </p:stCondLst>
                            <p:childTnLst>
                              <p:par>
                                <p:cTn id="21" presetID="22" presetClass="entr" presetSubtype="8" fill="hold" nodeType="after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animEffect transition="in" filter="wipe(left)">
                                      <p:cBhvr>
                                        <p:cTn id="23" dur="500"/>
                                        <p:tgtEl>
                                          <p:spTgt spid="5">
                                            <p:txEl>
                                              <p:pRg st="4" end="4"/>
                                            </p:txEl>
                                          </p:spTgt>
                                        </p:tgtEl>
                                      </p:cBhvr>
                                    </p:animEffect>
                                  </p:childTnLst>
                                </p:cTn>
                              </p:par>
                            </p:childTnLst>
                          </p:cTn>
                        </p:par>
                        <p:par>
                          <p:cTn id="24" fill="hold">
                            <p:stCondLst>
                              <p:cond delay="2500"/>
                            </p:stCondLst>
                            <p:childTnLst>
                              <p:par>
                                <p:cTn id="25" presetID="22" presetClass="entr" presetSubtype="8" fill="hold" nodeType="afterEffect">
                                  <p:stCondLst>
                                    <p:cond delay="0"/>
                                  </p:stCondLst>
                                  <p:childTnLst>
                                    <p:set>
                                      <p:cBhvr>
                                        <p:cTn id="26" dur="1" fill="hold">
                                          <p:stCondLst>
                                            <p:cond delay="0"/>
                                          </p:stCondLst>
                                        </p:cTn>
                                        <p:tgtEl>
                                          <p:spTgt spid="5">
                                            <p:txEl>
                                              <p:pRg st="6" end="6"/>
                                            </p:txEl>
                                          </p:spTgt>
                                        </p:tgtEl>
                                        <p:attrNameLst>
                                          <p:attrName>style.visibility</p:attrName>
                                        </p:attrNameLst>
                                      </p:cBhvr>
                                      <p:to>
                                        <p:strVal val="visible"/>
                                      </p:to>
                                    </p:set>
                                    <p:animEffect transition="in" filter="wipe(left)">
                                      <p:cBhvr>
                                        <p:cTn id="27" dur="500"/>
                                        <p:tgtEl>
                                          <p:spTgt spid="5">
                                            <p:txEl>
                                              <p:pRg st="6" end="6"/>
                                            </p:txEl>
                                          </p:spTgt>
                                        </p:tgtEl>
                                      </p:cBhvr>
                                    </p:animEffect>
                                  </p:childTnLst>
                                </p:cTn>
                              </p:par>
                            </p:childTnLst>
                          </p:cTn>
                        </p:par>
                        <p:par>
                          <p:cTn id="28" fill="hold">
                            <p:stCondLst>
                              <p:cond delay="3000"/>
                            </p:stCondLst>
                            <p:childTnLst>
                              <p:par>
                                <p:cTn id="29" presetID="22" presetClass="entr" presetSubtype="8" fill="hold" nodeType="afterEffect">
                                  <p:stCondLst>
                                    <p:cond delay="0"/>
                                  </p:stCondLst>
                                  <p:childTnLst>
                                    <p:set>
                                      <p:cBhvr>
                                        <p:cTn id="30" dur="1" fill="hold">
                                          <p:stCondLst>
                                            <p:cond delay="0"/>
                                          </p:stCondLst>
                                        </p:cTn>
                                        <p:tgtEl>
                                          <p:spTgt spid="5">
                                            <p:txEl>
                                              <p:pRg st="5" end="5"/>
                                            </p:txEl>
                                          </p:spTgt>
                                        </p:tgtEl>
                                        <p:attrNameLst>
                                          <p:attrName>style.visibility</p:attrName>
                                        </p:attrNameLst>
                                      </p:cBhvr>
                                      <p:to>
                                        <p:strVal val="visible"/>
                                      </p:to>
                                    </p:set>
                                    <p:animEffect transition="in" filter="wipe(left)">
                                      <p:cBhvr>
                                        <p:cTn id="31" dur="500"/>
                                        <p:tgtEl>
                                          <p:spTgt spid="5">
                                            <p:txEl>
                                              <p:pRg st="5" end="5"/>
                                            </p:txEl>
                                          </p:spTgt>
                                        </p:tgtEl>
                                      </p:cBhvr>
                                    </p:animEffect>
                                  </p:childTnLst>
                                </p:cTn>
                              </p:par>
                            </p:childTnLst>
                          </p:cTn>
                        </p:par>
                        <p:par>
                          <p:cTn id="32" fill="hold">
                            <p:stCondLst>
                              <p:cond delay="3500"/>
                            </p:stCondLst>
                            <p:childTnLst>
                              <p:par>
                                <p:cTn id="33" presetID="22" presetClass="entr" presetSubtype="8" fill="hold" nodeType="afterEffect">
                                  <p:stCondLst>
                                    <p:cond delay="0"/>
                                  </p:stCondLst>
                                  <p:childTnLst>
                                    <p:set>
                                      <p:cBhvr>
                                        <p:cTn id="34" dur="1" fill="hold">
                                          <p:stCondLst>
                                            <p:cond delay="0"/>
                                          </p:stCondLst>
                                        </p:cTn>
                                        <p:tgtEl>
                                          <p:spTgt spid="5">
                                            <p:txEl>
                                              <p:pRg st="7" end="7"/>
                                            </p:txEl>
                                          </p:spTgt>
                                        </p:tgtEl>
                                        <p:attrNameLst>
                                          <p:attrName>style.visibility</p:attrName>
                                        </p:attrNameLst>
                                      </p:cBhvr>
                                      <p:to>
                                        <p:strVal val="visible"/>
                                      </p:to>
                                    </p:set>
                                    <p:animEffect transition="in" filter="wipe(left)">
                                      <p:cBhvr>
                                        <p:cTn id="35" dur="500"/>
                                        <p:tgtEl>
                                          <p:spTgt spid="5">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CFA67269-A0B8-4C98-B775-60BA63B05B19}"/>
              </a:ext>
            </a:extLst>
          </p:cNvPr>
          <p:cNvSpPr txBox="1"/>
          <p:nvPr/>
        </p:nvSpPr>
        <p:spPr>
          <a:xfrm>
            <a:off x="4917865" y="5913542"/>
            <a:ext cx="2356270" cy="37933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65" b="0" i="0" u="none" strike="noStrike" kern="1200" cap="none" spc="0" normalizeH="0" baseline="0" noProof="0" dirty="0">
                <a:ln>
                  <a:noFill/>
                </a:ln>
                <a:solidFill>
                  <a:prstClr val="black"/>
                </a:solidFill>
                <a:effectLst/>
                <a:uLnTx/>
                <a:uFillTx/>
                <a:latin typeface="Calibri" panose="020F0502020204030204"/>
                <a:ea typeface="+mn-ea"/>
                <a:cs typeface="+mn-cs"/>
              </a:rPr>
              <a:t>NCCN.org</a:t>
            </a:r>
          </a:p>
        </p:txBody>
      </p:sp>
      <p:pic>
        <p:nvPicPr>
          <p:cNvPr id="3" name="Picture 2">
            <a:extLst>
              <a:ext uri="{FF2B5EF4-FFF2-40B4-BE49-F238E27FC236}">
                <a16:creationId xmlns:a16="http://schemas.microsoft.com/office/drawing/2014/main" id="{6C3136BE-7410-4450-AAE4-D64CF9B9AEC5}"/>
              </a:ext>
            </a:extLst>
          </p:cNvPr>
          <p:cNvPicPr>
            <a:picLocks noChangeAspect="1"/>
          </p:cNvPicPr>
          <p:nvPr/>
        </p:nvPicPr>
        <p:blipFill rotWithShape="1">
          <a:blip r:embed="rId2"/>
          <a:srcRect l="15625" t="17615" r="16328" b="29166"/>
          <a:stretch/>
        </p:blipFill>
        <p:spPr>
          <a:xfrm>
            <a:off x="504824" y="779389"/>
            <a:ext cx="11199992" cy="4927175"/>
          </a:xfrm>
          <a:prstGeom prst="rect">
            <a:avLst/>
          </a:prstGeom>
        </p:spPr>
      </p:pic>
      <p:sp>
        <p:nvSpPr>
          <p:cNvPr id="2" name="Rectangle 1">
            <a:extLst>
              <a:ext uri="{FF2B5EF4-FFF2-40B4-BE49-F238E27FC236}">
                <a16:creationId xmlns:a16="http://schemas.microsoft.com/office/drawing/2014/main" id="{19973571-7AF4-4BB2-BCD8-8CBB4BED9FBA}"/>
              </a:ext>
            </a:extLst>
          </p:cNvPr>
          <p:cNvSpPr/>
          <p:nvPr/>
        </p:nvSpPr>
        <p:spPr>
          <a:xfrm>
            <a:off x="809625" y="4067175"/>
            <a:ext cx="10772775" cy="1639389"/>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604874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half" idx="1"/>
          </p:nvPr>
        </p:nvSpPr>
        <p:spPr>
          <a:xfrm>
            <a:off x="919192" y="1690688"/>
            <a:ext cx="10690215" cy="3834689"/>
          </a:xfrm>
        </p:spPr>
        <p:txBody>
          <a:bodyPr>
            <a:noAutofit/>
          </a:bodyPr>
          <a:lstStyle/>
          <a:p>
            <a:pPr>
              <a:lnSpc>
                <a:spcPct val="100000"/>
              </a:lnSpc>
              <a:spcBef>
                <a:spcPts val="300"/>
              </a:spcBef>
            </a:pPr>
            <a:r>
              <a:rPr lang="en-US" sz="2200" dirty="0"/>
              <a:t>2</a:t>
            </a:r>
            <a:r>
              <a:rPr lang="en-US" sz="2200" baseline="30000" dirty="0"/>
              <a:t>nd</a:t>
            </a:r>
            <a:r>
              <a:rPr lang="en-US" sz="2200" dirty="0"/>
              <a:t> line treatment options:</a:t>
            </a:r>
          </a:p>
          <a:p>
            <a:pPr lvl="1">
              <a:lnSpc>
                <a:spcPct val="100000"/>
              </a:lnSpc>
              <a:spcBef>
                <a:spcPts val="300"/>
              </a:spcBef>
            </a:pPr>
            <a:r>
              <a:rPr lang="en-US" sz="2000" dirty="0"/>
              <a:t>Anti-angiogenic: Regorafenib, cabozantinib, ramucirumab (if AFP ≥ 400 ng/mL)</a:t>
            </a:r>
          </a:p>
          <a:p>
            <a:pPr lvl="2">
              <a:lnSpc>
                <a:spcPct val="100000"/>
              </a:lnSpc>
              <a:spcBef>
                <a:spcPts val="300"/>
              </a:spcBef>
            </a:pPr>
            <a:r>
              <a:rPr lang="en-US" sz="1800" dirty="0"/>
              <a:t>Lenvatinib, sorafenib also reasonable options</a:t>
            </a:r>
          </a:p>
          <a:p>
            <a:pPr lvl="1">
              <a:lnSpc>
                <a:spcPct val="100000"/>
              </a:lnSpc>
              <a:spcBef>
                <a:spcPts val="300"/>
              </a:spcBef>
            </a:pPr>
            <a:r>
              <a:rPr lang="en-US" sz="2000" dirty="0"/>
              <a:t>Immunotherapy: Pembrolizumab, nivolumab + ipilimumab</a:t>
            </a:r>
          </a:p>
          <a:p>
            <a:pPr>
              <a:lnSpc>
                <a:spcPct val="100000"/>
              </a:lnSpc>
              <a:spcBef>
                <a:spcPts val="300"/>
              </a:spcBef>
            </a:pPr>
            <a:r>
              <a:rPr lang="en-US" sz="2200" dirty="0"/>
              <a:t>All current FDA-approved treatments have been studied after 1</a:t>
            </a:r>
            <a:r>
              <a:rPr lang="en-US" sz="2200" baseline="30000" dirty="0"/>
              <a:t>st</a:t>
            </a:r>
            <a:r>
              <a:rPr lang="en-US" sz="2200" dirty="0"/>
              <a:t> line sorafenib (or as</a:t>
            </a:r>
            <a:br>
              <a:rPr lang="en-US" sz="2200" dirty="0"/>
            </a:br>
            <a:r>
              <a:rPr lang="en-US" sz="2200" dirty="0"/>
              <a:t>1</a:t>
            </a:r>
            <a:r>
              <a:rPr lang="en-US" sz="2200" baseline="30000" dirty="0"/>
              <a:t>st</a:t>
            </a:r>
            <a:r>
              <a:rPr lang="en-US" sz="2200" dirty="0"/>
              <a:t> line)</a:t>
            </a:r>
          </a:p>
          <a:p>
            <a:pPr>
              <a:lnSpc>
                <a:spcPct val="100000"/>
              </a:lnSpc>
              <a:spcBef>
                <a:spcPts val="300"/>
              </a:spcBef>
            </a:pPr>
            <a:r>
              <a:rPr lang="en-US" sz="2200" dirty="0"/>
              <a:t>Current selection of 2</a:t>
            </a:r>
            <a:r>
              <a:rPr lang="en-US" sz="2200" baseline="30000" dirty="0"/>
              <a:t>nd</a:t>
            </a:r>
            <a:r>
              <a:rPr lang="en-US" sz="2200" dirty="0"/>
              <a:t> line treatment is based upon 1</a:t>
            </a:r>
            <a:r>
              <a:rPr lang="en-US" sz="2200" baseline="30000" dirty="0"/>
              <a:t>st</a:t>
            </a:r>
            <a:r>
              <a:rPr lang="en-US" sz="2200" dirty="0"/>
              <a:t> line therapy received plus comorbidity profile</a:t>
            </a:r>
          </a:p>
          <a:p>
            <a:pPr>
              <a:lnSpc>
                <a:spcPct val="100000"/>
              </a:lnSpc>
              <a:spcBef>
                <a:spcPts val="300"/>
              </a:spcBef>
            </a:pPr>
            <a:r>
              <a:rPr lang="en-US" sz="2200" dirty="0"/>
              <a:t>Need ≥ 2</a:t>
            </a:r>
            <a:r>
              <a:rPr lang="en-US" sz="2200" baseline="30000" dirty="0"/>
              <a:t>nd</a:t>
            </a:r>
            <a:r>
              <a:rPr lang="en-US" sz="2200" dirty="0"/>
              <a:t> line clinical trials to inform choice of treatment after ICI-based 1</a:t>
            </a:r>
            <a:r>
              <a:rPr lang="en-US" sz="2200" baseline="30000" dirty="0"/>
              <a:t>st</a:t>
            </a:r>
            <a:r>
              <a:rPr lang="en-US" sz="2200" dirty="0"/>
              <a:t> line therapy</a:t>
            </a:r>
          </a:p>
          <a:p>
            <a:pPr lvl="1">
              <a:lnSpc>
                <a:spcPct val="100000"/>
              </a:lnSpc>
              <a:spcBef>
                <a:spcPts val="300"/>
              </a:spcBef>
            </a:pPr>
            <a:r>
              <a:rPr lang="en-US" sz="2200" dirty="0"/>
              <a:t>Phase 3 IMbrave251 trial ongoing of 2</a:t>
            </a:r>
            <a:r>
              <a:rPr lang="en-US" sz="2200" baseline="30000" dirty="0"/>
              <a:t>nd</a:t>
            </a:r>
            <a:r>
              <a:rPr lang="en-US" sz="2200" dirty="0"/>
              <a:t> line sorafenib or lenvatinib ± atezolizumab (NCT04770896)</a:t>
            </a:r>
          </a:p>
          <a:p>
            <a:pPr>
              <a:lnSpc>
                <a:spcPct val="100000"/>
              </a:lnSpc>
              <a:spcBef>
                <a:spcPts val="300"/>
              </a:spcBef>
            </a:pPr>
            <a:r>
              <a:rPr lang="en-US" sz="2200" dirty="0"/>
              <a:t>New immuno-oncology strategies and combinations are being studied in early-phase trials</a:t>
            </a:r>
          </a:p>
        </p:txBody>
      </p:sp>
      <p:sp>
        <p:nvSpPr>
          <p:cNvPr id="4" name="Title 3"/>
          <p:cNvSpPr>
            <a:spLocks noGrp="1"/>
          </p:cNvSpPr>
          <p:nvPr>
            <p:ph type="title"/>
          </p:nvPr>
        </p:nvSpPr>
        <p:spPr>
          <a:xfrm>
            <a:off x="838200" y="19419"/>
            <a:ext cx="10515600" cy="1325563"/>
          </a:xfrm>
        </p:spPr>
        <p:txBody>
          <a:bodyPr/>
          <a:lstStyle/>
          <a:p>
            <a:r>
              <a:rPr lang="en-US" dirty="0">
                <a:latin typeface="+mn-lt"/>
              </a:rPr>
              <a:t>Current Summary of ≥ 2</a:t>
            </a:r>
            <a:r>
              <a:rPr lang="en-US" baseline="30000" dirty="0">
                <a:latin typeface="+mn-lt"/>
              </a:rPr>
              <a:t>nd</a:t>
            </a:r>
            <a:r>
              <a:rPr lang="en-US" dirty="0">
                <a:latin typeface="+mn-lt"/>
              </a:rPr>
              <a:t> Line HCC Therapy</a:t>
            </a:r>
            <a:endParaRPr lang="en-US" dirty="0"/>
          </a:p>
        </p:txBody>
      </p:sp>
    </p:spTree>
    <p:extLst>
      <p:ext uri="{BB962C8B-B14F-4D97-AF65-F5344CB8AC3E}">
        <p14:creationId xmlns:p14="http://schemas.microsoft.com/office/powerpoint/2010/main" val="10376786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wipe(left)">
                                      <p:cBhvr>
                                        <p:cTn id="7" dur="500"/>
                                        <p:tgtEl>
                                          <p:spTgt spid="2">
                                            <p:txEl>
                                              <p:pRg st="0" end="0"/>
                                            </p:txEl>
                                          </p:spTgt>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2">
                                            <p:txEl>
                                              <p:pRg st="1" end="1"/>
                                            </p:txEl>
                                          </p:spTgt>
                                        </p:tgtEl>
                                        <p:attrNameLst>
                                          <p:attrName>style.visibility</p:attrName>
                                        </p:attrNameLst>
                                      </p:cBhvr>
                                      <p:to>
                                        <p:strVal val="visible"/>
                                      </p:to>
                                    </p:set>
                                    <p:animEffect transition="in" filter="wipe(left)">
                                      <p:cBhvr>
                                        <p:cTn id="10" dur="500"/>
                                        <p:tgtEl>
                                          <p:spTgt spid="2">
                                            <p:txEl>
                                              <p:pRg st="1" end="1"/>
                                            </p:txEl>
                                          </p:spTgt>
                                        </p:tgtEl>
                                      </p:cBhvr>
                                    </p:animEffect>
                                  </p:childTnLst>
                                </p:cTn>
                              </p:par>
                              <p:par>
                                <p:cTn id="11" presetID="22" presetClass="entr" presetSubtype="8" fill="hold" grpId="0" nodeType="withEffect">
                                  <p:stCondLst>
                                    <p:cond delay="0"/>
                                  </p:stCondLst>
                                  <p:childTnLst>
                                    <p:set>
                                      <p:cBhvr>
                                        <p:cTn id="12" dur="1" fill="hold">
                                          <p:stCondLst>
                                            <p:cond delay="0"/>
                                          </p:stCondLst>
                                        </p:cTn>
                                        <p:tgtEl>
                                          <p:spTgt spid="2">
                                            <p:txEl>
                                              <p:pRg st="2" end="2"/>
                                            </p:txEl>
                                          </p:spTgt>
                                        </p:tgtEl>
                                        <p:attrNameLst>
                                          <p:attrName>style.visibility</p:attrName>
                                        </p:attrNameLst>
                                      </p:cBhvr>
                                      <p:to>
                                        <p:strVal val="visible"/>
                                      </p:to>
                                    </p:set>
                                    <p:animEffect transition="in" filter="wipe(left)">
                                      <p:cBhvr>
                                        <p:cTn id="13" dur="500"/>
                                        <p:tgtEl>
                                          <p:spTgt spid="2">
                                            <p:txEl>
                                              <p:pRg st="2" end="2"/>
                                            </p:txEl>
                                          </p:spTgt>
                                        </p:tgtEl>
                                      </p:cBhvr>
                                    </p:animEffect>
                                  </p:childTnLst>
                                </p:cTn>
                              </p:par>
                              <p:par>
                                <p:cTn id="14" presetID="22" presetClass="entr" presetSubtype="8" fill="hold" grpId="0" nodeType="withEffect">
                                  <p:stCondLst>
                                    <p:cond delay="0"/>
                                  </p:stCondLst>
                                  <p:childTnLst>
                                    <p:set>
                                      <p:cBhvr>
                                        <p:cTn id="15" dur="1" fill="hold">
                                          <p:stCondLst>
                                            <p:cond delay="0"/>
                                          </p:stCondLst>
                                        </p:cTn>
                                        <p:tgtEl>
                                          <p:spTgt spid="2">
                                            <p:txEl>
                                              <p:pRg st="3" end="3"/>
                                            </p:txEl>
                                          </p:spTgt>
                                        </p:tgtEl>
                                        <p:attrNameLst>
                                          <p:attrName>style.visibility</p:attrName>
                                        </p:attrNameLst>
                                      </p:cBhvr>
                                      <p:to>
                                        <p:strVal val="visible"/>
                                      </p:to>
                                    </p:set>
                                    <p:animEffect transition="in" filter="wipe(left)">
                                      <p:cBhvr>
                                        <p:cTn id="16" dur="500"/>
                                        <p:tgtEl>
                                          <p:spTgt spid="2">
                                            <p:txEl>
                                              <p:pRg st="3" end="3"/>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grpId="0" nodeType="clickEffect">
                                  <p:stCondLst>
                                    <p:cond delay="0"/>
                                  </p:stCondLst>
                                  <p:childTnLst>
                                    <p:set>
                                      <p:cBhvr>
                                        <p:cTn id="20" dur="1" fill="hold">
                                          <p:stCondLst>
                                            <p:cond delay="0"/>
                                          </p:stCondLst>
                                        </p:cTn>
                                        <p:tgtEl>
                                          <p:spTgt spid="2">
                                            <p:txEl>
                                              <p:pRg st="4" end="4"/>
                                            </p:txEl>
                                          </p:spTgt>
                                        </p:tgtEl>
                                        <p:attrNameLst>
                                          <p:attrName>style.visibility</p:attrName>
                                        </p:attrNameLst>
                                      </p:cBhvr>
                                      <p:to>
                                        <p:strVal val="visible"/>
                                      </p:to>
                                    </p:set>
                                    <p:animEffect transition="in" filter="wipe(left)">
                                      <p:cBhvr>
                                        <p:cTn id="21" dur="500"/>
                                        <p:tgtEl>
                                          <p:spTgt spid="2">
                                            <p:txEl>
                                              <p:pRg st="4" end="4"/>
                                            </p:txEl>
                                          </p:spTgt>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8" fill="hold" grpId="0" nodeType="clickEffect">
                                  <p:stCondLst>
                                    <p:cond delay="0"/>
                                  </p:stCondLst>
                                  <p:childTnLst>
                                    <p:set>
                                      <p:cBhvr>
                                        <p:cTn id="25" dur="1" fill="hold">
                                          <p:stCondLst>
                                            <p:cond delay="0"/>
                                          </p:stCondLst>
                                        </p:cTn>
                                        <p:tgtEl>
                                          <p:spTgt spid="2">
                                            <p:txEl>
                                              <p:pRg st="5" end="5"/>
                                            </p:txEl>
                                          </p:spTgt>
                                        </p:tgtEl>
                                        <p:attrNameLst>
                                          <p:attrName>style.visibility</p:attrName>
                                        </p:attrNameLst>
                                      </p:cBhvr>
                                      <p:to>
                                        <p:strVal val="visible"/>
                                      </p:to>
                                    </p:set>
                                    <p:animEffect transition="in" filter="wipe(left)">
                                      <p:cBhvr>
                                        <p:cTn id="26" dur="500"/>
                                        <p:tgtEl>
                                          <p:spTgt spid="2">
                                            <p:txEl>
                                              <p:pRg st="5" end="5"/>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22" presetClass="entr" presetSubtype="8" fill="hold" grpId="0" nodeType="clickEffect">
                                  <p:stCondLst>
                                    <p:cond delay="0"/>
                                  </p:stCondLst>
                                  <p:childTnLst>
                                    <p:set>
                                      <p:cBhvr>
                                        <p:cTn id="30" dur="1" fill="hold">
                                          <p:stCondLst>
                                            <p:cond delay="0"/>
                                          </p:stCondLst>
                                        </p:cTn>
                                        <p:tgtEl>
                                          <p:spTgt spid="2">
                                            <p:txEl>
                                              <p:pRg st="6" end="6"/>
                                            </p:txEl>
                                          </p:spTgt>
                                        </p:tgtEl>
                                        <p:attrNameLst>
                                          <p:attrName>style.visibility</p:attrName>
                                        </p:attrNameLst>
                                      </p:cBhvr>
                                      <p:to>
                                        <p:strVal val="visible"/>
                                      </p:to>
                                    </p:set>
                                    <p:animEffect transition="in" filter="wipe(left)">
                                      <p:cBhvr>
                                        <p:cTn id="31" dur="500"/>
                                        <p:tgtEl>
                                          <p:spTgt spid="2">
                                            <p:txEl>
                                              <p:pRg st="6" end="6"/>
                                            </p:txEl>
                                          </p:spTgt>
                                        </p:tgtEl>
                                      </p:cBhvr>
                                    </p:animEffect>
                                  </p:childTnLst>
                                </p:cTn>
                              </p:par>
                              <p:par>
                                <p:cTn id="32" presetID="22" presetClass="entr" presetSubtype="8" fill="hold" grpId="0" nodeType="withEffect">
                                  <p:stCondLst>
                                    <p:cond delay="0"/>
                                  </p:stCondLst>
                                  <p:childTnLst>
                                    <p:set>
                                      <p:cBhvr>
                                        <p:cTn id="33" dur="1" fill="hold">
                                          <p:stCondLst>
                                            <p:cond delay="0"/>
                                          </p:stCondLst>
                                        </p:cTn>
                                        <p:tgtEl>
                                          <p:spTgt spid="2">
                                            <p:txEl>
                                              <p:pRg st="7" end="7"/>
                                            </p:txEl>
                                          </p:spTgt>
                                        </p:tgtEl>
                                        <p:attrNameLst>
                                          <p:attrName>style.visibility</p:attrName>
                                        </p:attrNameLst>
                                      </p:cBhvr>
                                      <p:to>
                                        <p:strVal val="visible"/>
                                      </p:to>
                                    </p:set>
                                    <p:animEffect transition="in" filter="wipe(left)">
                                      <p:cBhvr>
                                        <p:cTn id="34" dur="500"/>
                                        <p:tgtEl>
                                          <p:spTgt spid="2">
                                            <p:txEl>
                                              <p:pRg st="7" end="7"/>
                                            </p:txEl>
                                          </p:spTgt>
                                        </p:tgtEl>
                                      </p:cBhvr>
                                    </p:animEffect>
                                  </p:childTnLst>
                                </p:cTn>
                              </p:par>
                            </p:childTnLst>
                          </p:cTn>
                        </p:par>
                      </p:childTnLst>
                    </p:cTn>
                  </p:par>
                  <p:par>
                    <p:cTn id="35" fill="hold">
                      <p:stCondLst>
                        <p:cond delay="indefinite"/>
                      </p:stCondLst>
                      <p:childTnLst>
                        <p:par>
                          <p:cTn id="36" fill="hold">
                            <p:stCondLst>
                              <p:cond delay="0"/>
                            </p:stCondLst>
                            <p:childTnLst>
                              <p:par>
                                <p:cTn id="37" presetID="22" presetClass="entr" presetSubtype="8" fill="hold" grpId="0" nodeType="clickEffect">
                                  <p:stCondLst>
                                    <p:cond delay="0"/>
                                  </p:stCondLst>
                                  <p:childTnLst>
                                    <p:set>
                                      <p:cBhvr>
                                        <p:cTn id="38" dur="1" fill="hold">
                                          <p:stCondLst>
                                            <p:cond delay="0"/>
                                          </p:stCondLst>
                                        </p:cTn>
                                        <p:tgtEl>
                                          <p:spTgt spid="2">
                                            <p:txEl>
                                              <p:pRg st="8" end="8"/>
                                            </p:txEl>
                                          </p:spTgt>
                                        </p:tgtEl>
                                        <p:attrNameLst>
                                          <p:attrName>style.visibility</p:attrName>
                                        </p:attrNameLst>
                                      </p:cBhvr>
                                      <p:to>
                                        <p:strVal val="visible"/>
                                      </p:to>
                                    </p:set>
                                    <p:animEffect transition="in" filter="wipe(left)">
                                      <p:cBhvr>
                                        <p:cTn id="39" dur="500"/>
                                        <p:tgtEl>
                                          <p:spTgt spid="2">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EF66A74-3A1C-4655-862D-C88D4F650058}"/>
              </a:ext>
            </a:extLst>
          </p:cNvPr>
          <p:cNvPicPr>
            <a:picLocks noChangeAspect="1"/>
          </p:cNvPicPr>
          <p:nvPr/>
        </p:nvPicPr>
        <p:blipFill rotWithShape="1">
          <a:blip r:embed="rId2">
            <a:extLst>
              <a:ext uri="{BEBA8EAE-BF5A-486C-A8C5-ECC9F3942E4B}">
                <a14:imgProps xmlns:a14="http://schemas.microsoft.com/office/drawing/2010/main">
                  <a14:imgLayer r:embed="rId3">
                    <a14:imgEffect>
                      <a14:sharpenSoften amount="25000"/>
                    </a14:imgEffect>
                  </a14:imgLayer>
                </a14:imgProps>
              </a:ext>
            </a:extLst>
          </a:blip>
          <a:srcRect l="25397" t="31276" r="26508" b="25126"/>
          <a:stretch/>
        </p:blipFill>
        <p:spPr>
          <a:xfrm>
            <a:off x="445540" y="383763"/>
            <a:ext cx="11300920" cy="5762394"/>
          </a:xfrm>
          <a:prstGeom prst="rect">
            <a:avLst/>
          </a:prstGeom>
        </p:spPr>
      </p:pic>
      <p:sp>
        <p:nvSpPr>
          <p:cNvPr id="10" name="TextBox 9">
            <a:extLst>
              <a:ext uri="{FF2B5EF4-FFF2-40B4-BE49-F238E27FC236}">
                <a16:creationId xmlns:a16="http://schemas.microsoft.com/office/drawing/2014/main" id="{40113598-8EBB-4D23-B3DD-08AFA6AAFF78}"/>
              </a:ext>
            </a:extLst>
          </p:cNvPr>
          <p:cNvSpPr txBox="1"/>
          <p:nvPr/>
        </p:nvSpPr>
        <p:spPr>
          <a:xfrm>
            <a:off x="4076679" y="6437757"/>
            <a:ext cx="4063568" cy="42024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131" b="0" i="0" u="none" strike="noStrike" kern="1200" cap="none" spc="0" normalizeH="0" baseline="0" noProof="0" dirty="0">
                <a:ln>
                  <a:noFill/>
                </a:ln>
                <a:solidFill>
                  <a:srgbClr val="000000"/>
                </a:solidFill>
                <a:effectLst/>
                <a:uLnTx/>
                <a:uFillTx/>
                <a:latin typeface="Source Sans Pro" panose="020B0503030403020204" pitchFamily="34" charset="0"/>
                <a:ea typeface="+mn-ea"/>
                <a:cs typeface="+mn-cs"/>
              </a:rPr>
              <a:t>NCT04770896</a:t>
            </a:r>
            <a:endParaRPr kumimoji="0" lang="en-US" sz="213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1674980"/>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A1B407-AD8D-4B8D-AF22-A4EB104D05A1}"/>
              </a:ext>
            </a:extLst>
          </p:cNvPr>
          <p:cNvSpPr>
            <a:spLocks noGrp="1"/>
          </p:cNvSpPr>
          <p:nvPr>
            <p:ph type="title"/>
          </p:nvPr>
        </p:nvSpPr>
        <p:spPr>
          <a:xfrm>
            <a:off x="609602" y="426659"/>
            <a:ext cx="10786535" cy="1200329"/>
          </a:xfrm>
        </p:spPr>
        <p:txBody>
          <a:bodyPr/>
          <a:lstStyle/>
          <a:p>
            <a:r>
              <a:rPr lang="en-US" sz="4000" dirty="0">
                <a:latin typeface="+mn-lt"/>
              </a:rPr>
              <a:t>New Agents and Strategies Under Investigation for Subsequent HCC Therapy</a:t>
            </a:r>
          </a:p>
        </p:txBody>
      </p:sp>
      <p:sp>
        <p:nvSpPr>
          <p:cNvPr id="3" name="Content Placeholder 2">
            <a:extLst>
              <a:ext uri="{FF2B5EF4-FFF2-40B4-BE49-F238E27FC236}">
                <a16:creationId xmlns:a16="http://schemas.microsoft.com/office/drawing/2014/main" id="{141D5592-90F0-46AE-9236-9B526589E264}"/>
              </a:ext>
            </a:extLst>
          </p:cNvPr>
          <p:cNvSpPr>
            <a:spLocks noGrp="1"/>
          </p:cNvSpPr>
          <p:nvPr/>
        </p:nvSpPr>
        <p:spPr>
          <a:xfrm>
            <a:off x="643470" y="1969324"/>
            <a:ext cx="10752667" cy="3926032"/>
          </a:xfrm>
          <a:prstGeom prst="rect">
            <a:avLst/>
          </a:prstGeom>
        </p:spPr>
        <p:txBody>
          <a:bodyPr/>
          <a:lstStyle>
            <a:lvl1pPr marL="228600" indent="-228600" algn="l" defTabSz="914400" rtl="0" eaLnBrk="1" latinLnBrk="0" hangingPunct="1">
              <a:lnSpc>
                <a:spcPct val="90000"/>
              </a:lnSpc>
              <a:spcBef>
                <a:spcPts val="1200"/>
              </a:spcBef>
              <a:spcAft>
                <a:spcPts val="1200"/>
              </a:spcAft>
              <a:buFont typeface="Arial" panose="020B0604020202020204" pitchFamily="34" charset="0"/>
              <a:buChar char="•"/>
              <a:defRPr sz="2800" kern="1200">
                <a:solidFill>
                  <a:schemeClr val="tx1"/>
                </a:solidFill>
                <a:latin typeface="+mn-lt"/>
                <a:ea typeface="+mn-ea"/>
                <a:cs typeface="+mn-cs"/>
              </a:defRPr>
            </a:lvl1pPr>
            <a:lvl2pPr marL="252000" indent="-2520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504000" indent="-2520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756000" indent="-2520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1008000" indent="-2520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5425" marR="0" lvl="0" indent="-225425" algn="l" defTabSz="914400" rtl="0" eaLnBrk="1" fontAlgn="auto" latinLnBrk="0" hangingPunct="1">
              <a:lnSpc>
                <a:spcPct val="100000"/>
              </a:lnSpc>
              <a:spcBef>
                <a:spcPts val="0"/>
              </a:spcBef>
              <a:spcAft>
                <a:spcPts val="1200"/>
              </a:spcAft>
              <a:buClr>
                <a:srgbClr val="70AD47"/>
              </a:buClr>
              <a:buSzTx/>
              <a:buFont typeface="Wingdings" panose="05000000000000000000" pitchFamily="2" charset="2"/>
              <a:buChar char="§"/>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ICI combinations with targeted therapies</a:t>
            </a:r>
          </a:p>
          <a:p>
            <a:pPr marL="225425" marR="0" lvl="0" indent="-225425" algn="l" defTabSz="914400" rtl="0" eaLnBrk="1" fontAlgn="auto" latinLnBrk="0" hangingPunct="1">
              <a:lnSpc>
                <a:spcPct val="100000"/>
              </a:lnSpc>
              <a:spcBef>
                <a:spcPts val="0"/>
              </a:spcBef>
              <a:spcAft>
                <a:spcPts val="1200"/>
              </a:spcAft>
              <a:buClr>
                <a:srgbClr val="70AD47"/>
              </a:buClr>
              <a:buSzTx/>
              <a:buFont typeface="Wingdings" panose="05000000000000000000" pitchFamily="2" charset="2"/>
              <a:buChar char="§"/>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ICI combinations with complementary immune checkpoint pathways</a:t>
            </a:r>
          </a:p>
          <a:p>
            <a:pPr marL="594900" marR="0" lvl="1" indent="-342900" algn="l" defTabSz="914400" rtl="0" eaLnBrk="1" fontAlgn="auto" latinLnBrk="0" hangingPunct="1">
              <a:lnSpc>
                <a:spcPct val="100000"/>
              </a:lnSpc>
              <a:spcBef>
                <a:spcPts val="500"/>
              </a:spcBef>
              <a:spcAft>
                <a:spcPts val="12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LAG-3, TIGIT, others</a:t>
            </a:r>
          </a:p>
          <a:p>
            <a:pPr marL="225425" marR="0" lvl="0" indent="-225425" algn="l" defTabSz="914400" rtl="0" eaLnBrk="1" fontAlgn="auto" latinLnBrk="0" hangingPunct="1">
              <a:lnSpc>
                <a:spcPct val="100000"/>
              </a:lnSpc>
              <a:spcBef>
                <a:spcPts val="0"/>
              </a:spcBef>
              <a:spcAft>
                <a:spcPts val="1200"/>
              </a:spcAft>
              <a:buClr>
                <a:srgbClr val="70AD47"/>
              </a:buClr>
              <a:buSzTx/>
              <a:buFont typeface="Wingdings" panose="05000000000000000000" pitchFamily="2" charset="2"/>
              <a:buChar char="§"/>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Inhibition of immunosuppressive myeloid pathways</a:t>
            </a:r>
          </a:p>
          <a:p>
            <a:pPr marL="225425" marR="0" lvl="0" indent="-225425" algn="l" defTabSz="914400" rtl="0" eaLnBrk="1" fontAlgn="auto" latinLnBrk="0" hangingPunct="1">
              <a:lnSpc>
                <a:spcPct val="100000"/>
              </a:lnSpc>
              <a:spcBef>
                <a:spcPts val="0"/>
              </a:spcBef>
              <a:spcAft>
                <a:spcPts val="1200"/>
              </a:spcAft>
              <a:buClr>
                <a:srgbClr val="70AD47"/>
              </a:buClr>
              <a:buSzTx/>
              <a:buFont typeface="Wingdings" panose="05000000000000000000" pitchFamily="2" charset="2"/>
              <a:buChar char="§"/>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Promoting/boosting tumor immunogenicity</a:t>
            </a:r>
          </a:p>
          <a:p>
            <a:pPr marL="594900" marR="0" lvl="1" indent="-342900" algn="l" defTabSz="914400" rtl="0" eaLnBrk="1" fontAlgn="auto" latinLnBrk="0" hangingPunct="1">
              <a:lnSpc>
                <a:spcPct val="100000"/>
              </a:lnSpc>
              <a:spcBef>
                <a:spcPts val="500"/>
              </a:spcBef>
              <a:spcAft>
                <a:spcPts val="1200"/>
              </a:spcAft>
              <a:buClrTx/>
              <a:buSzTx/>
              <a:buFont typeface="Arial" panose="020B0604020202020204" pitchFamily="34" charset="0"/>
              <a:buChar char="•"/>
              <a:tabLst/>
              <a:defRPr/>
            </a:pPr>
            <a:r>
              <a:rPr kumimoji="0" lang="en-US" sz="2000" b="0" i="0" u="none" strike="noStrike" kern="1200" cap="none" spc="0" normalizeH="0" baseline="0" noProof="0" dirty="0" err="1">
                <a:ln>
                  <a:noFill/>
                </a:ln>
                <a:solidFill>
                  <a:prstClr val="black"/>
                </a:solidFill>
                <a:effectLst/>
                <a:uLnTx/>
                <a:uFillTx/>
                <a:latin typeface="Calibri" panose="020F0502020204030204"/>
                <a:ea typeface="+mn-ea"/>
                <a:cs typeface="+mn-cs"/>
              </a:rPr>
              <a:t>Locoregional</a:t>
            </a: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 therapy combinations, oncolytic viruses, cellular therapies targeting tumor antigens</a:t>
            </a:r>
          </a:p>
          <a:p>
            <a:pPr marL="225425" marR="0" lvl="0" indent="-225425" algn="l" defTabSz="914400" rtl="0" eaLnBrk="1" fontAlgn="auto" latinLnBrk="0" hangingPunct="1">
              <a:lnSpc>
                <a:spcPct val="100000"/>
              </a:lnSpc>
              <a:spcBef>
                <a:spcPts val="0"/>
              </a:spcBef>
              <a:spcAft>
                <a:spcPts val="1200"/>
              </a:spcAft>
              <a:buClr>
                <a:srgbClr val="70AD47"/>
              </a:buClr>
              <a:buSzTx/>
              <a:buFont typeface="Wingdings" panose="05000000000000000000" pitchFamily="2" charset="2"/>
              <a:buChar char="§"/>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Many others!</a:t>
            </a:r>
          </a:p>
        </p:txBody>
      </p:sp>
      <p:sp>
        <p:nvSpPr>
          <p:cNvPr id="4" name="Footer Placeholder 3">
            <a:extLst>
              <a:ext uri="{FF2B5EF4-FFF2-40B4-BE49-F238E27FC236}">
                <a16:creationId xmlns:a16="http://schemas.microsoft.com/office/drawing/2014/main" id="{B13FE72A-B9AE-4B09-94A0-8430DA1C18CD}"/>
              </a:ext>
            </a:extLst>
          </p:cNvPr>
          <p:cNvSpPr>
            <a:spLocks noGrp="1"/>
          </p:cNvSpPr>
          <p:nvPr>
            <p:ph type="ftr" sz="quarter" idx="3"/>
          </p:nvPr>
        </p:nvSpPr>
        <p:spPr>
          <a:xfrm>
            <a:off x="510948" y="6551151"/>
            <a:ext cx="5747876" cy="13798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932" b="0" i="0" u="none" strike="noStrike" kern="1200" cap="none" spc="0" normalizeH="0" baseline="0" noProof="0" dirty="0" err="1">
                <a:ln>
                  <a:noFill/>
                </a:ln>
                <a:solidFill>
                  <a:prstClr val="black"/>
                </a:solidFill>
                <a:effectLst/>
                <a:uLnTx/>
                <a:uFillTx/>
                <a:latin typeface="Arial" pitchFamily="34" charset="0"/>
                <a:ea typeface="+mn-ea"/>
                <a:cs typeface="Arial" pitchFamily="34" charset="0"/>
              </a:rPr>
              <a:t>clinicaltrials.gov</a:t>
            </a:r>
            <a:r>
              <a:rPr kumimoji="0" lang="it-IT" sz="932" b="0" i="0" u="none" strike="noStrike" kern="1200" cap="none" spc="0" normalizeH="0" baseline="0" noProof="0" dirty="0">
                <a:ln>
                  <a:noFill/>
                </a:ln>
                <a:solidFill>
                  <a:prstClr val="black"/>
                </a:solidFill>
                <a:effectLst/>
                <a:uLnTx/>
                <a:uFillTx/>
                <a:latin typeface="Arial" pitchFamily="34" charset="0"/>
                <a:ea typeface="+mn-ea"/>
                <a:cs typeface="Arial" pitchFamily="34" charset="0"/>
              </a:rPr>
              <a:t>; </a:t>
            </a:r>
            <a:r>
              <a:rPr kumimoji="0" lang="it-IT" sz="932" b="0" i="0" u="none" strike="noStrike" kern="1200" cap="none" spc="0" normalizeH="0" baseline="0" noProof="0" dirty="0" err="1">
                <a:ln>
                  <a:noFill/>
                </a:ln>
                <a:solidFill>
                  <a:prstClr val="black"/>
                </a:solidFill>
                <a:effectLst/>
                <a:uLnTx/>
                <a:uFillTx/>
                <a:latin typeface="Arial" pitchFamily="34" charset="0"/>
                <a:ea typeface="+mn-ea"/>
                <a:cs typeface="Arial" pitchFamily="34" charset="0"/>
              </a:rPr>
              <a:t>Llovet</a:t>
            </a:r>
            <a:r>
              <a:rPr kumimoji="0" lang="it-IT" sz="932" b="0" i="0" u="none" strike="noStrike" kern="1200" cap="none" spc="0" normalizeH="0" baseline="0" noProof="0" dirty="0">
                <a:ln>
                  <a:noFill/>
                </a:ln>
                <a:solidFill>
                  <a:prstClr val="black"/>
                </a:solidFill>
                <a:effectLst/>
                <a:uLnTx/>
                <a:uFillTx/>
                <a:latin typeface="Arial" pitchFamily="34" charset="0"/>
                <a:ea typeface="+mn-ea"/>
                <a:cs typeface="Arial" pitchFamily="34" charset="0"/>
              </a:rPr>
              <a:t> et al. Nature </a:t>
            </a:r>
            <a:r>
              <a:rPr kumimoji="0" lang="it-IT" sz="932" b="0" i="0" u="none" strike="noStrike" kern="1200" cap="none" spc="0" normalizeH="0" baseline="0" noProof="0" dirty="0" err="1">
                <a:ln>
                  <a:noFill/>
                </a:ln>
                <a:solidFill>
                  <a:prstClr val="black"/>
                </a:solidFill>
                <a:effectLst/>
                <a:uLnTx/>
                <a:uFillTx/>
                <a:latin typeface="Arial" pitchFamily="34" charset="0"/>
                <a:ea typeface="+mn-ea"/>
                <a:cs typeface="Arial" pitchFamily="34" charset="0"/>
              </a:rPr>
              <a:t>Cancer</a:t>
            </a:r>
            <a:r>
              <a:rPr kumimoji="0" lang="it-IT" sz="932" b="0" i="0" u="none" strike="noStrike" kern="1200" cap="none" spc="0" normalizeH="0" baseline="0" noProof="0" dirty="0">
                <a:ln>
                  <a:noFill/>
                </a:ln>
                <a:solidFill>
                  <a:prstClr val="black"/>
                </a:solidFill>
                <a:effectLst/>
                <a:uLnTx/>
                <a:uFillTx/>
                <a:latin typeface="Arial" pitchFamily="34" charset="0"/>
                <a:ea typeface="+mn-ea"/>
                <a:cs typeface="Arial" pitchFamily="34" charset="0"/>
              </a:rPr>
              <a:t> 2022;3:386-401</a:t>
            </a:r>
            <a:endParaRPr kumimoji="0" lang="en-US" sz="932"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3263629066"/>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46A9BE-9CB6-C7A2-56AC-F6ECE26D92C6}"/>
              </a:ext>
            </a:extLst>
          </p:cNvPr>
          <p:cNvSpPr>
            <a:spLocks noGrp="1"/>
          </p:cNvSpPr>
          <p:nvPr>
            <p:ph type="title"/>
          </p:nvPr>
        </p:nvSpPr>
        <p:spPr>
          <a:xfrm>
            <a:off x="1035575" y="1869897"/>
            <a:ext cx="10358967" cy="2130603"/>
          </a:xfrm>
        </p:spPr>
        <p:txBody>
          <a:bodyPr/>
          <a:lstStyle/>
          <a:p>
            <a:r>
              <a:rPr lang="en-US" sz="3600" dirty="0"/>
              <a:t>MODULE 3: </a:t>
            </a:r>
            <a:r>
              <a:rPr lang="en-US" sz="3600" dirty="0">
                <a:solidFill>
                  <a:srgbClr val="0432FF"/>
                </a:solidFill>
              </a:rPr>
              <a:t>Current and Future Role of Immunotherapy in the Treatment of Advanced </a:t>
            </a:r>
            <a:br>
              <a:rPr lang="en-US" sz="3600" dirty="0">
                <a:solidFill>
                  <a:srgbClr val="0432FF"/>
                </a:solidFill>
              </a:rPr>
            </a:br>
            <a:r>
              <a:rPr lang="en-US" sz="3600" dirty="0">
                <a:solidFill>
                  <a:srgbClr val="0432FF"/>
                </a:solidFill>
              </a:rPr>
              <a:t>Biliary Tract Cancers (BTCs) — Prof Vogel</a:t>
            </a:r>
          </a:p>
        </p:txBody>
      </p:sp>
    </p:spTree>
    <p:extLst>
      <p:ext uri="{BB962C8B-B14F-4D97-AF65-F5344CB8AC3E}">
        <p14:creationId xmlns:p14="http://schemas.microsoft.com/office/powerpoint/2010/main" val="52748359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6D99EA41-950A-FC4F-9049-A7DC9674DA45}"/>
              </a:ext>
            </a:extLst>
          </p:cNvPr>
          <p:cNvSpPr/>
          <p:nvPr/>
        </p:nvSpPr>
        <p:spPr bwMode="auto">
          <a:xfrm>
            <a:off x="1007220" y="460267"/>
            <a:ext cx="10177559" cy="1411719"/>
          </a:xfrm>
          <a:prstGeom prst="rect">
            <a:avLst/>
          </a:prstGeom>
          <a:solidFill>
            <a:srgbClr val="1599B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S PGothic" charset="0"/>
              <a:cs typeface="+mn-cs"/>
            </a:endParaRPr>
          </a:p>
        </p:txBody>
      </p:sp>
      <p:sp>
        <p:nvSpPr>
          <p:cNvPr id="14" name="Title 1">
            <a:extLst>
              <a:ext uri="{FF2B5EF4-FFF2-40B4-BE49-F238E27FC236}">
                <a16:creationId xmlns:a16="http://schemas.microsoft.com/office/drawing/2014/main" id="{95846D9E-D007-AA40-B7BA-36E748F96750}"/>
              </a:ext>
            </a:extLst>
          </p:cNvPr>
          <p:cNvSpPr>
            <a:spLocks noGrp="1"/>
          </p:cNvSpPr>
          <p:nvPr>
            <p:ph type="title"/>
          </p:nvPr>
        </p:nvSpPr>
        <p:spPr>
          <a:xfrm>
            <a:off x="1122024" y="677090"/>
            <a:ext cx="10062756" cy="1095726"/>
          </a:xfrm>
        </p:spPr>
        <p:txBody>
          <a:bodyPr lIns="91440" tIns="91440" rIns="91440" bIns="182880"/>
          <a:lstStyle/>
          <a:p>
            <a:pPr algn="l"/>
            <a:r>
              <a:rPr lang="en-US" dirty="0">
                <a:solidFill>
                  <a:schemeClr val="bg1"/>
                </a:solidFill>
              </a:rPr>
              <a:t>Case Presentation: 75-year-old woman with metastatic cholangiocarcinoma who received first-line gemcitabine/</a:t>
            </a:r>
            <a:br>
              <a:rPr lang="en-US" dirty="0">
                <a:solidFill>
                  <a:schemeClr val="bg1"/>
                </a:solidFill>
              </a:rPr>
            </a:br>
            <a:r>
              <a:rPr lang="en-US" dirty="0">
                <a:solidFill>
                  <a:schemeClr val="bg1"/>
                </a:solidFill>
              </a:rPr>
              <a:t>cisplatin with durvalumab  </a:t>
            </a:r>
          </a:p>
        </p:txBody>
      </p:sp>
      <p:sp>
        <p:nvSpPr>
          <p:cNvPr id="8" name="Title 1">
            <a:extLst>
              <a:ext uri="{FF2B5EF4-FFF2-40B4-BE49-F238E27FC236}">
                <a16:creationId xmlns:a16="http://schemas.microsoft.com/office/drawing/2014/main" id="{1531812E-AB8F-744C-8E9F-5771D5F41B77}"/>
              </a:ext>
            </a:extLst>
          </p:cNvPr>
          <p:cNvSpPr txBox="1">
            <a:spLocks/>
          </p:cNvSpPr>
          <p:nvPr/>
        </p:nvSpPr>
        <p:spPr bwMode="auto">
          <a:xfrm>
            <a:off x="0" y="5864399"/>
            <a:ext cx="12192000" cy="6858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800" b="1" i="0" u="none" strike="noStrike" kern="1200" cap="none" spc="0" normalizeH="0" baseline="0" noProof="0" dirty="0">
                <a:ln>
                  <a:noFill/>
                </a:ln>
                <a:solidFill>
                  <a:srgbClr val="062060"/>
                </a:solidFill>
                <a:effectLst/>
                <a:uLnTx/>
                <a:uFillTx/>
                <a:latin typeface="Calibri"/>
                <a:ea typeface="MS PGothic" pitchFamily="34" charset="-128"/>
                <a:cs typeface="Calibri"/>
              </a:rPr>
              <a:t>Dr Warren Brenner (Boca Raton, Florida)</a:t>
            </a:r>
          </a:p>
        </p:txBody>
      </p:sp>
      <p:pic>
        <p:nvPicPr>
          <p:cNvPr id="3" name="Picture 2" descr="A person wearing headphones&#10;&#10;Description automatically generated with medium confidence">
            <a:extLst>
              <a:ext uri="{FF2B5EF4-FFF2-40B4-BE49-F238E27FC236}">
                <a16:creationId xmlns:a16="http://schemas.microsoft.com/office/drawing/2014/main" id="{AA856A75-7CA3-C0BF-9F43-709426F904C5}"/>
              </a:ext>
            </a:extLst>
          </p:cNvPr>
          <p:cNvPicPr>
            <a:picLocks noChangeAspect="1"/>
          </p:cNvPicPr>
          <p:nvPr/>
        </p:nvPicPr>
        <p:blipFill>
          <a:blip r:embed="rId2"/>
          <a:stretch>
            <a:fillRect/>
          </a:stretch>
        </p:blipFill>
        <p:spPr>
          <a:xfrm>
            <a:off x="2830286" y="2329632"/>
            <a:ext cx="6284030" cy="3534767"/>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21700872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2286" y="83408"/>
            <a:ext cx="10358967" cy="1257360"/>
          </a:xfrm>
        </p:spPr>
        <p:txBody>
          <a:bodyPr/>
          <a:lstStyle/>
          <a:p>
            <a:r>
              <a:rPr lang="en-US" sz="3200" dirty="0"/>
              <a:t>Robin K Kelley, MD </a:t>
            </a:r>
            <a:r>
              <a:rPr lang="en-US" sz="3200" dirty="0">
                <a:solidFill>
                  <a:srgbClr val="0432FF"/>
                </a:solidFill>
              </a:rPr>
              <a:t>— Disclosures</a:t>
            </a:r>
            <a:br>
              <a:rPr lang="en-US" sz="3200" dirty="0">
                <a:solidFill>
                  <a:srgbClr val="0432FF"/>
                </a:solidFill>
              </a:rPr>
            </a:br>
            <a:r>
              <a:rPr lang="en-US" sz="2800" dirty="0">
                <a:solidFill>
                  <a:srgbClr val="0432FF"/>
                </a:solidFill>
              </a:rPr>
              <a:t>Moderator</a:t>
            </a:r>
          </a:p>
        </p:txBody>
      </p:sp>
      <p:graphicFrame>
        <p:nvGraphicFramePr>
          <p:cNvPr id="3" name="Table 2">
            <a:extLst>
              <a:ext uri="{FF2B5EF4-FFF2-40B4-BE49-F238E27FC236}">
                <a16:creationId xmlns:a16="http://schemas.microsoft.com/office/drawing/2014/main" id="{17EEBD4A-2374-A64B-8F45-399BD207A7C4}"/>
              </a:ext>
            </a:extLst>
          </p:cNvPr>
          <p:cNvGraphicFramePr>
            <a:graphicFrameLocks noGrp="1"/>
          </p:cNvGraphicFramePr>
          <p:nvPr/>
        </p:nvGraphicFramePr>
        <p:xfrm>
          <a:off x="936853" y="1484784"/>
          <a:ext cx="10199707" cy="4536504"/>
        </p:xfrm>
        <a:graphic>
          <a:graphicData uri="http://schemas.openxmlformats.org/drawingml/2006/table">
            <a:tbl>
              <a:tblPr firstRow="1" bandRow="1">
                <a:tableStyleId>{F2DE63D5-997A-4646-A377-4702673A728D}</a:tableStyleId>
              </a:tblPr>
              <a:tblGrid>
                <a:gridCol w="3214931">
                  <a:extLst>
                    <a:ext uri="{9D8B030D-6E8A-4147-A177-3AD203B41FA5}">
                      <a16:colId xmlns:a16="http://schemas.microsoft.com/office/drawing/2014/main" val="554462400"/>
                    </a:ext>
                  </a:extLst>
                </a:gridCol>
                <a:gridCol w="6984776">
                  <a:extLst>
                    <a:ext uri="{9D8B030D-6E8A-4147-A177-3AD203B41FA5}">
                      <a16:colId xmlns:a16="http://schemas.microsoft.com/office/drawing/2014/main" val="1695023928"/>
                    </a:ext>
                  </a:extLst>
                </a:gridCol>
              </a:tblGrid>
              <a:tr h="605131">
                <a:tc>
                  <a:txBody>
                    <a:bodyPr/>
                    <a:lstStyle/>
                    <a:p>
                      <a:r>
                        <a:rPr lang="en-US" b="1" dirty="0">
                          <a:solidFill>
                            <a:schemeClr val="tx1"/>
                          </a:solidFill>
                        </a:rPr>
                        <a:t>Advisory Board</a:t>
                      </a:r>
                      <a:endParaRPr lang="en-US" sz="1800" b="1" kern="1200" dirty="0">
                        <a:solidFill>
                          <a:schemeClr val="tx1"/>
                        </a:solidFill>
                        <a:effectLst/>
                        <a:latin typeface="+mn-lt"/>
                        <a:ea typeface="+mn-ea"/>
                        <a:cs typeface="+mn-cs"/>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b="0" dirty="0" err="1">
                          <a:solidFill>
                            <a:schemeClr val="tx1"/>
                          </a:solidFill>
                        </a:rPr>
                        <a:t>Kinnate</a:t>
                      </a:r>
                      <a:r>
                        <a:rPr lang="en-US" b="0" dirty="0">
                          <a:solidFill>
                            <a:schemeClr val="tx1"/>
                          </a:solidFill>
                        </a:rPr>
                        <a:t> Biopharma</a:t>
                      </a:r>
                      <a:endParaRPr lang="en-US" sz="1800" b="0" kern="1200" dirty="0">
                        <a:solidFill>
                          <a:schemeClr val="tx1"/>
                        </a:solidFill>
                        <a:effectLst/>
                        <a:latin typeface="+mn-lt"/>
                        <a:ea typeface="+mn-ea"/>
                        <a:cs typeface="+mn-cs"/>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33472633"/>
                  </a:ext>
                </a:extLst>
              </a:tr>
              <a:tr h="727586">
                <a:tc>
                  <a:txBody>
                    <a:bodyPr/>
                    <a:lstStyle/>
                    <a:p>
                      <a:r>
                        <a:rPr lang="en-US" b="1" dirty="0">
                          <a:solidFill>
                            <a:schemeClr val="tx1"/>
                          </a:solidFill>
                        </a:rPr>
                        <a:t>Advisory Board or Steering Committee (to Institution)</a:t>
                      </a:r>
                      <a:endParaRPr lang="en-US" sz="1800" b="1" kern="1200" dirty="0">
                        <a:solidFill>
                          <a:schemeClr val="tx1"/>
                        </a:solidFill>
                        <a:effectLst/>
                        <a:latin typeface="+mn-lt"/>
                        <a:ea typeface="+mn-ea"/>
                        <a:cs typeface="+mn-cs"/>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dirty="0">
                          <a:solidFill>
                            <a:schemeClr val="tx1"/>
                          </a:solidFill>
                        </a:rPr>
                        <a:t>Agios Pharmaceuticals Inc, AstraZeneca Pharmaceuticals LP, </a:t>
                      </a:r>
                      <a:r>
                        <a:rPr lang="en-US" dirty="0" err="1">
                          <a:solidFill>
                            <a:schemeClr val="tx1"/>
                          </a:solidFill>
                        </a:rPr>
                        <a:t>Exelixis</a:t>
                      </a:r>
                      <a:r>
                        <a:rPr lang="en-US" dirty="0">
                          <a:solidFill>
                            <a:schemeClr val="tx1"/>
                          </a:solidFill>
                        </a:rPr>
                        <a:t> Inc, Ipsen Biopharmaceuticals Inc, Merck</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96370210"/>
                  </a:ext>
                </a:extLst>
              </a:tr>
              <a:tr h="754411">
                <a:tc>
                  <a:txBody>
                    <a:bodyPr/>
                    <a:lstStyle/>
                    <a:p>
                      <a:r>
                        <a:rPr lang="en-US" sz="1800" b="1" kern="1200" dirty="0">
                          <a:solidFill>
                            <a:schemeClr val="tx1"/>
                          </a:solidFill>
                          <a:effectLst/>
                          <a:latin typeface="+mn-lt"/>
                          <a:ea typeface="+mn-ea"/>
                          <a:cs typeface="+mn-cs"/>
                        </a:rPr>
                        <a:t>Advisory Committee</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dirty="0">
                          <a:solidFill>
                            <a:schemeClr val="tx1"/>
                          </a:solidFill>
                        </a:rPr>
                        <a:t>Agios Pharmaceuticals Inc, AstraZeneca Pharmaceuticals LP, </a:t>
                      </a:r>
                      <a:r>
                        <a:rPr lang="en-US" dirty="0" err="1">
                          <a:solidFill>
                            <a:schemeClr val="tx1"/>
                          </a:solidFill>
                        </a:rPr>
                        <a:t>Exelixis</a:t>
                      </a:r>
                      <a:r>
                        <a:rPr lang="en-US" dirty="0">
                          <a:solidFill>
                            <a:schemeClr val="tx1"/>
                          </a:solidFill>
                        </a:rPr>
                        <a:t> Inc, Ipsen Biopharmaceuticals Inc, </a:t>
                      </a:r>
                      <a:r>
                        <a:rPr lang="en-US" dirty="0" err="1">
                          <a:solidFill>
                            <a:schemeClr val="tx1"/>
                          </a:solidFill>
                        </a:rPr>
                        <a:t>Kinnate</a:t>
                      </a:r>
                      <a:r>
                        <a:rPr lang="en-US" dirty="0">
                          <a:solidFill>
                            <a:schemeClr val="tx1"/>
                          </a:solidFill>
                        </a:rPr>
                        <a:t> Biopharma, Merck</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41074058"/>
                  </a:ext>
                </a:extLst>
              </a:tr>
              <a:tr h="1801012">
                <a:tc>
                  <a:txBody>
                    <a:bodyPr/>
                    <a:lstStyle/>
                    <a:p>
                      <a:r>
                        <a:rPr lang="en-US" sz="1800" b="1" kern="1200" dirty="0">
                          <a:solidFill>
                            <a:schemeClr val="tx1"/>
                          </a:solidFill>
                          <a:effectLst/>
                          <a:latin typeface="+mn-lt"/>
                          <a:ea typeface="+mn-ea"/>
                          <a:cs typeface="+mn-cs"/>
                        </a:rPr>
                        <a:t>Research Funding to Institution</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dirty="0">
                          <a:solidFill>
                            <a:schemeClr val="tx1"/>
                          </a:solidFill>
                        </a:rPr>
                        <a:t>Agios Pharmaceuticals Inc, AstraZeneca Pharmaceuticals LP, Bayer HealthCare Pharmaceuticals, Bristol-Myers Squibb Company, EMD Serono Inc, </a:t>
                      </a:r>
                      <a:r>
                        <a:rPr lang="en-US" dirty="0" err="1">
                          <a:solidFill>
                            <a:schemeClr val="tx1"/>
                          </a:solidFill>
                        </a:rPr>
                        <a:t>Exelixis</a:t>
                      </a:r>
                      <a:r>
                        <a:rPr lang="en-US" dirty="0">
                          <a:solidFill>
                            <a:schemeClr val="tx1"/>
                          </a:solidFill>
                        </a:rPr>
                        <a:t> Inc, Genentech, a member of the Roche Group, Lilly, </a:t>
                      </a:r>
                      <a:r>
                        <a:rPr lang="en-US" dirty="0" err="1">
                          <a:solidFill>
                            <a:schemeClr val="tx1"/>
                          </a:solidFill>
                        </a:rPr>
                        <a:t>Loxo</a:t>
                      </a:r>
                      <a:r>
                        <a:rPr lang="en-US" dirty="0">
                          <a:solidFill>
                            <a:schemeClr val="tx1"/>
                          </a:solidFill>
                        </a:rPr>
                        <a:t> Oncology Inc, a wholly owned subsidiary of Eli Lilly &amp; Company, Merck, Novartis, Partner Therapeutics, QED Therapeutics, Relay Therapeutics, Surface Oncology, Taiho Oncology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54244078"/>
                  </a:ext>
                </a:extLst>
              </a:tr>
              <a:tr h="648364">
                <a:tc>
                  <a:txBody>
                    <a:bodyPr/>
                    <a:lstStyle/>
                    <a:p>
                      <a:r>
                        <a:rPr lang="en-US" sz="1800" b="1" kern="1200" dirty="0">
                          <a:solidFill>
                            <a:schemeClr val="tx1"/>
                          </a:solidFill>
                          <a:effectLst/>
                          <a:latin typeface="+mn-lt"/>
                          <a:ea typeface="+mn-ea"/>
                          <a:cs typeface="+mn-cs"/>
                        </a:rPr>
                        <a:t>Uncompensated Service on IDM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dirty="0">
                          <a:solidFill>
                            <a:schemeClr val="tx1"/>
                          </a:solidFill>
                        </a:rPr>
                        <a:t>Genentech, a member of the Roche Group, Merck</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51381751"/>
                  </a:ext>
                </a:extLst>
              </a:tr>
            </a:tbl>
          </a:graphicData>
        </a:graphic>
      </p:graphicFrame>
    </p:spTree>
    <p:custDataLst>
      <p:tags r:id="rId1"/>
    </p:custDataLst>
    <p:extLst>
      <p:ext uri="{BB962C8B-B14F-4D97-AF65-F5344CB8AC3E}">
        <p14:creationId xmlns:p14="http://schemas.microsoft.com/office/powerpoint/2010/main" val="273115354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77CC42-B382-094E-87BE-7E42C0D145BA}"/>
              </a:ext>
            </a:extLst>
          </p:cNvPr>
          <p:cNvSpPr>
            <a:spLocks noGrp="1"/>
          </p:cNvSpPr>
          <p:nvPr>
            <p:ph type="title"/>
          </p:nvPr>
        </p:nvSpPr>
        <p:spPr>
          <a:xfrm>
            <a:off x="912286" y="0"/>
            <a:ext cx="10358967" cy="1143000"/>
          </a:xfrm>
        </p:spPr>
        <p:txBody>
          <a:bodyPr/>
          <a:lstStyle/>
          <a:p>
            <a:r>
              <a:rPr lang="en-US" dirty="0"/>
              <a:t>QUESTIONS FOR THE FACULTY </a:t>
            </a:r>
          </a:p>
        </p:txBody>
      </p:sp>
      <p:sp>
        <p:nvSpPr>
          <p:cNvPr id="3" name="Content Placeholder 2">
            <a:extLst>
              <a:ext uri="{FF2B5EF4-FFF2-40B4-BE49-F238E27FC236}">
                <a16:creationId xmlns:a16="http://schemas.microsoft.com/office/drawing/2014/main" id="{7EEFB5D1-2903-E84B-AAAB-8403A4D065E2}"/>
              </a:ext>
            </a:extLst>
          </p:cNvPr>
          <p:cNvSpPr>
            <a:spLocks noGrp="1"/>
          </p:cNvSpPr>
          <p:nvPr>
            <p:ph idx="1"/>
          </p:nvPr>
        </p:nvSpPr>
        <p:spPr>
          <a:xfrm>
            <a:off x="912286" y="3299381"/>
            <a:ext cx="10358967" cy="2915685"/>
          </a:xfrm>
        </p:spPr>
        <p:txBody>
          <a:bodyPr/>
          <a:lstStyle/>
          <a:p>
            <a:pPr marL="98425" indent="0">
              <a:buNone/>
            </a:pPr>
            <a:r>
              <a:rPr lang="en-US" sz="2200" i="1" dirty="0">
                <a:solidFill>
                  <a:schemeClr val="accent2"/>
                </a:solidFill>
              </a:rPr>
              <a:t>Is there any differential effect based on PD-L1 and tumor mutational burden? And what are the management options for patients with progressive disease who have no targetable mutations?</a:t>
            </a:r>
          </a:p>
          <a:p>
            <a:pPr marL="98425" indent="0">
              <a:buNone/>
            </a:pPr>
            <a:r>
              <a:rPr lang="en-US" sz="2200" i="1" dirty="0">
                <a:solidFill>
                  <a:schemeClr val="accent2"/>
                </a:solidFill>
              </a:rPr>
              <a:t>Another question for the investigators is, there are a lot of liquid biopsies with high tumor mutational burden readings. I think the original pembrolizumab pan-tumor approval was based on the Foundation TMB. Do they use tumor mutational burden reported on liquid biopsies?”</a:t>
            </a:r>
          </a:p>
        </p:txBody>
      </p:sp>
      <p:sp>
        <p:nvSpPr>
          <p:cNvPr id="4" name="Content Placeholder 2">
            <a:extLst>
              <a:ext uri="{FF2B5EF4-FFF2-40B4-BE49-F238E27FC236}">
                <a16:creationId xmlns:a16="http://schemas.microsoft.com/office/drawing/2014/main" id="{31DB941D-D5E9-D7BE-776C-374E7A37BA5B}"/>
              </a:ext>
            </a:extLst>
          </p:cNvPr>
          <p:cNvSpPr txBox="1">
            <a:spLocks/>
          </p:cNvSpPr>
          <p:nvPr/>
        </p:nvSpPr>
        <p:spPr bwMode="auto">
          <a:xfrm>
            <a:off x="3571556" y="1221832"/>
            <a:ext cx="7812172" cy="1828730"/>
          </a:xfrm>
          <a:prstGeom prst="rect">
            <a:avLst/>
          </a:prstGeom>
          <a:noFill/>
          <a:ln w="9525">
            <a:noFill/>
            <a:miter lim="800000"/>
            <a:headEnd/>
            <a:tailEnd/>
          </a:ln>
        </p:spPr>
        <p:txBody>
          <a:bodyPr vert="horz" wrap="square" lIns="137160" tIns="0" rIns="137160" bIns="0" numCol="1" anchor="t" anchorCtr="0" compatLnSpc="1">
            <a:prstTxWarp prst="textNoShape">
              <a:avLst/>
            </a:prstTxWarp>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l"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kumimoji="0" lang="en-US" sz="2200" b="1" i="1" u="none" strike="noStrike" kern="1200" cap="none" spc="0" normalizeH="0" baseline="0" noProof="0" dirty="0">
                <a:ln>
                  <a:noFill/>
                </a:ln>
                <a:solidFill>
                  <a:srgbClr val="3333CC"/>
                </a:solidFill>
                <a:effectLst/>
                <a:uLnTx/>
                <a:uFillTx/>
                <a:latin typeface="Calibri" charset="0"/>
                <a:ea typeface="MS PGothic" pitchFamily="34" charset="-128"/>
              </a:rPr>
              <a:t>“My questions for the investigators are…</a:t>
            </a:r>
          </a:p>
          <a:p>
            <a:pPr marL="98425" marR="0" lvl="0" indent="0" algn="l"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kumimoji="0" lang="en-US" sz="2200" b="1" i="1" u="none" strike="noStrike" kern="1200" cap="none" spc="0" normalizeH="0" baseline="0" noProof="0" dirty="0">
                <a:ln>
                  <a:noFill/>
                </a:ln>
                <a:solidFill>
                  <a:srgbClr val="3333CC"/>
                </a:solidFill>
                <a:effectLst/>
                <a:uLnTx/>
                <a:uFillTx/>
                <a:latin typeface="Calibri" charset="0"/>
                <a:ea typeface="MS PGothic" pitchFamily="34" charset="-128"/>
              </a:rPr>
              <a:t>Are there subtypes, such as gallbladder cancer versus intrahepatic versus extrahepatic cholangiocarcinoma, that may respond differently to these agents, particularly checkpoint inhibitors?</a:t>
            </a:r>
          </a:p>
        </p:txBody>
      </p:sp>
      <p:sp>
        <p:nvSpPr>
          <p:cNvPr id="9" name="TextBox 8">
            <a:extLst>
              <a:ext uri="{FF2B5EF4-FFF2-40B4-BE49-F238E27FC236}">
                <a16:creationId xmlns:a16="http://schemas.microsoft.com/office/drawing/2014/main" id="{C7B63D41-AF09-77DE-D866-A535957369BE}"/>
              </a:ext>
            </a:extLst>
          </p:cNvPr>
          <p:cNvSpPr txBox="1"/>
          <p:nvPr/>
        </p:nvSpPr>
        <p:spPr>
          <a:xfrm>
            <a:off x="912286" y="2808433"/>
            <a:ext cx="2660904"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Warren S Brenner, MD</a:t>
            </a:r>
          </a:p>
        </p:txBody>
      </p:sp>
      <p:pic>
        <p:nvPicPr>
          <p:cNvPr id="5" name="Picture 4" descr="A person wearing headphones&#10;&#10;Description automatically generated with medium confidence">
            <a:extLst>
              <a:ext uri="{FF2B5EF4-FFF2-40B4-BE49-F238E27FC236}">
                <a16:creationId xmlns:a16="http://schemas.microsoft.com/office/drawing/2014/main" id="{4BF50A67-7D5F-A364-67AD-6F1AA4F3A411}"/>
              </a:ext>
            </a:extLst>
          </p:cNvPr>
          <p:cNvPicPr>
            <a:picLocks noChangeAspect="1"/>
          </p:cNvPicPr>
          <p:nvPr/>
        </p:nvPicPr>
        <p:blipFill>
          <a:blip r:embed="rId2"/>
          <a:stretch>
            <a:fillRect/>
          </a:stretch>
        </p:blipFill>
        <p:spPr>
          <a:xfrm>
            <a:off x="912285" y="1233764"/>
            <a:ext cx="2659267" cy="1495838"/>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93691077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6D99EA41-950A-FC4F-9049-A7DC9674DA45}"/>
              </a:ext>
            </a:extLst>
          </p:cNvPr>
          <p:cNvSpPr/>
          <p:nvPr/>
        </p:nvSpPr>
        <p:spPr bwMode="auto">
          <a:xfrm>
            <a:off x="1031330" y="274153"/>
            <a:ext cx="10129339" cy="1554156"/>
          </a:xfrm>
          <a:prstGeom prst="rect">
            <a:avLst/>
          </a:prstGeom>
          <a:solidFill>
            <a:srgbClr val="1599B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S PGothic" charset="0"/>
              <a:cs typeface="+mn-cs"/>
            </a:endParaRPr>
          </a:p>
        </p:txBody>
      </p:sp>
      <p:sp>
        <p:nvSpPr>
          <p:cNvPr id="14" name="Title 1">
            <a:extLst>
              <a:ext uri="{FF2B5EF4-FFF2-40B4-BE49-F238E27FC236}">
                <a16:creationId xmlns:a16="http://schemas.microsoft.com/office/drawing/2014/main" id="{95846D9E-D007-AA40-B7BA-36E748F96750}"/>
              </a:ext>
            </a:extLst>
          </p:cNvPr>
          <p:cNvSpPr>
            <a:spLocks noGrp="1"/>
          </p:cNvSpPr>
          <p:nvPr>
            <p:ph type="title"/>
          </p:nvPr>
        </p:nvSpPr>
        <p:spPr>
          <a:xfrm>
            <a:off x="1159204" y="568678"/>
            <a:ext cx="10129339" cy="1095726"/>
          </a:xfrm>
        </p:spPr>
        <p:txBody>
          <a:bodyPr lIns="91440" tIns="91440" rIns="91440" bIns="182880"/>
          <a:lstStyle/>
          <a:p>
            <a:pPr algn="l"/>
            <a:r>
              <a:rPr lang="en-US" sz="2700" dirty="0">
                <a:solidFill>
                  <a:schemeClr val="bg1"/>
                </a:solidFill>
              </a:rPr>
              <a:t>Case Presentation: 72-year-old man with localized cholangiocarcinoma deemed potentially resectable with </a:t>
            </a:r>
            <a:br>
              <a:rPr lang="en-US" sz="2700" dirty="0">
                <a:solidFill>
                  <a:schemeClr val="bg1"/>
                </a:solidFill>
              </a:rPr>
            </a:br>
            <a:r>
              <a:rPr lang="en-US" sz="2700" dirty="0">
                <a:solidFill>
                  <a:schemeClr val="bg1"/>
                </a:solidFill>
              </a:rPr>
              <a:t>tumor response</a:t>
            </a:r>
          </a:p>
        </p:txBody>
      </p:sp>
      <p:sp>
        <p:nvSpPr>
          <p:cNvPr id="8" name="Title 1">
            <a:extLst>
              <a:ext uri="{FF2B5EF4-FFF2-40B4-BE49-F238E27FC236}">
                <a16:creationId xmlns:a16="http://schemas.microsoft.com/office/drawing/2014/main" id="{1531812E-AB8F-744C-8E9F-5771D5F41B77}"/>
              </a:ext>
            </a:extLst>
          </p:cNvPr>
          <p:cNvSpPr txBox="1">
            <a:spLocks/>
          </p:cNvSpPr>
          <p:nvPr/>
        </p:nvSpPr>
        <p:spPr bwMode="auto">
          <a:xfrm>
            <a:off x="0" y="5607213"/>
            <a:ext cx="12192000" cy="6858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800" b="1" i="0" u="none" strike="noStrike" kern="1200" cap="none" spc="0" normalizeH="0" baseline="0" noProof="0" dirty="0">
                <a:ln>
                  <a:noFill/>
                </a:ln>
                <a:solidFill>
                  <a:srgbClr val="062060"/>
                </a:solidFill>
                <a:effectLst/>
                <a:uLnTx/>
                <a:uFillTx/>
                <a:latin typeface="Calibri"/>
                <a:ea typeface="MS PGothic" pitchFamily="34" charset="-128"/>
                <a:cs typeface="Calibri"/>
              </a:rPr>
              <a:t>Dr </a:t>
            </a:r>
            <a:r>
              <a:rPr kumimoji="0" lang="en-US" sz="2800" b="1" i="0" u="none" strike="noStrike" kern="1200" cap="none" spc="0" normalizeH="0" baseline="0" noProof="0" dirty="0">
                <a:ln>
                  <a:noFill/>
                </a:ln>
                <a:solidFill>
                  <a:srgbClr val="051F60"/>
                </a:solidFill>
                <a:effectLst/>
                <a:uLnTx/>
                <a:uFillTx/>
                <a:latin typeface="Calibri" panose="020F0502020204030204" pitchFamily="34" charset="0"/>
                <a:ea typeface="MS PGothic" pitchFamily="34" charset="-128"/>
                <a:cs typeface="Calibri" panose="020F0502020204030204" pitchFamily="34" charset="0"/>
              </a:rPr>
              <a:t>Jeremy Lorber (</a:t>
            </a:r>
            <a:r>
              <a:rPr kumimoji="0" lang="en-US" sz="2800" b="1" i="0" u="none" strike="noStrike" kern="1200" cap="none" spc="0" normalizeH="0" baseline="0" noProof="0" dirty="0">
                <a:ln>
                  <a:noFill/>
                </a:ln>
                <a:solidFill>
                  <a:srgbClr val="051F60"/>
                </a:solidFill>
                <a:effectLst/>
                <a:uLnTx/>
                <a:uFillTx/>
                <a:latin typeface="Calibri"/>
                <a:ea typeface="MS PGothic" pitchFamily="34" charset="-128"/>
                <a:cs typeface="Calibri"/>
              </a:rPr>
              <a:t>Beverly Hills, California)</a:t>
            </a:r>
          </a:p>
        </p:txBody>
      </p:sp>
      <p:pic>
        <p:nvPicPr>
          <p:cNvPr id="3" name="Picture 2" descr="A person wearing headphones&#10;&#10;Description automatically generated with medium confidence">
            <a:extLst>
              <a:ext uri="{FF2B5EF4-FFF2-40B4-BE49-F238E27FC236}">
                <a16:creationId xmlns:a16="http://schemas.microsoft.com/office/drawing/2014/main" id="{3A388CF7-7B68-68D2-02D3-3B943A072D47}"/>
              </a:ext>
            </a:extLst>
          </p:cNvPr>
          <p:cNvPicPr>
            <a:picLocks noChangeAspect="1"/>
          </p:cNvPicPr>
          <p:nvPr/>
        </p:nvPicPr>
        <p:blipFill>
          <a:blip r:embed="rId2"/>
          <a:stretch>
            <a:fillRect/>
          </a:stretch>
        </p:blipFill>
        <p:spPr>
          <a:xfrm>
            <a:off x="2950473" y="2156117"/>
            <a:ext cx="6135282" cy="3451096"/>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907853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77CC42-B382-094E-87BE-7E42C0D145BA}"/>
              </a:ext>
            </a:extLst>
          </p:cNvPr>
          <p:cNvSpPr>
            <a:spLocks noGrp="1"/>
          </p:cNvSpPr>
          <p:nvPr>
            <p:ph type="title"/>
          </p:nvPr>
        </p:nvSpPr>
        <p:spPr>
          <a:xfrm>
            <a:off x="912286" y="0"/>
            <a:ext cx="10358967" cy="1143000"/>
          </a:xfrm>
        </p:spPr>
        <p:txBody>
          <a:bodyPr/>
          <a:lstStyle/>
          <a:p>
            <a:r>
              <a:rPr lang="en-US" dirty="0"/>
              <a:t>QUESTIONS FOR THE FACULTY </a:t>
            </a:r>
          </a:p>
        </p:txBody>
      </p:sp>
      <p:sp>
        <p:nvSpPr>
          <p:cNvPr id="4" name="Content Placeholder 2">
            <a:extLst>
              <a:ext uri="{FF2B5EF4-FFF2-40B4-BE49-F238E27FC236}">
                <a16:creationId xmlns:a16="http://schemas.microsoft.com/office/drawing/2014/main" id="{31DB941D-D5E9-D7BE-776C-374E7A37BA5B}"/>
              </a:ext>
            </a:extLst>
          </p:cNvPr>
          <p:cNvSpPr txBox="1">
            <a:spLocks/>
          </p:cNvSpPr>
          <p:nvPr/>
        </p:nvSpPr>
        <p:spPr bwMode="auto">
          <a:xfrm>
            <a:off x="3571556" y="1221832"/>
            <a:ext cx="7812172" cy="1828730"/>
          </a:xfrm>
          <a:prstGeom prst="rect">
            <a:avLst/>
          </a:prstGeom>
          <a:noFill/>
          <a:ln w="9525">
            <a:noFill/>
            <a:miter lim="800000"/>
            <a:headEnd/>
            <a:tailEnd/>
          </a:ln>
        </p:spPr>
        <p:txBody>
          <a:bodyPr vert="horz" wrap="square" lIns="137160" tIns="0" rIns="137160" bIns="0" numCol="1" anchor="t" anchorCtr="0" compatLnSpc="1">
            <a:prstTxWarp prst="textNoShape">
              <a:avLst/>
            </a:prstTxWarp>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l"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kumimoji="0" lang="en-US" sz="2200" b="1" i="1" u="none" strike="noStrike" kern="1200" cap="none" spc="0" normalizeH="0" baseline="0" noProof="0" dirty="0">
                <a:ln>
                  <a:noFill/>
                </a:ln>
                <a:solidFill>
                  <a:srgbClr val="3333CC"/>
                </a:solidFill>
                <a:effectLst/>
                <a:uLnTx/>
                <a:uFillTx/>
                <a:latin typeface="Calibri" charset="0"/>
                <a:ea typeface="MS PGothic" pitchFamily="34" charset="-128"/>
              </a:rPr>
              <a:t>“The surgeon deemed him not a surgical candidate for the time being but potentially in the future. He’s thus far had a partial response to durvalumab, gemcitabine and cisplatin. He’s tolerated it very well. He’s still not a perfect surgical candidate, and the surgeon ideally would like further response before considering resection. Any suggestions? Would you consider radiation therapy?”</a:t>
            </a:r>
          </a:p>
        </p:txBody>
      </p:sp>
      <p:sp>
        <p:nvSpPr>
          <p:cNvPr id="9" name="TextBox 8">
            <a:extLst>
              <a:ext uri="{FF2B5EF4-FFF2-40B4-BE49-F238E27FC236}">
                <a16:creationId xmlns:a16="http://schemas.microsoft.com/office/drawing/2014/main" id="{C7B63D41-AF09-77DE-D866-A535957369BE}"/>
              </a:ext>
            </a:extLst>
          </p:cNvPr>
          <p:cNvSpPr txBox="1"/>
          <p:nvPr/>
        </p:nvSpPr>
        <p:spPr>
          <a:xfrm>
            <a:off x="912286" y="2808433"/>
            <a:ext cx="2660904"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Jeremy Lorber, MD</a:t>
            </a:r>
          </a:p>
        </p:txBody>
      </p:sp>
      <p:pic>
        <p:nvPicPr>
          <p:cNvPr id="5" name="Picture 4" descr="A person wearing headphones&#10;&#10;Description automatically generated with medium confidence">
            <a:extLst>
              <a:ext uri="{FF2B5EF4-FFF2-40B4-BE49-F238E27FC236}">
                <a16:creationId xmlns:a16="http://schemas.microsoft.com/office/drawing/2014/main" id="{3F5EBE6D-C1CB-67B0-2A36-7E0E05C5ACE5}"/>
              </a:ext>
            </a:extLst>
          </p:cNvPr>
          <p:cNvPicPr>
            <a:picLocks noChangeAspect="1"/>
          </p:cNvPicPr>
          <p:nvPr/>
        </p:nvPicPr>
        <p:blipFill>
          <a:blip r:embed="rId2"/>
          <a:stretch>
            <a:fillRect/>
          </a:stretch>
        </p:blipFill>
        <p:spPr>
          <a:xfrm>
            <a:off x="910648" y="1232843"/>
            <a:ext cx="2660904" cy="1496759"/>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397431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66DD8D8-E3C1-4B81-8B8B-E13F21F9DBCF}"/>
              </a:ext>
            </a:extLst>
          </p:cNvPr>
          <p:cNvSpPr>
            <a:spLocks noGrp="1"/>
          </p:cNvSpPr>
          <p:nvPr>
            <p:ph type="body" sz="half" idx="4294967295"/>
          </p:nvPr>
        </p:nvSpPr>
        <p:spPr>
          <a:xfrm>
            <a:off x="624419" y="2805748"/>
            <a:ext cx="11000512" cy="1051560"/>
          </a:xfrm>
          <a:prstGeom prst="rect">
            <a:avLst/>
          </a:prstGeom>
        </p:spPr>
        <p:txBody>
          <a:bodyPr>
            <a:noAutofit/>
          </a:bodyPr>
          <a:lstStyle/>
          <a:p>
            <a:pPr algn="ctr"/>
            <a:r>
              <a:rPr lang="en-US" sz="3200" b="1" dirty="0">
                <a:latin typeface="Arial" panose="020B0604020202020204" pitchFamily="34" charset="0"/>
                <a:ea typeface="Calibri" panose="020F0502020204030204" pitchFamily="34" charset="0"/>
              </a:rPr>
              <a:t>Current and Future Role of Immunotherapy in the </a:t>
            </a:r>
            <a:br>
              <a:rPr lang="en-US" sz="3200" b="1" dirty="0">
                <a:latin typeface="Arial" panose="020B0604020202020204" pitchFamily="34" charset="0"/>
                <a:ea typeface="Calibri" panose="020F0502020204030204" pitchFamily="34" charset="0"/>
              </a:rPr>
            </a:br>
            <a:r>
              <a:rPr lang="en-US" sz="3200" b="1" dirty="0">
                <a:latin typeface="Arial" panose="020B0604020202020204" pitchFamily="34" charset="0"/>
                <a:ea typeface="Calibri" panose="020F0502020204030204" pitchFamily="34" charset="0"/>
              </a:rPr>
              <a:t>Treatment of Advanced Biliary Tract Cancers (BTCs) </a:t>
            </a:r>
            <a:endParaRPr lang="en-CH" sz="3200" b="1" dirty="0"/>
          </a:p>
        </p:txBody>
      </p:sp>
      <p:sp>
        <p:nvSpPr>
          <p:cNvPr id="7" name="Text Placeholder 6">
            <a:extLst>
              <a:ext uri="{FF2B5EF4-FFF2-40B4-BE49-F238E27FC236}">
                <a16:creationId xmlns:a16="http://schemas.microsoft.com/office/drawing/2014/main" id="{EFCEEC08-C7C3-4AB8-9483-12E21B66C6AD}"/>
              </a:ext>
            </a:extLst>
          </p:cNvPr>
          <p:cNvSpPr>
            <a:spLocks noGrp="1"/>
          </p:cNvSpPr>
          <p:nvPr>
            <p:ph type="body" sz="half" idx="4294967295"/>
          </p:nvPr>
        </p:nvSpPr>
        <p:spPr>
          <a:xfrm>
            <a:off x="3043835" y="4797990"/>
            <a:ext cx="6104331" cy="623252"/>
          </a:xfrm>
          <a:prstGeom prst="rect">
            <a:avLst/>
          </a:prstGeom>
        </p:spPr>
        <p:txBody>
          <a:bodyPr/>
          <a:lstStyle/>
          <a:p>
            <a:pPr algn="ctr"/>
            <a:r>
              <a:rPr lang="de-DE" sz="3733" dirty="0"/>
              <a:t>Arndt Vogel</a:t>
            </a:r>
            <a:endParaRPr lang="en-CH" sz="3733" dirty="0"/>
          </a:p>
        </p:txBody>
      </p:sp>
    </p:spTree>
    <p:extLst>
      <p:ext uri="{BB962C8B-B14F-4D97-AF65-F5344CB8AC3E}">
        <p14:creationId xmlns:p14="http://schemas.microsoft.com/office/powerpoint/2010/main" val="2675760895"/>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D0ED8DA5-64AC-1597-AAC5-8C4E791A7641}"/>
              </a:ext>
            </a:extLst>
          </p:cNvPr>
          <p:cNvSpPr>
            <a:spLocks noGrp="1"/>
          </p:cNvSpPr>
          <p:nvPr>
            <p:ph type="ctrTitle" idx="4294967295"/>
          </p:nvPr>
        </p:nvSpPr>
        <p:spPr>
          <a:xfrm>
            <a:off x="402899" y="281203"/>
            <a:ext cx="11213020" cy="576000"/>
          </a:xfrm>
          <a:prstGeom prst="rect">
            <a:avLst/>
          </a:prstGeom>
        </p:spPr>
        <p:txBody>
          <a:bodyPr/>
          <a:lstStyle/>
          <a:p>
            <a:r>
              <a:rPr lang="en-US" sz="3733" b="1" dirty="0">
                <a:latin typeface="Arial Narrow" panose="020B0604020202020204" pitchFamily="34" charset="0"/>
                <a:cs typeface="Arial Narrow" panose="020B0604020202020204" pitchFamily="34" charset="0"/>
              </a:rPr>
              <a:t>Biliary Tract Cancers: a heterogeneous disease entity</a:t>
            </a:r>
            <a:endParaRPr lang="de-DE" b="1" dirty="0">
              <a:latin typeface="Arial Narrow" panose="020B0604020202020204" pitchFamily="34" charset="0"/>
              <a:cs typeface="Arial Narrow" panose="020B0604020202020204" pitchFamily="34" charset="0"/>
            </a:endParaRPr>
          </a:p>
        </p:txBody>
      </p:sp>
      <p:pic>
        <p:nvPicPr>
          <p:cNvPr id="6" name="Picture 9">
            <a:extLst>
              <a:ext uri="{FF2B5EF4-FFF2-40B4-BE49-F238E27FC236}">
                <a16:creationId xmlns:a16="http://schemas.microsoft.com/office/drawing/2014/main" id="{7A48CFAE-0655-99AC-B242-95A88CC62B49}"/>
              </a:ext>
            </a:extLst>
          </p:cNvPr>
          <p:cNvPicPr>
            <a:picLocks noChangeAspect="1"/>
          </p:cNvPicPr>
          <p:nvPr/>
        </p:nvPicPr>
        <p:blipFill rotWithShape="1">
          <a:blip r:embed="rId2"/>
          <a:srcRect l="29647" t="17521" r="16699" b="21794"/>
          <a:stretch/>
        </p:blipFill>
        <p:spPr>
          <a:xfrm>
            <a:off x="266224" y="1854652"/>
            <a:ext cx="5656128" cy="3598497"/>
          </a:xfrm>
          <a:prstGeom prst="rect">
            <a:avLst/>
          </a:prstGeom>
        </p:spPr>
      </p:pic>
      <p:sp>
        <p:nvSpPr>
          <p:cNvPr id="7" name="TextBox 8">
            <a:extLst>
              <a:ext uri="{FF2B5EF4-FFF2-40B4-BE49-F238E27FC236}">
                <a16:creationId xmlns:a16="http://schemas.microsoft.com/office/drawing/2014/main" id="{BA60E898-896A-6C80-898D-B5F69F53B5D7}"/>
              </a:ext>
            </a:extLst>
          </p:cNvPr>
          <p:cNvSpPr txBox="1"/>
          <p:nvPr/>
        </p:nvSpPr>
        <p:spPr bwMode="auto">
          <a:xfrm>
            <a:off x="266224" y="6576798"/>
            <a:ext cx="5574656" cy="246221"/>
          </a:xfrm>
          <a:prstGeom prst="rect">
            <a:avLst/>
          </a:prstGeom>
          <a:noFill/>
          <a:ln w="19050" algn="ctr">
            <a:noFill/>
            <a:miter lim="800000"/>
            <a:headEnd/>
            <a:tailEnd/>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 typeface="Arial"/>
              <a:buNone/>
              <a:tabLst/>
              <a:defRPr/>
            </a:pPr>
            <a:r>
              <a:rPr kumimoji="0" lang="en-US" sz="16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sym typeface="Arial"/>
              </a:rPr>
              <a:t>Banales</a:t>
            </a:r>
            <a:r>
              <a:rPr kumimoji="0" lang="en-US" sz="16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a:rPr>
              <a:t> et al. Nat Rev </a:t>
            </a:r>
            <a:r>
              <a:rPr kumimoji="0" lang="en-US" sz="16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sym typeface="Arial"/>
              </a:rPr>
              <a:t>Gastroent</a:t>
            </a:r>
            <a:r>
              <a:rPr kumimoji="0" lang="en-US" sz="16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a:rPr>
              <a:t> Hepatol 2020</a:t>
            </a:r>
          </a:p>
        </p:txBody>
      </p:sp>
      <p:sp>
        <p:nvSpPr>
          <p:cNvPr id="8" name="TextBox 5">
            <a:extLst>
              <a:ext uri="{FF2B5EF4-FFF2-40B4-BE49-F238E27FC236}">
                <a16:creationId xmlns:a16="http://schemas.microsoft.com/office/drawing/2014/main" id="{7CC8FBDF-7252-85BE-E69D-6616FB949348}"/>
              </a:ext>
            </a:extLst>
          </p:cNvPr>
          <p:cNvSpPr txBox="1"/>
          <p:nvPr/>
        </p:nvSpPr>
        <p:spPr>
          <a:xfrm>
            <a:off x="402899" y="1071180"/>
            <a:ext cx="3062057"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400" b="1" i="0" u="none" strike="noStrike" kern="0" cap="none" spc="0" normalizeH="0" baseline="0" noProof="0" dirty="0">
                <a:ln>
                  <a:noFill/>
                </a:ln>
                <a:solidFill>
                  <a:srgbClr val="7D8232"/>
                </a:solidFill>
                <a:effectLst/>
                <a:uLnTx/>
                <a:uFillTx/>
                <a:latin typeface="Arial Narrow" panose="020B0604020202020204" pitchFamily="34" charset="0"/>
                <a:cs typeface="Arial Narrow" panose="020B0604020202020204" pitchFamily="34" charset="0"/>
                <a:sym typeface="Arial"/>
              </a:rPr>
              <a:t>A</a:t>
            </a:r>
            <a:r>
              <a:rPr kumimoji="0" lang="en-DE" sz="2400" b="1" i="0" u="none" strike="noStrike" kern="0" cap="none" spc="0" normalizeH="0" baseline="0" noProof="0" dirty="0">
                <a:ln>
                  <a:noFill/>
                </a:ln>
                <a:solidFill>
                  <a:srgbClr val="7D8232"/>
                </a:solidFill>
                <a:effectLst/>
                <a:uLnTx/>
                <a:uFillTx/>
                <a:latin typeface="Arial Narrow" panose="020B0604020202020204" pitchFamily="34" charset="0"/>
                <a:cs typeface="Arial Narrow" panose="020B0604020202020204" pitchFamily="34" charset="0"/>
                <a:sym typeface="Arial"/>
              </a:rPr>
              <a:t>natomic heterogeneity</a:t>
            </a:r>
          </a:p>
        </p:txBody>
      </p:sp>
      <p:sp>
        <p:nvSpPr>
          <p:cNvPr id="9" name="TextBox 13">
            <a:extLst>
              <a:ext uri="{FF2B5EF4-FFF2-40B4-BE49-F238E27FC236}">
                <a16:creationId xmlns:a16="http://schemas.microsoft.com/office/drawing/2014/main" id="{6F69F34C-CAE1-1850-7DD2-66C367D061C9}"/>
              </a:ext>
            </a:extLst>
          </p:cNvPr>
          <p:cNvSpPr txBox="1"/>
          <p:nvPr/>
        </p:nvSpPr>
        <p:spPr>
          <a:xfrm>
            <a:off x="5840881" y="1070976"/>
            <a:ext cx="2909771"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de-DE" sz="2400" b="1" i="0" u="none" strike="noStrike" kern="0" cap="none" spc="0" normalizeH="0" baseline="0" noProof="0" dirty="0" err="1">
                <a:ln>
                  <a:noFill/>
                </a:ln>
                <a:solidFill>
                  <a:srgbClr val="7D8232"/>
                </a:solidFill>
                <a:effectLst/>
                <a:uLnTx/>
                <a:uFillTx/>
                <a:latin typeface="Arial Narrow" panose="020B0604020202020204" pitchFamily="34" charset="0"/>
                <a:cs typeface="Arial Narrow" panose="020B0604020202020204" pitchFamily="34" charset="0"/>
                <a:sym typeface="Arial"/>
              </a:rPr>
              <a:t>Genetic</a:t>
            </a:r>
            <a:r>
              <a:rPr kumimoji="0" lang="de-DE" sz="2400" b="1" i="0" u="none" strike="noStrike" kern="0" cap="none" spc="0" normalizeH="0" baseline="0" noProof="0" dirty="0">
                <a:ln>
                  <a:noFill/>
                </a:ln>
                <a:solidFill>
                  <a:srgbClr val="7D8232"/>
                </a:solidFill>
                <a:effectLst/>
                <a:uLnTx/>
                <a:uFillTx/>
                <a:latin typeface="Arial Narrow" panose="020B0604020202020204" pitchFamily="34" charset="0"/>
                <a:cs typeface="Arial Narrow" panose="020B0604020202020204" pitchFamily="34" charset="0"/>
                <a:sym typeface="Arial"/>
              </a:rPr>
              <a:t> </a:t>
            </a:r>
            <a:r>
              <a:rPr kumimoji="0" lang="en-DE" sz="2400" b="1" i="0" u="none" strike="noStrike" kern="0" cap="none" spc="0" normalizeH="0" baseline="0" noProof="0" dirty="0">
                <a:ln>
                  <a:noFill/>
                </a:ln>
                <a:solidFill>
                  <a:srgbClr val="7D8232"/>
                </a:solidFill>
                <a:effectLst/>
                <a:uLnTx/>
                <a:uFillTx/>
                <a:latin typeface="Arial Narrow" panose="020B0604020202020204" pitchFamily="34" charset="0"/>
                <a:cs typeface="Arial Narrow" panose="020B0604020202020204" pitchFamily="34" charset="0"/>
                <a:sym typeface="Arial"/>
              </a:rPr>
              <a:t> heterogeneity</a:t>
            </a:r>
          </a:p>
        </p:txBody>
      </p:sp>
      <p:sp>
        <p:nvSpPr>
          <p:cNvPr id="11" name="Textfeld 10">
            <a:extLst>
              <a:ext uri="{FF2B5EF4-FFF2-40B4-BE49-F238E27FC236}">
                <a16:creationId xmlns:a16="http://schemas.microsoft.com/office/drawing/2014/main" id="{BDE8D3C0-4C01-F2DA-6541-C1960EFAF6BB}"/>
              </a:ext>
            </a:extLst>
          </p:cNvPr>
          <p:cNvSpPr txBox="1"/>
          <p:nvPr/>
        </p:nvSpPr>
        <p:spPr>
          <a:xfrm>
            <a:off x="898886" y="4811032"/>
            <a:ext cx="1915548"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de-DE" sz="14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sym typeface="Arial"/>
              </a:rPr>
              <a:t>Gallbladder</a:t>
            </a:r>
            <a:r>
              <a:rPr kumimoji="0" lang="de-DE" sz="14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a:rPr>
              <a:t> </a:t>
            </a:r>
            <a:r>
              <a:rPr kumimoji="0" lang="de-DE" sz="14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sym typeface="Arial"/>
              </a:rPr>
              <a:t>cancer</a:t>
            </a:r>
            <a:endParaRPr kumimoji="0" lang="de-DE" sz="14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a:endParaRPr>
          </a:p>
        </p:txBody>
      </p:sp>
      <p:pic>
        <p:nvPicPr>
          <p:cNvPr id="15" name="Grafik 14">
            <a:extLst>
              <a:ext uri="{FF2B5EF4-FFF2-40B4-BE49-F238E27FC236}">
                <a16:creationId xmlns:a16="http://schemas.microsoft.com/office/drawing/2014/main" id="{9997ABD8-48A6-C737-429F-7C357FBDC29B}"/>
              </a:ext>
            </a:extLst>
          </p:cNvPr>
          <p:cNvPicPr>
            <a:picLocks noChangeAspect="1"/>
          </p:cNvPicPr>
          <p:nvPr/>
        </p:nvPicPr>
        <p:blipFill>
          <a:blip r:embed="rId3"/>
          <a:stretch>
            <a:fillRect/>
          </a:stretch>
        </p:blipFill>
        <p:spPr>
          <a:xfrm>
            <a:off x="5922353" y="1854651"/>
            <a:ext cx="5608124" cy="4297135"/>
          </a:xfrm>
          <a:prstGeom prst="rect">
            <a:avLst/>
          </a:prstGeom>
        </p:spPr>
      </p:pic>
      <p:sp>
        <p:nvSpPr>
          <p:cNvPr id="33" name="TextBox 8">
            <a:extLst>
              <a:ext uri="{FF2B5EF4-FFF2-40B4-BE49-F238E27FC236}">
                <a16:creationId xmlns:a16="http://schemas.microsoft.com/office/drawing/2014/main" id="{B082D9E1-52DA-3E40-633B-9BC3F68397BE}"/>
              </a:ext>
            </a:extLst>
          </p:cNvPr>
          <p:cNvSpPr txBox="1"/>
          <p:nvPr/>
        </p:nvSpPr>
        <p:spPr bwMode="auto">
          <a:xfrm>
            <a:off x="6351120" y="6572296"/>
            <a:ext cx="5574656" cy="246221"/>
          </a:xfrm>
          <a:prstGeom prst="rect">
            <a:avLst/>
          </a:prstGeom>
          <a:noFill/>
          <a:ln w="19050" algn="ctr">
            <a:noFill/>
            <a:miter lim="800000"/>
            <a:headEnd/>
            <a:tailEnd/>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 typeface="Arial"/>
              <a:buNone/>
              <a:tabLst/>
              <a:defRPr/>
            </a:pPr>
            <a:r>
              <a:rPr kumimoji="0" lang="en-US" sz="16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a:rPr>
              <a:t>Vogel/</a:t>
            </a:r>
            <a:r>
              <a:rPr kumimoji="0" lang="en-US" sz="16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sym typeface="Arial"/>
              </a:rPr>
              <a:t>Saborowski</a:t>
            </a:r>
            <a:r>
              <a:rPr kumimoji="0" lang="en-US" sz="16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a:rPr>
              <a:t> Journal of Hepatology, 2022</a:t>
            </a:r>
          </a:p>
        </p:txBody>
      </p:sp>
      <p:sp>
        <p:nvSpPr>
          <p:cNvPr id="45" name="Rechteck 44">
            <a:extLst>
              <a:ext uri="{FF2B5EF4-FFF2-40B4-BE49-F238E27FC236}">
                <a16:creationId xmlns:a16="http://schemas.microsoft.com/office/drawing/2014/main" id="{D15694B7-7860-AD5C-D1C6-E35A7BF4A92B}"/>
              </a:ext>
            </a:extLst>
          </p:cNvPr>
          <p:cNvSpPr/>
          <p:nvPr/>
        </p:nvSpPr>
        <p:spPr>
          <a:xfrm>
            <a:off x="11358708" y="2420521"/>
            <a:ext cx="609600" cy="37170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de-DE" sz="2489" b="0" i="0" u="none" strike="noStrike" kern="0" cap="none" spc="0" normalizeH="0" baseline="0" noProof="0">
              <a:ln>
                <a:noFill/>
              </a:ln>
              <a:solidFill>
                <a:srgbClr val="FFFFFF"/>
              </a:solidFill>
              <a:effectLst/>
              <a:uLnTx/>
              <a:uFillTx/>
              <a:latin typeface="Arial"/>
              <a:ea typeface="+mn-ea"/>
              <a:cs typeface="+mn-cs"/>
              <a:sym typeface="Arial"/>
            </a:endParaRPr>
          </a:p>
        </p:txBody>
      </p:sp>
    </p:spTree>
    <p:extLst>
      <p:ext uri="{BB962C8B-B14F-4D97-AF65-F5344CB8AC3E}">
        <p14:creationId xmlns:p14="http://schemas.microsoft.com/office/powerpoint/2010/main" val="3726169149"/>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BEBBDE23-9B35-3A5A-7127-8C9E20B8DDB7}"/>
              </a:ext>
            </a:extLst>
          </p:cNvPr>
          <p:cNvSpPr>
            <a:spLocks noGrp="1"/>
          </p:cNvSpPr>
          <p:nvPr>
            <p:ph type="ctrTitle" idx="4294967295"/>
          </p:nvPr>
        </p:nvSpPr>
        <p:spPr>
          <a:xfrm>
            <a:off x="479999" y="112367"/>
            <a:ext cx="11213020" cy="576000"/>
          </a:xfrm>
          <a:prstGeom prst="rect">
            <a:avLst/>
          </a:prstGeom>
        </p:spPr>
        <p:txBody>
          <a:bodyPr/>
          <a:lstStyle/>
          <a:p>
            <a:r>
              <a:rPr lang="en-US" sz="3200" b="1" dirty="0">
                <a:latin typeface="Arial Narrow" panose="020B0604020202020204" pitchFamily="34" charset="0"/>
                <a:cs typeface="Arial Narrow" panose="020B0604020202020204" pitchFamily="34" charset="0"/>
              </a:rPr>
              <a:t>Diagnosis and Management of Biliary Tract Cancer</a:t>
            </a:r>
            <a:br>
              <a:rPr lang="en-US" sz="3200" b="1" dirty="0">
                <a:latin typeface="Arial Narrow" panose="020B0604020202020204" pitchFamily="34" charset="0"/>
                <a:cs typeface="Arial Narrow" panose="020B0604020202020204" pitchFamily="34" charset="0"/>
              </a:rPr>
            </a:br>
            <a:endParaRPr lang="de-DE" sz="3200" b="1" dirty="0">
              <a:latin typeface="Arial Narrow" panose="020B0604020202020204" pitchFamily="34" charset="0"/>
              <a:cs typeface="Arial Narrow" panose="020B0604020202020204" pitchFamily="34" charset="0"/>
            </a:endParaRPr>
          </a:p>
        </p:txBody>
      </p:sp>
      <p:pic>
        <p:nvPicPr>
          <p:cNvPr id="4" name="Grafik 3">
            <a:extLst>
              <a:ext uri="{FF2B5EF4-FFF2-40B4-BE49-F238E27FC236}">
                <a16:creationId xmlns:a16="http://schemas.microsoft.com/office/drawing/2014/main" id="{2781CE8C-1869-ECFA-2EDE-4704FAA73480}"/>
              </a:ext>
            </a:extLst>
          </p:cNvPr>
          <p:cNvPicPr>
            <a:picLocks noChangeAspect="1"/>
          </p:cNvPicPr>
          <p:nvPr/>
        </p:nvPicPr>
        <p:blipFill>
          <a:blip r:embed="rId2"/>
          <a:stretch>
            <a:fillRect/>
          </a:stretch>
        </p:blipFill>
        <p:spPr>
          <a:xfrm>
            <a:off x="2021088" y="838660"/>
            <a:ext cx="8441864" cy="5650008"/>
          </a:xfrm>
          <a:prstGeom prst="rect">
            <a:avLst/>
          </a:prstGeom>
        </p:spPr>
      </p:pic>
      <p:sp>
        <p:nvSpPr>
          <p:cNvPr id="88" name="Textfeld 87">
            <a:extLst>
              <a:ext uri="{FF2B5EF4-FFF2-40B4-BE49-F238E27FC236}">
                <a16:creationId xmlns:a16="http://schemas.microsoft.com/office/drawing/2014/main" id="{8B855E75-77CA-D75B-9855-012F6A114873}"/>
              </a:ext>
            </a:extLst>
          </p:cNvPr>
          <p:cNvSpPr txBox="1"/>
          <p:nvPr/>
        </p:nvSpPr>
        <p:spPr>
          <a:xfrm>
            <a:off x="205190" y="6488668"/>
            <a:ext cx="3752950"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de-DE" sz="1600" b="0" i="0" u="none" strike="noStrike" kern="0" cap="none" spc="0" normalizeH="0" baseline="0" noProof="0" dirty="0">
                <a:ln>
                  <a:noFill/>
                </a:ln>
                <a:solidFill>
                  <a:srgbClr val="000000"/>
                </a:solidFill>
                <a:effectLst/>
                <a:uLnTx/>
                <a:uFillTx/>
                <a:latin typeface="Arial"/>
                <a:cs typeface="Arial"/>
                <a:sym typeface="Arial"/>
              </a:rPr>
              <a:t>Vogel A et al. </a:t>
            </a:r>
            <a:r>
              <a:rPr kumimoji="0" lang="de-DE" sz="1600" b="0" i="0" u="none" strike="noStrike" kern="0" cap="none" spc="0" normalizeH="0" baseline="0" noProof="0" dirty="0" err="1">
                <a:ln>
                  <a:noFill/>
                </a:ln>
                <a:solidFill>
                  <a:srgbClr val="000000"/>
                </a:solidFill>
                <a:effectLst/>
                <a:uLnTx/>
                <a:uFillTx/>
                <a:latin typeface="Arial"/>
                <a:cs typeface="Arial"/>
                <a:sym typeface="Arial"/>
              </a:rPr>
              <a:t>Annals</a:t>
            </a:r>
            <a:r>
              <a:rPr kumimoji="0" lang="de-DE" sz="1600" b="0" i="0" u="none" strike="noStrike" kern="0" cap="none" spc="0" normalizeH="0" baseline="0" noProof="0" dirty="0">
                <a:ln>
                  <a:noFill/>
                </a:ln>
                <a:solidFill>
                  <a:srgbClr val="000000"/>
                </a:solidFill>
                <a:effectLst/>
                <a:uLnTx/>
                <a:uFillTx/>
                <a:latin typeface="Arial"/>
                <a:cs typeface="Arial"/>
                <a:sym typeface="Arial"/>
              </a:rPr>
              <a:t> </a:t>
            </a:r>
            <a:r>
              <a:rPr kumimoji="0" lang="de-DE" sz="1600" b="0" i="0" u="none" strike="noStrike" kern="0" cap="none" spc="0" normalizeH="0" baseline="0" noProof="0" dirty="0" err="1">
                <a:ln>
                  <a:noFill/>
                </a:ln>
                <a:solidFill>
                  <a:srgbClr val="000000"/>
                </a:solidFill>
                <a:effectLst/>
                <a:uLnTx/>
                <a:uFillTx/>
                <a:latin typeface="Arial"/>
                <a:cs typeface="Arial"/>
                <a:sym typeface="Arial"/>
              </a:rPr>
              <a:t>of</a:t>
            </a:r>
            <a:r>
              <a:rPr kumimoji="0" lang="de-DE" sz="1600" b="0" i="0" u="none" strike="noStrike" kern="0" cap="none" spc="0" normalizeH="0" baseline="0" noProof="0" dirty="0">
                <a:ln>
                  <a:noFill/>
                </a:ln>
                <a:solidFill>
                  <a:srgbClr val="000000"/>
                </a:solidFill>
                <a:effectLst/>
                <a:uLnTx/>
                <a:uFillTx/>
                <a:latin typeface="Arial"/>
                <a:cs typeface="Arial"/>
                <a:sym typeface="Arial"/>
              </a:rPr>
              <a:t> </a:t>
            </a:r>
            <a:r>
              <a:rPr kumimoji="0" lang="de-DE" sz="1600" b="0" i="0" u="none" strike="noStrike" kern="0" cap="none" spc="0" normalizeH="0" baseline="0" noProof="0" dirty="0" err="1">
                <a:ln>
                  <a:noFill/>
                </a:ln>
                <a:solidFill>
                  <a:srgbClr val="000000"/>
                </a:solidFill>
                <a:effectLst/>
                <a:uLnTx/>
                <a:uFillTx/>
                <a:latin typeface="Arial"/>
                <a:cs typeface="Arial"/>
                <a:sym typeface="Arial"/>
              </a:rPr>
              <a:t>Oncology</a:t>
            </a:r>
            <a:r>
              <a:rPr kumimoji="0" lang="de-DE" sz="1600" b="0" i="0" u="none" strike="noStrike" kern="0" cap="none" spc="0" normalizeH="0" baseline="0" noProof="0" dirty="0">
                <a:ln>
                  <a:noFill/>
                </a:ln>
                <a:solidFill>
                  <a:srgbClr val="000000"/>
                </a:solidFill>
                <a:effectLst/>
                <a:uLnTx/>
                <a:uFillTx/>
                <a:latin typeface="Arial"/>
                <a:cs typeface="Arial"/>
                <a:sym typeface="Arial"/>
              </a:rPr>
              <a:t> 2022</a:t>
            </a:r>
          </a:p>
        </p:txBody>
      </p:sp>
    </p:spTree>
    <p:extLst>
      <p:ext uri="{BB962C8B-B14F-4D97-AF65-F5344CB8AC3E}">
        <p14:creationId xmlns:p14="http://schemas.microsoft.com/office/powerpoint/2010/main" val="1740955669"/>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26584647-164C-F9EF-C9FA-A4942F919942}"/>
              </a:ext>
            </a:extLst>
          </p:cNvPr>
          <p:cNvSpPr>
            <a:spLocks noGrp="1"/>
          </p:cNvSpPr>
          <p:nvPr>
            <p:ph type="ctrTitle" idx="4294967295"/>
          </p:nvPr>
        </p:nvSpPr>
        <p:spPr>
          <a:xfrm>
            <a:off x="238905" y="308377"/>
            <a:ext cx="11591675" cy="576000"/>
          </a:xfrm>
          <a:prstGeom prst="rect">
            <a:avLst/>
          </a:prstGeom>
        </p:spPr>
        <p:txBody>
          <a:bodyPr/>
          <a:lstStyle/>
          <a:p>
            <a:r>
              <a:rPr lang="de-DE" sz="3733" b="1" dirty="0"/>
              <a:t>BTC: </a:t>
            </a:r>
            <a:r>
              <a:rPr lang="de-DE" sz="3733" b="1" dirty="0" err="1"/>
              <a:t>low</a:t>
            </a:r>
            <a:r>
              <a:rPr lang="de-DE" sz="3733" b="1" dirty="0"/>
              <a:t> </a:t>
            </a:r>
            <a:r>
              <a:rPr lang="de-DE" sz="3733" b="1" dirty="0" err="1"/>
              <a:t>prevalence</a:t>
            </a:r>
            <a:r>
              <a:rPr lang="de-DE" sz="3733" b="1" dirty="0"/>
              <a:t> </a:t>
            </a:r>
            <a:r>
              <a:rPr lang="de-DE" sz="3733" b="1" dirty="0" err="1"/>
              <a:t>of</a:t>
            </a:r>
            <a:r>
              <a:rPr lang="de-DE" sz="3733" b="1" dirty="0"/>
              <a:t> </a:t>
            </a:r>
            <a:r>
              <a:rPr lang="de-DE" sz="3733" b="1" dirty="0" err="1"/>
              <a:t>established</a:t>
            </a:r>
            <a:r>
              <a:rPr lang="de-DE" sz="3733" b="1" dirty="0"/>
              <a:t> IO </a:t>
            </a:r>
            <a:r>
              <a:rPr lang="de-DE" sz="3733" b="1" dirty="0" err="1"/>
              <a:t>biomarkers</a:t>
            </a:r>
            <a:r>
              <a:rPr lang="de-DE" sz="3733" b="1" dirty="0"/>
              <a:t> </a:t>
            </a:r>
          </a:p>
        </p:txBody>
      </p:sp>
      <p:pic>
        <p:nvPicPr>
          <p:cNvPr id="4" name="Grafik 3">
            <a:extLst>
              <a:ext uri="{FF2B5EF4-FFF2-40B4-BE49-F238E27FC236}">
                <a16:creationId xmlns:a16="http://schemas.microsoft.com/office/drawing/2014/main" id="{DCC45084-5CEA-C053-5AB3-0410C12509EF}"/>
              </a:ext>
            </a:extLst>
          </p:cNvPr>
          <p:cNvPicPr>
            <a:picLocks noChangeAspect="1"/>
          </p:cNvPicPr>
          <p:nvPr/>
        </p:nvPicPr>
        <p:blipFill rotWithShape="1">
          <a:blip r:embed="rId2"/>
          <a:srcRect t="7850" r="49732"/>
          <a:stretch/>
        </p:blipFill>
        <p:spPr>
          <a:xfrm>
            <a:off x="711346" y="1921079"/>
            <a:ext cx="5323397" cy="4031123"/>
          </a:xfrm>
          <a:prstGeom prst="rect">
            <a:avLst/>
          </a:prstGeom>
        </p:spPr>
      </p:pic>
      <p:sp>
        <p:nvSpPr>
          <p:cNvPr id="13" name="Textfeld 12">
            <a:extLst>
              <a:ext uri="{FF2B5EF4-FFF2-40B4-BE49-F238E27FC236}">
                <a16:creationId xmlns:a16="http://schemas.microsoft.com/office/drawing/2014/main" id="{C933384D-6574-A73D-AB76-2045F9D0C389}"/>
              </a:ext>
            </a:extLst>
          </p:cNvPr>
          <p:cNvSpPr txBox="1"/>
          <p:nvPr/>
        </p:nvSpPr>
        <p:spPr>
          <a:xfrm>
            <a:off x="740253" y="1321628"/>
            <a:ext cx="3834704"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de-DE" sz="2400" b="1" i="0" u="none" strike="noStrike" kern="0" cap="none" spc="0" normalizeH="0" baseline="0" noProof="0" dirty="0" err="1">
                <a:ln>
                  <a:noFill/>
                </a:ln>
                <a:solidFill>
                  <a:srgbClr val="000000"/>
                </a:solidFill>
                <a:effectLst/>
                <a:uLnTx/>
                <a:uFillTx/>
                <a:latin typeface="Arial Narrow" panose="020B0604020202020204" pitchFamily="34" charset="0"/>
                <a:cs typeface="Arial Narrow" panose="020B0604020202020204" pitchFamily="34" charset="0"/>
                <a:sym typeface="Arial"/>
              </a:rPr>
              <a:t>TMB</a:t>
            </a:r>
            <a:r>
              <a:rPr kumimoji="0" lang="de-DE" sz="2400" b="1" i="0" u="none" strike="noStrike" kern="0" cap="none" spc="0" normalizeH="0" baseline="30000" noProof="0" dirty="0" err="1">
                <a:ln>
                  <a:noFill/>
                </a:ln>
                <a:solidFill>
                  <a:srgbClr val="000000"/>
                </a:solidFill>
                <a:effectLst/>
                <a:uLnTx/>
                <a:uFillTx/>
                <a:latin typeface="Arial Narrow" panose="020B0604020202020204" pitchFamily="34" charset="0"/>
                <a:cs typeface="Arial Narrow" panose="020B0604020202020204" pitchFamily="34" charset="0"/>
                <a:sym typeface="Arial"/>
              </a:rPr>
              <a:t>high</a:t>
            </a:r>
            <a:r>
              <a:rPr kumimoji="0" lang="de-DE" sz="2400" b="1" i="0" u="none" strike="noStrike" kern="0" cap="none" spc="0" normalizeH="0" baseline="30000" noProof="0" dirty="0">
                <a:ln>
                  <a:noFill/>
                </a:ln>
                <a:solidFill>
                  <a:srgbClr val="000000"/>
                </a:solidFill>
                <a:effectLst/>
                <a:uLnTx/>
                <a:uFillTx/>
                <a:latin typeface="Arial Narrow" panose="020B0604020202020204" pitchFamily="34" charset="0"/>
                <a:cs typeface="Arial Narrow" panose="020B0604020202020204" pitchFamily="34" charset="0"/>
                <a:sym typeface="Arial"/>
              </a:rPr>
              <a:t> </a:t>
            </a:r>
            <a:r>
              <a:rPr kumimoji="0" lang="de-DE" sz="2400" b="1"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rPr>
              <a:t>226/6130 </a:t>
            </a:r>
            <a:r>
              <a:rPr kumimoji="0" lang="de-DE" sz="2400" b="1" i="0" u="none" strike="noStrike" kern="0" cap="none" spc="0" normalizeH="0" baseline="0" noProof="0" dirty="0" err="1">
                <a:ln>
                  <a:noFill/>
                </a:ln>
                <a:solidFill>
                  <a:srgbClr val="000000"/>
                </a:solidFill>
                <a:effectLst/>
                <a:uLnTx/>
                <a:uFillTx/>
                <a:latin typeface="Arial Narrow" panose="020B0604020202020204" pitchFamily="34" charset="0"/>
                <a:cs typeface="Arial Narrow" panose="020B0604020202020204" pitchFamily="34" charset="0"/>
                <a:sym typeface="Arial"/>
              </a:rPr>
              <a:t>iCCAs</a:t>
            </a:r>
            <a:r>
              <a:rPr kumimoji="0" lang="de-DE" sz="2400" b="1"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rPr>
              <a:t> (3.7%)</a:t>
            </a:r>
          </a:p>
        </p:txBody>
      </p:sp>
      <p:sp>
        <p:nvSpPr>
          <p:cNvPr id="15" name="Textfeld 14">
            <a:extLst>
              <a:ext uri="{FF2B5EF4-FFF2-40B4-BE49-F238E27FC236}">
                <a16:creationId xmlns:a16="http://schemas.microsoft.com/office/drawing/2014/main" id="{35EB5E9B-0ABD-BF43-2452-D1C8C2D2B2A0}"/>
              </a:ext>
            </a:extLst>
          </p:cNvPr>
          <p:cNvSpPr txBox="1"/>
          <p:nvPr/>
        </p:nvSpPr>
        <p:spPr>
          <a:xfrm>
            <a:off x="6521708" y="1356236"/>
            <a:ext cx="3595856"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de-DE" sz="2400" b="1" i="0" u="none" strike="noStrike" kern="0" cap="none" spc="0" normalizeH="0" baseline="0" noProof="0" dirty="0" err="1">
                <a:ln>
                  <a:noFill/>
                </a:ln>
                <a:solidFill>
                  <a:srgbClr val="000000"/>
                </a:solidFill>
                <a:effectLst/>
                <a:uLnTx/>
                <a:uFillTx/>
                <a:latin typeface="Arial Narrow" panose="020B0604020202020204" pitchFamily="34" charset="0"/>
                <a:cs typeface="Arial Narrow" panose="020B0604020202020204" pitchFamily="34" charset="0"/>
                <a:sym typeface="Arial"/>
              </a:rPr>
              <a:t>MSI</a:t>
            </a:r>
            <a:r>
              <a:rPr kumimoji="0" lang="de-DE" sz="2400" b="1" i="0" u="none" strike="noStrike" kern="0" cap="none" spc="0" normalizeH="0" baseline="30000" noProof="0" dirty="0" err="1">
                <a:ln>
                  <a:noFill/>
                </a:ln>
                <a:solidFill>
                  <a:srgbClr val="000000"/>
                </a:solidFill>
                <a:effectLst/>
                <a:uLnTx/>
                <a:uFillTx/>
                <a:latin typeface="Arial Narrow" panose="020B0604020202020204" pitchFamily="34" charset="0"/>
                <a:cs typeface="Arial Narrow" panose="020B0604020202020204" pitchFamily="34" charset="0"/>
                <a:sym typeface="Arial"/>
              </a:rPr>
              <a:t>high</a:t>
            </a:r>
            <a:r>
              <a:rPr kumimoji="0" lang="de-DE" sz="2400" b="1" i="0" u="none" strike="noStrike" kern="0" cap="none" spc="0" normalizeH="0" baseline="30000" noProof="0" dirty="0">
                <a:ln>
                  <a:noFill/>
                </a:ln>
                <a:solidFill>
                  <a:srgbClr val="000000"/>
                </a:solidFill>
                <a:effectLst/>
                <a:uLnTx/>
                <a:uFillTx/>
                <a:latin typeface="Arial Narrow" panose="020B0604020202020204" pitchFamily="34" charset="0"/>
                <a:cs typeface="Arial Narrow" panose="020B0604020202020204" pitchFamily="34" charset="0"/>
                <a:sym typeface="Arial"/>
              </a:rPr>
              <a:t> </a:t>
            </a:r>
            <a:r>
              <a:rPr kumimoji="0" lang="de-DE" sz="2400" b="1"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rPr>
              <a:t>75/6130 </a:t>
            </a:r>
            <a:r>
              <a:rPr kumimoji="0" lang="de-DE" sz="2400" b="1" i="0" u="none" strike="noStrike" kern="0" cap="none" spc="0" normalizeH="0" baseline="0" noProof="0" dirty="0" err="1">
                <a:ln>
                  <a:noFill/>
                </a:ln>
                <a:solidFill>
                  <a:srgbClr val="000000"/>
                </a:solidFill>
                <a:effectLst/>
                <a:uLnTx/>
                <a:uFillTx/>
                <a:latin typeface="Arial Narrow" panose="020B0604020202020204" pitchFamily="34" charset="0"/>
                <a:cs typeface="Arial Narrow" panose="020B0604020202020204" pitchFamily="34" charset="0"/>
                <a:sym typeface="Arial"/>
              </a:rPr>
              <a:t>iCCAs</a:t>
            </a:r>
            <a:r>
              <a:rPr kumimoji="0" lang="de-DE" sz="2400" b="1"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rPr>
              <a:t> (1.2%)</a:t>
            </a:r>
          </a:p>
        </p:txBody>
      </p:sp>
      <p:pic>
        <p:nvPicPr>
          <p:cNvPr id="17" name="Grafik 16">
            <a:extLst>
              <a:ext uri="{FF2B5EF4-FFF2-40B4-BE49-F238E27FC236}">
                <a16:creationId xmlns:a16="http://schemas.microsoft.com/office/drawing/2014/main" id="{F98736D2-B452-E366-0142-C696A12A2B1F}"/>
              </a:ext>
            </a:extLst>
          </p:cNvPr>
          <p:cNvPicPr>
            <a:picLocks noChangeAspect="1"/>
          </p:cNvPicPr>
          <p:nvPr/>
        </p:nvPicPr>
        <p:blipFill rotWithShape="1">
          <a:blip r:embed="rId2"/>
          <a:srcRect l="49957" t="7850"/>
          <a:stretch/>
        </p:blipFill>
        <p:spPr>
          <a:xfrm>
            <a:off x="6467450" y="2064708"/>
            <a:ext cx="5299580" cy="4031123"/>
          </a:xfrm>
          <a:prstGeom prst="rect">
            <a:avLst/>
          </a:prstGeom>
        </p:spPr>
      </p:pic>
      <p:sp>
        <p:nvSpPr>
          <p:cNvPr id="22" name="Textfeld 21">
            <a:extLst>
              <a:ext uri="{FF2B5EF4-FFF2-40B4-BE49-F238E27FC236}">
                <a16:creationId xmlns:a16="http://schemas.microsoft.com/office/drawing/2014/main" id="{659F01D2-3661-9178-1020-3A79C278BE38}"/>
              </a:ext>
            </a:extLst>
          </p:cNvPr>
          <p:cNvSpPr txBox="1"/>
          <p:nvPr/>
        </p:nvSpPr>
        <p:spPr>
          <a:xfrm>
            <a:off x="3793843" y="2219073"/>
            <a:ext cx="490840" cy="25654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de-DE" sz="1067" b="1" i="0" u="none" strike="noStrike" kern="0" cap="none" spc="0" normalizeH="0" baseline="0" noProof="0" dirty="0">
                <a:ln>
                  <a:noFill/>
                </a:ln>
                <a:solidFill>
                  <a:srgbClr val="6E1E50"/>
                </a:solidFill>
                <a:effectLst/>
                <a:uLnTx/>
                <a:uFillTx/>
                <a:latin typeface="Arial Narrow" panose="020B0604020202020204" pitchFamily="34" charset="0"/>
                <a:cs typeface="Arial Narrow" panose="020B0604020202020204" pitchFamily="34" charset="0"/>
                <a:sym typeface="Arial"/>
              </a:rPr>
              <a:t>MLH1</a:t>
            </a:r>
          </a:p>
        </p:txBody>
      </p:sp>
      <p:sp>
        <p:nvSpPr>
          <p:cNvPr id="24" name="Textfeld 23">
            <a:extLst>
              <a:ext uri="{FF2B5EF4-FFF2-40B4-BE49-F238E27FC236}">
                <a16:creationId xmlns:a16="http://schemas.microsoft.com/office/drawing/2014/main" id="{9FE69858-F3E5-C0AA-DA13-930A821FCFB1}"/>
              </a:ext>
            </a:extLst>
          </p:cNvPr>
          <p:cNvSpPr txBox="1"/>
          <p:nvPr/>
        </p:nvSpPr>
        <p:spPr>
          <a:xfrm>
            <a:off x="3793844" y="2070809"/>
            <a:ext cx="572593" cy="25654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de-DE" sz="1067" b="1" i="0" u="none" strike="noStrike" kern="0" cap="none" spc="0" normalizeH="0" baseline="0" noProof="0" dirty="0">
                <a:ln>
                  <a:noFill/>
                </a:ln>
                <a:solidFill>
                  <a:srgbClr val="6E1E50"/>
                </a:solidFill>
                <a:effectLst/>
                <a:uLnTx/>
                <a:uFillTx/>
                <a:latin typeface="Arial Narrow" panose="020B0604020202020204" pitchFamily="34" charset="0"/>
                <a:cs typeface="Arial Narrow" panose="020B0604020202020204" pitchFamily="34" charset="0"/>
                <a:sym typeface="Arial"/>
              </a:rPr>
              <a:t>KMT2D</a:t>
            </a:r>
          </a:p>
        </p:txBody>
      </p:sp>
      <p:sp>
        <p:nvSpPr>
          <p:cNvPr id="26" name="Textfeld 25">
            <a:extLst>
              <a:ext uri="{FF2B5EF4-FFF2-40B4-BE49-F238E27FC236}">
                <a16:creationId xmlns:a16="http://schemas.microsoft.com/office/drawing/2014/main" id="{02428EB8-A6E3-D696-CFA2-8A1ADFDB1E83}"/>
              </a:ext>
            </a:extLst>
          </p:cNvPr>
          <p:cNvSpPr txBox="1"/>
          <p:nvPr/>
        </p:nvSpPr>
        <p:spPr>
          <a:xfrm>
            <a:off x="3793843" y="2367337"/>
            <a:ext cx="542136" cy="25654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de-DE" sz="1067" b="1" i="0" u="none" strike="noStrike" kern="0" cap="none" spc="0" normalizeH="0" baseline="0" noProof="0" dirty="0">
                <a:ln>
                  <a:noFill/>
                </a:ln>
                <a:solidFill>
                  <a:srgbClr val="6E1E50"/>
                </a:solidFill>
                <a:effectLst/>
                <a:uLnTx/>
                <a:uFillTx/>
                <a:latin typeface="Arial Narrow" panose="020B0604020202020204" pitchFamily="34" charset="0"/>
                <a:cs typeface="Arial Narrow" panose="020B0604020202020204" pitchFamily="34" charset="0"/>
                <a:sym typeface="Arial"/>
              </a:rPr>
              <a:t>RNF43</a:t>
            </a:r>
          </a:p>
        </p:txBody>
      </p:sp>
      <p:sp>
        <p:nvSpPr>
          <p:cNvPr id="28" name="Textfeld 27">
            <a:extLst>
              <a:ext uri="{FF2B5EF4-FFF2-40B4-BE49-F238E27FC236}">
                <a16:creationId xmlns:a16="http://schemas.microsoft.com/office/drawing/2014/main" id="{A2D6AE9D-1567-F375-D8ED-81DE5D05B4BC}"/>
              </a:ext>
            </a:extLst>
          </p:cNvPr>
          <p:cNvSpPr txBox="1"/>
          <p:nvPr/>
        </p:nvSpPr>
        <p:spPr>
          <a:xfrm>
            <a:off x="3793843" y="1921079"/>
            <a:ext cx="604653" cy="25654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de-DE" sz="1067" b="1" i="0" u="none" strike="noStrike" kern="0" cap="none" spc="0" normalizeH="0" baseline="0" noProof="0" dirty="0">
                <a:ln>
                  <a:noFill/>
                </a:ln>
                <a:solidFill>
                  <a:srgbClr val="6E1E50"/>
                </a:solidFill>
                <a:effectLst/>
                <a:uLnTx/>
                <a:uFillTx/>
                <a:latin typeface="Arial Narrow" panose="020B0604020202020204" pitchFamily="34" charset="0"/>
                <a:cs typeface="Arial Narrow" panose="020B0604020202020204" pitchFamily="34" charset="0"/>
                <a:sym typeface="Arial"/>
              </a:rPr>
              <a:t>ARID1A</a:t>
            </a:r>
          </a:p>
        </p:txBody>
      </p:sp>
      <p:sp>
        <p:nvSpPr>
          <p:cNvPr id="2" name="TextBox 8">
            <a:extLst>
              <a:ext uri="{FF2B5EF4-FFF2-40B4-BE49-F238E27FC236}">
                <a16:creationId xmlns:a16="http://schemas.microsoft.com/office/drawing/2014/main" id="{894F8FE5-B9D9-88DA-F7C3-95B3A119DA08}"/>
              </a:ext>
            </a:extLst>
          </p:cNvPr>
          <p:cNvSpPr txBox="1"/>
          <p:nvPr/>
        </p:nvSpPr>
        <p:spPr bwMode="auto">
          <a:xfrm>
            <a:off x="460087" y="6531686"/>
            <a:ext cx="5574656" cy="246221"/>
          </a:xfrm>
          <a:prstGeom prst="rect">
            <a:avLst/>
          </a:prstGeom>
          <a:noFill/>
          <a:ln w="19050" algn="ctr">
            <a:noFill/>
            <a:miter lim="800000"/>
            <a:headEnd/>
            <a:tailEnd/>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 typeface="Arial"/>
              <a:buNone/>
              <a:tabLst/>
              <a:defRPr/>
            </a:pPr>
            <a:r>
              <a:rPr kumimoji="0" lang="en-US" sz="1600" b="0"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rPr>
              <a:t>Vogel/</a:t>
            </a:r>
            <a:r>
              <a:rPr kumimoji="0" lang="en-US" sz="1600" b="0" i="0" u="none" strike="noStrike" kern="0" cap="none" spc="0" normalizeH="0" baseline="0" noProof="0" dirty="0" err="1">
                <a:ln>
                  <a:noFill/>
                </a:ln>
                <a:solidFill>
                  <a:srgbClr val="000000"/>
                </a:solidFill>
                <a:effectLst/>
                <a:uLnTx/>
                <a:uFillTx/>
                <a:latin typeface="Arial Narrow" panose="020B0604020202020204" pitchFamily="34" charset="0"/>
                <a:cs typeface="Arial Narrow" panose="020B0604020202020204" pitchFamily="34" charset="0"/>
                <a:sym typeface="Arial"/>
              </a:rPr>
              <a:t>Saborowski</a:t>
            </a:r>
            <a:r>
              <a:rPr kumimoji="0" lang="en-US" sz="1600" b="0"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rPr>
              <a:t> Journal of Hepatology 2002</a:t>
            </a:r>
          </a:p>
        </p:txBody>
      </p:sp>
    </p:spTree>
    <p:extLst>
      <p:ext uri="{BB962C8B-B14F-4D97-AF65-F5344CB8AC3E}">
        <p14:creationId xmlns:p14="http://schemas.microsoft.com/office/powerpoint/2010/main" val="3375471624"/>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1615E82-2082-642E-C1D4-5FD205E676AA}"/>
              </a:ext>
            </a:extLst>
          </p:cNvPr>
          <p:cNvSpPr>
            <a:spLocks noGrp="1"/>
          </p:cNvSpPr>
          <p:nvPr>
            <p:ph type="title"/>
          </p:nvPr>
        </p:nvSpPr>
        <p:spPr>
          <a:xfrm>
            <a:off x="340339" y="136916"/>
            <a:ext cx="11511323" cy="969112"/>
          </a:xfrm>
        </p:spPr>
        <p:txBody>
          <a:bodyPr>
            <a:noAutofit/>
          </a:bodyPr>
          <a:lstStyle/>
          <a:p>
            <a:r>
              <a:rPr lang="en-US" sz="2800" b="1" dirty="0">
                <a:latin typeface="Arial Narrow" panose="020B0604020202020204" pitchFamily="34" charset="0"/>
                <a:cs typeface="Arial Narrow" panose="020B0604020202020204" pitchFamily="34" charset="0"/>
              </a:rPr>
              <a:t>Biliary Tract Cancers: 10-30% with “immunogenic” phenotype according to “</a:t>
            </a:r>
            <a:r>
              <a:rPr lang="de-DE" sz="2800" b="1" dirty="0">
                <a:latin typeface="Arial Narrow" panose="020B0604020202020204" pitchFamily="34" charset="0"/>
                <a:cs typeface="Arial Narrow" panose="020B0604020202020204" pitchFamily="34" charset="0"/>
              </a:rPr>
              <a:t>multi-</a:t>
            </a:r>
            <a:r>
              <a:rPr lang="de-DE" sz="2800" b="1" dirty="0" err="1">
                <a:latin typeface="Arial Narrow" panose="020B0604020202020204" pitchFamily="34" charset="0"/>
                <a:cs typeface="Arial Narrow" panose="020B0604020202020204" pitchFamily="34" charset="0"/>
              </a:rPr>
              <a:t>omic</a:t>
            </a:r>
            <a:r>
              <a:rPr lang="de-DE" sz="2800" b="1" dirty="0">
                <a:latin typeface="Arial Narrow" panose="020B0604020202020204" pitchFamily="34" charset="0"/>
                <a:cs typeface="Arial Narrow" panose="020B0604020202020204" pitchFamily="34" charset="0"/>
              </a:rPr>
              <a:t>” </a:t>
            </a:r>
            <a:r>
              <a:rPr lang="de-DE" sz="2800" b="1" dirty="0" err="1">
                <a:latin typeface="Arial Narrow" panose="020B0604020202020204" pitchFamily="34" charset="0"/>
                <a:cs typeface="Arial Narrow" panose="020B0604020202020204" pitchFamily="34" charset="0"/>
              </a:rPr>
              <a:t>classification</a:t>
            </a:r>
            <a:br>
              <a:rPr lang="de-DE" sz="2800" dirty="0">
                <a:latin typeface="Arial Narrow" panose="020B0604020202020204" pitchFamily="34" charset="0"/>
                <a:cs typeface="Arial Narrow" panose="020B0604020202020204" pitchFamily="34" charset="0"/>
              </a:rPr>
            </a:br>
            <a:endParaRPr lang="de-DE" sz="2800" dirty="0">
              <a:latin typeface="Arial Narrow" panose="020B0604020202020204" pitchFamily="34" charset="0"/>
              <a:cs typeface="Arial Narrow" panose="020B0604020202020204" pitchFamily="34" charset="0"/>
            </a:endParaRPr>
          </a:p>
        </p:txBody>
      </p:sp>
      <p:sp>
        <p:nvSpPr>
          <p:cNvPr id="6" name="TextBox 13">
            <a:extLst>
              <a:ext uri="{FF2B5EF4-FFF2-40B4-BE49-F238E27FC236}">
                <a16:creationId xmlns:a16="http://schemas.microsoft.com/office/drawing/2014/main" id="{AA62F7FA-F105-B2BC-FDE2-A225EF49C38D}"/>
              </a:ext>
            </a:extLst>
          </p:cNvPr>
          <p:cNvSpPr txBox="1"/>
          <p:nvPr/>
        </p:nvSpPr>
        <p:spPr>
          <a:xfrm>
            <a:off x="6774406" y="1147216"/>
            <a:ext cx="184731"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DE" sz="2400" b="0" i="0" u="none" strike="noStrike" kern="0" cap="none" spc="0" normalizeH="0" baseline="0" noProof="0" dirty="0">
              <a:ln>
                <a:noFill/>
              </a:ln>
              <a:solidFill>
                <a:srgbClr val="000000">
                  <a:lumMod val="50000"/>
                  <a:lumOff val="50000"/>
                </a:srgbClr>
              </a:solidFill>
              <a:effectLst/>
              <a:uLnTx/>
              <a:uFillTx/>
              <a:latin typeface="Arial Narrow" panose="020B0604020202020204" pitchFamily="34" charset="0"/>
              <a:cs typeface="Arial Narrow" panose="020B0604020202020204" pitchFamily="34" charset="0"/>
              <a:sym typeface="Arial"/>
            </a:endParaRPr>
          </a:p>
        </p:txBody>
      </p:sp>
      <p:sp>
        <p:nvSpPr>
          <p:cNvPr id="7" name="Textfeld 3">
            <a:extLst>
              <a:ext uri="{FF2B5EF4-FFF2-40B4-BE49-F238E27FC236}">
                <a16:creationId xmlns:a16="http://schemas.microsoft.com/office/drawing/2014/main" id="{D357F356-117F-8AB0-E933-8F0C72130F15}"/>
              </a:ext>
            </a:extLst>
          </p:cNvPr>
          <p:cNvSpPr txBox="1"/>
          <p:nvPr/>
        </p:nvSpPr>
        <p:spPr>
          <a:xfrm>
            <a:off x="3307362" y="3809864"/>
            <a:ext cx="2105063" cy="307777"/>
          </a:xfrm>
          <a:prstGeom prst="rect">
            <a:avLst/>
          </a:prstGeom>
          <a:noFill/>
        </p:spPr>
        <p:style>
          <a:lnRef idx="0">
            <a:scrgbClr r="0" g="0" b="0"/>
          </a:lnRef>
          <a:fillRef idx="0">
            <a:scrgbClr r="0" g="0" b="0"/>
          </a:fillRef>
          <a:effectRef idx="0">
            <a:scrgbClr r="0" g="0" b="0"/>
          </a:effectRef>
          <a:fontRef idx="major"/>
        </p:style>
        <p:txBody>
          <a:bodyPr wrap="none" rtlCol="0">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de-DE" sz="1400" b="0" i="0" u="none" strike="noStrike" kern="0" cap="none" spc="0" normalizeH="0" baseline="0" noProof="0" dirty="0" err="1">
                <a:ln>
                  <a:noFill/>
                </a:ln>
                <a:solidFill>
                  <a:srgbClr val="000000"/>
                </a:solidFill>
                <a:effectLst/>
                <a:uLnTx/>
                <a:uFillTx/>
                <a:latin typeface="Arial Narrow" panose="020B0604020202020204" pitchFamily="34" charset="0"/>
                <a:ea typeface="+mj-ea"/>
                <a:cs typeface="Arial Narrow" panose="020B0604020202020204" pitchFamily="34" charset="0"/>
                <a:sym typeface="Arial"/>
              </a:rPr>
              <a:t>Montal</a:t>
            </a:r>
            <a:r>
              <a:rPr kumimoji="0" lang="de-DE" sz="1400" b="0" i="0" u="none" strike="noStrike" kern="0" cap="none" spc="0" normalizeH="0" baseline="0" noProof="0" dirty="0">
                <a:ln>
                  <a:noFill/>
                </a:ln>
                <a:solidFill>
                  <a:srgbClr val="000000"/>
                </a:solidFill>
                <a:effectLst/>
                <a:uLnTx/>
                <a:uFillTx/>
                <a:latin typeface="Arial Narrow" panose="020B0604020202020204" pitchFamily="34" charset="0"/>
                <a:ea typeface="+mj-ea"/>
                <a:cs typeface="Arial Narrow" panose="020B0604020202020204" pitchFamily="34" charset="0"/>
                <a:sym typeface="Arial"/>
              </a:rPr>
              <a:t>  et al, J. </a:t>
            </a:r>
            <a:r>
              <a:rPr kumimoji="0" lang="de-DE" sz="1400" b="0" i="0" u="none" strike="noStrike" kern="0" cap="none" spc="0" normalizeH="0" baseline="0" noProof="0" dirty="0" err="1">
                <a:ln>
                  <a:noFill/>
                </a:ln>
                <a:solidFill>
                  <a:srgbClr val="000000"/>
                </a:solidFill>
                <a:effectLst/>
                <a:uLnTx/>
                <a:uFillTx/>
                <a:latin typeface="Arial Narrow" panose="020B0604020202020204" pitchFamily="34" charset="0"/>
                <a:ea typeface="+mj-ea"/>
                <a:cs typeface="Arial Narrow" panose="020B0604020202020204" pitchFamily="34" charset="0"/>
                <a:sym typeface="Arial"/>
              </a:rPr>
              <a:t>Hepatol</a:t>
            </a:r>
            <a:r>
              <a:rPr kumimoji="0" lang="de-DE" sz="1400" b="0" i="0" u="none" strike="noStrike" kern="0" cap="none" spc="0" normalizeH="0" baseline="0" noProof="0" dirty="0">
                <a:ln>
                  <a:noFill/>
                </a:ln>
                <a:solidFill>
                  <a:srgbClr val="000000"/>
                </a:solidFill>
                <a:effectLst/>
                <a:uLnTx/>
                <a:uFillTx/>
                <a:latin typeface="Arial Narrow" panose="020B0604020202020204" pitchFamily="34" charset="0"/>
                <a:ea typeface="+mj-ea"/>
                <a:cs typeface="Arial Narrow" panose="020B0604020202020204" pitchFamily="34" charset="0"/>
                <a:sym typeface="Arial"/>
              </a:rPr>
              <a:t> 2020</a:t>
            </a:r>
          </a:p>
        </p:txBody>
      </p:sp>
      <p:sp>
        <p:nvSpPr>
          <p:cNvPr id="3" name="Rechteck 2">
            <a:extLst>
              <a:ext uri="{FF2B5EF4-FFF2-40B4-BE49-F238E27FC236}">
                <a16:creationId xmlns:a16="http://schemas.microsoft.com/office/drawing/2014/main" id="{70895E0B-E93E-FD95-9BAA-DC1638193170}"/>
              </a:ext>
            </a:extLst>
          </p:cNvPr>
          <p:cNvSpPr/>
          <p:nvPr/>
        </p:nvSpPr>
        <p:spPr>
          <a:xfrm>
            <a:off x="791572" y="1255595"/>
            <a:ext cx="850681" cy="5186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de-DE" sz="1400" b="0" i="0" u="none" strike="noStrike" kern="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sym typeface="Arial"/>
            </a:endParaRPr>
          </a:p>
        </p:txBody>
      </p:sp>
      <p:pic>
        <p:nvPicPr>
          <p:cNvPr id="5" name="Grafik 4">
            <a:extLst>
              <a:ext uri="{FF2B5EF4-FFF2-40B4-BE49-F238E27FC236}">
                <a16:creationId xmlns:a16="http://schemas.microsoft.com/office/drawing/2014/main" id="{09D1ECE0-8121-CA0B-9CA4-9D381C515C3B}"/>
              </a:ext>
            </a:extLst>
          </p:cNvPr>
          <p:cNvPicPr>
            <a:picLocks noChangeAspect="1"/>
          </p:cNvPicPr>
          <p:nvPr/>
        </p:nvPicPr>
        <p:blipFill rotWithShape="1">
          <a:blip r:embed="rId3"/>
          <a:srcRect l="50000" t="6806" b="12373"/>
          <a:stretch/>
        </p:blipFill>
        <p:spPr>
          <a:xfrm>
            <a:off x="1352069" y="1504655"/>
            <a:ext cx="3127208" cy="2367099"/>
          </a:xfrm>
          <a:prstGeom prst="rect">
            <a:avLst/>
          </a:prstGeom>
        </p:spPr>
      </p:pic>
      <p:sp>
        <p:nvSpPr>
          <p:cNvPr id="4" name="Textfeld 3">
            <a:extLst>
              <a:ext uri="{FF2B5EF4-FFF2-40B4-BE49-F238E27FC236}">
                <a16:creationId xmlns:a16="http://schemas.microsoft.com/office/drawing/2014/main" id="{812E07D6-27E7-CD52-0D2D-8D6B1310A48F}"/>
              </a:ext>
            </a:extLst>
          </p:cNvPr>
          <p:cNvSpPr txBox="1"/>
          <p:nvPr/>
        </p:nvSpPr>
        <p:spPr>
          <a:xfrm>
            <a:off x="515742" y="1109581"/>
            <a:ext cx="4799865"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de-DE" sz="1600" b="1" i="0" u="none" strike="noStrike" kern="0" cap="none" spc="0" normalizeH="0" baseline="0" noProof="0" dirty="0" err="1">
                <a:ln>
                  <a:noFill/>
                </a:ln>
                <a:solidFill>
                  <a:srgbClr val="000000"/>
                </a:solidFill>
                <a:effectLst/>
                <a:uLnTx/>
                <a:uFillTx/>
                <a:latin typeface="Arial Narrow" panose="020B0604020202020204" pitchFamily="34" charset="0"/>
                <a:cs typeface="Arial Narrow" panose="020B0604020202020204" pitchFamily="34" charset="0"/>
                <a:sym typeface="Arial"/>
              </a:rPr>
              <a:t>Extrahepatic</a:t>
            </a:r>
            <a:r>
              <a:rPr kumimoji="0" lang="de-DE" sz="1600" b="1"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rPr>
              <a:t> CCA, </a:t>
            </a:r>
            <a:r>
              <a:rPr kumimoji="0" lang="de-DE" sz="1600" b="1" i="0" u="none" strike="noStrike" kern="0" cap="none" spc="0" normalizeH="0" baseline="0" noProof="0" dirty="0" err="1">
                <a:ln>
                  <a:noFill/>
                </a:ln>
                <a:solidFill>
                  <a:srgbClr val="000000"/>
                </a:solidFill>
                <a:effectLst/>
                <a:uLnTx/>
                <a:uFillTx/>
                <a:latin typeface="Arial Narrow" panose="020B0604020202020204" pitchFamily="34" charset="0"/>
                <a:cs typeface="Arial Narrow" panose="020B0604020202020204" pitchFamily="34" charset="0"/>
                <a:sym typeface="Arial"/>
              </a:rPr>
              <a:t>n</a:t>
            </a:r>
            <a:r>
              <a:rPr kumimoji="0" lang="de-DE" sz="1600" b="1"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rPr>
              <a:t>=189; </a:t>
            </a:r>
            <a:r>
              <a:rPr kumimoji="0" lang="de-DE" sz="1600" b="1"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Wingdings" pitchFamily="2" charset="2"/>
              </a:rPr>
              <a:t></a:t>
            </a:r>
            <a:r>
              <a:rPr kumimoji="0" lang="de-DE" sz="1600" b="1"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rPr>
              <a:t> 11% immune </a:t>
            </a:r>
            <a:r>
              <a:rPr kumimoji="0" lang="de-DE" sz="1600" b="1" i="0" u="none" strike="noStrike" kern="0" cap="none" spc="0" normalizeH="0" baseline="0" noProof="0" dirty="0" err="1">
                <a:ln>
                  <a:noFill/>
                </a:ln>
                <a:solidFill>
                  <a:srgbClr val="000000"/>
                </a:solidFill>
                <a:effectLst/>
                <a:uLnTx/>
                <a:uFillTx/>
                <a:latin typeface="Arial Narrow" panose="020B0604020202020204" pitchFamily="34" charset="0"/>
                <a:cs typeface="Arial Narrow" panose="020B0604020202020204" pitchFamily="34" charset="0"/>
                <a:sym typeface="Arial"/>
              </a:rPr>
              <a:t>subclass</a:t>
            </a:r>
            <a:endParaRPr kumimoji="0" lang="de-DE" sz="1600" b="1"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endParaRPr>
          </a:p>
        </p:txBody>
      </p:sp>
      <p:sp>
        <p:nvSpPr>
          <p:cNvPr id="9" name="Textfeld 8">
            <a:extLst>
              <a:ext uri="{FF2B5EF4-FFF2-40B4-BE49-F238E27FC236}">
                <a16:creationId xmlns:a16="http://schemas.microsoft.com/office/drawing/2014/main" id="{6B6D4E7E-EFD7-C84B-B231-A1243BB633CE}"/>
              </a:ext>
            </a:extLst>
          </p:cNvPr>
          <p:cNvSpPr txBox="1"/>
          <p:nvPr/>
        </p:nvSpPr>
        <p:spPr>
          <a:xfrm>
            <a:off x="7014680" y="1131831"/>
            <a:ext cx="4655912"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de-DE" sz="1600" b="1" i="0" u="none" strike="noStrike" kern="0" cap="none" spc="0" normalizeH="0" baseline="0" noProof="0" dirty="0" err="1">
                <a:ln>
                  <a:noFill/>
                </a:ln>
                <a:solidFill>
                  <a:srgbClr val="000000"/>
                </a:solidFill>
                <a:effectLst/>
                <a:uLnTx/>
                <a:uFillTx/>
                <a:latin typeface="Arial Narrow" panose="020B0604020202020204" pitchFamily="34" charset="0"/>
                <a:cs typeface="Arial Narrow" panose="020B0604020202020204" pitchFamily="34" charset="0"/>
                <a:sym typeface="Arial"/>
              </a:rPr>
              <a:t>Intrahepatic</a:t>
            </a:r>
            <a:r>
              <a:rPr kumimoji="0" lang="de-DE" sz="1600" b="1"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rPr>
              <a:t>, </a:t>
            </a:r>
            <a:r>
              <a:rPr kumimoji="0" lang="de-DE" sz="1600" b="1" i="0" u="none" strike="noStrike" kern="0" cap="none" spc="0" normalizeH="0" baseline="0" noProof="0" dirty="0" err="1">
                <a:ln>
                  <a:noFill/>
                </a:ln>
                <a:solidFill>
                  <a:srgbClr val="000000"/>
                </a:solidFill>
                <a:effectLst/>
                <a:uLnTx/>
                <a:uFillTx/>
                <a:latin typeface="Arial Narrow" panose="020B0604020202020204" pitchFamily="34" charset="0"/>
                <a:cs typeface="Arial Narrow" panose="020B0604020202020204" pitchFamily="34" charset="0"/>
                <a:sym typeface="Arial"/>
              </a:rPr>
              <a:t>n</a:t>
            </a:r>
            <a:r>
              <a:rPr kumimoji="0" lang="de-DE" sz="1600" b="1"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rPr>
              <a:t>=566 </a:t>
            </a:r>
            <a:r>
              <a:rPr kumimoji="0" lang="de-DE" sz="1600" b="1"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Wingdings" pitchFamily="2" charset="2"/>
              </a:rPr>
              <a:t></a:t>
            </a:r>
            <a:r>
              <a:rPr kumimoji="0" lang="de-DE" sz="1600" b="1"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rPr>
              <a:t> 13% </a:t>
            </a:r>
            <a:r>
              <a:rPr kumimoji="0" lang="de-DE" sz="1600" b="1" i="0" u="none" strike="noStrike" kern="0" cap="none" spc="0" normalizeH="0" baseline="0" noProof="0" dirty="0" err="1">
                <a:ln>
                  <a:noFill/>
                </a:ln>
                <a:solidFill>
                  <a:srgbClr val="000000"/>
                </a:solidFill>
                <a:effectLst/>
                <a:uLnTx/>
                <a:uFillTx/>
                <a:latin typeface="Arial Narrow" panose="020B0604020202020204" pitchFamily="34" charset="0"/>
                <a:cs typeface="Arial Narrow" panose="020B0604020202020204" pitchFamily="34" charset="0"/>
                <a:sym typeface="Arial"/>
              </a:rPr>
              <a:t>immunogenic</a:t>
            </a:r>
            <a:endParaRPr kumimoji="0" lang="de-DE" sz="1600" b="1"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endParaRPr>
          </a:p>
        </p:txBody>
      </p:sp>
      <p:pic>
        <p:nvPicPr>
          <p:cNvPr id="11" name="Grafik 10">
            <a:extLst>
              <a:ext uri="{FF2B5EF4-FFF2-40B4-BE49-F238E27FC236}">
                <a16:creationId xmlns:a16="http://schemas.microsoft.com/office/drawing/2014/main" id="{2F47A80C-8CF6-AB52-5421-1AF0CF7D6700}"/>
              </a:ext>
            </a:extLst>
          </p:cNvPr>
          <p:cNvPicPr>
            <a:picLocks noChangeAspect="1"/>
          </p:cNvPicPr>
          <p:nvPr/>
        </p:nvPicPr>
        <p:blipFill rotWithShape="1">
          <a:blip r:embed="rId4"/>
          <a:srcRect r="24547"/>
          <a:stretch/>
        </p:blipFill>
        <p:spPr>
          <a:xfrm>
            <a:off x="7544203" y="1478913"/>
            <a:ext cx="3596868" cy="2394023"/>
          </a:xfrm>
          <a:prstGeom prst="rect">
            <a:avLst/>
          </a:prstGeom>
        </p:spPr>
      </p:pic>
      <p:sp>
        <p:nvSpPr>
          <p:cNvPr id="13" name="Textfeld 12">
            <a:extLst>
              <a:ext uri="{FF2B5EF4-FFF2-40B4-BE49-F238E27FC236}">
                <a16:creationId xmlns:a16="http://schemas.microsoft.com/office/drawing/2014/main" id="{423C81C3-F8ED-1750-DC22-79D82E889C4C}"/>
              </a:ext>
            </a:extLst>
          </p:cNvPr>
          <p:cNvSpPr txBox="1"/>
          <p:nvPr/>
        </p:nvSpPr>
        <p:spPr>
          <a:xfrm>
            <a:off x="9750218" y="3871756"/>
            <a:ext cx="1938351"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de-DE" sz="1400" b="0"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rPr>
              <a:t>Job et al. </a:t>
            </a:r>
            <a:r>
              <a:rPr kumimoji="0" lang="de-DE" sz="1400" b="0" i="0" u="none" strike="noStrike" kern="0" cap="none" spc="0" normalizeH="0" baseline="0" noProof="0" dirty="0" err="1">
                <a:ln>
                  <a:noFill/>
                </a:ln>
                <a:solidFill>
                  <a:srgbClr val="000000"/>
                </a:solidFill>
                <a:effectLst/>
                <a:uLnTx/>
                <a:uFillTx/>
                <a:latin typeface="Arial Narrow" panose="020B0604020202020204" pitchFamily="34" charset="0"/>
                <a:cs typeface="Arial Narrow" panose="020B0604020202020204" pitchFamily="34" charset="0"/>
                <a:sym typeface="Arial"/>
              </a:rPr>
              <a:t>Hepatology</a:t>
            </a:r>
            <a:r>
              <a:rPr kumimoji="0" lang="de-DE" sz="1400" b="0"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rPr>
              <a:t> 2020</a:t>
            </a:r>
          </a:p>
        </p:txBody>
      </p:sp>
      <p:pic>
        <p:nvPicPr>
          <p:cNvPr id="15" name="Grafik 14">
            <a:extLst>
              <a:ext uri="{FF2B5EF4-FFF2-40B4-BE49-F238E27FC236}">
                <a16:creationId xmlns:a16="http://schemas.microsoft.com/office/drawing/2014/main" id="{2475B70F-0F3B-1584-3AD2-BBB67F180545}"/>
              </a:ext>
            </a:extLst>
          </p:cNvPr>
          <p:cNvPicPr>
            <a:picLocks noChangeAspect="1"/>
          </p:cNvPicPr>
          <p:nvPr/>
        </p:nvPicPr>
        <p:blipFill>
          <a:blip r:embed="rId5"/>
          <a:stretch>
            <a:fillRect/>
          </a:stretch>
        </p:blipFill>
        <p:spPr>
          <a:xfrm>
            <a:off x="667305" y="4578082"/>
            <a:ext cx="4496736" cy="1965037"/>
          </a:xfrm>
          <a:prstGeom prst="rect">
            <a:avLst/>
          </a:prstGeom>
        </p:spPr>
      </p:pic>
      <p:sp>
        <p:nvSpPr>
          <p:cNvPr id="17" name="Textfeld 16">
            <a:extLst>
              <a:ext uri="{FF2B5EF4-FFF2-40B4-BE49-F238E27FC236}">
                <a16:creationId xmlns:a16="http://schemas.microsoft.com/office/drawing/2014/main" id="{B30CFCBA-3C4B-5FAD-0E2C-0AB507AFA1D2}"/>
              </a:ext>
            </a:extLst>
          </p:cNvPr>
          <p:cNvSpPr txBox="1"/>
          <p:nvPr/>
        </p:nvSpPr>
        <p:spPr>
          <a:xfrm>
            <a:off x="438045" y="4183395"/>
            <a:ext cx="4955259"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de-DE" sz="1600" b="1" i="0" u="none" strike="noStrike" kern="0" cap="none" spc="0" normalizeH="0" baseline="0" noProof="0" dirty="0" err="1">
                <a:ln>
                  <a:noFill/>
                </a:ln>
                <a:solidFill>
                  <a:srgbClr val="000000"/>
                </a:solidFill>
                <a:effectLst/>
                <a:uLnTx/>
                <a:uFillTx/>
                <a:latin typeface="Arial Narrow" panose="020B0604020202020204" pitchFamily="34" charset="0"/>
                <a:cs typeface="Arial Narrow" panose="020B0604020202020204" pitchFamily="34" charset="0"/>
                <a:sym typeface="Arial"/>
              </a:rPr>
              <a:t>Intrahepatic</a:t>
            </a:r>
            <a:r>
              <a:rPr kumimoji="0" lang="de-DE" sz="1600" b="1"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rPr>
              <a:t> CCA, </a:t>
            </a:r>
            <a:r>
              <a:rPr kumimoji="0" lang="de-DE" sz="1600" b="1" i="0" u="none" strike="noStrike" kern="0" cap="none" spc="0" normalizeH="0" baseline="0" noProof="0" dirty="0" err="1">
                <a:ln>
                  <a:noFill/>
                </a:ln>
                <a:solidFill>
                  <a:srgbClr val="000000"/>
                </a:solidFill>
                <a:effectLst/>
                <a:uLnTx/>
                <a:uFillTx/>
                <a:latin typeface="Arial Narrow" panose="020B0604020202020204" pitchFamily="34" charset="0"/>
                <a:cs typeface="Arial Narrow" panose="020B0604020202020204" pitchFamily="34" charset="0"/>
                <a:sym typeface="Arial"/>
              </a:rPr>
              <a:t>n</a:t>
            </a:r>
            <a:r>
              <a:rPr kumimoji="0" lang="de-DE" sz="1600" b="1"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rPr>
              <a:t>=900 </a:t>
            </a:r>
            <a:r>
              <a:rPr kumimoji="0" lang="de-DE" sz="1600" b="1"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Wingdings" pitchFamily="2" charset="2"/>
              </a:rPr>
              <a:t> </a:t>
            </a:r>
            <a:r>
              <a:rPr kumimoji="0" lang="de-DE" sz="1600" b="1"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rPr>
              <a:t>10% immune </a:t>
            </a:r>
            <a:r>
              <a:rPr kumimoji="0" lang="de-DE" sz="1600" b="1" i="0" u="none" strike="noStrike" kern="0" cap="none" spc="0" normalizeH="0" baseline="0" noProof="0" dirty="0" err="1">
                <a:ln>
                  <a:noFill/>
                </a:ln>
                <a:solidFill>
                  <a:srgbClr val="000000"/>
                </a:solidFill>
                <a:effectLst/>
                <a:uLnTx/>
                <a:uFillTx/>
                <a:latin typeface="Arial Narrow" panose="020B0604020202020204" pitchFamily="34" charset="0"/>
                <a:cs typeface="Arial Narrow" panose="020B0604020202020204" pitchFamily="34" charset="0"/>
                <a:sym typeface="Arial"/>
              </a:rPr>
              <a:t>classical</a:t>
            </a:r>
            <a:endParaRPr kumimoji="0" lang="de-DE" sz="1600" b="1"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endParaRPr>
          </a:p>
        </p:txBody>
      </p:sp>
      <p:sp>
        <p:nvSpPr>
          <p:cNvPr id="19" name="Textfeld 3">
            <a:extLst>
              <a:ext uri="{FF2B5EF4-FFF2-40B4-BE49-F238E27FC236}">
                <a16:creationId xmlns:a16="http://schemas.microsoft.com/office/drawing/2014/main" id="{2A6E0C24-9EF6-CB68-A2EF-ACCB59A9DC7A}"/>
              </a:ext>
            </a:extLst>
          </p:cNvPr>
          <p:cNvSpPr txBox="1"/>
          <p:nvPr/>
        </p:nvSpPr>
        <p:spPr>
          <a:xfrm>
            <a:off x="2023807" y="6550224"/>
            <a:ext cx="3388616" cy="307777"/>
          </a:xfrm>
          <a:prstGeom prst="rect">
            <a:avLst/>
          </a:prstGeom>
          <a:noFill/>
        </p:spPr>
        <p:style>
          <a:lnRef idx="0">
            <a:scrgbClr r="0" g="0" b="0"/>
          </a:lnRef>
          <a:fillRef idx="0">
            <a:scrgbClr r="0" g="0" b="0"/>
          </a:fillRef>
          <a:effectRef idx="0">
            <a:scrgbClr r="0" g="0" b="0"/>
          </a:effectRef>
          <a:fontRef idx="major"/>
        </p:style>
        <p:txBody>
          <a:bodyPr wrap="square" rtlCol="0">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de-DE" sz="1400" b="0" i="0" u="none" strike="noStrike" kern="0" cap="none" spc="0" normalizeH="0" baseline="0" noProof="0" dirty="0">
                <a:ln>
                  <a:noFill/>
                </a:ln>
                <a:solidFill>
                  <a:srgbClr val="000000"/>
                </a:solidFill>
                <a:effectLst/>
                <a:uLnTx/>
                <a:uFillTx/>
                <a:latin typeface="Arial Narrow" panose="020B0604020202020204" pitchFamily="34" charset="0"/>
                <a:ea typeface="+mj-ea"/>
                <a:cs typeface="Arial Narrow" panose="020B0604020202020204" pitchFamily="34" charset="0"/>
                <a:sym typeface="Arial"/>
              </a:rPr>
              <a:t>Martin-Serrano et al, GUT 2022</a:t>
            </a:r>
          </a:p>
        </p:txBody>
      </p:sp>
      <p:sp>
        <p:nvSpPr>
          <p:cNvPr id="10" name="Textfeld 9">
            <a:extLst>
              <a:ext uri="{FF2B5EF4-FFF2-40B4-BE49-F238E27FC236}">
                <a16:creationId xmlns:a16="http://schemas.microsoft.com/office/drawing/2014/main" id="{C5EA59AE-53FA-CCCA-E805-7A01D762E7B4}"/>
              </a:ext>
            </a:extLst>
          </p:cNvPr>
          <p:cNvSpPr txBox="1"/>
          <p:nvPr/>
        </p:nvSpPr>
        <p:spPr>
          <a:xfrm>
            <a:off x="6575463" y="4208750"/>
            <a:ext cx="5534347"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de-DE" sz="1600" b="1"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rPr>
              <a:t>Intra- and </a:t>
            </a:r>
            <a:r>
              <a:rPr kumimoji="0" lang="de-DE" sz="1600" b="1" i="0" u="none" strike="noStrike" kern="0" cap="none" spc="0" normalizeH="0" baseline="0" noProof="0" dirty="0" err="1">
                <a:ln>
                  <a:noFill/>
                </a:ln>
                <a:solidFill>
                  <a:srgbClr val="000000"/>
                </a:solidFill>
                <a:effectLst/>
                <a:uLnTx/>
                <a:uFillTx/>
                <a:latin typeface="Arial Narrow" panose="020B0604020202020204" pitchFamily="34" charset="0"/>
                <a:cs typeface="Arial Narrow" panose="020B0604020202020204" pitchFamily="34" charset="0"/>
                <a:sym typeface="Arial"/>
              </a:rPr>
              <a:t>extrahepatic</a:t>
            </a:r>
            <a:r>
              <a:rPr kumimoji="0" lang="de-DE" sz="1600" b="1"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rPr>
              <a:t>, </a:t>
            </a:r>
            <a:r>
              <a:rPr kumimoji="0" lang="de-DE" sz="1600" b="1" i="0" u="none" strike="noStrike" kern="0" cap="none" spc="0" normalizeH="0" baseline="0" noProof="0" dirty="0" err="1">
                <a:ln>
                  <a:noFill/>
                </a:ln>
                <a:solidFill>
                  <a:srgbClr val="000000"/>
                </a:solidFill>
                <a:effectLst/>
                <a:uLnTx/>
                <a:uFillTx/>
                <a:latin typeface="Arial Narrow" panose="020B0604020202020204" pitchFamily="34" charset="0"/>
                <a:cs typeface="Arial Narrow" panose="020B0604020202020204" pitchFamily="34" charset="0"/>
                <a:sym typeface="Arial"/>
              </a:rPr>
              <a:t>n</a:t>
            </a:r>
            <a:r>
              <a:rPr kumimoji="0" lang="de-DE" sz="1600" b="1"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rPr>
              <a:t>=217 </a:t>
            </a:r>
            <a:r>
              <a:rPr kumimoji="0" lang="de-DE" sz="1600" b="1"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Wingdings" pitchFamily="2" charset="2"/>
              </a:rPr>
              <a:t></a:t>
            </a:r>
            <a:r>
              <a:rPr kumimoji="0" lang="de-DE" sz="1600" b="1"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rPr>
              <a:t> 30% „immun-responsive“</a:t>
            </a:r>
          </a:p>
        </p:txBody>
      </p:sp>
      <p:pic>
        <p:nvPicPr>
          <p:cNvPr id="14" name="Grafik 13">
            <a:extLst>
              <a:ext uri="{FF2B5EF4-FFF2-40B4-BE49-F238E27FC236}">
                <a16:creationId xmlns:a16="http://schemas.microsoft.com/office/drawing/2014/main" id="{5DC8F994-9943-B60E-944B-EF1CC0AA07A0}"/>
              </a:ext>
            </a:extLst>
          </p:cNvPr>
          <p:cNvPicPr>
            <a:picLocks noChangeAspect="1"/>
          </p:cNvPicPr>
          <p:nvPr/>
        </p:nvPicPr>
        <p:blipFill>
          <a:blip r:embed="rId6"/>
          <a:stretch>
            <a:fillRect/>
          </a:stretch>
        </p:blipFill>
        <p:spPr>
          <a:xfrm>
            <a:off x="7670173" y="4548071"/>
            <a:ext cx="3344929" cy="1965037"/>
          </a:xfrm>
          <a:prstGeom prst="rect">
            <a:avLst/>
          </a:prstGeom>
        </p:spPr>
      </p:pic>
      <p:sp>
        <p:nvSpPr>
          <p:cNvPr id="18" name="Textfeld 3">
            <a:extLst>
              <a:ext uri="{FF2B5EF4-FFF2-40B4-BE49-F238E27FC236}">
                <a16:creationId xmlns:a16="http://schemas.microsoft.com/office/drawing/2014/main" id="{400082A6-6DD7-52D7-1BE5-E0693CF042BC}"/>
              </a:ext>
            </a:extLst>
          </p:cNvPr>
          <p:cNvSpPr txBox="1"/>
          <p:nvPr/>
        </p:nvSpPr>
        <p:spPr>
          <a:xfrm>
            <a:off x="8675055" y="6489096"/>
            <a:ext cx="3388616" cy="307777"/>
          </a:xfrm>
          <a:prstGeom prst="rect">
            <a:avLst/>
          </a:prstGeom>
          <a:noFill/>
        </p:spPr>
        <p:style>
          <a:lnRef idx="0">
            <a:scrgbClr r="0" g="0" b="0"/>
          </a:lnRef>
          <a:fillRef idx="0">
            <a:scrgbClr r="0" g="0" b="0"/>
          </a:fillRef>
          <a:effectRef idx="0">
            <a:scrgbClr r="0" g="0" b="0"/>
          </a:effectRef>
          <a:fontRef idx="major"/>
        </p:style>
        <p:txBody>
          <a:bodyPr wrap="square" rtlCol="0">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de-DE" sz="1400" b="0" i="0" u="none" strike="noStrike" kern="0" cap="none" spc="0" normalizeH="0" baseline="0" noProof="0" dirty="0">
                <a:ln>
                  <a:noFill/>
                </a:ln>
                <a:solidFill>
                  <a:srgbClr val="000000"/>
                </a:solidFill>
                <a:effectLst/>
                <a:uLnTx/>
                <a:uFillTx/>
                <a:latin typeface="Arial Narrow" panose="020B0604020202020204" pitchFamily="34" charset="0"/>
                <a:ea typeface="+mj-ea"/>
                <a:cs typeface="Arial Narrow" panose="020B0604020202020204" pitchFamily="34" charset="0"/>
                <a:sym typeface="Arial"/>
              </a:rPr>
              <a:t>Deng  et al, </a:t>
            </a:r>
            <a:r>
              <a:rPr kumimoji="0" lang="de-DE" sz="1400" b="0" i="0" u="none" strike="noStrike" kern="0" cap="none" spc="0" normalizeH="0" baseline="0" noProof="0" dirty="0" err="1">
                <a:ln>
                  <a:noFill/>
                </a:ln>
                <a:solidFill>
                  <a:srgbClr val="000000"/>
                </a:solidFill>
                <a:effectLst/>
                <a:uLnTx/>
                <a:uFillTx/>
                <a:latin typeface="Arial Narrow" panose="020B0604020202020204" pitchFamily="34" charset="0"/>
                <a:ea typeface="+mj-ea"/>
                <a:cs typeface="Arial Narrow" panose="020B0604020202020204" pitchFamily="34" charset="0"/>
                <a:sym typeface="Arial"/>
              </a:rPr>
              <a:t>Hepatology</a:t>
            </a:r>
            <a:r>
              <a:rPr kumimoji="0" lang="de-DE" sz="1400" b="0" i="0" u="none" strike="noStrike" kern="0" cap="none" spc="0" normalizeH="0" baseline="0" noProof="0" dirty="0">
                <a:ln>
                  <a:noFill/>
                </a:ln>
                <a:solidFill>
                  <a:srgbClr val="000000"/>
                </a:solidFill>
                <a:effectLst/>
                <a:uLnTx/>
                <a:uFillTx/>
                <a:latin typeface="Arial Narrow" panose="020B0604020202020204" pitchFamily="34" charset="0"/>
                <a:ea typeface="+mj-ea"/>
                <a:cs typeface="Arial Narrow" panose="020B0604020202020204" pitchFamily="34" charset="0"/>
                <a:sym typeface="Arial"/>
              </a:rPr>
              <a:t> 2022</a:t>
            </a:r>
          </a:p>
        </p:txBody>
      </p:sp>
    </p:spTree>
    <p:extLst>
      <p:ext uri="{BB962C8B-B14F-4D97-AF65-F5344CB8AC3E}">
        <p14:creationId xmlns:p14="http://schemas.microsoft.com/office/powerpoint/2010/main" val="2055165752"/>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6401" y="213028"/>
            <a:ext cx="11270593" cy="824841"/>
          </a:xfrm>
        </p:spPr>
        <p:txBody>
          <a:bodyPr>
            <a:noAutofit/>
          </a:bodyPr>
          <a:lstStyle/>
          <a:p>
            <a:r>
              <a:rPr lang="en-US" sz="3200" b="1" dirty="0">
                <a:latin typeface="Arial Narrow" panose="020B0604020202020204" pitchFamily="34" charset="0"/>
                <a:cs typeface="Arial Narrow" panose="020B0604020202020204" pitchFamily="34" charset="0"/>
              </a:rPr>
              <a:t>Pembrolizumab in Advanced BTC with Proficient MMR/MSS: </a:t>
            </a:r>
            <a:br>
              <a:rPr lang="en-US" sz="3200" b="1" dirty="0">
                <a:latin typeface="Arial Narrow" panose="020B0604020202020204" pitchFamily="34" charset="0"/>
                <a:cs typeface="Arial Narrow" panose="020B0604020202020204" pitchFamily="34" charset="0"/>
              </a:rPr>
            </a:br>
            <a:r>
              <a:rPr lang="en-US" sz="3200" b="1" dirty="0">
                <a:latin typeface="Arial Narrow" panose="020B0604020202020204" pitchFamily="34" charset="0"/>
                <a:cs typeface="Arial Narrow" panose="020B0604020202020204" pitchFamily="34" charset="0"/>
              </a:rPr>
              <a:t>KEYNOTE-158</a:t>
            </a:r>
          </a:p>
        </p:txBody>
      </p:sp>
      <p:sp>
        <p:nvSpPr>
          <p:cNvPr id="3" name="Content Placeholder 2"/>
          <p:cNvSpPr>
            <a:spLocks noGrp="1"/>
          </p:cNvSpPr>
          <p:nvPr>
            <p:ph sz="half" idx="1"/>
          </p:nvPr>
        </p:nvSpPr>
        <p:spPr>
          <a:xfrm>
            <a:off x="406400" y="1402785"/>
            <a:ext cx="5632451" cy="2362199"/>
          </a:xfrm>
        </p:spPr>
        <p:txBody>
          <a:bodyPr>
            <a:noAutofit/>
          </a:bodyPr>
          <a:lstStyle/>
          <a:p>
            <a:pPr>
              <a:lnSpc>
                <a:spcPct val="120000"/>
              </a:lnSpc>
              <a:spcBef>
                <a:spcPts val="600"/>
              </a:spcBef>
            </a:pPr>
            <a:r>
              <a:rPr lang="en-US" sz="1800" dirty="0">
                <a:latin typeface="Arial Narrow" panose="020B0604020202020204" pitchFamily="34" charset="0"/>
                <a:cs typeface="Arial Narrow" panose="020B0604020202020204" pitchFamily="34" charset="0"/>
              </a:rPr>
              <a:t>N=104, multicenter basket trial biliary tract cancer (BTC) cohort with planned biomarker analyses</a:t>
            </a:r>
          </a:p>
          <a:p>
            <a:pPr lvl="1">
              <a:lnSpc>
                <a:spcPct val="120000"/>
              </a:lnSpc>
              <a:spcBef>
                <a:spcPts val="600"/>
              </a:spcBef>
            </a:pPr>
            <a:r>
              <a:rPr lang="en-US" sz="1600" dirty="0">
                <a:latin typeface="Arial Narrow" panose="020B0604020202020204" pitchFamily="34" charset="0"/>
                <a:cs typeface="Arial Narrow" panose="020B0604020202020204" pitchFamily="34" charset="0"/>
              </a:rPr>
              <a:t>≥1 prior line of therapy, median 2</a:t>
            </a:r>
          </a:p>
          <a:p>
            <a:pPr lvl="1">
              <a:lnSpc>
                <a:spcPct val="120000"/>
              </a:lnSpc>
              <a:spcBef>
                <a:spcPts val="600"/>
              </a:spcBef>
            </a:pPr>
            <a:r>
              <a:rPr lang="en-US" sz="1600" dirty="0">
                <a:latin typeface="Arial Narrow" panose="020B0604020202020204" pitchFamily="34" charset="0"/>
                <a:cs typeface="Arial Narrow" panose="020B0604020202020204" pitchFamily="34" charset="0"/>
              </a:rPr>
              <a:t>ICC, ECC, GBC % not reported</a:t>
            </a:r>
          </a:p>
          <a:p>
            <a:pPr lvl="1">
              <a:lnSpc>
                <a:spcPct val="120000"/>
              </a:lnSpc>
              <a:spcBef>
                <a:spcPts val="600"/>
              </a:spcBef>
            </a:pPr>
            <a:r>
              <a:rPr lang="en-US" sz="1600" dirty="0">
                <a:latin typeface="Arial Narrow" panose="020B0604020202020204" pitchFamily="34" charset="0"/>
                <a:cs typeface="Arial Narrow" panose="020B0604020202020204" pitchFamily="34" charset="0"/>
              </a:rPr>
              <a:t>PD-L1+ (CPS ≥1, 22C3) 59%</a:t>
            </a:r>
          </a:p>
          <a:p>
            <a:pPr lvl="1">
              <a:spcBef>
                <a:spcPts val="600"/>
              </a:spcBef>
            </a:pPr>
            <a:r>
              <a:rPr lang="en-US" sz="1600" dirty="0">
                <a:latin typeface="Arial Narrow" panose="020B0604020202020204" pitchFamily="34" charset="0"/>
                <a:cs typeface="Arial Narrow" panose="020B0604020202020204" pitchFamily="34" charset="0"/>
              </a:rPr>
              <a:t>99 with proficient mismatch repair (</a:t>
            </a:r>
            <a:r>
              <a:rPr lang="en-US" sz="1600" dirty="0" err="1">
                <a:latin typeface="Arial Narrow" panose="020B0604020202020204" pitchFamily="34" charset="0"/>
                <a:cs typeface="Arial Narrow" panose="020B0604020202020204" pitchFamily="34" charset="0"/>
              </a:rPr>
              <a:t>pMMR</a:t>
            </a:r>
            <a:r>
              <a:rPr lang="en-US" sz="1600" dirty="0">
                <a:latin typeface="Arial Narrow" panose="020B0604020202020204" pitchFamily="34" charset="0"/>
                <a:cs typeface="Arial Narrow" panose="020B0604020202020204" pitchFamily="34" charset="0"/>
              </a:rPr>
              <a:t>), 5 unknown</a:t>
            </a:r>
          </a:p>
        </p:txBody>
      </p:sp>
      <p:sp>
        <p:nvSpPr>
          <p:cNvPr id="4" name="Content Placeholder 3"/>
          <p:cNvSpPr>
            <a:spLocks noGrp="1"/>
          </p:cNvSpPr>
          <p:nvPr>
            <p:ph sz="half" idx="2"/>
          </p:nvPr>
        </p:nvSpPr>
        <p:spPr>
          <a:xfrm>
            <a:off x="6694942" y="1305469"/>
            <a:ext cx="5103628" cy="2622411"/>
          </a:xfrm>
        </p:spPr>
        <p:txBody>
          <a:bodyPr>
            <a:noAutofit/>
          </a:bodyPr>
          <a:lstStyle/>
          <a:p>
            <a:pPr>
              <a:spcBef>
                <a:spcPts val="600"/>
              </a:spcBef>
            </a:pPr>
            <a:r>
              <a:rPr lang="en-US" sz="1800" dirty="0">
                <a:latin typeface="Arial Narrow" panose="020B0604020202020204" pitchFamily="34" charset="0"/>
                <a:cs typeface="Arial Narrow" panose="020B0604020202020204" pitchFamily="34" charset="0"/>
              </a:rPr>
              <a:t>Treatment-related AE Grade 3-5 in 13.5%</a:t>
            </a:r>
          </a:p>
          <a:p>
            <a:pPr>
              <a:spcBef>
                <a:spcPts val="600"/>
              </a:spcBef>
            </a:pPr>
            <a:r>
              <a:rPr lang="en-US" sz="1800" dirty="0">
                <a:latin typeface="Arial Narrow" panose="020B0604020202020204" pitchFamily="34" charset="0"/>
                <a:cs typeface="Arial Narrow" panose="020B0604020202020204" pitchFamily="34" charset="0"/>
              </a:rPr>
              <a:t>Confirmed PR (central) in 5.8% overall</a:t>
            </a:r>
          </a:p>
          <a:p>
            <a:pPr lvl="1">
              <a:spcBef>
                <a:spcPts val="600"/>
              </a:spcBef>
            </a:pPr>
            <a:r>
              <a:rPr lang="en-US" sz="1800" dirty="0">
                <a:latin typeface="Arial Narrow" panose="020B0604020202020204" pitchFamily="34" charset="0"/>
                <a:cs typeface="Arial Narrow" panose="020B0604020202020204" pitchFamily="34" charset="0"/>
              </a:rPr>
              <a:t>6.6% for PD-L1+</a:t>
            </a:r>
          </a:p>
          <a:p>
            <a:pPr lvl="1">
              <a:spcBef>
                <a:spcPts val="600"/>
              </a:spcBef>
            </a:pPr>
            <a:r>
              <a:rPr lang="en-US" sz="1800" dirty="0">
                <a:latin typeface="Arial Narrow" panose="020B0604020202020204" pitchFamily="34" charset="0"/>
                <a:cs typeface="Arial Narrow" panose="020B0604020202020204" pitchFamily="34" charset="0"/>
              </a:rPr>
              <a:t>2.9% PD-L1-</a:t>
            </a:r>
          </a:p>
          <a:p>
            <a:pPr>
              <a:spcBef>
                <a:spcPts val="600"/>
              </a:spcBef>
            </a:pPr>
            <a:r>
              <a:rPr lang="en-US" sz="1800" dirty="0" err="1">
                <a:latin typeface="Arial Narrow" panose="020B0604020202020204" pitchFamily="34" charset="0"/>
                <a:cs typeface="Arial Narrow" panose="020B0604020202020204" pitchFamily="34" charset="0"/>
              </a:rPr>
              <a:t>mPFS</a:t>
            </a:r>
            <a:r>
              <a:rPr lang="en-US" sz="1800" dirty="0">
                <a:latin typeface="Arial Narrow" panose="020B0604020202020204" pitchFamily="34" charset="0"/>
                <a:cs typeface="Arial Narrow" panose="020B0604020202020204" pitchFamily="34" charset="0"/>
              </a:rPr>
              <a:t> 2.0 months</a:t>
            </a:r>
          </a:p>
          <a:p>
            <a:pPr>
              <a:spcBef>
                <a:spcPts val="600"/>
              </a:spcBef>
            </a:pPr>
            <a:r>
              <a:rPr lang="en-US" sz="1800" dirty="0" err="1">
                <a:latin typeface="Arial Narrow" panose="020B0604020202020204" pitchFamily="34" charset="0"/>
                <a:cs typeface="Arial Narrow" panose="020B0604020202020204" pitchFamily="34" charset="0"/>
              </a:rPr>
              <a:t>mOS</a:t>
            </a:r>
            <a:r>
              <a:rPr lang="en-US" sz="1800" dirty="0">
                <a:latin typeface="Arial Narrow" panose="020B0604020202020204" pitchFamily="34" charset="0"/>
                <a:cs typeface="Arial Narrow" panose="020B0604020202020204" pitchFamily="34" charset="0"/>
              </a:rPr>
              <a:t> 7.4 months</a:t>
            </a:r>
          </a:p>
        </p:txBody>
      </p:sp>
      <p:sp>
        <p:nvSpPr>
          <p:cNvPr id="6" name="Slide Number Placeholder 5"/>
          <p:cNvSpPr>
            <a:spLocks noGrp="1"/>
          </p:cNvSpPr>
          <p:nvPr>
            <p:ph type="sldNum" sz="quarter" idx="12"/>
          </p:nvPr>
        </p:nvSpPr>
        <p:spPr/>
        <p:txBody>
          <a:bodyPr/>
          <a:lstStyle/>
          <a:p>
            <a:pPr marL="0" marR="0" lvl="0" indent="0" algn="l" defTabSz="913976" rtl="0" eaLnBrk="1" fontAlgn="auto" latinLnBrk="0" hangingPunct="1">
              <a:lnSpc>
                <a:spcPct val="100000"/>
              </a:lnSpc>
              <a:spcBef>
                <a:spcPts val="0"/>
              </a:spcBef>
              <a:spcAft>
                <a:spcPts val="0"/>
              </a:spcAft>
              <a:buClrTx/>
              <a:buSzTx/>
              <a:buFont typeface="Arial"/>
              <a:buNone/>
              <a:tabLst/>
              <a:defRPr/>
            </a:pPr>
            <a:fld id="{C9B5AB8B-4A42-42F5-819B-0F59526BDD87}" type="slidenum">
              <a:rPr kumimoji="0" lang="en-US" sz="933" b="0" i="0" u="none" strike="noStrike" kern="1200" cap="none" spc="0" normalizeH="0" baseline="0" noProof="0">
                <a:ln>
                  <a:noFill/>
                </a:ln>
                <a:solidFill>
                  <a:prstClr val="white"/>
                </a:solidFill>
                <a:effectLst/>
                <a:uLnTx/>
                <a:uFillTx/>
                <a:latin typeface="Arial Narrow" panose="020B0604020202020204" pitchFamily="34" charset="0"/>
                <a:cs typeface="Arial Narrow" panose="020B0604020202020204" pitchFamily="34" charset="0"/>
                <a:sym typeface="Arial"/>
              </a:rPr>
              <a:pPr marL="0" marR="0" lvl="0" indent="0" algn="l" defTabSz="913976" rtl="0" eaLnBrk="1" fontAlgn="auto" latinLnBrk="0" hangingPunct="1">
                <a:lnSpc>
                  <a:spcPct val="100000"/>
                </a:lnSpc>
                <a:spcBef>
                  <a:spcPts val="0"/>
                </a:spcBef>
                <a:spcAft>
                  <a:spcPts val="0"/>
                </a:spcAft>
                <a:buClrTx/>
                <a:buSzTx/>
                <a:buFont typeface="Arial"/>
                <a:buNone/>
                <a:tabLst/>
                <a:defRPr/>
              </a:pPr>
              <a:t>78</a:t>
            </a:fld>
            <a:endParaRPr kumimoji="0" lang="en-US" sz="933" b="0" i="0" u="none" strike="noStrike" kern="1200" cap="none" spc="0" normalizeH="0" baseline="0" noProof="0">
              <a:ln>
                <a:noFill/>
              </a:ln>
              <a:solidFill>
                <a:prstClr val="white"/>
              </a:solidFill>
              <a:effectLst/>
              <a:uLnTx/>
              <a:uFillTx/>
              <a:latin typeface="Arial Narrow" panose="020B0604020202020204" pitchFamily="34" charset="0"/>
              <a:cs typeface="Arial Narrow" panose="020B0604020202020204" pitchFamily="34" charset="0"/>
              <a:sym typeface="Arial"/>
            </a:endParaRPr>
          </a:p>
        </p:txBody>
      </p:sp>
      <p:pic>
        <p:nvPicPr>
          <p:cNvPr id="10" name="Picture 9"/>
          <p:cNvPicPr>
            <a:picLocks/>
          </p:cNvPicPr>
          <p:nvPr/>
        </p:nvPicPr>
        <p:blipFill rotWithShape="1">
          <a:blip r:embed="rId3"/>
          <a:srcRect l="4999" t="47638" r="65174" b="31110"/>
          <a:stretch/>
        </p:blipFill>
        <p:spPr>
          <a:xfrm>
            <a:off x="674178" y="4195483"/>
            <a:ext cx="4623964" cy="1890307"/>
          </a:xfrm>
          <a:prstGeom prst="rect">
            <a:avLst/>
          </a:prstGeom>
        </p:spPr>
      </p:pic>
      <p:pic>
        <p:nvPicPr>
          <p:cNvPr id="11" name="Picture 10"/>
          <p:cNvPicPr>
            <a:picLocks noChangeAspect="1"/>
          </p:cNvPicPr>
          <p:nvPr/>
        </p:nvPicPr>
        <p:blipFill rotWithShape="1">
          <a:blip r:embed="rId4"/>
          <a:srcRect l="14585" t="33586" r="47916" b="41852"/>
          <a:stretch/>
        </p:blipFill>
        <p:spPr>
          <a:xfrm>
            <a:off x="5553295" y="3831255"/>
            <a:ext cx="6411155" cy="2362199"/>
          </a:xfrm>
          <a:prstGeom prst="rect">
            <a:avLst/>
          </a:prstGeom>
        </p:spPr>
      </p:pic>
      <p:sp>
        <p:nvSpPr>
          <p:cNvPr id="7" name="TextBox 6"/>
          <p:cNvSpPr txBox="1"/>
          <p:nvPr/>
        </p:nvSpPr>
        <p:spPr bwMode="auto">
          <a:xfrm>
            <a:off x="674177" y="6512360"/>
            <a:ext cx="5612524" cy="184666"/>
          </a:xfrm>
          <a:prstGeom prst="rect">
            <a:avLst/>
          </a:prstGeom>
          <a:noFill/>
          <a:ln w="19050" algn="ctr">
            <a:noFill/>
            <a:miter lim="800000"/>
            <a:headEnd/>
            <a:tailEnd/>
          </a:ln>
        </p:spPr>
        <p:txBody>
          <a:bodyPr wrap="square" lIns="0" tIns="0" rIns="0" bIns="0" rtlCol="0">
            <a:spAutoFit/>
          </a:bodyPr>
          <a:lstStyle/>
          <a:p>
            <a:pPr marL="0" marR="0" lvl="0" indent="0" algn="l" defTabSz="914377" rtl="0" eaLnBrk="1" fontAlgn="auto" latinLnBrk="0" hangingPunct="1">
              <a:lnSpc>
                <a:spcPct val="100000"/>
              </a:lnSpc>
              <a:spcBef>
                <a:spcPts val="0"/>
              </a:spcBef>
              <a:spcAft>
                <a:spcPts val="0"/>
              </a:spcAft>
              <a:buClrTx/>
              <a:buSzTx/>
              <a:buFont typeface="Arial"/>
              <a:buNone/>
              <a:tabLst/>
              <a:defRPr/>
            </a:pPr>
            <a:r>
              <a:rPr kumimoji="0" lang="en-US" sz="1200" b="0" i="0" u="none" strike="noStrike" kern="1200" cap="none" spc="0" normalizeH="0" baseline="0" noProof="0" dirty="0" err="1">
                <a:ln>
                  <a:noFill/>
                </a:ln>
                <a:solidFill>
                  <a:srgbClr val="000204"/>
                </a:solidFill>
                <a:effectLst/>
                <a:uLnTx/>
                <a:uFillTx/>
                <a:latin typeface="Arial Narrow" panose="020B0604020202020204" pitchFamily="34" charset="0"/>
                <a:cs typeface="Arial Narrow" panose="020B0604020202020204" pitchFamily="34" charset="0"/>
                <a:sym typeface="Arial"/>
              </a:rPr>
              <a:t>Piha</a:t>
            </a:r>
            <a:r>
              <a:rPr kumimoji="0" lang="en-US" sz="1200" b="0" i="0" u="none" strike="noStrike" kern="1200" cap="none" spc="0" normalizeH="0" baseline="0" noProof="0" dirty="0">
                <a:ln>
                  <a:noFill/>
                </a:ln>
                <a:solidFill>
                  <a:srgbClr val="000204"/>
                </a:solidFill>
                <a:effectLst/>
                <a:uLnTx/>
                <a:uFillTx/>
                <a:latin typeface="Arial Narrow" panose="020B0604020202020204" pitchFamily="34" charset="0"/>
                <a:cs typeface="Arial Narrow" panose="020B0604020202020204" pitchFamily="34" charset="0"/>
                <a:sym typeface="Arial"/>
              </a:rPr>
              <a:t>-Paul et al. </a:t>
            </a:r>
            <a:r>
              <a:rPr kumimoji="0" lang="en-US" sz="1200" b="0" i="0" u="none" strike="noStrike" kern="1200" cap="none" spc="0" normalizeH="0" baseline="0" noProof="0" dirty="0" err="1">
                <a:ln>
                  <a:noFill/>
                </a:ln>
                <a:solidFill>
                  <a:srgbClr val="000204"/>
                </a:solidFill>
                <a:effectLst/>
                <a:uLnTx/>
                <a:uFillTx/>
                <a:latin typeface="Arial Narrow" panose="020B0604020202020204" pitchFamily="34" charset="0"/>
                <a:cs typeface="Arial Narrow" panose="020B0604020202020204" pitchFamily="34" charset="0"/>
                <a:sym typeface="Arial"/>
              </a:rPr>
              <a:t>Int</a:t>
            </a:r>
            <a:r>
              <a:rPr kumimoji="0" lang="en-US" sz="1200" b="0" i="0" u="none" strike="noStrike" kern="1200" cap="none" spc="0" normalizeH="0" baseline="0" noProof="0" dirty="0">
                <a:ln>
                  <a:noFill/>
                </a:ln>
                <a:solidFill>
                  <a:srgbClr val="000204"/>
                </a:solidFill>
                <a:effectLst/>
                <a:uLnTx/>
                <a:uFillTx/>
                <a:latin typeface="Arial Narrow" panose="020B0604020202020204" pitchFamily="34" charset="0"/>
                <a:cs typeface="Arial Narrow" panose="020B0604020202020204" pitchFamily="34" charset="0"/>
                <a:sym typeface="Arial"/>
              </a:rPr>
              <a:t> J Cancer 2020;147(8):2190-8</a:t>
            </a:r>
          </a:p>
        </p:txBody>
      </p:sp>
    </p:spTree>
    <p:extLst>
      <p:ext uri="{BB962C8B-B14F-4D97-AF65-F5344CB8AC3E}">
        <p14:creationId xmlns:p14="http://schemas.microsoft.com/office/powerpoint/2010/main" val="206647055"/>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feld 10">
            <a:extLst>
              <a:ext uri="{FF2B5EF4-FFF2-40B4-BE49-F238E27FC236}">
                <a16:creationId xmlns:a16="http://schemas.microsoft.com/office/drawing/2014/main" id="{6B46FC13-0E2F-EC46-9644-F330281160CA}"/>
              </a:ext>
            </a:extLst>
          </p:cNvPr>
          <p:cNvSpPr txBox="1"/>
          <p:nvPr/>
        </p:nvSpPr>
        <p:spPr>
          <a:xfrm>
            <a:off x="3764867" y="3462099"/>
            <a:ext cx="1067921" cy="338554"/>
          </a:xfrm>
          <a:prstGeom prst="rect">
            <a:avLst/>
          </a:prstGeom>
          <a:solidFill>
            <a:schemeClr val="accent2">
              <a:lumMod val="40000"/>
              <a:lumOff val="60000"/>
            </a:schemeClr>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de-DE" sz="1600" b="0" i="0" u="none" strike="noStrike" kern="0" cap="none" spc="0" normalizeH="0" baseline="0" noProof="0" dirty="0" err="1">
                <a:ln>
                  <a:noFill/>
                </a:ln>
                <a:solidFill>
                  <a:srgbClr val="000000"/>
                </a:solidFill>
                <a:effectLst/>
                <a:uLnTx/>
                <a:uFillTx/>
                <a:latin typeface="Arial Narrow" panose="020B0604020202020204" pitchFamily="34" charset="0"/>
                <a:cs typeface="Arial Narrow" panose="020B0604020202020204" pitchFamily="34" charset="0"/>
                <a:sym typeface="Arial"/>
              </a:rPr>
              <a:t>Cobimetinib</a:t>
            </a:r>
            <a:endParaRPr kumimoji="0" lang="de-DE" sz="1600" b="0"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endParaRPr>
          </a:p>
        </p:txBody>
      </p:sp>
      <p:sp>
        <p:nvSpPr>
          <p:cNvPr id="13" name="Textfeld 12">
            <a:extLst>
              <a:ext uri="{FF2B5EF4-FFF2-40B4-BE49-F238E27FC236}">
                <a16:creationId xmlns:a16="http://schemas.microsoft.com/office/drawing/2014/main" id="{804DFC62-AA1E-B349-A1C5-92C9396172EA}"/>
              </a:ext>
            </a:extLst>
          </p:cNvPr>
          <p:cNvSpPr txBox="1"/>
          <p:nvPr/>
        </p:nvSpPr>
        <p:spPr>
          <a:xfrm>
            <a:off x="2406963" y="3462099"/>
            <a:ext cx="614271" cy="338554"/>
          </a:xfrm>
          <a:prstGeom prst="rect">
            <a:avLst/>
          </a:prstGeom>
          <a:solidFill>
            <a:schemeClr val="tx2">
              <a:lumMod val="40000"/>
              <a:lumOff val="60000"/>
            </a:schemeClr>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de-DE" sz="1600" b="0" i="0" u="none" strike="noStrike" kern="0" cap="none" spc="0" normalizeH="0" baseline="0" noProof="0" dirty="0" err="1">
                <a:ln>
                  <a:noFill/>
                </a:ln>
                <a:solidFill>
                  <a:srgbClr val="000000"/>
                </a:solidFill>
                <a:effectLst/>
                <a:uLnTx/>
                <a:uFillTx/>
                <a:latin typeface="Arial Narrow" panose="020B0604020202020204" pitchFamily="34" charset="0"/>
                <a:cs typeface="Arial Narrow" panose="020B0604020202020204" pitchFamily="34" charset="0"/>
                <a:sym typeface="Arial"/>
              </a:rPr>
              <a:t>Atezo</a:t>
            </a:r>
            <a:endParaRPr kumimoji="0" lang="de-DE" sz="1600" b="0"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endParaRPr>
          </a:p>
        </p:txBody>
      </p:sp>
      <p:sp>
        <p:nvSpPr>
          <p:cNvPr id="14" name="Textfeld 13">
            <a:extLst>
              <a:ext uri="{FF2B5EF4-FFF2-40B4-BE49-F238E27FC236}">
                <a16:creationId xmlns:a16="http://schemas.microsoft.com/office/drawing/2014/main" id="{4217D569-E629-1C45-8FCE-BC5D49967536}"/>
              </a:ext>
            </a:extLst>
          </p:cNvPr>
          <p:cNvSpPr txBox="1"/>
          <p:nvPr/>
        </p:nvSpPr>
        <p:spPr>
          <a:xfrm>
            <a:off x="3409359" y="3462099"/>
            <a:ext cx="282450"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de-DE" sz="1600" b="0"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rPr>
              <a:t>+</a:t>
            </a:r>
          </a:p>
        </p:txBody>
      </p:sp>
      <p:sp>
        <p:nvSpPr>
          <p:cNvPr id="17" name="Textfeld 16">
            <a:extLst>
              <a:ext uri="{FF2B5EF4-FFF2-40B4-BE49-F238E27FC236}">
                <a16:creationId xmlns:a16="http://schemas.microsoft.com/office/drawing/2014/main" id="{14D99E98-1B60-3043-B942-E991D0FCEC4B}"/>
              </a:ext>
            </a:extLst>
          </p:cNvPr>
          <p:cNvSpPr txBox="1"/>
          <p:nvPr/>
        </p:nvSpPr>
        <p:spPr>
          <a:xfrm>
            <a:off x="2394362" y="2658892"/>
            <a:ext cx="614271" cy="338554"/>
          </a:xfrm>
          <a:prstGeom prst="rect">
            <a:avLst/>
          </a:prstGeom>
          <a:solidFill>
            <a:schemeClr val="tx2">
              <a:lumMod val="40000"/>
              <a:lumOff val="60000"/>
            </a:schemeClr>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de-DE" sz="1600" b="0" i="0" u="none" strike="noStrike" kern="0" cap="none" spc="0" normalizeH="0" baseline="0" noProof="0" dirty="0" err="1">
                <a:ln>
                  <a:noFill/>
                </a:ln>
                <a:solidFill>
                  <a:srgbClr val="000000"/>
                </a:solidFill>
                <a:effectLst/>
                <a:uLnTx/>
                <a:uFillTx/>
                <a:latin typeface="Arial Narrow" panose="020B0604020202020204" pitchFamily="34" charset="0"/>
                <a:cs typeface="Arial Narrow" panose="020B0604020202020204" pitchFamily="34" charset="0"/>
                <a:sym typeface="Arial"/>
              </a:rPr>
              <a:t>Atezo</a:t>
            </a:r>
            <a:endParaRPr kumimoji="0" lang="de-DE" sz="1600" b="0"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endParaRPr>
          </a:p>
        </p:txBody>
      </p:sp>
      <p:sp>
        <p:nvSpPr>
          <p:cNvPr id="18" name="Textfeld 17">
            <a:extLst>
              <a:ext uri="{FF2B5EF4-FFF2-40B4-BE49-F238E27FC236}">
                <a16:creationId xmlns:a16="http://schemas.microsoft.com/office/drawing/2014/main" id="{3CC9650E-59AD-144C-8D50-92EEE864EFB0}"/>
              </a:ext>
            </a:extLst>
          </p:cNvPr>
          <p:cNvSpPr txBox="1"/>
          <p:nvPr/>
        </p:nvSpPr>
        <p:spPr>
          <a:xfrm>
            <a:off x="323935" y="2968883"/>
            <a:ext cx="873957" cy="584775"/>
          </a:xfrm>
          <a:prstGeom prst="rect">
            <a:avLst/>
          </a:prstGeom>
          <a:ln>
            <a:solidFill>
              <a:schemeClr val="tx1"/>
            </a:solidFill>
          </a:ln>
        </p:spPr>
        <p:style>
          <a:lnRef idx="2">
            <a:schemeClr val="accent1"/>
          </a:lnRef>
          <a:fillRef idx="1">
            <a:schemeClr val="lt1"/>
          </a:fillRef>
          <a:effectRef idx="0">
            <a:schemeClr val="accent1"/>
          </a:effectRef>
          <a:fontRef idx="minor">
            <a:schemeClr val="dk1"/>
          </a:fontRef>
        </p:style>
        <p:txBody>
          <a:bodyPr wrap="non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de-DE" sz="1600" b="0" i="0" u="none" strike="noStrike" kern="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sym typeface="Arial"/>
              </a:rPr>
              <a:t>1-2 </a:t>
            </a:r>
            <a:r>
              <a:rPr kumimoji="0" lang="de-DE" sz="1600" b="0" i="0" u="none" strike="noStrike" kern="0" cap="none" spc="0" normalizeH="0" baseline="0" noProof="0" dirty="0" err="1">
                <a:ln>
                  <a:noFill/>
                </a:ln>
                <a:solidFill>
                  <a:srgbClr val="000000"/>
                </a:solidFill>
                <a:effectLst/>
                <a:uLnTx/>
                <a:uFillTx/>
                <a:latin typeface="Arial Narrow" panose="020B0604020202020204" pitchFamily="34" charset="0"/>
                <a:ea typeface="+mn-ea"/>
                <a:cs typeface="Arial Narrow" panose="020B0604020202020204" pitchFamily="34" charset="0"/>
                <a:sym typeface="Arial"/>
              </a:rPr>
              <a:t>prior</a:t>
            </a:r>
            <a:endParaRPr kumimoji="0" lang="de-DE" sz="1600" b="0" i="0" u="none" strike="noStrike" kern="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de-DE" sz="1600" b="0" i="0" u="none" strike="noStrike" kern="0" cap="none" spc="0" normalizeH="0" baseline="0" noProof="0" dirty="0" err="1">
                <a:ln>
                  <a:noFill/>
                </a:ln>
                <a:solidFill>
                  <a:srgbClr val="000000"/>
                </a:solidFill>
                <a:effectLst/>
                <a:uLnTx/>
                <a:uFillTx/>
                <a:latin typeface="Arial Narrow" panose="020B0604020202020204" pitchFamily="34" charset="0"/>
                <a:ea typeface="+mn-ea"/>
                <a:cs typeface="Arial Narrow" panose="020B0604020202020204" pitchFamily="34" charset="0"/>
                <a:sym typeface="Arial"/>
              </a:rPr>
              <a:t>therapies</a:t>
            </a:r>
            <a:endParaRPr kumimoji="0" lang="de-DE" sz="1600" b="0" i="0" u="none" strike="noStrike" kern="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sym typeface="Arial"/>
            </a:endParaRPr>
          </a:p>
        </p:txBody>
      </p:sp>
      <p:sp>
        <p:nvSpPr>
          <p:cNvPr id="19" name="Textfeld 18">
            <a:extLst>
              <a:ext uri="{FF2B5EF4-FFF2-40B4-BE49-F238E27FC236}">
                <a16:creationId xmlns:a16="http://schemas.microsoft.com/office/drawing/2014/main" id="{A966BC4A-B890-C94B-80B3-50872E516548}"/>
              </a:ext>
            </a:extLst>
          </p:cNvPr>
          <p:cNvSpPr txBox="1"/>
          <p:nvPr/>
        </p:nvSpPr>
        <p:spPr>
          <a:xfrm>
            <a:off x="1648836" y="2829664"/>
            <a:ext cx="357790" cy="31810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de-DE" sz="1467" b="0"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rPr>
              <a:t>39</a:t>
            </a:r>
          </a:p>
        </p:txBody>
      </p:sp>
      <p:sp>
        <p:nvSpPr>
          <p:cNvPr id="20" name="Textfeld 19">
            <a:extLst>
              <a:ext uri="{FF2B5EF4-FFF2-40B4-BE49-F238E27FC236}">
                <a16:creationId xmlns:a16="http://schemas.microsoft.com/office/drawing/2014/main" id="{83D9DE9B-2A75-534E-8462-233AE3FA2AB8}"/>
              </a:ext>
            </a:extLst>
          </p:cNvPr>
          <p:cNvSpPr txBox="1"/>
          <p:nvPr/>
        </p:nvSpPr>
        <p:spPr>
          <a:xfrm>
            <a:off x="1631398" y="3489199"/>
            <a:ext cx="357790" cy="31810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de-DE" sz="1467" b="0"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rPr>
              <a:t>38</a:t>
            </a:r>
          </a:p>
        </p:txBody>
      </p:sp>
      <p:cxnSp>
        <p:nvCxnSpPr>
          <p:cNvPr id="22" name="Gerade Verbindung mit Pfeil 21">
            <a:extLst>
              <a:ext uri="{FF2B5EF4-FFF2-40B4-BE49-F238E27FC236}">
                <a16:creationId xmlns:a16="http://schemas.microsoft.com/office/drawing/2014/main" id="{416692DE-5C69-2A4A-B278-DF52264BE57B}"/>
              </a:ext>
            </a:extLst>
          </p:cNvPr>
          <p:cNvCxnSpPr>
            <a:cxnSpLocks/>
          </p:cNvCxnSpPr>
          <p:nvPr/>
        </p:nvCxnSpPr>
        <p:spPr>
          <a:xfrm flipV="1">
            <a:off x="1727762" y="2898425"/>
            <a:ext cx="575711" cy="38322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Gerade Verbindung mit Pfeil 23">
            <a:extLst>
              <a:ext uri="{FF2B5EF4-FFF2-40B4-BE49-F238E27FC236}">
                <a16:creationId xmlns:a16="http://schemas.microsoft.com/office/drawing/2014/main" id="{6CAD13ED-1654-C64A-8272-475A784B77D2}"/>
              </a:ext>
            </a:extLst>
          </p:cNvPr>
          <p:cNvCxnSpPr>
            <a:cxnSpLocks/>
          </p:cNvCxnSpPr>
          <p:nvPr/>
        </p:nvCxnSpPr>
        <p:spPr>
          <a:xfrm>
            <a:off x="1727762" y="3283285"/>
            <a:ext cx="575711" cy="38322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5" name="Textfeld 24">
            <a:extLst>
              <a:ext uri="{FF2B5EF4-FFF2-40B4-BE49-F238E27FC236}">
                <a16:creationId xmlns:a16="http://schemas.microsoft.com/office/drawing/2014/main" id="{9551AF8A-609D-8947-9AEC-8D6F39769A7C}"/>
              </a:ext>
            </a:extLst>
          </p:cNvPr>
          <p:cNvSpPr txBox="1"/>
          <p:nvPr/>
        </p:nvSpPr>
        <p:spPr>
          <a:xfrm>
            <a:off x="331487" y="1325221"/>
            <a:ext cx="7520007" cy="148771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de-DE" sz="2489" b="1"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rPr>
              <a:t>Rationale</a:t>
            </a:r>
            <a:r>
              <a:rPr kumimoji="0" lang="de-DE" sz="2489" b="0"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rPr>
              <a:t>: </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de-DE" sz="2489" b="0"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rPr>
              <a:t>MEK </a:t>
            </a:r>
            <a:r>
              <a:rPr kumimoji="0" lang="de-DE" sz="2489" b="0" i="0" u="none" strike="noStrike" kern="0" cap="none" spc="0" normalizeH="0" baseline="0" noProof="0" dirty="0" err="1">
                <a:ln>
                  <a:noFill/>
                </a:ln>
                <a:solidFill>
                  <a:srgbClr val="000000"/>
                </a:solidFill>
                <a:effectLst/>
                <a:uLnTx/>
                <a:uFillTx/>
                <a:latin typeface="Arial Narrow" panose="020B0604020202020204" pitchFamily="34" charset="0"/>
                <a:cs typeface="Arial Narrow" panose="020B0604020202020204" pitchFamily="34" charset="0"/>
                <a:sym typeface="Arial"/>
              </a:rPr>
              <a:t>inhibition</a:t>
            </a:r>
            <a:r>
              <a:rPr kumimoji="0" lang="de-DE" sz="2489" b="0"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rPr>
              <a:t> </a:t>
            </a:r>
            <a:r>
              <a:rPr kumimoji="0" lang="de-DE" sz="2489" b="0" i="0" u="none" strike="noStrike" kern="0" cap="none" spc="0" normalizeH="0" baseline="0" noProof="0" dirty="0" err="1">
                <a:ln>
                  <a:noFill/>
                </a:ln>
                <a:solidFill>
                  <a:srgbClr val="000000"/>
                </a:solidFill>
                <a:effectLst/>
                <a:uLnTx/>
                <a:uFillTx/>
                <a:latin typeface="Arial Narrow" panose="020B0604020202020204" pitchFamily="34" charset="0"/>
                <a:cs typeface="Arial Narrow" panose="020B0604020202020204" pitchFamily="34" charset="0"/>
                <a:sym typeface="Arial"/>
              </a:rPr>
              <a:t>enhances</a:t>
            </a:r>
            <a:r>
              <a:rPr kumimoji="0" lang="de-DE" sz="2489" b="0"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rPr>
              <a:t> MHC1 </a:t>
            </a:r>
            <a:r>
              <a:rPr kumimoji="0" lang="de-DE" sz="2489" b="0" i="0" u="none" strike="noStrike" kern="0" cap="none" spc="0" normalizeH="0" baseline="0" noProof="0" dirty="0" err="1">
                <a:ln>
                  <a:noFill/>
                </a:ln>
                <a:solidFill>
                  <a:srgbClr val="000000"/>
                </a:solidFill>
                <a:effectLst/>
                <a:uLnTx/>
                <a:uFillTx/>
                <a:latin typeface="Arial Narrow" panose="020B0604020202020204" pitchFamily="34" charset="0"/>
                <a:cs typeface="Arial Narrow" panose="020B0604020202020204" pitchFamily="34" charset="0"/>
                <a:sym typeface="Arial"/>
              </a:rPr>
              <a:t>expression</a:t>
            </a:r>
            <a:r>
              <a:rPr kumimoji="0" lang="de-DE" sz="2489" b="0"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rPr>
              <a:t>, PD-L1 </a:t>
            </a:r>
            <a:r>
              <a:rPr kumimoji="0" lang="de-DE" sz="2489" b="0" i="0" u="none" strike="noStrike" kern="0" cap="none" spc="0" normalizeH="0" baseline="0" noProof="0" dirty="0" err="1">
                <a:ln>
                  <a:noFill/>
                </a:ln>
                <a:solidFill>
                  <a:srgbClr val="000000"/>
                </a:solidFill>
                <a:effectLst/>
                <a:uLnTx/>
                <a:uFillTx/>
                <a:latin typeface="Arial Narrow" panose="020B0604020202020204" pitchFamily="34" charset="0"/>
                <a:cs typeface="Arial Narrow" panose="020B0604020202020204" pitchFamily="34" charset="0"/>
                <a:sym typeface="Arial"/>
              </a:rPr>
              <a:t>expression</a:t>
            </a:r>
            <a:r>
              <a:rPr kumimoji="0" lang="de-DE" sz="2489" b="0"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rPr>
              <a:t>,</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de-DE" sz="2489" b="0" i="0" u="none" strike="noStrike" kern="0" cap="none" spc="0" normalizeH="0" baseline="0" noProof="0" dirty="0" err="1">
                <a:ln>
                  <a:noFill/>
                </a:ln>
                <a:solidFill>
                  <a:srgbClr val="000000"/>
                </a:solidFill>
                <a:effectLst/>
                <a:uLnTx/>
                <a:uFillTx/>
                <a:latin typeface="Arial Narrow" panose="020B0604020202020204" pitchFamily="34" charset="0"/>
                <a:cs typeface="Arial Narrow" panose="020B0604020202020204" pitchFamily="34" charset="0"/>
                <a:sym typeface="Arial"/>
              </a:rPr>
              <a:t>and</a:t>
            </a:r>
            <a:r>
              <a:rPr kumimoji="0" lang="de-DE" sz="2489" b="0"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rPr>
              <a:t> CD8+ T </a:t>
            </a:r>
            <a:r>
              <a:rPr kumimoji="0" lang="de-DE" sz="2489" b="0" i="0" u="none" strike="noStrike" kern="0" cap="none" spc="0" normalizeH="0" baseline="0" noProof="0" dirty="0" err="1">
                <a:ln>
                  <a:noFill/>
                </a:ln>
                <a:solidFill>
                  <a:srgbClr val="000000"/>
                </a:solidFill>
                <a:effectLst/>
                <a:uLnTx/>
                <a:uFillTx/>
                <a:latin typeface="Arial Narrow" panose="020B0604020202020204" pitchFamily="34" charset="0"/>
                <a:cs typeface="Arial Narrow" panose="020B0604020202020204" pitchFamily="34" charset="0"/>
                <a:sym typeface="Arial"/>
              </a:rPr>
              <a:t>cell</a:t>
            </a:r>
            <a:r>
              <a:rPr kumimoji="0" lang="de-DE" sz="2489" b="0"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rPr>
              <a:t> </a:t>
            </a:r>
            <a:r>
              <a:rPr kumimoji="0" lang="de-DE" sz="2489" b="0" i="0" u="none" strike="noStrike" kern="0" cap="none" spc="0" normalizeH="0" baseline="0" noProof="0" dirty="0" err="1">
                <a:ln>
                  <a:noFill/>
                </a:ln>
                <a:solidFill>
                  <a:srgbClr val="000000"/>
                </a:solidFill>
                <a:effectLst/>
                <a:uLnTx/>
                <a:uFillTx/>
                <a:latin typeface="Arial Narrow" panose="020B0604020202020204" pitchFamily="34" charset="0"/>
                <a:cs typeface="Arial Narrow" panose="020B0604020202020204" pitchFamily="34" charset="0"/>
                <a:sym typeface="Arial"/>
              </a:rPr>
              <a:t>infiltration</a:t>
            </a:r>
            <a:endParaRPr kumimoji="0" lang="de-DE" sz="2489" b="0"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de-DE" sz="1600" b="0"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endParaRPr>
          </a:p>
        </p:txBody>
      </p:sp>
      <p:sp>
        <p:nvSpPr>
          <p:cNvPr id="36" name="Titel 2">
            <a:extLst>
              <a:ext uri="{FF2B5EF4-FFF2-40B4-BE49-F238E27FC236}">
                <a16:creationId xmlns:a16="http://schemas.microsoft.com/office/drawing/2014/main" id="{87DF13F0-30F7-5E4F-A425-2364959A43B7}"/>
              </a:ext>
            </a:extLst>
          </p:cNvPr>
          <p:cNvSpPr txBox="1">
            <a:spLocks/>
          </p:cNvSpPr>
          <p:nvPr/>
        </p:nvSpPr>
        <p:spPr>
          <a:xfrm>
            <a:off x="233379" y="200675"/>
            <a:ext cx="12402407" cy="1102783"/>
          </a:xfrm>
          <a:prstGeom prst="rect">
            <a:avLst/>
          </a:prstGeom>
        </p:spPr>
        <p:txBody>
          <a:bodyPr vert="horz" lIns="121917" tIns="60959" rIns="121917" bIns="60959" rtlCol="0" anchor="ctr">
            <a:noAutofit/>
          </a:bodyPr>
          <a:lstStyle>
            <a:lvl1pPr algn="ctr" defTabSz="914378" rtl="0" eaLnBrk="1" latinLnBrk="0" hangingPunct="1">
              <a:spcBef>
                <a:spcPct val="0"/>
              </a:spcBef>
              <a:buNone/>
              <a:defRPr sz="4400" kern="1200">
                <a:solidFill>
                  <a:schemeClr val="tx1"/>
                </a:solidFill>
                <a:latin typeface="+mj-lt"/>
                <a:ea typeface="+mj-ea"/>
                <a:cs typeface="+mj-cs"/>
              </a:defRPr>
            </a:lvl1pPr>
          </a:lstStyle>
          <a:p>
            <a:pPr marL="0" marR="0" lvl="0" indent="0" algn="l" defTabSz="1219170" rtl="0" eaLnBrk="1" fontAlgn="auto" latinLnBrk="0" hangingPunct="1">
              <a:lnSpc>
                <a:spcPct val="90000"/>
              </a:lnSpc>
              <a:spcBef>
                <a:spcPct val="0"/>
              </a:spcBef>
              <a:spcAft>
                <a:spcPts val="0"/>
              </a:spcAft>
              <a:buClr>
                <a:srgbClr val="000000"/>
              </a:buClr>
              <a:buSzTx/>
              <a:buFont typeface="Arial"/>
              <a:buNone/>
              <a:tabLst/>
              <a:defRPr/>
            </a:pPr>
            <a:r>
              <a:rPr kumimoji="0" lang="de-DE" sz="3733" b="1" i="0" u="none" strike="noStrike" kern="1200" cap="none" spc="0" normalizeH="0" baseline="0" noProof="0" dirty="0">
                <a:ln>
                  <a:noFill/>
                </a:ln>
                <a:solidFill>
                  <a:srgbClr val="000000"/>
                </a:solidFill>
                <a:effectLst/>
                <a:uLnTx/>
                <a:uFillTx/>
                <a:latin typeface="Arial Narrow" panose="020B0604020202020204" pitchFamily="34" charset="0"/>
                <a:ea typeface="+mj-ea"/>
                <a:cs typeface="Arial Narrow" panose="020B0604020202020204" pitchFamily="34" charset="0"/>
                <a:sym typeface="Arial"/>
              </a:rPr>
              <a:t>Chemo-</a:t>
            </a:r>
            <a:r>
              <a:rPr kumimoji="0" lang="de-DE" sz="3733" b="1" i="0" u="none" strike="noStrike" kern="1200" cap="none" spc="0" normalizeH="0" baseline="0" noProof="0" dirty="0" err="1">
                <a:ln>
                  <a:noFill/>
                </a:ln>
                <a:solidFill>
                  <a:srgbClr val="000000"/>
                </a:solidFill>
                <a:effectLst/>
                <a:uLnTx/>
                <a:uFillTx/>
                <a:latin typeface="Arial Narrow" panose="020B0604020202020204" pitchFamily="34" charset="0"/>
                <a:ea typeface="+mj-ea"/>
                <a:cs typeface="Arial Narrow" panose="020B0604020202020204" pitchFamily="34" charset="0"/>
                <a:sym typeface="Arial"/>
              </a:rPr>
              <a:t>free</a:t>
            </a:r>
            <a:r>
              <a:rPr kumimoji="0" lang="de-DE" sz="3733" b="1" i="0" u="none" strike="noStrike" kern="1200" cap="none" spc="0" normalizeH="0" baseline="0" noProof="0" dirty="0">
                <a:ln>
                  <a:noFill/>
                </a:ln>
                <a:solidFill>
                  <a:srgbClr val="000000"/>
                </a:solidFill>
                <a:effectLst/>
                <a:uLnTx/>
                <a:uFillTx/>
                <a:latin typeface="Arial Narrow" panose="020B0604020202020204" pitchFamily="34" charset="0"/>
                <a:ea typeface="+mj-ea"/>
                <a:cs typeface="Arial Narrow" panose="020B0604020202020204" pitchFamily="34" charset="0"/>
                <a:sym typeface="Arial"/>
              </a:rPr>
              <a:t> </a:t>
            </a:r>
            <a:r>
              <a:rPr kumimoji="0" lang="de-DE" sz="3733" b="1" i="0" u="none" strike="noStrike" kern="1200" cap="none" spc="0" normalizeH="0" baseline="0" noProof="0" dirty="0" err="1">
                <a:ln>
                  <a:noFill/>
                </a:ln>
                <a:solidFill>
                  <a:srgbClr val="000000"/>
                </a:solidFill>
                <a:effectLst/>
                <a:uLnTx/>
                <a:uFillTx/>
                <a:latin typeface="Arial Narrow" panose="020B0604020202020204" pitchFamily="34" charset="0"/>
                <a:ea typeface="+mj-ea"/>
                <a:cs typeface="Arial Narrow" panose="020B0604020202020204" pitchFamily="34" charset="0"/>
                <a:sym typeface="Arial"/>
              </a:rPr>
              <a:t>approaches</a:t>
            </a:r>
            <a:r>
              <a:rPr kumimoji="0" lang="de-DE" sz="3733" b="1" i="0" u="none" strike="noStrike" kern="1200" cap="none" spc="0" normalizeH="0" baseline="0" noProof="0" dirty="0">
                <a:ln>
                  <a:noFill/>
                </a:ln>
                <a:solidFill>
                  <a:srgbClr val="000000"/>
                </a:solidFill>
                <a:effectLst/>
                <a:uLnTx/>
                <a:uFillTx/>
                <a:latin typeface="Arial Narrow" panose="020B0604020202020204" pitchFamily="34" charset="0"/>
                <a:ea typeface="+mj-ea"/>
                <a:cs typeface="Arial Narrow" panose="020B0604020202020204" pitchFamily="34" charset="0"/>
                <a:sym typeface="Arial"/>
              </a:rPr>
              <a:t>: IO +/- MEK in BTC: </a:t>
            </a:r>
          </a:p>
          <a:p>
            <a:pPr marL="0" marR="0" lvl="0" indent="0" algn="l" defTabSz="1219170" rtl="0" eaLnBrk="1" fontAlgn="auto" latinLnBrk="0" hangingPunct="1">
              <a:lnSpc>
                <a:spcPct val="90000"/>
              </a:lnSpc>
              <a:spcBef>
                <a:spcPct val="0"/>
              </a:spcBef>
              <a:spcAft>
                <a:spcPts val="0"/>
              </a:spcAft>
              <a:buClr>
                <a:srgbClr val="000000"/>
              </a:buClr>
              <a:buSzTx/>
              <a:buFont typeface="Arial"/>
              <a:buNone/>
              <a:tabLst/>
              <a:defRPr/>
            </a:pPr>
            <a:r>
              <a:rPr kumimoji="0" lang="de-DE" sz="3733" b="1" i="0" u="none" strike="noStrike" kern="1200" cap="none" spc="0" normalizeH="0" baseline="0" noProof="0" dirty="0" err="1">
                <a:ln>
                  <a:noFill/>
                </a:ln>
                <a:solidFill>
                  <a:srgbClr val="000000"/>
                </a:solidFill>
                <a:effectLst/>
                <a:uLnTx/>
                <a:uFillTx/>
                <a:latin typeface="Arial Narrow" panose="020B0604020202020204" pitchFamily="34" charset="0"/>
                <a:ea typeface="+mj-ea"/>
                <a:cs typeface="Arial Narrow" panose="020B0604020202020204" pitchFamily="34" charset="0"/>
                <a:sym typeface="Arial"/>
              </a:rPr>
              <a:t>Atezolizumab</a:t>
            </a:r>
            <a:r>
              <a:rPr kumimoji="0" lang="de-DE" sz="3733" b="1" i="0" u="none" strike="noStrike" kern="1200" cap="none" spc="0" normalizeH="0" baseline="0" noProof="0" dirty="0">
                <a:ln>
                  <a:noFill/>
                </a:ln>
                <a:solidFill>
                  <a:srgbClr val="000000"/>
                </a:solidFill>
                <a:effectLst/>
                <a:uLnTx/>
                <a:uFillTx/>
                <a:latin typeface="Arial Narrow" panose="020B0604020202020204" pitchFamily="34" charset="0"/>
                <a:ea typeface="+mj-ea"/>
                <a:cs typeface="Arial Narrow" panose="020B0604020202020204" pitchFamily="34" charset="0"/>
                <a:sym typeface="Arial"/>
              </a:rPr>
              <a:t> (PD-L1) + </a:t>
            </a:r>
            <a:r>
              <a:rPr kumimoji="0" lang="de-DE" sz="3733" b="1" i="0" u="none" strike="noStrike" kern="1200" cap="none" spc="0" normalizeH="0" baseline="0" noProof="0" dirty="0" err="1">
                <a:ln>
                  <a:noFill/>
                </a:ln>
                <a:solidFill>
                  <a:srgbClr val="000000"/>
                </a:solidFill>
                <a:effectLst/>
                <a:uLnTx/>
                <a:uFillTx/>
                <a:latin typeface="Arial Narrow" panose="020B0604020202020204" pitchFamily="34" charset="0"/>
                <a:ea typeface="+mj-ea"/>
                <a:cs typeface="Arial Narrow" panose="020B0604020202020204" pitchFamily="34" charset="0"/>
                <a:sym typeface="Arial"/>
              </a:rPr>
              <a:t>Cobimetinib</a:t>
            </a:r>
            <a:r>
              <a:rPr kumimoji="0" lang="de-DE" sz="3733" b="1" i="0" u="none" strike="noStrike" kern="1200" cap="none" spc="0" normalizeH="0" baseline="0" noProof="0" dirty="0">
                <a:ln>
                  <a:noFill/>
                </a:ln>
                <a:solidFill>
                  <a:srgbClr val="000000"/>
                </a:solidFill>
                <a:effectLst/>
                <a:uLnTx/>
                <a:uFillTx/>
                <a:latin typeface="Arial Narrow" panose="020B0604020202020204" pitchFamily="34" charset="0"/>
                <a:ea typeface="+mj-ea"/>
                <a:cs typeface="Arial Narrow" panose="020B0604020202020204" pitchFamily="34" charset="0"/>
                <a:sym typeface="Arial"/>
              </a:rPr>
              <a:t> (MEK)</a:t>
            </a:r>
            <a:endParaRPr kumimoji="0" lang="en-US" altLang="ko-KR" sz="3733" b="1" i="0" u="none" strike="noStrike" kern="1200" cap="none" spc="0" normalizeH="0" baseline="0" noProof="0" dirty="0">
              <a:ln>
                <a:noFill/>
              </a:ln>
              <a:solidFill>
                <a:srgbClr val="000000"/>
              </a:solidFill>
              <a:effectLst/>
              <a:uLnTx/>
              <a:uFillTx/>
              <a:latin typeface="Arial Narrow" panose="020B0604020202020204" pitchFamily="34" charset="0"/>
              <a:ea typeface="맑은 고딕" panose="020B0503020000020004" pitchFamily="34" charset="-127"/>
              <a:cs typeface="Arial Narrow" panose="020B0604020202020204" pitchFamily="34" charset="0"/>
              <a:sym typeface="Arial"/>
            </a:endParaRPr>
          </a:p>
        </p:txBody>
      </p:sp>
      <p:sp>
        <p:nvSpPr>
          <p:cNvPr id="37" name="Rechteck 36">
            <a:extLst>
              <a:ext uri="{FF2B5EF4-FFF2-40B4-BE49-F238E27FC236}">
                <a16:creationId xmlns:a16="http://schemas.microsoft.com/office/drawing/2014/main" id="{A847C17E-7E83-454A-93A2-5D2F6B5AB88C}"/>
              </a:ext>
            </a:extLst>
          </p:cNvPr>
          <p:cNvSpPr/>
          <p:nvPr/>
        </p:nvSpPr>
        <p:spPr>
          <a:xfrm>
            <a:off x="7599845" y="5643802"/>
            <a:ext cx="4367567" cy="58477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de-DE" sz="1600" b="1" i="0" u="none" strike="noStrike" kern="0" cap="none" spc="0" normalizeH="0" baseline="0" noProof="0" dirty="0" err="1">
                <a:ln>
                  <a:noFill/>
                </a:ln>
                <a:solidFill>
                  <a:srgbClr val="1E325F"/>
                </a:solidFill>
                <a:effectLst/>
                <a:uLnTx/>
                <a:uFillTx/>
                <a:latin typeface="Arial"/>
                <a:cs typeface="Arial"/>
                <a:sym typeface="Arial"/>
              </a:rPr>
              <a:t>Formally</a:t>
            </a:r>
            <a:r>
              <a:rPr kumimoji="0" lang="de-DE" sz="1600" b="1" i="0" u="none" strike="noStrike" kern="0" cap="none" spc="0" normalizeH="0" baseline="0" noProof="0" dirty="0">
                <a:ln>
                  <a:noFill/>
                </a:ln>
                <a:solidFill>
                  <a:srgbClr val="1E325F"/>
                </a:solidFill>
                <a:effectLst/>
                <a:uLnTx/>
                <a:uFillTx/>
                <a:latin typeface="Arial"/>
                <a:cs typeface="Arial"/>
                <a:sym typeface="Arial"/>
              </a:rPr>
              <a:t> positive (</a:t>
            </a:r>
            <a:r>
              <a:rPr kumimoji="0" lang="de-DE" sz="1600" b="1" i="0" u="none" strike="noStrike" kern="0" cap="none" spc="0" normalizeH="0" baseline="0" noProof="0" dirty="0" err="1">
                <a:ln>
                  <a:noFill/>
                </a:ln>
                <a:solidFill>
                  <a:srgbClr val="1E325F"/>
                </a:solidFill>
                <a:effectLst/>
                <a:uLnTx/>
                <a:uFillTx/>
                <a:latin typeface="Arial"/>
                <a:cs typeface="Arial"/>
                <a:sym typeface="Arial"/>
              </a:rPr>
              <a:t>primary</a:t>
            </a:r>
            <a:r>
              <a:rPr kumimoji="0" lang="de-DE" sz="1600" b="1" i="0" u="none" strike="noStrike" kern="0" cap="none" spc="0" normalizeH="0" baseline="0" noProof="0" dirty="0">
                <a:ln>
                  <a:noFill/>
                </a:ln>
                <a:solidFill>
                  <a:srgbClr val="1E325F"/>
                </a:solidFill>
                <a:effectLst/>
                <a:uLnTx/>
                <a:uFillTx/>
                <a:latin typeface="Arial"/>
                <a:cs typeface="Arial"/>
                <a:sym typeface="Arial"/>
              </a:rPr>
              <a:t> EP PFS)</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de-DE" sz="1600" b="1" i="0" u="none" strike="noStrike" kern="0" cap="none" spc="0" normalizeH="0" baseline="0" noProof="0" dirty="0">
                <a:ln>
                  <a:noFill/>
                </a:ln>
                <a:solidFill>
                  <a:srgbClr val="1E325F"/>
                </a:solidFill>
                <a:effectLst/>
                <a:uLnTx/>
                <a:uFillTx/>
                <a:latin typeface="Arial"/>
                <a:cs typeface="Arial"/>
                <a:sym typeface="Arial"/>
              </a:rPr>
              <a:t>Low ORR</a:t>
            </a:r>
          </a:p>
        </p:txBody>
      </p:sp>
      <p:sp>
        <p:nvSpPr>
          <p:cNvPr id="38" name="Textfeld 3">
            <a:extLst>
              <a:ext uri="{FF2B5EF4-FFF2-40B4-BE49-F238E27FC236}">
                <a16:creationId xmlns:a16="http://schemas.microsoft.com/office/drawing/2014/main" id="{3851A60B-FE12-9D4B-AB40-A0D00D4D0DCC}"/>
              </a:ext>
            </a:extLst>
          </p:cNvPr>
          <p:cNvSpPr txBox="1"/>
          <p:nvPr/>
        </p:nvSpPr>
        <p:spPr>
          <a:xfrm>
            <a:off x="9744406" y="6389264"/>
            <a:ext cx="2029723" cy="338554"/>
          </a:xfrm>
          <a:prstGeom prst="rect">
            <a:avLst/>
          </a:prstGeom>
          <a:noFill/>
        </p:spPr>
        <p:style>
          <a:lnRef idx="0">
            <a:scrgbClr r="0" g="0" b="0"/>
          </a:lnRef>
          <a:fillRef idx="0">
            <a:scrgbClr r="0" g="0" b="0"/>
          </a:fillRef>
          <a:effectRef idx="0">
            <a:scrgbClr r="0" g="0" b="0"/>
          </a:effectRef>
          <a:fontRef idx="major"/>
        </p:style>
        <p:txBody>
          <a:bodyPr wrap="none" rtlCol="0">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de-DE" sz="1600" b="0" i="0" u="none" strike="noStrike" kern="0" cap="none" spc="0" normalizeH="0" baseline="0" noProof="0" dirty="0" err="1">
                <a:ln>
                  <a:noFill/>
                </a:ln>
                <a:solidFill>
                  <a:srgbClr val="000000"/>
                </a:solidFill>
                <a:effectLst/>
                <a:uLnTx/>
                <a:uFillTx/>
                <a:latin typeface="Arial Narrow" panose="020B0604020202020204" pitchFamily="34" charset="0"/>
                <a:ea typeface="+mj-ea"/>
                <a:cs typeface="Arial Narrow" panose="020B0604020202020204" pitchFamily="34" charset="0"/>
                <a:sym typeface="Arial"/>
              </a:rPr>
              <a:t>Yarchoan</a:t>
            </a:r>
            <a:r>
              <a:rPr kumimoji="0" lang="de-DE" sz="1600" b="0" i="0" u="none" strike="noStrike" kern="0" cap="none" spc="0" normalizeH="0" baseline="0" noProof="0" dirty="0">
                <a:ln>
                  <a:noFill/>
                </a:ln>
                <a:solidFill>
                  <a:srgbClr val="000000"/>
                </a:solidFill>
                <a:effectLst/>
                <a:uLnTx/>
                <a:uFillTx/>
                <a:latin typeface="Arial Narrow" panose="020B0604020202020204" pitchFamily="34" charset="0"/>
                <a:ea typeface="+mj-ea"/>
                <a:cs typeface="Arial Narrow" panose="020B0604020202020204" pitchFamily="34" charset="0"/>
                <a:sym typeface="Arial"/>
              </a:rPr>
              <a:t> et al, JCI 2021</a:t>
            </a:r>
          </a:p>
        </p:txBody>
      </p:sp>
      <p:grpSp>
        <p:nvGrpSpPr>
          <p:cNvPr id="42" name="Gruppieren 41">
            <a:extLst>
              <a:ext uri="{FF2B5EF4-FFF2-40B4-BE49-F238E27FC236}">
                <a16:creationId xmlns:a16="http://schemas.microsoft.com/office/drawing/2014/main" id="{FA404840-7A1D-604A-BC42-570790F990C2}"/>
              </a:ext>
            </a:extLst>
          </p:cNvPr>
          <p:cNvGrpSpPr/>
          <p:nvPr/>
        </p:nvGrpSpPr>
        <p:grpSpPr>
          <a:xfrm>
            <a:off x="510631" y="1368413"/>
            <a:ext cx="11302439" cy="5324951"/>
            <a:chOff x="382973" y="1026309"/>
            <a:chExt cx="8476829" cy="3993713"/>
          </a:xfrm>
        </p:grpSpPr>
        <p:grpSp>
          <p:nvGrpSpPr>
            <p:cNvPr id="41" name="Gruppieren 40">
              <a:extLst>
                <a:ext uri="{FF2B5EF4-FFF2-40B4-BE49-F238E27FC236}">
                  <a16:creationId xmlns:a16="http://schemas.microsoft.com/office/drawing/2014/main" id="{1E33B89A-5D3A-CB4F-AEC9-AF7FA09A643A}"/>
                </a:ext>
              </a:extLst>
            </p:cNvPr>
            <p:cNvGrpSpPr/>
            <p:nvPr/>
          </p:nvGrpSpPr>
          <p:grpSpPr>
            <a:xfrm>
              <a:off x="382973" y="1026309"/>
              <a:ext cx="8476829" cy="3993713"/>
              <a:chOff x="382973" y="1026309"/>
              <a:chExt cx="8476829" cy="3993713"/>
            </a:xfrm>
          </p:grpSpPr>
          <p:pic>
            <p:nvPicPr>
              <p:cNvPr id="10" name="Grafik 9">
                <a:extLst>
                  <a:ext uri="{FF2B5EF4-FFF2-40B4-BE49-F238E27FC236}">
                    <a16:creationId xmlns:a16="http://schemas.microsoft.com/office/drawing/2014/main" id="{159FCE5F-6EAC-DA44-8E30-944B8E7342B5}"/>
                  </a:ext>
                </a:extLst>
              </p:cNvPr>
              <p:cNvPicPr>
                <a:picLocks noChangeAspect="1"/>
              </p:cNvPicPr>
              <p:nvPr/>
            </p:nvPicPr>
            <p:blipFill rotWithShape="1">
              <a:blip r:embed="rId3">
                <a:extLst>
                  <a:ext uri="{28A0092B-C50C-407E-A947-70E740481C1C}">
                    <a14:useLocalDpi xmlns:a14="http://schemas.microsoft.com/office/drawing/2010/main" val="0"/>
                  </a:ext>
                </a:extLst>
              </a:blip>
              <a:srcRect b="11558"/>
              <a:stretch/>
            </p:blipFill>
            <p:spPr>
              <a:xfrm>
                <a:off x="5810994" y="1026309"/>
                <a:ext cx="3048808" cy="2991255"/>
              </a:xfrm>
              <a:prstGeom prst="rect">
                <a:avLst/>
              </a:prstGeom>
            </p:spPr>
          </p:pic>
          <p:grpSp>
            <p:nvGrpSpPr>
              <p:cNvPr id="40" name="Gruppieren 39">
                <a:extLst>
                  <a:ext uri="{FF2B5EF4-FFF2-40B4-BE49-F238E27FC236}">
                    <a16:creationId xmlns:a16="http://schemas.microsoft.com/office/drawing/2014/main" id="{84445823-D6C8-1242-8BDB-8E0E358491CF}"/>
                  </a:ext>
                </a:extLst>
              </p:cNvPr>
              <p:cNvGrpSpPr/>
              <p:nvPr/>
            </p:nvGrpSpPr>
            <p:grpSpPr>
              <a:xfrm>
                <a:off x="382973" y="3270665"/>
                <a:ext cx="4719954" cy="1749357"/>
                <a:chOff x="382973" y="3270665"/>
                <a:chExt cx="4719954" cy="1749357"/>
              </a:xfrm>
            </p:grpSpPr>
            <p:pic>
              <p:nvPicPr>
                <p:cNvPr id="9" name="Grafik 8">
                  <a:extLst>
                    <a:ext uri="{FF2B5EF4-FFF2-40B4-BE49-F238E27FC236}">
                      <a16:creationId xmlns:a16="http://schemas.microsoft.com/office/drawing/2014/main" id="{4952DE3A-9098-FC48-A7EA-87EF6E09C564}"/>
                    </a:ext>
                  </a:extLst>
                </p:cNvPr>
                <p:cNvPicPr>
                  <a:picLocks noChangeAspect="1"/>
                </p:cNvPicPr>
                <p:nvPr/>
              </p:nvPicPr>
              <p:blipFill rotWithShape="1">
                <a:blip r:embed="rId4">
                  <a:extLst>
                    <a:ext uri="{28A0092B-C50C-407E-A947-70E740481C1C}">
                      <a14:useLocalDpi xmlns:a14="http://schemas.microsoft.com/office/drawing/2010/main" val="0"/>
                    </a:ext>
                  </a:extLst>
                </a:blip>
                <a:srcRect b="51433"/>
                <a:stretch/>
              </p:blipFill>
              <p:spPr>
                <a:xfrm>
                  <a:off x="382973" y="3270665"/>
                  <a:ext cx="2187110" cy="1571558"/>
                </a:xfrm>
                <a:prstGeom prst="rect">
                  <a:avLst/>
                </a:prstGeom>
              </p:spPr>
            </p:pic>
            <p:pic>
              <p:nvPicPr>
                <p:cNvPr id="26" name="Grafik 25">
                  <a:extLst>
                    <a:ext uri="{FF2B5EF4-FFF2-40B4-BE49-F238E27FC236}">
                      <a16:creationId xmlns:a16="http://schemas.microsoft.com/office/drawing/2014/main" id="{B1A39EBE-2BD9-C142-91B5-17E07CC23F30}"/>
                    </a:ext>
                  </a:extLst>
                </p:cNvPr>
                <p:cNvPicPr>
                  <a:picLocks noChangeAspect="1"/>
                </p:cNvPicPr>
                <p:nvPr/>
              </p:nvPicPr>
              <p:blipFill rotWithShape="1">
                <a:blip r:embed="rId4">
                  <a:extLst>
                    <a:ext uri="{28A0092B-C50C-407E-A947-70E740481C1C}">
                      <a14:useLocalDpi xmlns:a14="http://schemas.microsoft.com/office/drawing/2010/main" val="0"/>
                    </a:ext>
                  </a:extLst>
                </a:blip>
                <a:srcRect t="48975"/>
                <a:stretch/>
              </p:blipFill>
              <p:spPr>
                <a:xfrm>
                  <a:off x="2915816" y="3368932"/>
                  <a:ext cx="2187111" cy="1651090"/>
                </a:xfrm>
                <a:prstGeom prst="rect">
                  <a:avLst/>
                </a:prstGeom>
              </p:spPr>
            </p:pic>
            <p:sp>
              <p:nvSpPr>
                <p:cNvPr id="30" name="Textfeld 29">
                  <a:extLst>
                    <a:ext uri="{FF2B5EF4-FFF2-40B4-BE49-F238E27FC236}">
                      <a16:creationId xmlns:a16="http://schemas.microsoft.com/office/drawing/2014/main" id="{5A8D5354-FC9B-D144-BADA-F5A0BBA0C0F6}"/>
                    </a:ext>
                  </a:extLst>
                </p:cNvPr>
                <p:cNvSpPr txBox="1"/>
                <p:nvPr/>
              </p:nvSpPr>
              <p:spPr>
                <a:xfrm>
                  <a:off x="3203848" y="4386528"/>
                  <a:ext cx="775693" cy="2539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de-DE" sz="1600" b="0"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rPr>
                    <a:t>ORR: 3.3%</a:t>
                  </a:r>
                </a:p>
              </p:txBody>
            </p:sp>
            <p:sp>
              <p:nvSpPr>
                <p:cNvPr id="31" name="Textfeld 30">
                  <a:extLst>
                    <a:ext uri="{FF2B5EF4-FFF2-40B4-BE49-F238E27FC236}">
                      <a16:creationId xmlns:a16="http://schemas.microsoft.com/office/drawing/2014/main" id="{5EB84471-77B1-9249-B84B-313DA0D76429}"/>
                    </a:ext>
                  </a:extLst>
                </p:cNvPr>
                <p:cNvSpPr txBox="1"/>
                <p:nvPr/>
              </p:nvSpPr>
              <p:spPr>
                <a:xfrm>
                  <a:off x="656981" y="4386528"/>
                  <a:ext cx="775693" cy="2539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de-DE" sz="1600" b="0"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rPr>
                    <a:t>ORR: 2.8%</a:t>
                  </a:r>
                </a:p>
              </p:txBody>
            </p:sp>
          </p:grpSp>
        </p:grpSp>
        <p:sp>
          <p:nvSpPr>
            <p:cNvPr id="28" name="Textfeld 27">
              <a:extLst>
                <a:ext uri="{FF2B5EF4-FFF2-40B4-BE49-F238E27FC236}">
                  <a16:creationId xmlns:a16="http://schemas.microsoft.com/office/drawing/2014/main" id="{82E9B1D7-F4D3-F142-909B-632028A8FBAC}"/>
                </a:ext>
              </a:extLst>
            </p:cNvPr>
            <p:cNvSpPr txBox="1"/>
            <p:nvPr/>
          </p:nvSpPr>
          <p:spPr>
            <a:xfrm>
              <a:off x="7025861" y="1400458"/>
              <a:ext cx="1459775" cy="43858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de-DE" sz="1600" b="0"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rPr>
                <a:t>Single: 	</a:t>
              </a:r>
              <a:r>
                <a:rPr kumimoji="0" lang="de-DE" sz="1600" b="0" i="0" u="none" strike="noStrike" kern="0" cap="none" spc="0" normalizeH="0" baseline="0" noProof="0" dirty="0" err="1">
                  <a:ln>
                    <a:noFill/>
                  </a:ln>
                  <a:solidFill>
                    <a:srgbClr val="000000"/>
                  </a:solidFill>
                  <a:effectLst/>
                  <a:uLnTx/>
                  <a:uFillTx/>
                  <a:latin typeface="Arial Narrow" panose="020B0604020202020204" pitchFamily="34" charset="0"/>
                  <a:cs typeface="Arial Narrow" panose="020B0604020202020204" pitchFamily="34" charset="0"/>
                  <a:sym typeface="Arial"/>
                </a:rPr>
                <a:t>mPFS</a:t>
              </a:r>
              <a:r>
                <a:rPr kumimoji="0" lang="de-DE" sz="1600" b="0"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rPr>
                <a:t> 3.65</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de-DE" sz="1600" b="0"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rPr>
                <a:t>Combi: 	</a:t>
              </a:r>
              <a:r>
                <a:rPr kumimoji="0" lang="de-DE" sz="1600" b="0" i="0" u="none" strike="noStrike" kern="0" cap="none" spc="0" normalizeH="0" baseline="0" noProof="0" dirty="0" err="1">
                  <a:ln>
                    <a:noFill/>
                  </a:ln>
                  <a:solidFill>
                    <a:srgbClr val="000000"/>
                  </a:solidFill>
                  <a:effectLst/>
                  <a:uLnTx/>
                  <a:uFillTx/>
                  <a:latin typeface="Arial Narrow" panose="020B0604020202020204" pitchFamily="34" charset="0"/>
                  <a:cs typeface="Arial Narrow" panose="020B0604020202020204" pitchFamily="34" charset="0"/>
                  <a:sym typeface="Arial"/>
                </a:rPr>
                <a:t>mPFS</a:t>
              </a:r>
              <a:r>
                <a:rPr kumimoji="0" lang="de-DE" sz="1600" b="0"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rPr>
                <a:t> 1.87</a:t>
              </a:r>
            </a:p>
          </p:txBody>
        </p:sp>
        <p:sp>
          <p:nvSpPr>
            <p:cNvPr id="29" name="Textfeld 28">
              <a:extLst>
                <a:ext uri="{FF2B5EF4-FFF2-40B4-BE49-F238E27FC236}">
                  <a16:creationId xmlns:a16="http://schemas.microsoft.com/office/drawing/2014/main" id="{A23332D3-F053-8742-A225-A87B87260325}"/>
                </a:ext>
              </a:extLst>
            </p:cNvPr>
            <p:cNvSpPr txBox="1"/>
            <p:nvPr/>
          </p:nvSpPr>
          <p:spPr>
            <a:xfrm>
              <a:off x="7033530" y="1977102"/>
              <a:ext cx="1676180" cy="59256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de-DE" sz="1467" b="0"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rPr>
                <a:t>HR 0.58,</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de-DE" sz="1467" b="0"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rPr>
                <a:t>90% CI 0.35–0.93), P = 0.027</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de-DE" sz="1600" b="0"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endParaRPr>
            </a:p>
          </p:txBody>
        </p:sp>
      </p:grpSp>
      <p:sp>
        <p:nvSpPr>
          <p:cNvPr id="2" name="Textfeld 1">
            <a:extLst>
              <a:ext uri="{FF2B5EF4-FFF2-40B4-BE49-F238E27FC236}">
                <a16:creationId xmlns:a16="http://schemas.microsoft.com/office/drawing/2014/main" id="{ACF9B89A-D147-C494-EE09-0353C47A070D}"/>
              </a:ext>
            </a:extLst>
          </p:cNvPr>
          <p:cNvSpPr txBox="1"/>
          <p:nvPr/>
        </p:nvSpPr>
        <p:spPr>
          <a:xfrm>
            <a:off x="1831719" y="4408548"/>
            <a:ext cx="614271" cy="338554"/>
          </a:xfrm>
          <a:prstGeom prst="rect">
            <a:avLst/>
          </a:prstGeom>
          <a:solidFill>
            <a:schemeClr val="tx2">
              <a:lumMod val="40000"/>
              <a:lumOff val="60000"/>
            </a:schemeClr>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de-DE" sz="1600" b="0" i="0" u="none" strike="noStrike" kern="0" cap="none" spc="0" normalizeH="0" baseline="0" noProof="0" dirty="0" err="1">
                <a:ln>
                  <a:noFill/>
                </a:ln>
                <a:solidFill>
                  <a:srgbClr val="000000"/>
                </a:solidFill>
                <a:effectLst/>
                <a:uLnTx/>
                <a:uFillTx/>
                <a:latin typeface="Arial Narrow" panose="020B0604020202020204" pitchFamily="34" charset="0"/>
                <a:cs typeface="Arial Narrow" panose="020B0604020202020204" pitchFamily="34" charset="0"/>
                <a:sym typeface="Arial"/>
              </a:rPr>
              <a:t>Atezo</a:t>
            </a:r>
            <a:endParaRPr kumimoji="0" lang="de-DE" sz="1600" b="0"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endParaRPr>
          </a:p>
        </p:txBody>
      </p:sp>
      <p:sp>
        <p:nvSpPr>
          <p:cNvPr id="3" name="Textfeld 2">
            <a:extLst>
              <a:ext uri="{FF2B5EF4-FFF2-40B4-BE49-F238E27FC236}">
                <a16:creationId xmlns:a16="http://schemas.microsoft.com/office/drawing/2014/main" id="{E864157D-5E2A-BE79-561D-8F1E25B0B508}"/>
              </a:ext>
            </a:extLst>
          </p:cNvPr>
          <p:cNvSpPr txBox="1"/>
          <p:nvPr/>
        </p:nvSpPr>
        <p:spPr>
          <a:xfrm>
            <a:off x="5039883" y="4677864"/>
            <a:ext cx="1067921" cy="338554"/>
          </a:xfrm>
          <a:prstGeom prst="rect">
            <a:avLst/>
          </a:prstGeom>
          <a:solidFill>
            <a:schemeClr val="accent2">
              <a:lumMod val="40000"/>
              <a:lumOff val="60000"/>
            </a:schemeClr>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de-DE" sz="1600" b="0" i="0" u="none" strike="noStrike" kern="0" cap="none" spc="0" normalizeH="0" baseline="0" noProof="0" dirty="0" err="1">
                <a:ln>
                  <a:noFill/>
                </a:ln>
                <a:solidFill>
                  <a:srgbClr val="000000"/>
                </a:solidFill>
                <a:effectLst/>
                <a:uLnTx/>
                <a:uFillTx/>
                <a:latin typeface="Arial Narrow" panose="020B0604020202020204" pitchFamily="34" charset="0"/>
                <a:cs typeface="Arial Narrow" panose="020B0604020202020204" pitchFamily="34" charset="0"/>
                <a:sym typeface="Arial"/>
              </a:rPr>
              <a:t>Cobimetinib</a:t>
            </a:r>
            <a:endParaRPr kumimoji="0" lang="de-DE" sz="1600" b="0"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endParaRPr>
          </a:p>
        </p:txBody>
      </p:sp>
      <p:sp>
        <p:nvSpPr>
          <p:cNvPr id="4" name="Textfeld 3">
            <a:extLst>
              <a:ext uri="{FF2B5EF4-FFF2-40B4-BE49-F238E27FC236}">
                <a16:creationId xmlns:a16="http://schemas.microsoft.com/office/drawing/2014/main" id="{BB4B7CB6-2679-B52D-0F1C-0039762311D4}"/>
              </a:ext>
            </a:extLst>
          </p:cNvPr>
          <p:cNvSpPr txBox="1"/>
          <p:nvPr/>
        </p:nvSpPr>
        <p:spPr>
          <a:xfrm>
            <a:off x="5039883" y="4183591"/>
            <a:ext cx="614271" cy="338554"/>
          </a:xfrm>
          <a:prstGeom prst="rect">
            <a:avLst/>
          </a:prstGeom>
          <a:solidFill>
            <a:schemeClr val="tx2">
              <a:lumMod val="40000"/>
              <a:lumOff val="60000"/>
            </a:schemeClr>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de-DE" sz="1600" b="0" i="0" u="none" strike="noStrike" kern="0" cap="none" spc="0" normalizeH="0" baseline="0" noProof="0" dirty="0" err="1">
                <a:ln>
                  <a:noFill/>
                </a:ln>
                <a:solidFill>
                  <a:srgbClr val="000000"/>
                </a:solidFill>
                <a:effectLst/>
                <a:uLnTx/>
                <a:uFillTx/>
                <a:latin typeface="Arial Narrow" panose="020B0604020202020204" pitchFamily="34" charset="0"/>
                <a:cs typeface="Arial Narrow" panose="020B0604020202020204" pitchFamily="34" charset="0"/>
                <a:sym typeface="Arial"/>
              </a:rPr>
              <a:t>Atezo</a:t>
            </a:r>
            <a:endParaRPr kumimoji="0" lang="de-DE" sz="1600" b="0"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endParaRPr>
          </a:p>
        </p:txBody>
      </p:sp>
      <p:sp>
        <p:nvSpPr>
          <p:cNvPr id="5" name="Textfeld 4">
            <a:extLst>
              <a:ext uri="{FF2B5EF4-FFF2-40B4-BE49-F238E27FC236}">
                <a16:creationId xmlns:a16="http://schemas.microsoft.com/office/drawing/2014/main" id="{CE71C9DC-2F1F-AF87-7A0E-6670C79B53D2}"/>
              </a:ext>
            </a:extLst>
          </p:cNvPr>
          <p:cNvSpPr txBox="1"/>
          <p:nvPr/>
        </p:nvSpPr>
        <p:spPr>
          <a:xfrm>
            <a:off x="6002389" y="4183591"/>
            <a:ext cx="282450"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de-DE" sz="1600" b="0"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rPr>
              <a:t>+</a:t>
            </a:r>
          </a:p>
        </p:txBody>
      </p:sp>
    </p:spTree>
    <p:extLst>
      <p:ext uri="{BB962C8B-B14F-4D97-AF65-F5344CB8AC3E}">
        <p14:creationId xmlns:p14="http://schemas.microsoft.com/office/powerpoint/2010/main" val="5582401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EA6976-58E0-FF4D-B5BE-E3C425F9EA63}"/>
              </a:ext>
            </a:extLst>
          </p:cNvPr>
          <p:cNvSpPr>
            <a:spLocks noGrp="1"/>
          </p:cNvSpPr>
          <p:nvPr>
            <p:ph type="title"/>
          </p:nvPr>
        </p:nvSpPr>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5239D5A5-CF8E-1043-8EA1-EB2202922538}"/>
              </a:ext>
            </a:extLst>
          </p:cNvPr>
          <p:cNvSpPr>
            <a:spLocks noGrp="1"/>
          </p:cNvSpPr>
          <p:nvPr>
            <p:ph idx="1"/>
          </p:nvPr>
        </p:nvSpPr>
        <p:spPr/>
        <p:txBody>
          <a:bodyPr/>
          <a:lstStyle/>
          <a:p>
            <a:pPr marL="98425" indent="0">
              <a:lnSpc>
                <a:spcPct val="100000"/>
              </a:lnSpc>
              <a:spcBef>
                <a:spcPts val="1600"/>
              </a:spcBef>
              <a:spcAft>
                <a:spcPts val="0"/>
              </a:spcAft>
              <a:buNone/>
            </a:pPr>
            <a:r>
              <a:rPr lang="en-US" sz="2500" dirty="0">
                <a:solidFill>
                  <a:srgbClr val="0432FF"/>
                </a:solidFill>
              </a:rPr>
              <a:t>Module 1: </a:t>
            </a:r>
            <a:r>
              <a:rPr lang="en-US" sz="2500" dirty="0">
                <a:solidFill>
                  <a:schemeClr val="tx1"/>
                </a:solidFill>
              </a:rPr>
              <a:t>First-Line Treatment for Advanced Hepatocellular Carcinoma (HCC) — Dr Finn</a:t>
            </a:r>
          </a:p>
          <a:p>
            <a:pPr marL="98425" indent="0">
              <a:lnSpc>
                <a:spcPct val="100000"/>
              </a:lnSpc>
              <a:spcBef>
                <a:spcPts val="1600"/>
              </a:spcBef>
              <a:spcAft>
                <a:spcPts val="0"/>
              </a:spcAft>
              <a:buNone/>
            </a:pPr>
            <a:r>
              <a:rPr lang="en-US" sz="2500" dirty="0">
                <a:solidFill>
                  <a:srgbClr val="0432FF"/>
                </a:solidFill>
              </a:rPr>
              <a:t>Module 2: </a:t>
            </a:r>
            <a:r>
              <a:rPr lang="en-US" sz="2500" dirty="0">
                <a:solidFill>
                  <a:schemeClr val="tx1"/>
                </a:solidFill>
              </a:rPr>
              <a:t>Selection and Sequencing of Therapies for Relapsed/Refractory HCC — Dr Kelley</a:t>
            </a:r>
          </a:p>
          <a:p>
            <a:pPr marL="98425" indent="0">
              <a:lnSpc>
                <a:spcPct val="100000"/>
              </a:lnSpc>
              <a:spcBef>
                <a:spcPts val="1600"/>
              </a:spcBef>
              <a:spcAft>
                <a:spcPts val="0"/>
              </a:spcAft>
              <a:buNone/>
            </a:pPr>
            <a:r>
              <a:rPr lang="en-US" sz="2500" dirty="0">
                <a:solidFill>
                  <a:srgbClr val="0432FF"/>
                </a:solidFill>
              </a:rPr>
              <a:t>Module 3: </a:t>
            </a:r>
            <a:r>
              <a:rPr lang="en-US" sz="2500" dirty="0">
                <a:solidFill>
                  <a:schemeClr val="tx1"/>
                </a:solidFill>
              </a:rPr>
              <a:t>Current and Future Role of Immunotherapy in the Treatment </a:t>
            </a:r>
            <a:br>
              <a:rPr lang="en-US" sz="2500" dirty="0">
                <a:solidFill>
                  <a:schemeClr val="tx1"/>
                </a:solidFill>
              </a:rPr>
            </a:br>
            <a:r>
              <a:rPr lang="en-US" sz="2500" dirty="0">
                <a:solidFill>
                  <a:schemeClr val="tx1"/>
                </a:solidFill>
              </a:rPr>
              <a:t>of Advanced Biliary Tract Cancers (BTCs) — Prof Vogel</a:t>
            </a:r>
          </a:p>
          <a:p>
            <a:pPr marL="98425" indent="0">
              <a:lnSpc>
                <a:spcPct val="100000"/>
              </a:lnSpc>
              <a:spcBef>
                <a:spcPts val="1600"/>
              </a:spcBef>
              <a:spcAft>
                <a:spcPts val="0"/>
              </a:spcAft>
              <a:buNone/>
            </a:pPr>
            <a:r>
              <a:rPr lang="en-US" sz="2500" dirty="0">
                <a:solidFill>
                  <a:srgbClr val="0432FF"/>
                </a:solidFill>
              </a:rPr>
              <a:t>Module 4: </a:t>
            </a:r>
            <a:r>
              <a:rPr lang="en-US" sz="2500" dirty="0">
                <a:solidFill>
                  <a:schemeClr val="tx1"/>
                </a:solidFill>
              </a:rPr>
              <a:t>Integration of Targeted Therapy into the Management of Advanced BTCs — Dr Goyal</a:t>
            </a:r>
          </a:p>
        </p:txBody>
      </p:sp>
    </p:spTree>
    <p:extLst>
      <p:ext uri="{BB962C8B-B14F-4D97-AF65-F5344CB8AC3E}">
        <p14:creationId xmlns:p14="http://schemas.microsoft.com/office/powerpoint/2010/main" val="129978546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34380218-1DD0-E34C-B740-0C39BEF4C523}"/>
              </a:ext>
            </a:extLst>
          </p:cNvPr>
          <p:cNvPicPr>
            <a:picLocks noChangeAspect="1"/>
          </p:cNvPicPr>
          <p:nvPr/>
        </p:nvPicPr>
        <p:blipFill rotWithShape="1">
          <a:blip r:embed="rId3"/>
          <a:srcRect r="43391"/>
          <a:stretch/>
        </p:blipFill>
        <p:spPr>
          <a:xfrm>
            <a:off x="609602" y="3428999"/>
            <a:ext cx="3950228" cy="3178548"/>
          </a:xfrm>
          <a:prstGeom prst="rect">
            <a:avLst/>
          </a:prstGeom>
        </p:spPr>
      </p:pic>
      <p:sp>
        <p:nvSpPr>
          <p:cNvPr id="5" name="Textfeld 4">
            <a:extLst>
              <a:ext uri="{FF2B5EF4-FFF2-40B4-BE49-F238E27FC236}">
                <a16:creationId xmlns:a16="http://schemas.microsoft.com/office/drawing/2014/main" id="{E2F5FC90-660A-184C-BCCF-E1C42B62C973}"/>
              </a:ext>
            </a:extLst>
          </p:cNvPr>
          <p:cNvSpPr txBox="1"/>
          <p:nvPr/>
        </p:nvSpPr>
        <p:spPr>
          <a:xfrm>
            <a:off x="652243" y="1407786"/>
            <a:ext cx="1976823" cy="162454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de-DE" sz="2489" b="0" i="0" u="none" strike="noStrike" kern="0" cap="none" spc="0" normalizeH="0" baseline="0" noProof="0" dirty="0">
                <a:ln>
                  <a:noFill/>
                </a:ln>
                <a:solidFill>
                  <a:srgbClr val="000000"/>
                </a:solidFill>
                <a:effectLst/>
                <a:uLnTx/>
                <a:uFillTx/>
                <a:latin typeface="Arial"/>
                <a:cs typeface="Arial"/>
                <a:sym typeface="Arial"/>
              </a:rPr>
              <a:t>N= 32</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de-DE" sz="2489" b="0" i="0" u="none" strike="noStrike" kern="0" cap="none" spc="0" normalizeH="0" baseline="0" noProof="0" dirty="0">
                <a:ln>
                  <a:noFill/>
                </a:ln>
                <a:solidFill>
                  <a:srgbClr val="000000"/>
                </a:solidFill>
                <a:effectLst/>
                <a:uLnTx/>
                <a:uFillTx/>
                <a:latin typeface="Arial"/>
                <a:cs typeface="Arial"/>
                <a:sym typeface="Arial"/>
              </a:rPr>
              <a:t>PFS 4.9 </a:t>
            </a:r>
            <a:r>
              <a:rPr kumimoji="0" lang="de-DE" sz="2489" b="0" i="0" u="none" strike="noStrike" kern="0" cap="none" spc="0" normalizeH="0" baseline="0" noProof="0" dirty="0" err="1">
                <a:ln>
                  <a:noFill/>
                </a:ln>
                <a:solidFill>
                  <a:srgbClr val="000000"/>
                </a:solidFill>
                <a:effectLst/>
                <a:uLnTx/>
                <a:uFillTx/>
                <a:latin typeface="Arial"/>
                <a:cs typeface="Arial"/>
                <a:sym typeface="Arial"/>
              </a:rPr>
              <a:t>mo</a:t>
            </a:r>
            <a:endParaRPr kumimoji="0" lang="de-DE" sz="2489" b="0" i="0" u="none" strike="noStrike" kern="0" cap="none" spc="0" normalizeH="0" baseline="0" noProof="0" dirty="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de-DE" sz="2489" b="0" i="0" u="none" strike="noStrike" kern="0" cap="none" spc="0" normalizeH="0" baseline="0" noProof="0" dirty="0">
                <a:ln>
                  <a:noFill/>
                </a:ln>
                <a:solidFill>
                  <a:srgbClr val="000000"/>
                </a:solidFill>
                <a:effectLst/>
                <a:uLnTx/>
                <a:uFillTx/>
                <a:latin typeface="Arial"/>
                <a:cs typeface="Arial"/>
                <a:sym typeface="Arial"/>
              </a:rPr>
              <a:t>OS: 11.0 </a:t>
            </a:r>
            <a:r>
              <a:rPr kumimoji="0" lang="de-DE" sz="2489" b="0" i="0" u="none" strike="noStrike" kern="0" cap="none" spc="0" normalizeH="0" baseline="0" noProof="0" dirty="0" err="1">
                <a:ln>
                  <a:noFill/>
                </a:ln>
                <a:solidFill>
                  <a:srgbClr val="000000"/>
                </a:solidFill>
                <a:effectLst/>
                <a:uLnTx/>
                <a:uFillTx/>
                <a:latin typeface="Arial"/>
                <a:cs typeface="Arial"/>
                <a:sym typeface="Arial"/>
              </a:rPr>
              <a:t>mo</a:t>
            </a:r>
            <a:endParaRPr kumimoji="0" lang="de-DE" sz="2489" b="0" i="0" u="none" strike="noStrike" kern="0" cap="none" spc="0" normalizeH="0" baseline="0" noProof="0" dirty="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de-DE" sz="2489" b="0" i="0" u="none" strike="noStrike" kern="0" cap="none" spc="0" normalizeH="0" baseline="0" noProof="0" dirty="0">
                <a:ln>
                  <a:noFill/>
                </a:ln>
                <a:solidFill>
                  <a:srgbClr val="000000"/>
                </a:solidFill>
                <a:effectLst/>
                <a:uLnTx/>
                <a:uFillTx/>
                <a:latin typeface="Arial"/>
                <a:cs typeface="Arial"/>
                <a:sym typeface="Arial"/>
              </a:rPr>
              <a:t>ORR: 25%</a:t>
            </a:r>
          </a:p>
        </p:txBody>
      </p:sp>
      <p:pic>
        <p:nvPicPr>
          <p:cNvPr id="6" name="Picture 7">
            <a:extLst>
              <a:ext uri="{FF2B5EF4-FFF2-40B4-BE49-F238E27FC236}">
                <a16:creationId xmlns:a16="http://schemas.microsoft.com/office/drawing/2014/main" id="{94AA0E57-885D-7242-8549-B316DC15584B}"/>
              </a:ext>
            </a:extLst>
          </p:cNvPr>
          <p:cNvPicPr>
            <a:picLocks noChangeAspect="1"/>
          </p:cNvPicPr>
          <p:nvPr/>
        </p:nvPicPr>
        <p:blipFill rotWithShape="1">
          <a:blip r:embed="rId4"/>
          <a:srcRect l="10343" t="15534" r="42506" b="40109"/>
          <a:stretch/>
        </p:blipFill>
        <p:spPr>
          <a:xfrm>
            <a:off x="6074485" y="3140969"/>
            <a:ext cx="5472987" cy="3130241"/>
          </a:xfrm>
          <a:prstGeom prst="rect">
            <a:avLst/>
          </a:prstGeom>
        </p:spPr>
      </p:pic>
      <p:sp>
        <p:nvSpPr>
          <p:cNvPr id="9" name="Textfeld 8">
            <a:extLst>
              <a:ext uri="{FF2B5EF4-FFF2-40B4-BE49-F238E27FC236}">
                <a16:creationId xmlns:a16="http://schemas.microsoft.com/office/drawing/2014/main" id="{3735B64A-02E2-C04C-AF55-DB031620E381}"/>
              </a:ext>
            </a:extLst>
          </p:cNvPr>
          <p:cNvSpPr txBox="1"/>
          <p:nvPr/>
        </p:nvSpPr>
        <p:spPr>
          <a:xfrm>
            <a:off x="5992266" y="1381301"/>
            <a:ext cx="1959191" cy="162454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de-DE" sz="2489" b="0" i="0" u="none" strike="noStrike" kern="0" cap="none" spc="0" normalizeH="0" baseline="0" noProof="0" dirty="0">
                <a:ln>
                  <a:noFill/>
                </a:ln>
                <a:solidFill>
                  <a:srgbClr val="000000"/>
                </a:solidFill>
                <a:effectLst/>
                <a:uLnTx/>
                <a:uFillTx/>
                <a:latin typeface="Arial"/>
                <a:cs typeface="Arial"/>
                <a:sym typeface="Arial"/>
              </a:rPr>
              <a:t>N= 39</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de-DE" sz="2489" b="0" i="0" u="none" strike="noStrike" kern="0" cap="none" spc="0" normalizeH="0" baseline="0" noProof="0" dirty="0">
                <a:ln>
                  <a:noFill/>
                </a:ln>
                <a:solidFill>
                  <a:srgbClr val="000000"/>
                </a:solidFill>
                <a:effectLst/>
                <a:uLnTx/>
                <a:uFillTx/>
                <a:latin typeface="Arial"/>
                <a:cs typeface="Arial"/>
                <a:sym typeface="Arial"/>
              </a:rPr>
              <a:t>PFS: 2.9 </a:t>
            </a:r>
            <a:r>
              <a:rPr kumimoji="0" lang="de-DE" sz="2489" b="0" i="0" u="none" strike="noStrike" kern="0" cap="none" spc="0" normalizeH="0" baseline="0" noProof="0" dirty="0" err="1">
                <a:ln>
                  <a:noFill/>
                </a:ln>
                <a:solidFill>
                  <a:srgbClr val="000000"/>
                </a:solidFill>
                <a:effectLst/>
                <a:uLnTx/>
                <a:uFillTx/>
                <a:latin typeface="Arial"/>
                <a:cs typeface="Arial"/>
                <a:sym typeface="Arial"/>
              </a:rPr>
              <a:t>mo</a:t>
            </a:r>
            <a:endParaRPr kumimoji="0" lang="de-DE" sz="2489" b="0" i="0" u="none" strike="noStrike" kern="0" cap="none" spc="0" normalizeH="0" baseline="0" noProof="0" dirty="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de-DE" sz="2489" b="0" i="0" u="none" strike="noStrike" kern="0" cap="none" spc="0" normalizeH="0" baseline="0" noProof="0" dirty="0">
                <a:ln>
                  <a:noFill/>
                </a:ln>
                <a:solidFill>
                  <a:srgbClr val="000000"/>
                </a:solidFill>
                <a:effectLst/>
                <a:uLnTx/>
                <a:uFillTx/>
                <a:latin typeface="Arial"/>
                <a:cs typeface="Arial"/>
                <a:sym typeface="Arial"/>
              </a:rPr>
              <a:t>OS: 5.7 </a:t>
            </a:r>
            <a:r>
              <a:rPr kumimoji="0" lang="de-DE" sz="2489" b="0" i="0" u="none" strike="noStrike" kern="0" cap="none" spc="0" normalizeH="0" baseline="0" noProof="0" dirty="0" err="1">
                <a:ln>
                  <a:noFill/>
                </a:ln>
                <a:solidFill>
                  <a:srgbClr val="000000"/>
                </a:solidFill>
                <a:effectLst/>
                <a:uLnTx/>
                <a:uFillTx/>
                <a:latin typeface="Arial"/>
                <a:cs typeface="Arial"/>
                <a:sym typeface="Arial"/>
              </a:rPr>
              <a:t>mo</a:t>
            </a:r>
            <a:endParaRPr kumimoji="0" lang="de-DE" sz="2489" b="0" i="0" u="none" strike="noStrike" kern="0" cap="none" spc="0" normalizeH="0" baseline="0" noProof="0" dirty="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de-DE" sz="2489" b="0" i="0" u="none" strike="noStrike" kern="0" cap="none" spc="0" normalizeH="0" baseline="0" noProof="0" dirty="0">
                <a:ln>
                  <a:noFill/>
                </a:ln>
                <a:solidFill>
                  <a:srgbClr val="000000"/>
                </a:solidFill>
                <a:effectLst/>
                <a:uLnTx/>
                <a:uFillTx/>
                <a:latin typeface="Arial"/>
                <a:cs typeface="Arial"/>
                <a:sym typeface="Arial"/>
              </a:rPr>
              <a:t>ORR: 23%</a:t>
            </a:r>
          </a:p>
        </p:txBody>
      </p:sp>
      <p:sp>
        <p:nvSpPr>
          <p:cNvPr id="10" name="Textfeld 9">
            <a:extLst>
              <a:ext uri="{FF2B5EF4-FFF2-40B4-BE49-F238E27FC236}">
                <a16:creationId xmlns:a16="http://schemas.microsoft.com/office/drawing/2014/main" id="{396FDA9B-CA5D-EB4D-8A0A-2FEDEFF32B8F}"/>
              </a:ext>
            </a:extLst>
          </p:cNvPr>
          <p:cNvSpPr txBox="1"/>
          <p:nvPr/>
        </p:nvSpPr>
        <p:spPr>
          <a:xfrm>
            <a:off x="8354231" y="2468894"/>
            <a:ext cx="3645550" cy="47538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de-DE" sz="2489" b="0" i="0" u="none" strike="noStrike" kern="0" cap="none" spc="0" normalizeH="0" baseline="0" noProof="0" dirty="0">
                <a:ln>
                  <a:noFill/>
                </a:ln>
                <a:solidFill>
                  <a:srgbClr val="000000"/>
                </a:solidFill>
                <a:effectLst/>
                <a:uLnTx/>
                <a:uFillTx/>
                <a:latin typeface="Arial"/>
                <a:cs typeface="Arial"/>
                <a:sym typeface="Arial"/>
              </a:rPr>
              <a:t>IR-AE: 49% (15% &gt;= 3°)</a:t>
            </a:r>
          </a:p>
        </p:txBody>
      </p:sp>
      <p:sp>
        <p:nvSpPr>
          <p:cNvPr id="12" name="TextBox 3">
            <a:extLst>
              <a:ext uri="{FF2B5EF4-FFF2-40B4-BE49-F238E27FC236}">
                <a16:creationId xmlns:a16="http://schemas.microsoft.com/office/drawing/2014/main" id="{FA26D46E-B865-A747-A182-F9AF58875D36}"/>
              </a:ext>
            </a:extLst>
          </p:cNvPr>
          <p:cNvSpPr txBox="1">
            <a:spLocks noChangeArrowheads="1"/>
          </p:cNvSpPr>
          <p:nvPr/>
        </p:nvSpPr>
        <p:spPr bwMode="auto">
          <a:xfrm>
            <a:off x="905306" y="6432937"/>
            <a:ext cx="8057479" cy="355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b">
            <a:spAutoFit/>
          </a:bodyPr>
          <a:lstStyle>
            <a:lvl1pPr>
              <a:lnSpc>
                <a:spcPct val="95000"/>
              </a:lnSpc>
              <a:spcBef>
                <a:spcPct val="75000"/>
              </a:spcBef>
              <a:buClr>
                <a:srgbClr val="D67321"/>
              </a:buClr>
              <a:buSzPct val="110000"/>
              <a:buFont typeface="Wingdings" panose="05000000000000000000" pitchFamily="2" charset="2"/>
              <a:buChar char="§"/>
              <a:defRPr sz="2400">
                <a:solidFill>
                  <a:schemeClr val="tx1"/>
                </a:solidFill>
                <a:latin typeface="Arial" panose="020B0604020202020204" pitchFamily="34" charset="0"/>
                <a:ea typeface="MS PGothic" panose="020B0600070205080204" pitchFamily="34" charset="-128"/>
              </a:defRPr>
            </a:lvl1pPr>
            <a:lvl2pPr marL="742950" indent="-285750">
              <a:lnSpc>
                <a:spcPct val="95000"/>
              </a:lnSpc>
              <a:spcBef>
                <a:spcPct val="40000"/>
              </a:spcBef>
              <a:buClr>
                <a:srgbClr val="917B69"/>
              </a:buClr>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2pPr>
            <a:lvl3pPr marL="1143000" indent="-228600">
              <a:lnSpc>
                <a:spcPct val="95000"/>
              </a:lnSpc>
              <a:spcBef>
                <a:spcPct val="30000"/>
              </a:spcBef>
              <a:buClr>
                <a:schemeClr val="tx1"/>
              </a:buClr>
              <a:buFont typeface="Arial" panose="020B0604020202020204" pitchFamily="34" charset="0"/>
              <a:buChar char="-"/>
              <a:defRPr>
                <a:solidFill>
                  <a:schemeClr val="tx1"/>
                </a:solidFill>
                <a:latin typeface="Arial" panose="020B0604020202020204" pitchFamily="34" charset="0"/>
                <a:ea typeface="MS PGothic" panose="020B0600070205080204" pitchFamily="34" charset="-128"/>
              </a:defRPr>
            </a:lvl3pPr>
            <a:lvl4pPr marL="1600200" indent="-228600">
              <a:lnSpc>
                <a:spcPct val="95000"/>
              </a:lnSpc>
              <a:spcBef>
                <a:spcPct val="20000"/>
              </a:spcBef>
              <a:buClr>
                <a:schemeClr val="tx1"/>
              </a:buClr>
              <a:buFont typeface="Arial" panose="020B0604020202020204" pitchFamily="34" charset="0"/>
              <a:buChar char="•"/>
              <a:defRPr sz="16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defRPr sz="1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1400">
                <a:solidFill>
                  <a:schemeClr val="tx1"/>
                </a:solidFill>
                <a:latin typeface="Arial" panose="020B0604020202020204" pitchFamily="34" charset="0"/>
                <a:ea typeface="MS PGothic" panose="020B0600070205080204" pitchFamily="34" charset="-128"/>
              </a:defRPr>
            </a:lvl9pPr>
          </a:lstStyle>
          <a:p>
            <a:pPr marL="0" marR="0" lvl="0" indent="0" algn="l" defTabSz="914400" rtl="0" eaLnBrk="1" fontAlgn="auto" latinLnBrk="0" hangingPunct="1">
              <a:lnSpc>
                <a:spcPct val="95000"/>
              </a:lnSpc>
              <a:spcBef>
                <a:spcPct val="75000"/>
              </a:spcBef>
              <a:spcAft>
                <a:spcPts val="0"/>
              </a:spcAft>
              <a:buClr>
                <a:srgbClr val="D67321"/>
              </a:buClr>
              <a:buSzPct val="110000"/>
              <a:buFont typeface="Wingdings" panose="05000000000000000000" pitchFamily="2" charset="2"/>
              <a:buNone/>
              <a:tabLst/>
              <a:defRPr/>
            </a:pPr>
            <a:r>
              <a:rPr kumimoji="0" lang="en-US" altLang="ko-KR" sz="1800" b="0" i="0" u="none" strike="noStrike" kern="0" cap="none" spc="0" normalizeH="0" baseline="0" noProof="0" dirty="0">
                <a:ln>
                  <a:noFill/>
                </a:ln>
                <a:solidFill>
                  <a:srgbClr val="000000"/>
                </a:solidFill>
                <a:effectLst/>
                <a:uLnTx/>
                <a:uFillTx/>
                <a:latin typeface="Arial Narrow" panose="020B0604020202020204" pitchFamily="34" charset="0"/>
                <a:ea typeface="맑은 고딕" panose="020B0503020000020004" pitchFamily="34" charset="-127"/>
                <a:cs typeface="Arial Narrow" panose="020B0604020202020204" pitchFamily="34" charset="0"/>
                <a:sym typeface="Arial"/>
              </a:rPr>
              <a:t>Lin J, et al. Hepatobiliary Surg Nutr. 2020</a:t>
            </a:r>
            <a:r>
              <a:rPr kumimoji="0" lang="en-US" altLang="ko-KR" sz="1800" b="0" i="0" u="none" strike="noStrike" kern="0" cap="none" spc="0" normalizeH="0" baseline="0" noProof="0" dirty="0">
                <a:ln>
                  <a:noFill/>
                </a:ln>
                <a:solidFill>
                  <a:srgbClr val="000000"/>
                </a:solidFill>
                <a:effectLst/>
                <a:uLnTx/>
                <a:uFillTx/>
                <a:latin typeface="Arial Narrow" panose="020B0604020202020204" pitchFamily="34" charset="0"/>
                <a:ea typeface="맑은 고딕" panose="020B0503020000020004" pitchFamily="34" charset="-127"/>
                <a:cs typeface="Arial Narrow" panose="020B0604020202020204" pitchFamily="34" charset="0"/>
                <a:sym typeface="Wingdings" panose="05000000000000000000" pitchFamily="2" charset="2"/>
              </a:rPr>
              <a:t> </a:t>
            </a:r>
            <a:endParaRPr kumimoji="0" lang="ko-KR" altLang="en-US" sz="1800" b="0" i="0" u="none" strike="noStrike" kern="0" cap="none" spc="0" normalizeH="0" baseline="0" noProof="0" dirty="0">
              <a:ln>
                <a:noFill/>
              </a:ln>
              <a:solidFill>
                <a:srgbClr val="000000"/>
              </a:solidFill>
              <a:effectLst/>
              <a:uLnTx/>
              <a:uFillTx/>
              <a:latin typeface="Arial Narrow" panose="020B0604020202020204" pitchFamily="34" charset="0"/>
              <a:ea typeface="맑은 고딕" panose="020B0503020000020004" pitchFamily="34" charset="-127"/>
              <a:cs typeface="Arial Narrow" panose="020B0604020202020204" pitchFamily="34" charset="0"/>
              <a:sym typeface="Arial"/>
            </a:endParaRPr>
          </a:p>
        </p:txBody>
      </p:sp>
      <p:sp>
        <p:nvSpPr>
          <p:cNvPr id="13" name="Textfeld 3">
            <a:extLst>
              <a:ext uri="{FF2B5EF4-FFF2-40B4-BE49-F238E27FC236}">
                <a16:creationId xmlns:a16="http://schemas.microsoft.com/office/drawing/2014/main" id="{B6524CB7-1384-7149-AD8E-971838779184}"/>
              </a:ext>
            </a:extLst>
          </p:cNvPr>
          <p:cNvSpPr txBox="1"/>
          <p:nvPr/>
        </p:nvSpPr>
        <p:spPr>
          <a:xfrm>
            <a:off x="9180833" y="6359912"/>
            <a:ext cx="2653290" cy="369332"/>
          </a:xfrm>
          <a:prstGeom prst="rect">
            <a:avLst/>
          </a:prstGeom>
          <a:noFill/>
        </p:spPr>
        <p:style>
          <a:lnRef idx="0">
            <a:scrgbClr r="0" g="0" b="0"/>
          </a:lnRef>
          <a:fillRef idx="0">
            <a:scrgbClr r="0" g="0" b="0"/>
          </a:fillRef>
          <a:effectRef idx="0">
            <a:scrgbClr r="0" g="0" b="0"/>
          </a:effectRef>
          <a:fontRef idx="major"/>
        </p:style>
        <p:txBody>
          <a:bodyPr wrap="none" rtlCol="0">
            <a:sp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de-DE" sz="1800" b="0" i="0" u="none" strike="noStrike" kern="0" cap="none" spc="0" normalizeH="0" baseline="0" noProof="0" dirty="0">
                <a:ln>
                  <a:noFill/>
                </a:ln>
                <a:solidFill>
                  <a:srgbClr val="000000"/>
                </a:solidFill>
                <a:effectLst/>
                <a:uLnTx/>
                <a:uFillTx/>
                <a:latin typeface="Arial Narrow" panose="020B0604020202020204" pitchFamily="34" charset="0"/>
                <a:ea typeface="+mj-ea"/>
                <a:cs typeface="Arial Narrow" panose="020B0604020202020204" pitchFamily="34" charset="0"/>
                <a:sym typeface="Arial"/>
              </a:rPr>
              <a:t>Klein et al, JAMA </a:t>
            </a:r>
            <a:r>
              <a:rPr kumimoji="0" lang="de-DE" sz="1800" b="0" i="0" u="none" strike="noStrike" kern="0" cap="none" spc="0" normalizeH="0" baseline="0" noProof="0" dirty="0" err="1">
                <a:ln>
                  <a:noFill/>
                </a:ln>
                <a:solidFill>
                  <a:srgbClr val="000000"/>
                </a:solidFill>
                <a:effectLst/>
                <a:uLnTx/>
                <a:uFillTx/>
                <a:latin typeface="Arial Narrow" panose="020B0604020202020204" pitchFamily="34" charset="0"/>
                <a:ea typeface="+mj-ea"/>
                <a:cs typeface="Arial Narrow" panose="020B0604020202020204" pitchFamily="34" charset="0"/>
                <a:sym typeface="Arial"/>
              </a:rPr>
              <a:t>Oncol</a:t>
            </a:r>
            <a:r>
              <a:rPr kumimoji="0" lang="de-DE" sz="1800" b="0" i="0" u="none" strike="noStrike" kern="0" cap="none" spc="0" normalizeH="0" baseline="0" noProof="0" dirty="0">
                <a:ln>
                  <a:noFill/>
                </a:ln>
                <a:solidFill>
                  <a:srgbClr val="000000"/>
                </a:solidFill>
                <a:effectLst/>
                <a:uLnTx/>
                <a:uFillTx/>
                <a:latin typeface="Arial Narrow" panose="020B0604020202020204" pitchFamily="34" charset="0"/>
                <a:ea typeface="+mj-ea"/>
                <a:cs typeface="Arial Narrow" panose="020B0604020202020204" pitchFamily="34" charset="0"/>
                <a:sym typeface="Arial"/>
              </a:rPr>
              <a:t> 2020</a:t>
            </a:r>
          </a:p>
        </p:txBody>
      </p:sp>
      <p:sp>
        <p:nvSpPr>
          <p:cNvPr id="14" name="Textfeld 13">
            <a:extLst>
              <a:ext uri="{FF2B5EF4-FFF2-40B4-BE49-F238E27FC236}">
                <a16:creationId xmlns:a16="http://schemas.microsoft.com/office/drawing/2014/main" id="{063762D1-0F00-5C4A-9339-3DAF0D480AF4}"/>
              </a:ext>
            </a:extLst>
          </p:cNvPr>
          <p:cNvSpPr txBox="1"/>
          <p:nvPr/>
        </p:nvSpPr>
        <p:spPr>
          <a:xfrm>
            <a:off x="3065703" y="2468894"/>
            <a:ext cx="1959191" cy="47538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de-DE" sz="2489" b="0" i="0" u="none" strike="noStrike" kern="0" cap="none" spc="0" normalizeH="0" baseline="0" noProof="0" dirty="0">
                <a:ln>
                  <a:noFill/>
                </a:ln>
                <a:solidFill>
                  <a:srgbClr val="000000"/>
                </a:solidFill>
                <a:effectLst/>
                <a:uLnTx/>
                <a:uFillTx/>
                <a:latin typeface="Arial"/>
                <a:cs typeface="Arial"/>
                <a:sym typeface="Arial"/>
              </a:rPr>
              <a:t>AE 3/4: 62%</a:t>
            </a:r>
          </a:p>
        </p:txBody>
      </p:sp>
      <p:sp>
        <p:nvSpPr>
          <p:cNvPr id="15" name="Titel 2">
            <a:extLst>
              <a:ext uri="{FF2B5EF4-FFF2-40B4-BE49-F238E27FC236}">
                <a16:creationId xmlns:a16="http://schemas.microsoft.com/office/drawing/2014/main" id="{073CEE3C-F360-6341-962E-55E186D56979}"/>
              </a:ext>
            </a:extLst>
          </p:cNvPr>
          <p:cNvSpPr txBox="1">
            <a:spLocks/>
          </p:cNvSpPr>
          <p:nvPr/>
        </p:nvSpPr>
        <p:spPr>
          <a:xfrm>
            <a:off x="609602" y="59821"/>
            <a:ext cx="4786468" cy="1444719"/>
          </a:xfrm>
          <a:prstGeom prst="rect">
            <a:avLst/>
          </a:prstGeom>
        </p:spPr>
        <p:txBody>
          <a:bodyPr vert="horz" lIns="121917" tIns="60959" rIns="121917" bIns="60959" rtlCol="0" anchor="ctr">
            <a:normAutofit fontScale="97500"/>
          </a:bodyPr>
          <a:lstStyle>
            <a:lvl1pPr algn="ctr" defTabSz="914378" rtl="0" eaLnBrk="1" latinLnBrk="0" hangingPunct="1">
              <a:spcBef>
                <a:spcPct val="0"/>
              </a:spcBef>
              <a:buNone/>
              <a:defRPr sz="4400" kern="1200">
                <a:solidFill>
                  <a:schemeClr val="tx1"/>
                </a:solidFill>
                <a:latin typeface="+mj-lt"/>
                <a:ea typeface="+mj-ea"/>
                <a:cs typeface="+mj-cs"/>
              </a:defRPr>
            </a:lvl1pPr>
          </a:lstStyle>
          <a:p>
            <a:pPr marL="0" marR="0" lvl="0" indent="0" algn="l" defTabSz="1219170" rtl="0" eaLnBrk="1" fontAlgn="auto" latinLnBrk="0" hangingPunct="1">
              <a:lnSpc>
                <a:spcPct val="70000"/>
              </a:lnSpc>
              <a:spcBef>
                <a:spcPct val="0"/>
              </a:spcBef>
              <a:spcAft>
                <a:spcPts val="0"/>
              </a:spcAft>
              <a:buClr>
                <a:srgbClr val="000000"/>
              </a:buClr>
              <a:buSzTx/>
              <a:buFont typeface="Arial"/>
              <a:buNone/>
              <a:tabLst/>
              <a:defRPr/>
            </a:pPr>
            <a:r>
              <a:rPr kumimoji="0" lang="de-DE" sz="3200" b="1" i="0" u="none" strike="noStrike" kern="1200" cap="none" spc="0" normalizeH="0" baseline="0" noProof="0" dirty="0">
                <a:ln>
                  <a:noFill/>
                </a:ln>
                <a:solidFill>
                  <a:srgbClr val="000000"/>
                </a:solidFill>
                <a:effectLst/>
                <a:uLnTx/>
                <a:uFillTx/>
                <a:latin typeface="Arial Narrow" panose="020B0604020202020204" pitchFamily="34" charset="0"/>
                <a:ea typeface="+mj-ea"/>
                <a:cs typeface="Arial Narrow" panose="020B0604020202020204" pitchFamily="34" charset="0"/>
                <a:sym typeface="Arial"/>
              </a:rPr>
              <a:t>IO + anti-</a:t>
            </a:r>
            <a:r>
              <a:rPr kumimoji="0" lang="de-DE" sz="3200" b="1" i="0" u="none" strike="noStrike" kern="1200" cap="none" spc="0" normalizeH="0" baseline="0" noProof="0" dirty="0" err="1">
                <a:ln>
                  <a:noFill/>
                </a:ln>
                <a:solidFill>
                  <a:srgbClr val="000000"/>
                </a:solidFill>
                <a:effectLst/>
                <a:uLnTx/>
                <a:uFillTx/>
                <a:latin typeface="Arial Narrow" panose="020B0604020202020204" pitchFamily="34" charset="0"/>
                <a:ea typeface="+mj-ea"/>
                <a:cs typeface="Arial Narrow" panose="020B0604020202020204" pitchFamily="34" charset="0"/>
                <a:sym typeface="Arial"/>
              </a:rPr>
              <a:t>angiogenic</a:t>
            </a:r>
            <a:endParaRPr kumimoji="0" lang="de-DE" sz="3200" b="1" i="0" u="none" strike="noStrike" kern="1200" cap="none" spc="0" normalizeH="0" baseline="0" noProof="0" dirty="0">
              <a:ln>
                <a:noFill/>
              </a:ln>
              <a:solidFill>
                <a:srgbClr val="000000"/>
              </a:solidFill>
              <a:effectLst/>
              <a:uLnTx/>
              <a:uFillTx/>
              <a:latin typeface="Arial Narrow" panose="020B0604020202020204" pitchFamily="34" charset="0"/>
              <a:ea typeface="+mj-ea"/>
              <a:cs typeface="Arial Narrow" panose="020B0604020202020204" pitchFamily="34" charset="0"/>
              <a:sym typeface="Arial"/>
            </a:endParaRPr>
          </a:p>
          <a:p>
            <a:pPr marL="0" marR="0" lvl="0" indent="0" algn="l" defTabSz="1219170" rtl="0" eaLnBrk="1" fontAlgn="auto" latinLnBrk="0" hangingPunct="1">
              <a:lnSpc>
                <a:spcPct val="70000"/>
              </a:lnSpc>
              <a:spcBef>
                <a:spcPct val="0"/>
              </a:spcBef>
              <a:spcAft>
                <a:spcPts val="0"/>
              </a:spcAft>
              <a:buClr>
                <a:srgbClr val="000000"/>
              </a:buClr>
              <a:buSzTx/>
              <a:buFont typeface="Arial"/>
              <a:buNone/>
              <a:tabLst/>
              <a:defRPr/>
            </a:pPr>
            <a:r>
              <a:rPr kumimoji="0" lang="de-DE" sz="3200" b="1" i="0" u="none" strike="noStrike" kern="1200" cap="none" spc="0" normalizeH="0" baseline="0" noProof="0" dirty="0" err="1">
                <a:ln>
                  <a:noFill/>
                </a:ln>
                <a:solidFill>
                  <a:srgbClr val="000000"/>
                </a:solidFill>
                <a:effectLst/>
                <a:uLnTx/>
                <a:uFillTx/>
                <a:latin typeface="Arial Narrow" panose="020B0604020202020204" pitchFamily="34" charset="0"/>
                <a:ea typeface="+mj-ea"/>
                <a:cs typeface="Arial Narrow" panose="020B0604020202020204" pitchFamily="34" charset="0"/>
                <a:sym typeface="Arial"/>
              </a:rPr>
              <a:t>Pembrolizumab</a:t>
            </a:r>
            <a:r>
              <a:rPr kumimoji="0" lang="de-DE" sz="3200" b="1" i="0" u="none" strike="noStrike" kern="1200" cap="none" spc="0" normalizeH="0" baseline="0" noProof="0" dirty="0">
                <a:ln>
                  <a:noFill/>
                </a:ln>
                <a:solidFill>
                  <a:srgbClr val="000000"/>
                </a:solidFill>
                <a:effectLst/>
                <a:uLnTx/>
                <a:uFillTx/>
                <a:latin typeface="Arial Narrow" panose="020B0604020202020204" pitchFamily="34" charset="0"/>
                <a:ea typeface="+mj-ea"/>
                <a:cs typeface="Arial Narrow" panose="020B0604020202020204" pitchFamily="34" charset="0"/>
                <a:sym typeface="Arial"/>
              </a:rPr>
              <a:t>/</a:t>
            </a:r>
            <a:r>
              <a:rPr kumimoji="0" lang="de-DE" sz="3200" b="1" i="0" u="none" strike="noStrike" kern="1200" cap="none" spc="0" normalizeH="0" baseline="0" noProof="0" dirty="0" err="1">
                <a:ln>
                  <a:noFill/>
                </a:ln>
                <a:solidFill>
                  <a:srgbClr val="000000"/>
                </a:solidFill>
                <a:effectLst/>
                <a:uLnTx/>
                <a:uFillTx/>
                <a:latin typeface="Arial Narrow" panose="020B0604020202020204" pitchFamily="34" charset="0"/>
                <a:ea typeface="+mj-ea"/>
                <a:cs typeface="Arial Narrow" panose="020B0604020202020204" pitchFamily="34" charset="0"/>
                <a:sym typeface="Arial"/>
              </a:rPr>
              <a:t>Lenvatinib</a:t>
            </a:r>
            <a:endParaRPr kumimoji="0" lang="en-US" altLang="ko-KR" sz="3200" b="1" i="0" u="none" strike="noStrike" kern="1200" cap="none" spc="0" normalizeH="0" baseline="0" noProof="0" dirty="0">
              <a:ln>
                <a:noFill/>
              </a:ln>
              <a:solidFill>
                <a:srgbClr val="000000"/>
              </a:solidFill>
              <a:effectLst/>
              <a:uLnTx/>
              <a:uFillTx/>
              <a:latin typeface="Arial Narrow" panose="020B0604020202020204" pitchFamily="34" charset="0"/>
              <a:ea typeface="맑은 고딕" panose="020B0503020000020004" pitchFamily="34" charset="-127"/>
              <a:cs typeface="Arial Narrow" panose="020B0604020202020204" pitchFamily="34" charset="0"/>
              <a:sym typeface="Arial"/>
            </a:endParaRPr>
          </a:p>
        </p:txBody>
      </p:sp>
      <p:sp>
        <p:nvSpPr>
          <p:cNvPr id="16" name="Titel 2">
            <a:extLst>
              <a:ext uri="{FF2B5EF4-FFF2-40B4-BE49-F238E27FC236}">
                <a16:creationId xmlns:a16="http://schemas.microsoft.com/office/drawing/2014/main" id="{C01EBEDA-CE07-1543-8537-E29B21874C34}"/>
              </a:ext>
            </a:extLst>
          </p:cNvPr>
          <p:cNvSpPr txBox="1">
            <a:spLocks/>
          </p:cNvSpPr>
          <p:nvPr/>
        </p:nvSpPr>
        <p:spPr>
          <a:xfrm>
            <a:off x="5978676" y="230790"/>
            <a:ext cx="5902384" cy="1102783"/>
          </a:xfrm>
          <a:prstGeom prst="rect">
            <a:avLst/>
          </a:prstGeom>
        </p:spPr>
        <p:txBody>
          <a:bodyPr vert="horz" lIns="121917" tIns="60959" rIns="121917" bIns="60959" rtlCol="0" anchor="ctr">
            <a:noAutofit/>
          </a:bodyPr>
          <a:lstStyle>
            <a:lvl1pPr algn="ctr" defTabSz="914378" rtl="0" eaLnBrk="1" latinLnBrk="0" hangingPunct="1">
              <a:spcBef>
                <a:spcPct val="0"/>
              </a:spcBef>
              <a:buNone/>
              <a:defRPr sz="4400" kern="1200">
                <a:solidFill>
                  <a:schemeClr val="tx1"/>
                </a:solidFill>
                <a:latin typeface="+mj-lt"/>
                <a:ea typeface="+mj-ea"/>
                <a:cs typeface="+mj-cs"/>
              </a:defRPr>
            </a:lvl1pPr>
          </a:lstStyle>
          <a:p>
            <a:pPr marL="0" marR="0" lvl="0" indent="0" algn="l" defTabSz="1219170" rtl="0" eaLnBrk="1" fontAlgn="auto" latinLnBrk="0" hangingPunct="1">
              <a:lnSpc>
                <a:spcPct val="90000"/>
              </a:lnSpc>
              <a:spcBef>
                <a:spcPct val="0"/>
              </a:spcBef>
              <a:spcAft>
                <a:spcPts val="0"/>
              </a:spcAft>
              <a:buClr>
                <a:srgbClr val="000000"/>
              </a:buClr>
              <a:buSzTx/>
              <a:buFont typeface="Arial"/>
              <a:buNone/>
              <a:tabLst/>
              <a:defRPr/>
            </a:pPr>
            <a:r>
              <a:rPr kumimoji="0" lang="de-DE" sz="3200" b="1" i="0" u="none" strike="noStrike" kern="1200" cap="none" spc="0" normalizeH="0" baseline="0" noProof="0" dirty="0">
                <a:ln>
                  <a:noFill/>
                </a:ln>
                <a:solidFill>
                  <a:srgbClr val="000000"/>
                </a:solidFill>
                <a:effectLst/>
                <a:uLnTx/>
                <a:uFillTx/>
                <a:latin typeface="Arial Narrow" panose="020B0604020202020204" pitchFamily="34" charset="0"/>
                <a:ea typeface="+mj-ea"/>
                <a:cs typeface="Arial Narrow" panose="020B0604020202020204" pitchFamily="34" charset="0"/>
                <a:sym typeface="Arial"/>
              </a:rPr>
              <a:t>IO + IO (BTC </a:t>
            </a:r>
            <a:r>
              <a:rPr kumimoji="0" lang="de-DE" sz="3200" b="1" i="0" u="none" strike="noStrike" kern="1200" cap="none" spc="0" normalizeH="0" baseline="0" noProof="0" dirty="0" err="1">
                <a:ln>
                  <a:noFill/>
                </a:ln>
                <a:solidFill>
                  <a:srgbClr val="000000"/>
                </a:solidFill>
                <a:effectLst/>
                <a:uLnTx/>
                <a:uFillTx/>
                <a:latin typeface="Arial Narrow" panose="020B0604020202020204" pitchFamily="34" charset="0"/>
                <a:ea typeface="+mj-ea"/>
                <a:cs typeface="Arial Narrow" panose="020B0604020202020204" pitchFamily="34" charset="0"/>
                <a:sym typeface="Arial"/>
              </a:rPr>
              <a:t>subgroup</a:t>
            </a:r>
            <a:r>
              <a:rPr kumimoji="0" lang="de-DE" sz="3200" b="1" i="0" u="none" strike="noStrike" kern="1200" cap="none" spc="0" normalizeH="0" baseline="0" noProof="0" dirty="0">
                <a:ln>
                  <a:noFill/>
                </a:ln>
                <a:solidFill>
                  <a:srgbClr val="000000"/>
                </a:solidFill>
                <a:effectLst/>
                <a:uLnTx/>
                <a:uFillTx/>
                <a:latin typeface="Arial Narrow" panose="020B0604020202020204" pitchFamily="34" charset="0"/>
                <a:ea typeface="+mj-ea"/>
                <a:cs typeface="Arial Narrow" panose="020B0604020202020204" pitchFamily="34" charset="0"/>
                <a:sym typeface="Arial"/>
              </a:rPr>
              <a:t> CA209-538)</a:t>
            </a:r>
          </a:p>
          <a:p>
            <a:pPr marL="0" marR="0" lvl="0" indent="0" algn="l" defTabSz="1219170" rtl="0" eaLnBrk="1" fontAlgn="auto" latinLnBrk="0" hangingPunct="1">
              <a:lnSpc>
                <a:spcPct val="90000"/>
              </a:lnSpc>
              <a:spcBef>
                <a:spcPct val="0"/>
              </a:spcBef>
              <a:spcAft>
                <a:spcPts val="0"/>
              </a:spcAft>
              <a:buClr>
                <a:srgbClr val="000000"/>
              </a:buClr>
              <a:buSzTx/>
              <a:buFont typeface="Arial"/>
              <a:buNone/>
              <a:tabLst/>
              <a:defRPr/>
            </a:pPr>
            <a:r>
              <a:rPr kumimoji="0" lang="de-DE" sz="3200" b="1" i="0" u="none" strike="noStrike" kern="1200" cap="none" spc="0" normalizeH="0" baseline="0" noProof="0" dirty="0" err="1">
                <a:ln>
                  <a:noFill/>
                </a:ln>
                <a:solidFill>
                  <a:srgbClr val="000000"/>
                </a:solidFill>
                <a:effectLst/>
                <a:uLnTx/>
                <a:uFillTx/>
                <a:latin typeface="Arial Narrow" panose="020B0604020202020204" pitchFamily="34" charset="0"/>
                <a:ea typeface="+mj-ea"/>
                <a:cs typeface="Arial Narrow" panose="020B0604020202020204" pitchFamily="34" charset="0"/>
                <a:sym typeface="Arial"/>
              </a:rPr>
              <a:t>Nivolumab</a:t>
            </a:r>
            <a:r>
              <a:rPr kumimoji="0" lang="de-DE" sz="3200" b="1" i="0" u="none" strike="noStrike" kern="1200" cap="none" spc="0" normalizeH="0" baseline="0" noProof="0" dirty="0">
                <a:ln>
                  <a:noFill/>
                </a:ln>
                <a:solidFill>
                  <a:srgbClr val="000000"/>
                </a:solidFill>
                <a:effectLst/>
                <a:uLnTx/>
                <a:uFillTx/>
                <a:latin typeface="Arial Narrow" panose="020B0604020202020204" pitchFamily="34" charset="0"/>
                <a:ea typeface="+mj-ea"/>
                <a:cs typeface="Arial Narrow" panose="020B0604020202020204" pitchFamily="34" charset="0"/>
                <a:sym typeface="Arial"/>
              </a:rPr>
              <a:t>/</a:t>
            </a:r>
            <a:r>
              <a:rPr kumimoji="0" lang="de-DE" sz="3200" b="1" i="0" u="none" strike="noStrike" kern="1200" cap="none" spc="0" normalizeH="0" baseline="0" noProof="0" dirty="0" err="1">
                <a:ln>
                  <a:noFill/>
                </a:ln>
                <a:solidFill>
                  <a:srgbClr val="000000"/>
                </a:solidFill>
                <a:effectLst/>
                <a:uLnTx/>
                <a:uFillTx/>
                <a:latin typeface="Arial Narrow" panose="020B0604020202020204" pitchFamily="34" charset="0"/>
                <a:ea typeface="+mj-ea"/>
                <a:cs typeface="Arial Narrow" panose="020B0604020202020204" pitchFamily="34" charset="0"/>
                <a:sym typeface="Arial"/>
              </a:rPr>
              <a:t>Ipilimumab</a:t>
            </a:r>
            <a:endParaRPr kumimoji="0" lang="en-US" altLang="ko-KR" sz="3200" b="1" i="0" u="none" strike="noStrike" kern="1200" cap="none" spc="0" normalizeH="0" baseline="0" noProof="0" dirty="0">
              <a:ln>
                <a:noFill/>
              </a:ln>
              <a:solidFill>
                <a:srgbClr val="000000"/>
              </a:solidFill>
              <a:effectLst/>
              <a:uLnTx/>
              <a:uFillTx/>
              <a:latin typeface="Arial Narrow" panose="020B0604020202020204" pitchFamily="34" charset="0"/>
              <a:ea typeface="맑은 고딕" panose="020B0503020000020004" pitchFamily="34" charset="-127"/>
              <a:cs typeface="Arial Narrow" panose="020B0604020202020204" pitchFamily="34" charset="0"/>
              <a:sym typeface="Arial"/>
            </a:endParaRPr>
          </a:p>
        </p:txBody>
      </p:sp>
      <p:cxnSp>
        <p:nvCxnSpPr>
          <p:cNvPr id="17" name="Gerade Verbindung 16">
            <a:extLst>
              <a:ext uri="{FF2B5EF4-FFF2-40B4-BE49-F238E27FC236}">
                <a16:creationId xmlns:a16="http://schemas.microsoft.com/office/drawing/2014/main" id="{AB5BF21B-840D-AD4B-867B-0CFCF18798DC}"/>
              </a:ext>
            </a:extLst>
          </p:cNvPr>
          <p:cNvCxnSpPr>
            <a:cxnSpLocks/>
          </p:cNvCxnSpPr>
          <p:nvPr/>
        </p:nvCxnSpPr>
        <p:spPr>
          <a:xfrm>
            <a:off x="5428792" y="250453"/>
            <a:ext cx="0" cy="6250888"/>
          </a:xfrm>
          <a:prstGeom prst="line">
            <a:avLst/>
          </a:prstGeom>
          <a:ln w="50800">
            <a:solidFill>
              <a:schemeClr val="tx2"/>
            </a:solidFill>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732730689"/>
      </p:ext>
    </p:extLst>
  </p:cSld>
  <p:clrMapOvr>
    <a:masterClrMapping/>
  </p:clrMapOvr>
  <p:transition>
    <p:fade/>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09697739-D6FE-4123-8CCF-8F1B15B6672C}"/>
              </a:ext>
            </a:extLst>
          </p:cNvPr>
          <p:cNvSpPr>
            <a:spLocks noGrp="1"/>
          </p:cNvSpPr>
          <p:nvPr>
            <p:ph type="title"/>
          </p:nvPr>
        </p:nvSpPr>
        <p:spPr>
          <a:xfrm>
            <a:off x="238468" y="217265"/>
            <a:ext cx="10515600" cy="1325563"/>
          </a:xfrm>
        </p:spPr>
        <p:txBody>
          <a:bodyPr>
            <a:normAutofit/>
          </a:bodyPr>
          <a:lstStyle/>
          <a:p>
            <a:r>
              <a:rPr lang="en-US" sz="2800" b="1" dirty="0" err="1">
                <a:latin typeface="Arial Narrow" panose="020B0604020202020204" pitchFamily="34" charset="0"/>
                <a:cs typeface="Arial Narrow" panose="020B0604020202020204" pitchFamily="34" charset="0"/>
              </a:rPr>
              <a:t>MediTreme</a:t>
            </a:r>
            <a:r>
              <a:rPr lang="en-US" sz="2800" b="1" dirty="0">
                <a:latin typeface="Arial Narrow" panose="020B0604020202020204" pitchFamily="34" charset="0"/>
                <a:cs typeface="Arial Narrow" panose="020B0604020202020204" pitchFamily="34" charset="0"/>
              </a:rPr>
              <a:t> Study: Best Objective Response</a:t>
            </a:r>
          </a:p>
        </p:txBody>
      </p:sp>
      <p:sp>
        <p:nvSpPr>
          <p:cNvPr id="4" name="Text Placeholder 3">
            <a:extLst>
              <a:ext uri="{FF2B5EF4-FFF2-40B4-BE49-F238E27FC236}">
                <a16:creationId xmlns:a16="http://schemas.microsoft.com/office/drawing/2014/main" id="{310D38EC-CD94-4AA2-8F8A-BC09E5D58063}"/>
              </a:ext>
            </a:extLst>
          </p:cNvPr>
          <p:cNvSpPr>
            <a:spLocks noGrp="1"/>
          </p:cNvSpPr>
          <p:nvPr>
            <p:ph type="body" sz="quarter" idx="13"/>
          </p:nvPr>
        </p:nvSpPr>
        <p:spPr>
          <a:xfrm>
            <a:off x="457200" y="5852160"/>
            <a:ext cx="11530909" cy="1005840"/>
          </a:xfrm>
        </p:spPr>
        <p:txBody>
          <a:bodyPr/>
          <a:lstStyle/>
          <a:p>
            <a:pPr>
              <a:spcBef>
                <a:spcPts val="0"/>
              </a:spcBef>
            </a:pPr>
            <a:r>
              <a:rPr lang="en-US" dirty="0">
                <a:latin typeface="Arial" panose="020B0604020202020204" pitchFamily="34" charset="0"/>
                <a:cs typeface="Arial" panose="020B0604020202020204" pitchFamily="34" charset="0"/>
              </a:rPr>
              <a:t>CR = complete response; D = durvalumab; </a:t>
            </a:r>
            <a:r>
              <a:rPr lang="en-US" dirty="0" err="1">
                <a:latin typeface="Arial" panose="020B0604020202020204" pitchFamily="34" charset="0"/>
                <a:cs typeface="Arial" panose="020B0604020202020204" pitchFamily="34" charset="0"/>
              </a:rPr>
              <a:t>GemCis</a:t>
            </a:r>
            <a:r>
              <a:rPr lang="en-US" dirty="0">
                <a:latin typeface="Arial" panose="020B0604020202020204" pitchFamily="34" charset="0"/>
                <a:cs typeface="Arial" panose="020B0604020202020204" pitchFamily="34" charset="0"/>
              </a:rPr>
              <a:t> = gemcitabine/cisplatin; OS = median overall survival; RR = response rates; PD = progressive disease; PR = partial response; SD = stable disease; </a:t>
            </a:r>
            <a:br>
              <a:rPr lang="en-US" dirty="0">
                <a:latin typeface="Arial" panose="020B0604020202020204" pitchFamily="34" charset="0"/>
                <a:cs typeface="Arial" panose="020B0604020202020204" pitchFamily="34" charset="0"/>
              </a:rPr>
            </a:br>
            <a:r>
              <a:rPr lang="en-US" dirty="0">
                <a:latin typeface="Arial" panose="020B0604020202020204" pitchFamily="34" charset="0"/>
                <a:cs typeface="Arial" panose="020B0604020202020204" pitchFamily="34" charset="0"/>
              </a:rPr>
              <a:t>T = </a:t>
            </a:r>
            <a:r>
              <a:rPr lang="en-US" dirty="0" err="1">
                <a:latin typeface="Arial" panose="020B0604020202020204" pitchFamily="34" charset="0"/>
                <a:cs typeface="Arial" panose="020B0604020202020204" pitchFamily="34" charset="0"/>
              </a:rPr>
              <a:t>tremelimumab</a:t>
            </a:r>
            <a:r>
              <a:rPr lang="en-US" dirty="0">
                <a:latin typeface="Arial" panose="020B0604020202020204" pitchFamily="34" charset="0"/>
                <a:cs typeface="Arial" panose="020B0604020202020204" pitchFamily="34" charset="0"/>
              </a:rPr>
              <a:t>.</a:t>
            </a:r>
          </a:p>
          <a:p>
            <a:pPr>
              <a:spcBef>
                <a:spcPts val="0"/>
              </a:spcBef>
            </a:pPr>
            <a:r>
              <a:rPr lang="en-US" dirty="0">
                <a:latin typeface="Arial" panose="020B0604020202020204" pitchFamily="34" charset="0"/>
                <a:cs typeface="Arial" panose="020B0604020202020204" pitchFamily="34" charset="0"/>
              </a:rPr>
              <a:t>Oh D-Y et al. Poster presented at ASCO Virtual Annual Meeting; May 29-31, 2020. </a:t>
            </a:r>
          </a:p>
        </p:txBody>
      </p:sp>
      <p:sp>
        <p:nvSpPr>
          <p:cNvPr id="7" name="TextBox 6">
            <a:extLst>
              <a:ext uri="{FF2B5EF4-FFF2-40B4-BE49-F238E27FC236}">
                <a16:creationId xmlns:a16="http://schemas.microsoft.com/office/drawing/2014/main" id="{ECCBDE7E-60DF-4DB1-B797-6EC977EC537C}"/>
              </a:ext>
            </a:extLst>
          </p:cNvPr>
          <p:cNvSpPr txBox="1"/>
          <p:nvPr/>
        </p:nvSpPr>
        <p:spPr>
          <a:xfrm>
            <a:off x="758129" y="4141444"/>
            <a:ext cx="10744156" cy="1822192"/>
          </a:xfrm>
          <a:prstGeom prst="roundRect">
            <a:avLst>
              <a:gd name="adj" fmla="val 7881"/>
            </a:avLst>
          </a:prstGeom>
        </p:spPr>
        <p:style>
          <a:lnRef idx="2">
            <a:schemeClr val="accent2">
              <a:shade val="50000"/>
            </a:schemeClr>
          </a:lnRef>
          <a:fillRef idx="1">
            <a:schemeClr val="accent2"/>
          </a:fillRef>
          <a:effectRef idx="0">
            <a:schemeClr val="accent2"/>
          </a:effectRef>
          <a:fontRef idx="minor">
            <a:schemeClr val="lt1"/>
          </a:fontRef>
        </p:style>
        <p:txBody>
          <a:bodyPr wrap="square" rtlCol="0">
            <a:spAutoFit/>
          </a:bodyPr>
          <a:lstStyle/>
          <a:p>
            <a:pPr marL="285744" marR="0" lvl="0" indent="-285744"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12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Objective response rates were similar in the GemCis + D cohort and GemCis + D + T cohort, and were higher compared with the BMC.</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2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a:p>
            <a:pPr marL="285744" marR="0" lvl="0" indent="-285744"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12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Complete response rates were lower in GemCis + D + T cohort, whereas BMC and GemCis + D cohorts exhibited similar CR rates.</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2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a:p>
            <a:pPr marL="285744" marR="0" lvl="0" indent="-285744"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1200" b="0" i="0" u="none" strike="noStrike" kern="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rPr>
              <a:t>GemCis</a:t>
            </a:r>
            <a:r>
              <a:rPr kumimoji="0" lang="en-US" sz="12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 + D + T cohort had the highest partial response rate among the three cohorts.</a:t>
            </a:r>
          </a:p>
          <a:p>
            <a:pPr marL="285744" marR="0" lvl="0" indent="-285744"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endParaRPr kumimoji="0" lang="en-US" sz="12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a:p>
            <a:pPr marL="285744" marR="0" lvl="0" indent="-285744"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12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The Biomarker cohort had the highest rate of stable disease among the three cohorts.</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2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a:p>
            <a:pPr marL="285744" marR="0" lvl="0" indent="-285744"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12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Disease progression was not observed in the </a:t>
            </a:r>
            <a:r>
              <a:rPr kumimoji="0" lang="en-US" sz="1200" b="0" i="0" u="none" strike="noStrike" kern="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rPr>
              <a:t>GemCis</a:t>
            </a:r>
            <a:r>
              <a:rPr kumimoji="0" lang="en-US" sz="12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 + D cohort.</a:t>
            </a:r>
            <a:endParaRPr kumimoji="0" lang="en-US"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grpSp>
        <p:nvGrpSpPr>
          <p:cNvPr id="11" name="Group 10">
            <a:extLst>
              <a:ext uri="{FF2B5EF4-FFF2-40B4-BE49-F238E27FC236}">
                <a16:creationId xmlns:a16="http://schemas.microsoft.com/office/drawing/2014/main" id="{C5691F36-987B-4D14-A583-64A4C74001F7}"/>
              </a:ext>
            </a:extLst>
          </p:cNvPr>
          <p:cNvGrpSpPr/>
          <p:nvPr/>
        </p:nvGrpSpPr>
        <p:grpSpPr>
          <a:xfrm>
            <a:off x="161526" y="1409848"/>
            <a:ext cx="3880506" cy="2321271"/>
            <a:chOff x="614069" y="1403661"/>
            <a:chExt cx="5206026" cy="3114180"/>
          </a:xfrm>
        </p:grpSpPr>
        <p:grpSp>
          <p:nvGrpSpPr>
            <p:cNvPr id="12" name="Group 11">
              <a:extLst>
                <a:ext uri="{FF2B5EF4-FFF2-40B4-BE49-F238E27FC236}">
                  <a16:creationId xmlns:a16="http://schemas.microsoft.com/office/drawing/2014/main" id="{87794C8E-534D-4E17-BD17-1811F3FDA3A8}"/>
                </a:ext>
              </a:extLst>
            </p:cNvPr>
            <p:cNvGrpSpPr/>
            <p:nvPr/>
          </p:nvGrpSpPr>
          <p:grpSpPr>
            <a:xfrm>
              <a:off x="1214438" y="1628777"/>
              <a:ext cx="4551365" cy="2800348"/>
              <a:chOff x="1214438" y="1628777"/>
              <a:chExt cx="4551365" cy="2800348"/>
            </a:xfrm>
          </p:grpSpPr>
          <p:grpSp>
            <p:nvGrpSpPr>
              <p:cNvPr id="65" name="Group 64">
                <a:extLst>
                  <a:ext uri="{FF2B5EF4-FFF2-40B4-BE49-F238E27FC236}">
                    <a16:creationId xmlns:a16="http://schemas.microsoft.com/office/drawing/2014/main" id="{F8001D26-9633-47B5-8A45-A160239D590B}"/>
                  </a:ext>
                </a:extLst>
              </p:cNvPr>
              <p:cNvGrpSpPr/>
              <p:nvPr/>
            </p:nvGrpSpPr>
            <p:grpSpPr>
              <a:xfrm>
                <a:off x="1214438" y="1628777"/>
                <a:ext cx="52387" cy="2800348"/>
                <a:chOff x="1214438" y="1628777"/>
                <a:chExt cx="52387" cy="2800348"/>
              </a:xfrm>
            </p:grpSpPr>
            <p:cxnSp>
              <p:nvCxnSpPr>
                <p:cNvPr id="70" name="Straight Connector 69">
                  <a:extLst>
                    <a:ext uri="{FF2B5EF4-FFF2-40B4-BE49-F238E27FC236}">
                      <a16:creationId xmlns:a16="http://schemas.microsoft.com/office/drawing/2014/main" id="{72904851-9049-4181-92DE-10FEE388CEC0}"/>
                    </a:ext>
                  </a:extLst>
                </p:cNvPr>
                <p:cNvCxnSpPr>
                  <a:cxnSpLocks/>
                </p:cNvCxnSpPr>
                <p:nvPr/>
              </p:nvCxnSpPr>
              <p:spPr>
                <a:xfrm>
                  <a:off x="1266825" y="1633538"/>
                  <a:ext cx="0" cy="279558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62D790FE-7866-48A3-86BF-D4D6E08FD05B}"/>
                    </a:ext>
                  </a:extLst>
                </p:cNvPr>
                <p:cNvCxnSpPr>
                  <a:cxnSpLocks/>
                </p:cNvCxnSpPr>
                <p:nvPr/>
              </p:nvCxnSpPr>
              <p:spPr>
                <a:xfrm>
                  <a:off x="1214438" y="1628777"/>
                  <a:ext cx="5238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388DB42A-8792-4F65-9071-8D95E61822DF}"/>
                    </a:ext>
                  </a:extLst>
                </p:cNvPr>
                <p:cNvCxnSpPr>
                  <a:cxnSpLocks/>
                </p:cNvCxnSpPr>
                <p:nvPr/>
              </p:nvCxnSpPr>
              <p:spPr>
                <a:xfrm>
                  <a:off x="1214438" y="1907384"/>
                  <a:ext cx="5238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857DF47A-B4DB-45AA-8EF1-79057001F630}"/>
                    </a:ext>
                  </a:extLst>
                </p:cNvPr>
                <p:cNvCxnSpPr>
                  <a:cxnSpLocks/>
                </p:cNvCxnSpPr>
                <p:nvPr/>
              </p:nvCxnSpPr>
              <p:spPr>
                <a:xfrm>
                  <a:off x="1214438" y="2188371"/>
                  <a:ext cx="5238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E44A11CB-A791-467A-BA0C-9C9038478D0A}"/>
                    </a:ext>
                  </a:extLst>
                </p:cNvPr>
                <p:cNvCxnSpPr>
                  <a:cxnSpLocks/>
                </p:cNvCxnSpPr>
                <p:nvPr/>
              </p:nvCxnSpPr>
              <p:spPr>
                <a:xfrm>
                  <a:off x="1214438" y="2466978"/>
                  <a:ext cx="5238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721EBB70-6E4A-4DC8-AEB0-79DF76413961}"/>
                    </a:ext>
                  </a:extLst>
                </p:cNvPr>
                <p:cNvCxnSpPr>
                  <a:cxnSpLocks/>
                </p:cNvCxnSpPr>
                <p:nvPr/>
              </p:nvCxnSpPr>
              <p:spPr>
                <a:xfrm>
                  <a:off x="1214438" y="2747965"/>
                  <a:ext cx="5238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F7F4C9F1-8BF6-4FBF-AAB5-505C5C3907B8}"/>
                    </a:ext>
                  </a:extLst>
                </p:cNvPr>
                <p:cNvCxnSpPr>
                  <a:cxnSpLocks/>
                </p:cNvCxnSpPr>
                <p:nvPr/>
              </p:nvCxnSpPr>
              <p:spPr>
                <a:xfrm>
                  <a:off x="1214438" y="3026572"/>
                  <a:ext cx="5238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5D344278-10C9-4169-816C-714712326815}"/>
                    </a:ext>
                  </a:extLst>
                </p:cNvPr>
                <p:cNvCxnSpPr>
                  <a:cxnSpLocks/>
                </p:cNvCxnSpPr>
                <p:nvPr/>
              </p:nvCxnSpPr>
              <p:spPr>
                <a:xfrm>
                  <a:off x="1214438" y="3305177"/>
                  <a:ext cx="5238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25E3BA2F-3C9F-4F97-967C-74DA8112476A}"/>
                    </a:ext>
                  </a:extLst>
                </p:cNvPr>
                <p:cNvCxnSpPr>
                  <a:cxnSpLocks/>
                </p:cNvCxnSpPr>
                <p:nvPr/>
              </p:nvCxnSpPr>
              <p:spPr>
                <a:xfrm>
                  <a:off x="1214438" y="3588546"/>
                  <a:ext cx="5238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E95A9C06-A289-40D1-80D3-2AEE4CF46848}"/>
                    </a:ext>
                  </a:extLst>
                </p:cNvPr>
                <p:cNvCxnSpPr>
                  <a:cxnSpLocks/>
                </p:cNvCxnSpPr>
                <p:nvPr/>
              </p:nvCxnSpPr>
              <p:spPr>
                <a:xfrm>
                  <a:off x="1214438" y="3867152"/>
                  <a:ext cx="5238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3858055D-9B94-4548-832F-3FD305AE29AF}"/>
                    </a:ext>
                  </a:extLst>
                </p:cNvPr>
                <p:cNvCxnSpPr>
                  <a:cxnSpLocks/>
                </p:cNvCxnSpPr>
                <p:nvPr/>
              </p:nvCxnSpPr>
              <p:spPr>
                <a:xfrm>
                  <a:off x="1214438" y="4145759"/>
                  <a:ext cx="5238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FBA664FC-8CF3-44D4-99B2-AE9A72539C3D}"/>
                    </a:ext>
                  </a:extLst>
                </p:cNvPr>
                <p:cNvCxnSpPr>
                  <a:cxnSpLocks/>
                </p:cNvCxnSpPr>
                <p:nvPr/>
              </p:nvCxnSpPr>
              <p:spPr>
                <a:xfrm>
                  <a:off x="1214438" y="4424365"/>
                  <a:ext cx="5238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66" name="Straight Connector 65">
                <a:extLst>
                  <a:ext uri="{FF2B5EF4-FFF2-40B4-BE49-F238E27FC236}">
                    <a16:creationId xmlns:a16="http://schemas.microsoft.com/office/drawing/2014/main" id="{97296C68-3B12-429B-A704-F325A0E7111D}"/>
                  </a:ext>
                </a:extLst>
              </p:cNvPr>
              <p:cNvCxnSpPr>
                <a:cxnSpLocks/>
              </p:cNvCxnSpPr>
              <p:nvPr/>
            </p:nvCxnSpPr>
            <p:spPr>
              <a:xfrm flipH="1">
                <a:off x="1271258" y="3024986"/>
                <a:ext cx="449454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67" name="Group 66">
                <a:extLst>
                  <a:ext uri="{FF2B5EF4-FFF2-40B4-BE49-F238E27FC236}">
                    <a16:creationId xmlns:a16="http://schemas.microsoft.com/office/drawing/2014/main" id="{9EE03EC2-59B0-472A-8340-5DE9969D3D51}"/>
                  </a:ext>
                </a:extLst>
              </p:cNvPr>
              <p:cNvGrpSpPr/>
              <p:nvPr/>
            </p:nvGrpSpPr>
            <p:grpSpPr>
              <a:xfrm>
                <a:off x="1271258" y="2747176"/>
                <a:ext cx="4494545" cy="704850"/>
                <a:chOff x="1271258" y="2747176"/>
                <a:chExt cx="4494545" cy="704850"/>
              </a:xfrm>
            </p:grpSpPr>
            <p:cxnSp>
              <p:nvCxnSpPr>
                <p:cNvPr id="68" name="Straight Connector 67">
                  <a:extLst>
                    <a:ext uri="{FF2B5EF4-FFF2-40B4-BE49-F238E27FC236}">
                      <a16:creationId xmlns:a16="http://schemas.microsoft.com/office/drawing/2014/main" id="{0372269F-822E-4C1F-9F8B-92117E3D1A2E}"/>
                    </a:ext>
                  </a:extLst>
                </p:cNvPr>
                <p:cNvCxnSpPr>
                  <a:cxnSpLocks/>
                </p:cNvCxnSpPr>
                <p:nvPr/>
              </p:nvCxnSpPr>
              <p:spPr>
                <a:xfrm flipH="1">
                  <a:off x="1271258" y="2747176"/>
                  <a:ext cx="4494545" cy="0"/>
                </a:xfrm>
                <a:prstGeom prst="line">
                  <a:avLst/>
                </a:prstGeom>
                <a:ln w="1270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5D241159-F2A7-4E03-917C-6EF9BA066553}"/>
                    </a:ext>
                  </a:extLst>
                </p:cNvPr>
                <p:cNvCxnSpPr>
                  <a:cxnSpLocks/>
                </p:cNvCxnSpPr>
                <p:nvPr/>
              </p:nvCxnSpPr>
              <p:spPr>
                <a:xfrm flipH="1">
                  <a:off x="1271258" y="3452026"/>
                  <a:ext cx="4494545" cy="0"/>
                </a:xfrm>
                <a:prstGeom prst="line">
                  <a:avLst/>
                </a:prstGeom>
                <a:ln w="12700">
                  <a:solidFill>
                    <a:schemeClr val="tx1"/>
                  </a:solidFill>
                  <a:prstDash val="sysDash"/>
                </a:ln>
              </p:spPr>
              <p:style>
                <a:lnRef idx="1">
                  <a:schemeClr val="accent1"/>
                </a:lnRef>
                <a:fillRef idx="0">
                  <a:schemeClr val="accent1"/>
                </a:fillRef>
                <a:effectRef idx="0">
                  <a:schemeClr val="accent1"/>
                </a:effectRef>
                <a:fontRef idx="minor">
                  <a:schemeClr val="tx1"/>
                </a:fontRef>
              </p:style>
            </p:cxnSp>
          </p:grpSp>
        </p:grpSp>
        <p:grpSp>
          <p:nvGrpSpPr>
            <p:cNvPr id="13" name="Group 12">
              <a:extLst>
                <a:ext uri="{FF2B5EF4-FFF2-40B4-BE49-F238E27FC236}">
                  <a16:creationId xmlns:a16="http://schemas.microsoft.com/office/drawing/2014/main" id="{56ACB386-83D8-4A21-9962-74726AA4F874}"/>
                </a:ext>
              </a:extLst>
            </p:cNvPr>
            <p:cNvGrpSpPr/>
            <p:nvPr/>
          </p:nvGrpSpPr>
          <p:grpSpPr>
            <a:xfrm>
              <a:off x="614069" y="1403661"/>
              <a:ext cx="5206026" cy="3114180"/>
              <a:chOff x="614069" y="1403661"/>
              <a:chExt cx="5206026" cy="3114180"/>
            </a:xfrm>
          </p:grpSpPr>
          <p:sp>
            <p:nvSpPr>
              <p:cNvPr id="14" name="Rectangle 13">
                <a:extLst>
                  <a:ext uri="{FF2B5EF4-FFF2-40B4-BE49-F238E27FC236}">
                    <a16:creationId xmlns:a16="http://schemas.microsoft.com/office/drawing/2014/main" id="{AD0BD60C-2319-4CC8-8110-C67E09814F20}"/>
                  </a:ext>
                </a:extLst>
              </p:cNvPr>
              <p:cNvSpPr/>
              <p:nvPr/>
            </p:nvSpPr>
            <p:spPr>
              <a:xfrm>
                <a:off x="1297781" y="2681287"/>
                <a:ext cx="116681" cy="33899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15" name="Rectangle 14">
                <a:extLst>
                  <a:ext uri="{FF2B5EF4-FFF2-40B4-BE49-F238E27FC236}">
                    <a16:creationId xmlns:a16="http://schemas.microsoft.com/office/drawing/2014/main" id="{ECB73C70-A2B8-461C-8280-D289815EF2FB}"/>
                  </a:ext>
                </a:extLst>
              </p:cNvPr>
              <p:cNvSpPr/>
              <p:nvPr/>
            </p:nvSpPr>
            <p:spPr>
              <a:xfrm>
                <a:off x="1448128" y="2768663"/>
                <a:ext cx="116681" cy="25162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16" name="Rectangle 15">
                <a:extLst>
                  <a:ext uri="{FF2B5EF4-FFF2-40B4-BE49-F238E27FC236}">
                    <a16:creationId xmlns:a16="http://schemas.microsoft.com/office/drawing/2014/main" id="{C8B5EC24-CCAE-4384-AE9C-4CAC3A3A4169}"/>
                  </a:ext>
                </a:extLst>
              </p:cNvPr>
              <p:cNvSpPr/>
              <p:nvPr/>
            </p:nvSpPr>
            <p:spPr>
              <a:xfrm>
                <a:off x="1593713" y="2768663"/>
                <a:ext cx="116681" cy="25162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17" name="Rectangle 16">
                <a:extLst>
                  <a:ext uri="{FF2B5EF4-FFF2-40B4-BE49-F238E27FC236}">
                    <a16:creationId xmlns:a16="http://schemas.microsoft.com/office/drawing/2014/main" id="{7897CDCD-DBD8-4D55-970F-BA16437A98D6}"/>
                  </a:ext>
                </a:extLst>
              </p:cNvPr>
              <p:cNvSpPr/>
              <p:nvPr/>
            </p:nvSpPr>
            <p:spPr>
              <a:xfrm>
                <a:off x="1744060" y="2782950"/>
                <a:ext cx="116681" cy="23733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18" name="Rectangle 17">
                <a:extLst>
                  <a:ext uri="{FF2B5EF4-FFF2-40B4-BE49-F238E27FC236}">
                    <a16:creationId xmlns:a16="http://schemas.microsoft.com/office/drawing/2014/main" id="{7FDBA56D-8E2C-4293-B1C7-42EF7F1F57E8}"/>
                  </a:ext>
                </a:extLst>
              </p:cNvPr>
              <p:cNvSpPr/>
              <p:nvPr/>
            </p:nvSpPr>
            <p:spPr>
              <a:xfrm>
                <a:off x="1889645" y="2925536"/>
                <a:ext cx="116681" cy="9474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19" name="Rectangle 18">
                <a:extLst>
                  <a:ext uri="{FF2B5EF4-FFF2-40B4-BE49-F238E27FC236}">
                    <a16:creationId xmlns:a16="http://schemas.microsoft.com/office/drawing/2014/main" id="{BDB7018B-4294-46B9-B947-5A1FD7F6C983}"/>
                  </a:ext>
                </a:extLst>
              </p:cNvPr>
              <p:cNvSpPr/>
              <p:nvPr/>
            </p:nvSpPr>
            <p:spPr>
              <a:xfrm>
                <a:off x="2035230" y="3004664"/>
                <a:ext cx="116681" cy="1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20" name="Rectangle 19">
                <a:extLst>
                  <a:ext uri="{FF2B5EF4-FFF2-40B4-BE49-F238E27FC236}">
                    <a16:creationId xmlns:a16="http://schemas.microsoft.com/office/drawing/2014/main" id="{D1910856-90EA-4C6F-B574-2D7E643AD5DD}"/>
                  </a:ext>
                </a:extLst>
              </p:cNvPr>
              <p:cNvSpPr/>
              <p:nvPr/>
            </p:nvSpPr>
            <p:spPr>
              <a:xfrm>
                <a:off x="2185734" y="3004664"/>
                <a:ext cx="116681" cy="1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21" name="Rectangle 20">
                <a:extLst>
                  <a:ext uri="{FF2B5EF4-FFF2-40B4-BE49-F238E27FC236}">
                    <a16:creationId xmlns:a16="http://schemas.microsoft.com/office/drawing/2014/main" id="{958B98AA-ACEB-4B7F-A3EA-1003E7154FE0}"/>
                  </a:ext>
                </a:extLst>
              </p:cNvPr>
              <p:cNvSpPr/>
              <p:nvPr/>
            </p:nvSpPr>
            <p:spPr>
              <a:xfrm>
                <a:off x="2483890" y="3027309"/>
                <a:ext cx="116681" cy="10641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22" name="Rectangle 21">
                <a:extLst>
                  <a:ext uri="{FF2B5EF4-FFF2-40B4-BE49-F238E27FC236}">
                    <a16:creationId xmlns:a16="http://schemas.microsoft.com/office/drawing/2014/main" id="{3ABCAFB1-B30A-484C-8DAC-C9FF5DF4F4C2}"/>
                  </a:ext>
                </a:extLst>
              </p:cNvPr>
              <p:cNvSpPr/>
              <p:nvPr/>
            </p:nvSpPr>
            <p:spPr>
              <a:xfrm>
                <a:off x="2631856" y="3027308"/>
                <a:ext cx="116681" cy="16118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23" name="Rectangle 22">
                <a:extLst>
                  <a:ext uri="{FF2B5EF4-FFF2-40B4-BE49-F238E27FC236}">
                    <a16:creationId xmlns:a16="http://schemas.microsoft.com/office/drawing/2014/main" id="{D72194E2-688F-43B4-AA33-1A7744CE1D0B}"/>
                  </a:ext>
                </a:extLst>
              </p:cNvPr>
              <p:cNvSpPr/>
              <p:nvPr/>
            </p:nvSpPr>
            <p:spPr>
              <a:xfrm>
                <a:off x="2779979" y="3027307"/>
                <a:ext cx="116681" cy="23733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24" name="Rectangle 23">
                <a:extLst>
                  <a:ext uri="{FF2B5EF4-FFF2-40B4-BE49-F238E27FC236}">
                    <a16:creationId xmlns:a16="http://schemas.microsoft.com/office/drawing/2014/main" id="{CC3D8E37-5772-4250-BA61-7B0CBA309021}"/>
                  </a:ext>
                </a:extLst>
              </p:cNvPr>
              <p:cNvSpPr/>
              <p:nvPr/>
            </p:nvSpPr>
            <p:spPr>
              <a:xfrm>
                <a:off x="2925407" y="3027307"/>
                <a:ext cx="116681" cy="246912"/>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25" name="Rectangle 24">
                <a:extLst>
                  <a:ext uri="{FF2B5EF4-FFF2-40B4-BE49-F238E27FC236}">
                    <a16:creationId xmlns:a16="http://schemas.microsoft.com/office/drawing/2014/main" id="{A8673478-68E7-475F-B0DE-697CAF8262FD}"/>
                  </a:ext>
                </a:extLst>
              </p:cNvPr>
              <p:cNvSpPr/>
              <p:nvPr/>
            </p:nvSpPr>
            <p:spPr>
              <a:xfrm>
                <a:off x="3073216" y="3027306"/>
                <a:ext cx="116681" cy="28819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26" name="Rectangle 25">
                <a:extLst>
                  <a:ext uri="{FF2B5EF4-FFF2-40B4-BE49-F238E27FC236}">
                    <a16:creationId xmlns:a16="http://schemas.microsoft.com/office/drawing/2014/main" id="{CE33B65C-6BA3-4F8C-910F-3CABCF0299DD}"/>
                  </a:ext>
                </a:extLst>
              </p:cNvPr>
              <p:cNvSpPr/>
              <p:nvPr/>
            </p:nvSpPr>
            <p:spPr>
              <a:xfrm>
                <a:off x="3221025" y="3027306"/>
                <a:ext cx="116681" cy="2945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27" name="Rectangle 26">
                <a:extLst>
                  <a:ext uri="{FF2B5EF4-FFF2-40B4-BE49-F238E27FC236}">
                    <a16:creationId xmlns:a16="http://schemas.microsoft.com/office/drawing/2014/main" id="{0F9200FA-D8A6-45B3-BE57-6ED838D0AD71}"/>
                  </a:ext>
                </a:extLst>
              </p:cNvPr>
              <p:cNvSpPr/>
              <p:nvPr/>
            </p:nvSpPr>
            <p:spPr>
              <a:xfrm>
                <a:off x="3371372" y="3027305"/>
                <a:ext cx="116681" cy="33263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28" name="Rectangle 27">
                <a:extLst>
                  <a:ext uri="{FF2B5EF4-FFF2-40B4-BE49-F238E27FC236}">
                    <a16:creationId xmlns:a16="http://schemas.microsoft.com/office/drawing/2014/main" id="{1A45F7B0-DDC0-46CC-B19C-2DDD5B319BD1}"/>
                  </a:ext>
                </a:extLst>
              </p:cNvPr>
              <p:cNvSpPr/>
              <p:nvPr/>
            </p:nvSpPr>
            <p:spPr>
              <a:xfrm>
                <a:off x="3521562" y="3027305"/>
                <a:ext cx="116681" cy="42312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29" name="Rectangle 28">
                <a:extLst>
                  <a:ext uri="{FF2B5EF4-FFF2-40B4-BE49-F238E27FC236}">
                    <a16:creationId xmlns:a16="http://schemas.microsoft.com/office/drawing/2014/main" id="{EB330C72-A077-42FC-A9E4-105BED2EF9B8}"/>
                  </a:ext>
                </a:extLst>
              </p:cNvPr>
              <p:cNvSpPr/>
              <p:nvPr/>
            </p:nvSpPr>
            <p:spPr>
              <a:xfrm>
                <a:off x="3669528" y="3027304"/>
                <a:ext cx="116681" cy="4350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30" name="Rectangle 29">
                <a:extLst>
                  <a:ext uri="{FF2B5EF4-FFF2-40B4-BE49-F238E27FC236}">
                    <a16:creationId xmlns:a16="http://schemas.microsoft.com/office/drawing/2014/main" id="{31869B6C-C667-4F60-9325-B1451CEC9203}"/>
                  </a:ext>
                </a:extLst>
              </p:cNvPr>
              <p:cNvSpPr/>
              <p:nvPr/>
            </p:nvSpPr>
            <p:spPr>
              <a:xfrm>
                <a:off x="3817337" y="3027303"/>
                <a:ext cx="116681" cy="48265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31" name="Rectangle 30">
                <a:extLst>
                  <a:ext uri="{FF2B5EF4-FFF2-40B4-BE49-F238E27FC236}">
                    <a16:creationId xmlns:a16="http://schemas.microsoft.com/office/drawing/2014/main" id="{2E654830-E744-4BC2-AFC7-9DC82004C1BA}"/>
                  </a:ext>
                </a:extLst>
              </p:cNvPr>
              <p:cNvSpPr/>
              <p:nvPr/>
            </p:nvSpPr>
            <p:spPr>
              <a:xfrm>
                <a:off x="3964450" y="3027303"/>
                <a:ext cx="116681" cy="48742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32" name="Rectangle 31">
                <a:extLst>
                  <a:ext uri="{FF2B5EF4-FFF2-40B4-BE49-F238E27FC236}">
                    <a16:creationId xmlns:a16="http://schemas.microsoft.com/office/drawing/2014/main" id="{EFFFD592-8048-403E-838C-0AB351E51A4A}"/>
                  </a:ext>
                </a:extLst>
              </p:cNvPr>
              <p:cNvSpPr/>
              <p:nvPr/>
            </p:nvSpPr>
            <p:spPr>
              <a:xfrm>
                <a:off x="4110888" y="3027303"/>
                <a:ext cx="116681" cy="50171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33" name="Rectangle 32">
                <a:extLst>
                  <a:ext uri="{FF2B5EF4-FFF2-40B4-BE49-F238E27FC236}">
                    <a16:creationId xmlns:a16="http://schemas.microsoft.com/office/drawing/2014/main" id="{B6051132-35D9-47CE-8793-3BE73F6D7456}"/>
                  </a:ext>
                </a:extLst>
              </p:cNvPr>
              <p:cNvSpPr/>
              <p:nvPr/>
            </p:nvSpPr>
            <p:spPr>
              <a:xfrm>
                <a:off x="4258383" y="3027303"/>
                <a:ext cx="116681" cy="50171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34" name="Rectangle 33">
                <a:extLst>
                  <a:ext uri="{FF2B5EF4-FFF2-40B4-BE49-F238E27FC236}">
                    <a16:creationId xmlns:a16="http://schemas.microsoft.com/office/drawing/2014/main" id="{D2FCBB92-9A95-4C9F-AD3A-4C0F134BB2E3}"/>
                  </a:ext>
                </a:extLst>
              </p:cNvPr>
              <p:cNvSpPr/>
              <p:nvPr/>
            </p:nvSpPr>
            <p:spPr>
              <a:xfrm>
                <a:off x="4408730" y="3027302"/>
                <a:ext cx="116681" cy="6017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35" name="Rectangle 34">
                <a:extLst>
                  <a:ext uri="{FF2B5EF4-FFF2-40B4-BE49-F238E27FC236}">
                    <a16:creationId xmlns:a16="http://schemas.microsoft.com/office/drawing/2014/main" id="{02B4212F-2FAF-4D47-9177-8C9D274F019A}"/>
                  </a:ext>
                </a:extLst>
              </p:cNvPr>
              <p:cNvSpPr/>
              <p:nvPr/>
            </p:nvSpPr>
            <p:spPr>
              <a:xfrm>
                <a:off x="4556539" y="3027302"/>
                <a:ext cx="116681" cy="74750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36" name="Rectangle 35">
                <a:extLst>
                  <a:ext uri="{FF2B5EF4-FFF2-40B4-BE49-F238E27FC236}">
                    <a16:creationId xmlns:a16="http://schemas.microsoft.com/office/drawing/2014/main" id="{40C5F7DC-F3AB-45F1-B843-161780E4FFF2}"/>
                  </a:ext>
                </a:extLst>
              </p:cNvPr>
              <p:cNvSpPr/>
              <p:nvPr/>
            </p:nvSpPr>
            <p:spPr>
              <a:xfrm>
                <a:off x="4704348" y="3027302"/>
                <a:ext cx="116681" cy="7684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37" name="Rectangle 36">
                <a:extLst>
                  <a:ext uri="{FF2B5EF4-FFF2-40B4-BE49-F238E27FC236}">
                    <a16:creationId xmlns:a16="http://schemas.microsoft.com/office/drawing/2014/main" id="{E3E89264-AD97-4363-B99F-BEE3D723746A}"/>
                  </a:ext>
                </a:extLst>
              </p:cNvPr>
              <p:cNvSpPr/>
              <p:nvPr/>
            </p:nvSpPr>
            <p:spPr>
              <a:xfrm>
                <a:off x="4852314" y="3027303"/>
                <a:ext cx="116681" cy="76841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38" name="Rectangle 37">
                <a:extLst>
                  <a:ext uri="{FF2B5EF4-FFF2-40B4-BE49-F238E27FC236}">
                    <a16:creationId xmlns:a16="http://schemas.microsoft.com/office/drawing/2014/main" id="{259A6F17-9B8B-472C-A8C7-2AD22C8A8810}"/>
                  </a:ext>
                </a:extLst>
              </p:cNvPr>
              <p:cNvSpPr/>
              <p:nvPr/>
            </p:nvSpPr>
            <p:spPr>
              <a:xfrm>
                <a:off x="5002818" y="3027302"/>
                <a:ext cx="116681" cy="85175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39" name="Rectangle 38">
                <a:extLst>
                  <a:ext uri="{FF2B5EF4-FFF2-40B4-BE49-F238E27FC236}">
                    <a16:creationId xmlns:a16="http://schemas.microsoft.com/office/drawing/2014/main" id="{72A77A1F-1933-412C-9B8B-77BCD255A661}"/>
                  </a:ext>
                </a:extLst>
              </p:cNvPr>
              <p:cNvSpPr/>
              <p:nvPr/>
            </p:nvSpPr>
            <p:spPr>
              <a:xfrm>
                <a:off x="5150784" y="3027301"/>
                <a:ext cx="116681" cy="9446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40" name="Rectangle 39">
                <a:extLst>
                  <a:ext uri="{FF2B5EF4-FFF2-40B4-BE49-F238E27FC236}">
                    <a16:creationId xmlns:a16="http://schemas.microsoft.com/office/drawing/2014/main" id="{96FE337A-ED64-4862-8C88-6A8E467A26E2}"/>
                  </a:ext>
                </a:extLst>
              </p:cNvPr>
              <p:cNvSpPr/>
              <p:nvPr/>
            </p:nvSpPr>
            <p:spPr>
              <a:xfrm>
                <a:off x="5298279" y="3027301"/>
                <a:ext cx="116681" cy="99939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41" name="Rectangle 40">
                <a:extLst>
                  <a:ext uri="{FF2B5EF4-FFF2-40B4-BE49-F238E27FC236}">
                    <a16:creationId xmlns:a16="http://schemas.microsoft.com/office/drawing/2014/main" id="{92DA5916-97D6-4704-95AE-E8FBAAD4945D}"/>
                  </a:ext>
                </a:extLst>
              </p:cNvPr>
              <p:cNvSpPr/>
              <p:nvPr/>
            </p:nvSpPr>
            <p:spPr>
              <a:xfrm>
                <a:off x="5447345" y="3027301"/>
                <a:ext cx="116681" cy="13859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42" name="Rectangle 41">
                <a:extLst>
                  <a:ext uri="{FF2B5EF4-FFF2-40B4-BE49-F238E27FC236}">
                    <a16:creationId xmlns:a16="http://schemas.microsoft.com/office/drawing/2014/main" id="{F63F482E-9E12-48AD-9A66-80F7A63BB5A9}"/>
                  </a:ext>
                </a:extLst>
              </p:cNvPr>
              <p:cNvSpPr/>
              <p:nvPr/>
            </p:nvSpPr>
            <p:spPr>
              <a:xfrm>
                <a:off x="5594368" y="3027301"/>
                <a:ext cx="116681" cy="13859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43" name="TextBox 42">
                <a:extLst>
                  <a:ext uri="{FF2B5EF4-FFF2-40B4-BE49-F238E27FC236}">
                    <a16:creationId xmlns:a16="http://schemas.microsoft.com/office/drawing/2014/main" id="{E4EF7DCE-1995-4C3B-9753-7007F470C1A7}"/>
                  </a:ext>
                </a:extLst>
              </p:cNvPr>
              <p:cNvSpPr txBox="1"/>
              <p:nvPr/>
            </p:nvSpPr>
            <p:spPr>
              <a:xfrm>
                <a:off x="879966" y="1536444"/>
                <a:ext cx="287946" cy="185808"/>
              </a:xfrm>
              <a:prstGeom prst="rect">
                <a:avLst/>
              </a:prstGeom>
              <a:solidFill>
                <a:schemeClr val="bg1"/>
              </a:solid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9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100</a:t>
                </a:r>
              </a:p>
            </p:txBody>
          </p:sp>
          <p:sp>
            <p:nvSpPr>
              <p:cNvPr id="44" name="TextBox 43">
                <a:extLst>
                  <a:ext uri="{FF2B5EF4-FFF2-40B4-BE49-F238E27FC236}">
                    <a16:creationId xmlns:a16="http://schemas.microsoft.com/office/drawing/2014/main" id="{A58622C9-2526-42BA-A78C-998D849CE51F}"/>
                  </a:ext>
                </a:extLst>
              </p:cNvPr>
              <p:cNvSpPr txBox="1"/>
              <p:nvPr/>
            </p:nvSpPr>
            <p:spPr>
              <a:xfrm>
                <a:off x="879966" y="1818500"/>
                <a:ext cx="287946" cy="185808"/>
              </a:xfrm>
              <a:prstGeom prst="rect">
                <a:avLst/>
              </a:prstGeom>
              <a:solidFill>
                <a:schemeClr val="bg1"/>
              </a:solid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9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80</a:t>
                </a:r>
              </a:p>
            </p:txBody>
          </p:sp>
          <p:sp>
            <p:nvSpPr>
              <p:cNvPr id="45" name="TextBox 44">
                <a:extLst>
                  <a:ext uri="{FF2B5EF4-FFF2-40B4-BE49-F238E27FC236}">
                    <a16:creationId xmlns:a16="http://schemas.microsoft.com/office/drawing/2014/main" id="{0D176E0E-CBB3-4C79-A66B-11CD2B75BF65}"/>
                  </a:ext>
                </a:extLst>
              </p:cNvPr>
              <p:cNvSpPr txBox="1"/>
              <p:nvPr/>
            </p:nvSpPr>
            <p:spPr>
              <a:xfrm>
                <a:off x="879966" y="2096038"/>
                <a:ext cx="287946" cy="185808"/>
              </a:xfrm>
              <a:prstGeom prst="rect">
                <a:avLst/>
              </a:prstGeom>
              <a:solidFill>
                <a:schemeClr val="bg1"/>
              </a:solid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9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60</a:t>
                </a:r>
              </a:p>
            </p:txBody>
          </p:sp>
          <p:sp>
            <p:nvSpPr>
              <p:cNvPr id="46" name="TextBox 45">
                <a:extLst>
                  <a:ext uri="{FF2B5EF4-FFF2-40B4-BE49-F238E27FC236}">
                    <a16:creationId xmlns:a16="http://schemas.microsoft.com/office/drawing/2014/main" id="{9C530C6C-2365-456C-80A8-BC9CB6DC7535}"/>
                  </a:ext>
                </a:extLst>
              </p:cNvPr>
              <p:cNvSpPr txBox="1"/>
              <p:nvPr/>
            </p:nvSpPr>
            <p:spPr>
              <a:xfrm>
                <a:off x="879966" y="2373574"/>
                <a:ext cx="287946" cy="185808"/>
              </a:xfrm>
              <a:prstGeom prst="rect">
                <a:avLst/>
              </a:prstGeom>
              <a:solidFill>
                <a:schemeClr val="bg1"/>
              </a:solid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9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40</a:t>
                </a:r>
              </a:p>
            </p:txBody>
          </p:sp>
          <p:sp>
            <p:nvSpPr>
              <p:cNvPr id="47" name="TextBox 46">
                <a:extLst>
                  <a:ext uri="{FF2B5EF4-FFF2-40B4-BE49-F238E27FC236}">
                    <a16:creationId xmlns:a16="http://schemas.microsoft.com/office/drawing/2014/main" id="{F4795B9C-FB37-425F-9528-52818F81778E}"/>
                  </a:ext>
                </a:extLst>
              </p:cNvPr>
              <p:cNvSpPr txBox="1"/>
              <p:nvPr/>
            </p:nvSpPr>
            <p:spPr>
              <a:xfrm>
                <a:off x="879966" y="2651110"/>
                <a:ext cx="287946" cy="185808"/>
              </a:xfrm>
              <a:prstGeom prst="rect">
                <a:avLst/>
              </a:prstGeom>
              <a:solidFill>
                <a:schemeClr val="bg1"/>
              </a:solid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9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20</a:t>
                </a:r>
              </a:p>
            </p:txBody>
          </p:sp>
          <p:sp>
            <p:nvSpPr>
              <p:cNvPr id="48" name="TextBox 47">
                <a:extLst>
                  <a:ext uri="{FF2B5EF4-FFF2-40B4-BE49-F238E27FC236}">
                    <a16:creationId xmlns:a16="http://schemas.microsoft.com/office/drawing/2014/main" id="{593B7CE9-82F5-4359-A431-9D758CC76265}"/>
                  </a:ext>
                </a:extLst>
              </p:cNvPr>
              <p:cNvSpPr txBox="1"/>
              <p:nvPr/>
            </p:nvSpPr>
            <p:spPr>
              <a:xfrm>
                <a:off x="879966" y="2928647"/>
                <a:ext cx="287946" cy="185808"/>
              </a:xfrm>
              <a:prstGeom prst="rect">
                <a:avLst/>
              </a:prstGeom>
              <a:solidFill>
                <a:schemeClr val="bg1"/>
              </a:solid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9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0</a:t>
                </a:r>
              </a:p>
            </p:txBody>
          </p:sp>
          <p:sp>
            <p:nvSpPr>
              <p:cNvPr id="49" name="TextBox 48">
                <a:extLst>
                  <a:ext uri="{FF2B5EF4-FFF2-40B4-BE49-F238E27FC236}">
                    <a16:creationId xmlns:a16="http://schemas.microsoft.com/office/drawing/2014/main" id="{7FEF7284-6319-4E54-8486-92C17E7089A0}"/>
                  </a:ext>
                </a:extLst>
              </p:cNvPr>
              <p:cNvSpPr txBox="1"/>
              <p:nvPr/>
            </p:nvSpPr>
            <p:spPr>
              <a:xfrm>
                <a:off x="879966" y="3206186"/>
                <a:ext cx="287946" cy="185808"/>
              </a:xfrm>
              <a:prstGeom prst="rect">
                <a:avLst/>
              </a:prstGeom>
              <a:solidFill>
                <a:schemeClr val="bg1"/>
              </a:solid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9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20</a:t>
                </a:r>
              </a:p>
            </p:txBody>
          </p:sp>
          <p:sp>
            <p:nvSpPr>
              <p:cNvPr id="50" name="TextBox 49">
                <a:extLst>
                  <a:ext uri="{FF2B5EF4-FFF2-40B4-BE49-F238E27FC236}">
                    <a16:creationId xmlns:a16="http://schemas.microsoft.com/office/drawing/2014/main" id="{07CE8862-461F-433A-ABD4-F7E7BDE099E2}"/>
                  </a:ext>
                </a:extLst>
              </p:cNvPr>
              <p:cNvSpPr txBox="1"/>
              <p:nvPr/>
            </p:nvSpPr>
            <p:spPr>
              <a:xfrm>
                <a:off x="879966" y="3495916"/>
                <a:ext cx="287946" cy="185808"/>
              </a:xfrm>
              <a:prstGeom prst="rect">
                <a:avLst/>
              </a:prstGeom>
              <a:solidFill>
                <a:schemeClr val="bg1"/>
              </a:solid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9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40</a:t>
                </a:r>
              </a:p>
            </p:txBody>
          </p:sp>
          <p:sp>
            <p:nvSpPr>
              <p:cNvPr id="51" name="TextBox 50">
                <a:extLst>
                  <a:ext uri="{FF2B5EF4-FFF2-40B4-BE49-F238E27FC236}">
                    <a16:creationId xmlns:a16="http://schemas.microsoft.com/office/drawing/2014/main" id="{B911607C-6274-48BC-BECC-E3FDC76B2045}"/>
                  </a:ext>
                </a:extLst>
              </p:cNvPr>
              <p:cNvSpPr txBox="1"/>
              <p:nvPr/>
            </p:nvSpPr>
            <p:spPr>
              <a:xfrm>
                <a:off x="879966" y="3774816"/>
                <a:ext cx="287946" cy="185808"/>
              </a:xfrm>
              <a:prstGeom prst="rect">
                <a:avLst/>
              </a:prstGeom>
              <a:solidFill>
                <a:schemeClr val="bg1"/>
              </a:solid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9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60</a:t>
                </a:r>
              </a:p>
            </p:txBody>
          </p:sp>
          <p:sp>
            <p:nvSpPr>
              <p:cNvPr id="52" name="TextBox 51">
                <a:extLst>
                  <a:ext uri="{FF2B5EF4-FFF2-40B4-BE49-F238E27FC236}">
                    <a16:creationId xmlns:a16="http://schemas.microsoft.com/office/drawing/2014/main" id="{BD0DFDF2-8EE3-45FD-B334-A8AF6B940894}"/>
                  </a:ext>
                </a:extLst>
              </p:cNvPr>
              <p:cNvSpPr txBox="1"/>
              <p:nvPr/>
            </p:nvSpPr>
            <p:spPr>
              <a:xfrm>
                <a:off x="879966" y="4053425"/>
                <a:ext cx="287946" cy="185808"/>
              </a:xfrm>
              <a:prstGeom prst="rect">
                <a:avLst/>
              </a:prstGeom>
              <a:solidFill>
                <a:schemeClr val="bg1"/>
              </a:solid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9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80</a:t>
                </a:r>
              </a:p>
            </p:txBody>
          </p:sp>
          <p:sp>
            <p:nvSpPr>
              <p:cNvPr id="53" name="TextBox 52">
                <a:extLst>
                  <a:ext uri="{FF2B5EF4-FFF2-40B4-BE49-F238E27FC236}">
                    <a16:creationId xmlns:a16="http://schemas.microsoft.com/office/drawing/2014/main" id="{E4135524-9AF3-411C-A1ED-D8F7D8A19E4D}"/>
                  </a:ext>
                </a:extLst>
              </p:cNvPr>
              <p:cNvSpPr txBox="1"/>
              <p:nvPr/>
            </p:nvSpPr>
            <p:spPr>
              <a:xfrm>
                <a:off x="857253" y="4332033"/>
                <a:ext cx="310659" cy="185808"/>
              </a:xfrm>
              <a:prstGeom prst="rect">
                <a:avLst/>
              </a:prstGeom>
              <a:solidFill>
                <a:schemeClr val="bg1"/>
              </a:solid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9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100</a:t>
                </a:r>
              </a:p>
            </p:txBody>
          </p:sp>
          <p:sp>
            <p:nvSpPr>
              <p:cNvPr id="54" name="TextBox 53">
                <a:extLst>
                  <a:ext uri="{FF2B5EF4-FFF2-40B4-BE49-F238E27FC236}">
                    <a16:creationId xmlns:a16="http://schemas.microsoft.com/office/drawing/2014/main" id="{9DE205AD-565B-463B-B75D-CB57CE23AFE5}"/>
                  </a:ext>
                </a:extLst>
              </p:cNvPr>
              <p:cNvSpPr txBox="1"/>
              <p:nvPr/>
            </p:nvSpPr>
            <p:spPr>
              <a:xfrm rot="16200000">
                <a:off x="-333306" y="2854758"/>
                <a:ext cx="2101204" cy="206454"/>
              </a:xfrm>
              <a:prstGeom prst="rect">
                <a:avLst/>
              </a:prstGeom>
              <a:solidFill>
                <a:schemeClr val="bg1"/>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10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 Change from baseline</a:t>
                </a:r>
              </a:p>
            </p:txBody>
          </p:sp>
          <p:sp>
            <p:nvSpPr>
              <p:cNvPr id="55" name="TextBox 54">
                <a:extLst>
                  <a:ext uri="{FF2B5EF4-FFF2-40B4-BE49-F238E27FC236}">
                    <a16:creationId xmlns:a16="http://schemas.microsoft.com/office/drawing/2014/main" id="{4BBEC791-D257-4035-96FB-8E3635E73FEB}"/>
                  </a:ext>
                </a:extLst>
              </p:cNvPr>
              <p:cNvSpPr txBox="1"/>
              <p:nvPr/>
            </p:nvSpPr>
            <p:spPr>
              <a:xfrm>
                <a:off x="2063293" y="1403661"/>
                <a:ext cx="2961345" cy="227099"/>
              </a:xfrm>
              <a:prstGeom prst="rect">
                <a:avLst/>
              </a:prstGeom>
              <a:solidFill>
                <a:schemeClr val="bg1"/>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11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Biomarker Cohort</a:t>
                </a:r>
              </a:p>
            </p:txBody>
          </p:sp>
          <p:grpSp>
            <p:nvGrpSpPr>
              <p:cNvPr id="56" name="Group 55">
                <a:extLst>
                  <a:ext uri="{FF2B5EF4-FFF2-40B4-BE49-F238E27FC236}">
                    <a16:creationId xmlns:a16="http://schemas.microsoft.com/office/drawing/2014/main" id="{E209AEBF-AF4D-4353-9099-0664E441CFD4}"/>
                  </a:ext>
                </a:extLst>
              </p:cNvPr>
              <p:cNvGrpSpPr/>
              <p:nvPr/>
            </p:nvGrpSpPr>
            <p:grpSpPr>
              <a:xfrm>
                <a:off x="4157637" y="2169700"/>
                <a:ext cx="1662458" cy="144518"/>
                <a:chOff x="4157637" y="2169700"/>
                <a:chExt cx="1662458" cy="144518"/>
              </a:xfrm>
            </p:grpSpPr>
            <p:sp>
              <p:nvSpPr>
                <p:cNvPr id="57" name="TextBox 56">
                  <a:extLst>
                    <a:ext uri="{FF2B5EF4-FFF2-40B4-BE49-F238E27FC236}">
                      <a16:creationId xmlns:a16="http://schemas.microsoft.com/office/drawing/2014/main" id="{DE7F47B9-5791-4411-B0BB-B7208B3DFD71}"/>
                    </a:ext>
                  </a:extLst>
                </p:cNvPr>
                <p:cNvSpPr txBox="1"/>
                <p:nvPr/>
              </p:nvSpPr>
              <p:spPr>
                <a:xfrm>
                  <a:off x="4266017" y="2169700"/>
                  <a:ext cx="218093" cy="144518"/>
                </a:xfrm>
                <a:prstGeom prst="rect">
                  <a:avLst/>
                </a:prstGeom>
                <a:solidFill>
                  <a:schemeClr val="bg1"/>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7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PD</a:t>
                  </a:r>
                </a:p>
              </p:txBody>
            </p:sp>
            <p:sp>
              <p:nvSpPr>
                <p:cNvPr id="58" name="TextBox 57">
                  <a:extLst>
                    <a:ext uri="{FF2B5EF4-FFF2-40B4-BE49-F238E27FC236}">
                      <a16:creationId xmlns:a16="http://schemas.microsoft.com/office/drawing/2014/main" id="{770B647E-B0F2-4950-ABC1-2FC576C5A022}"/>
                    </a:ext>
                  </a:extLst>
                </p:cNvPr>
                <p:cNvSpPr txBox="1"/>
                <p:nvPr/>
              </p:nvSpPr>
              <p:spPr>
                <a:xfrm>
                  <a:off x="4713874" y="2169700"/>
                  <a:ext cx="218093" cy="144518"/>
                </a:xfrm>
                <a:prstGeom prst="rect">
                  <a:avLst/>
                </a:prstGeom>
                <a:solidFill>
                  <a:schemeClr val="bg1"/>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7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SD</a:t>
                  </a:r>
                </a:p>
              </p:txBody>
            </p:sp>
            <p:sp>
              <p:nvSpPr>
                <p:cNvPr id="59" name="TextBox 58">
                  <a:extLst>
                    <a:ext uri="{FF2B5EF4-FFF2-40B4-BE49-F238E27FC236}">
                      <a16:creationId xmlns:a16="http://schemas.microsoft.com/office/drawing/2014/main" id="{AE53A6D7-150F-4F5B-B2D9-48D92706480A}"/>
                    </a:ext>
                  </a:extLst>
                </p:cNvPr>
                <p:cNvSpPr txBox="1"/>
                <p:nvPr/>
              </p:nvSpPr>
              <p:spPr>
                <a:xfrm>
                  <a:off x="5150784" y="2169700"/>
                  <a:ext cx="218093" cy="144518"/>
                </a:xfrm>
                <a:prstGeom prst="rect">
                  <a:avLst/>
                </a:prstGeom>
                <a:solidFill>
                  <a:schemeClr val="bg1"/>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7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PR</a:t>
                  </a:r>
                </a:p>
              </p:txBody>
            </p:sp>
            <p:sp>
              <p:nvSpPr>
                <p:cNvPr id="60" name="TextBox 59">
                  <a:extLst>
                    <a:ext uri="{FF2B5EF4-FFF2-40B4-BE49-F238E27FC236}">
                      <a16:creationId xmlns:a16="http://schemas.microsoft.com/office/drawing/2014/main" id="{2F2356DC-F7C4-4826-8C02-8FE3EACFB31A}"/>
                    </a:ext>
                  </a:extLst>
                </p:cNvPr>
                <p:cNvSpPr txBox="1"/>
                <p:nvPr/>
              </p:nvSpPr>
              <p:spPr>
                <a:xfrm>
                  <a:off x="5602002" y="2169700"/>
                  <a:ext cx="218093" cy="144518"/>
                </a:xfrm>
                <a:prstGeom prst="rect">
                  <a:avLst/>
                </a:prstGeom>
                <a:solidFill>
                  <a:schemeClr val="bg1"/>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7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CR</a:t>
                  </a:r>
                </a:p>
              </p:txBody>
            </p:sp>
            <p:sp>
              <p:nvSpPr>
                <p:cNvPr id="61" name="Rectangle 60">
                  <a:extLst>
                    <a:ext uri="{FF2B5EF4-FFF2-40B4-BE49-F238E27FC236}">
                      <a16:creationId xmlns:a16="http://schemas.microsoft.com/office/drawing/2014/main" id="{0A3754C9-7785-476D-AECE-D123E2052A69}"/>
                    </a:ext>
                  </a:extLst>
                </p:cNvPr>
                <p:cNvSpPr/>
                <p:nvPr/>
              </p:nvSpPr>
              <p:spPr>
                <a:xfrm>
                  <a:off x="4157637" y="2196917"/>
                  <a:ext cx="107149" cy="107149"/>
                </a:xfrm>
                <a:prstGeom prst="rect">
                  <a:avLst/>
                </a:prstGeom>
                <a:solidFill>
                  <a:srgbClr val="8A90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62" name="Rectangle 61">
                  <a:extLst>
                    <a:ext uri="{FF2B5EF4-FFF2-40B4-BE49-F238E27FC236}">
                      <a16:creationId xmlns:a16="http://schemas.microsoft.com/office/drawing/2014/main" id="{4938B9F3-DDE0-4292-B1B8-FE82A2E2CB6E}"/>
                    </a:ext>
                  </a:extLst>
                </p:cNvPr>
                <p:cNvSpPr/>
                <p:nvPr/>
              </p:nvSpPr>
              <p:spPr>
                <a:xfrm>
                  <a:off x="4595542" y="2196917"/>
                  <a:ext cx="107149" cy="10714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63" name="Rectangle 62">
                  <a:extLst>
                    <a:ext uri="{FF2B5EF4-FFF2-40B4-BE49-F238E27FC236}">
                      <a16:creationId xmlns:a16="http://schemas.microsoft.com/office/drawing/2014/main" id="{B77FEEBA-3730-439A-8AFD-CE94AB9A2ECE}"/>
                    </a:ext>
                  </a:extLst>
                </p:cNvPr>
                <p:cNvSpPr/>
                <p:nvPr/>
              </p:nvSpPr>
              <p:spPr>
                <a:xfrm>
                  <a:off x="5037883" y="2196917"/>
                  <a:ext cx="107149" cy="10714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64" name="Rectangle 63">
                  <a:extLst>
                    <a:ext uri="{FF2B5EF4-FFF2-40B4-BE49-F238E27FC236}">
                      <a16:creationId xmlns:a16="http://schemas.microsoft.com/office/drawing/2014/main" id="{56D7CD8D-4C1E-435D-B512-A9730EF33FCC}"/>
                    </a:ext>
                  </a:extLst>
                </p:cNvPr>
                <p:cNvSpPr/>
                <p:nvPr/>
              </p:nvSpPr>
              <p:spPr>
                <a:xfrm>
                  <a:off x="5475788" y="2196917"/>
                  <a:ext cx="107149" cy="10714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grpSp>
        </p:grpSp>
      </p:grpSp>
      <p:grpSp>
        <p:nvGrpSpPr>
          <p:cNvPr id="92" name="Group 91">
            <a:extLst>
              <a:ext uri="{FF2B5EF4-FFF2-40B4-BE49-F238E27FC236}">
                <a16:creationId xmlns:a16="http://schemas.microsoft.com/office/drawing/2014/main" id="{DFB78462-815C-464E-8DCA-AD4E54069C67}"/>
              </a:ext>
            </a:extLst>
          </p:cNvPr>
          <p:cNvGrpSpPr/>
          <p:nvPr/>
        </p:nvGrpSpPr>
        <p:grpSpPr>
          <a:xfrm>
            <a:off x="4227779" y="1367682"/>
            <a:ext cx="3763624" cy="2405602"/>
            <a:chOff x="590048" y="1625699"/>
            <a:chExt cx="5225483" cy="2924480"/>
          </a:xfrm>
        </p:grpSpPr>
        <p:grpSp>
          <p:nvGrpSpPr>
            <p:cNvPr id="93" name="Group 92">
              <a:extLst>
                <a:ext uri="{FF2B5EF4-FFF2-40B4-BE49-F238E27FC236}">
                  <a16:creationId xmlns:a16="http://schemas.microsoft.com/office/drawing/2014/main" id="{62EA866A-37E0-4C8B-9CD2-83FE02AEBF46}"/>
                </a:ext>
              </a:extLst>
            </p:cNvPr>
            <p:cNvGrpSpPr/>
            <p:nvPr/>
          </p:nvGrpSpPr>
          <p:grpSpPr>
            <a:xfrm>
              <a:off x="1242148" y="1800411"/>
              <a:ext cx="4551365" cy="2674109"/>
              <a:chOff x="1214438" y="1628777"/>
              <a:chExt cx="4551365" cy="2800348"/>
            </a:xfrm>
          </p:grpSpPr>
          <p:grpSp>
            <p:nvGrpSpPr>
              <p:cNvPr id="161" name="Group 160">
                <a:extLst>
                  <a:ext uri="{FF2B5EF4-FFF2-40B4-BE49-F238E27FC236}">
                    <a16:creationId xmlns:a16="http://schemas.microsoft.com/office/drawing/2014/main" id="{6F72317C-ECEB-4062-A35F-82D6AB2E2573}"/>
                  </a:ext>
                </a:extLst>
              </p:cNvPr>
              <p:cNvGrpSpPr/>
              <p:nvPr/>
            </p:nvGrpSpPr>
            <p:grpSpPr>
              <a:xfrm>
                <a:off x="1214438" y="1628777"/>
                <a:ext cx="52387" cy="2800348"/>
                <a:chOff x="1214438" y="1628777"/>
                <a:chExt cx="52387" cy="2800348"/>
              </a:xfrm>
            </p:grpSpPr>
            <p:cxnSp>
              <p:nvCxnSpPr>
                <p:cNvPr id="166" name="Straight Connector 165">
                  <a:extLst>
                    <a:ext uri="{FF2B5EF4-FFF2-40B4-BE49-F238E27FC236}">
                      <a16:creationId xmlns:a16="http://schemas.microsoft.com/office/drawing/2014/main" id="{C4EF5386-8415-4F87-B853-0821D32E1239}"/>
                    </a:ext>
                  </a:extLst>
                </p:cNvPr>
                <p:cNvCxnSpPr>
                  <a:cxnSpLocks/>
                </p:cNvCxnSpPr>
                <p:nvPr/>
              </p:nvCxnSpPr>
              <p:spPr>
                <a:xfrm>
                  <a:off x="1266825" y="1633538"/>
                  <a:ext cx="0" cy="279558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Straight Connector 166">
                  <a:extLst>
                    <a:ext uri="{FF2B5EF4-FFF2-40B4-BE49-F238E27FC236}">
                      <a16:creationId xmlns:a16="http://schemas.microsoft.com/office/drawing/2014/main" id="{745C9B44-296A-4DCC-8563-51033B8306B2}"/>
                    </a:ext>
                  </a:extLst>
                </p:cNvPr>
                <p:cNvCxnSpPr>
                  <a:cxnSpLocks/>
                </p:cNvCxnSpPr>
                <p:nvPr/>
              </p:nvCxnSpPr>
              <p:spPr>
                <a:xfrm>
                  <a:off x="1214438" y="1628777"/>
                  <a:ext cx="5238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Straight Connector 167">
                  <a:extLst>
                    <a:ext uri="{FF2B5EF4-FFF2-40B4-BE49-F238E27FC236}">
                      <a16:creationId xmlns:a16="http://schemas.microsoft.com/office/drawing/2014/main" id="{6635FAA4-EED2-43B4-85F2-8355CFEF8885}"/>
                    </a:ext>
                  </a:extLst>
                </p:cNvPr>
                <p:cNvCxnSpPr>
                  <a:cxnSpLocks/>
                </p:cNvCxnSpPr>
                <p:nvPr/>
              </p:nvCxnSpPr>
              <p:spPr>
                <a:xfrm>
                  <a:off x="1214438" y="1907384"/>
                  <a:ext cx="5238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Straight Connector 168">
                  <a:extLst>
                    <a:ext uri="{FF2B5EF4-FFF2-40B4-BE49-F238E27FC236}">
                      <a16:creationId xmlns:a16="http://schemas.microsoft.com/office/drawing/2014/main" id="{44661564-2294-40EF-95BD-2F7B737E6FC7}"/>
                    </a:ext>
                  </a:extLst>
                </p:cNvPr>
                <p:cNvCxnSpPr>
                  <a:cxnSpLocks/>
                </p:cNvCxnSpPr>
                <p:nvPr/>
              </p:nvCxnSpPr>
              <p:spPr>
                <a:xfrm>
                  <a:off x="1214438" y="2188371"/>
                  <a:ext cx="5238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Straight Connector 169">
                  <a:extLst>
                    <a:ext uri="{FF2B5EF4-FFF2-40B4-BE49-F238E27FC236}">
                      <a16:creationId xmlns:a16="http://schemas.microsoft.com/office/drawing/2014/main" id="{A0CD2BBF-EDCE-414D-B0BF-43C7C33EC3B7}"/>
                    </a:ext>
                  </a:extLst>
                </p:cNvPr>
                <p:cNvCxnSpPr>
                  <a:cxnSpLocks/>
                </p:cNvCxnSpPr>
                <p:nvPr/>
              </p:nvCxnSpPr>
              <p:spPr>
                <a:xfrm>
                  <a:off x="1214438" y="2466978"/>
                  <a:ext cx="5238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Straight Connector 170">
                  <a:extLst>
                    <a:ext uri="{FF2B5EF4-FFF2-40B4-BE49-F238E27FC236}">
                      <a16:creationId xmlns:a16="http://schemas.microsoft.com/office/drawing/2014/main" id="{5461BCE1-47C5-4A67-8792-FD97FD2616EE}"/>
                    </a:ext>
                  </a:extLst>
                </p:cNvPr>
                <p:cNvCxnSpPr>
                  <a:cxnSpLocks/>
                </p:cNvCxnSpPr>
                <p:nvPr/>
              </p:nvCxnSpPr>
              <p:spPr>
                <a:xfrm>
                  <a:off x="1214438" y="2747965"/>
                  <a:ext cx="5238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Straight Connector 171">
                  <a:extLst>
                    <a:ext uri="{FF2B5EF4-FFF2-40B4-BE49-F238E27FC236}">
                      <a16:creationId xmlns:a16="http://schemas.microsoft.com/office/drawing/2014/main" id="{D41BE519-4AC8-48B7-BF4C-B51DCE3E4846}"/>
                    </a:ext>
                  </a:extLst>
                </p:cNvPr>
                <p:cNvCxnSpPr>
                  <a:cxnSpLocks/>
                </p:cNvCxnSpPr>
                <p:nvPr/>
              </p:nvCxnSpPr>
              <p:spPr>
                <a:xfrm>
                  <a:off x="1214438" y="3026572"/>
                  <a:ext cx="5238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Straight Connector 172">
                  <a:extLst>
                    <a:ext uri="{FF2B5EF4-FFF2-40B4-BE49-F238E27FC236}">
                      <a16:creationId xmlns:a16="http://schemas.microsoft.com/office/drawing/2014/main" id="{97041D92-CE97-40CB-A64F-F5D424AA1884}"/>
                    </a:ext>
                  </a:extLst>
                </p:cNvPr>
                <p:cNvCxnSpPr>
                  <a:cxnSpLocks/>
                </p:cNvCxnSpPr>
                <p:nvPr/>
              </p:nvCxnSpPr>
              <p:spPr>
                <a:xfrm>
                  <a:off x="1214438" y="3305177"/>
                  <a:ext cx="5238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Straight Connector 173">
                  <a:extLst>
                    <a:ext uri="{FF2B5EF4-FFF2-40B4-BE49-F238E27FC236}">
                      <a16:creationId xmlns:a16="http://schemas.microsoft.com/office/drawing/2014/main" id="{944B87A5-DC54-45B9-83A6-1C54442DBEDD}"/>
                    </a:ext>
                  </a:extLst>
                </p:cNvPr>
                <p:cNvCxnSpPr>
                  <a:cxnSpLocks/>
                </p:cNvCxnSpPr>
                <p:nvPr/>
              </p:nvCxnSpPr>
              <p:spPr>
                <a:xfrm>
                  <a:off x="1214438" y="3588546"/>
                  <a:ext cx="5238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5" name="Straight Connector 174">
                  <a:extLst>
                    <a:ext uri="{FF2B5EF4-FFF2-40B4-BE49-F238E27FC236}">
                      <a16:creationId xmlns:a16="http://schemas.microsoft.com/office/drawing/2014/main" id="{31DD67D4-7715-4F25-9C31-BB13075A6D17}"/>
                    </a:ext>
                  </a:extLst>
                </p:cNvPr>
                <p:cNvCxnSpPr>
                  <a:cxnSpLocks/>
                </p:cNvCxnSpPr>
                <p:nvPr/>
              </p:nvCxnSpPr>
              <p:spPr>
                <a:xfrm>
                  <a:off x="1214438" y="3867152"/>
                  <a:ext cx="5238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Straight Connector 175">
                  <a:extLst>
                    <a:ext uri="{FF2B5EF4-FFF2-40B4-BE49-F238E27FC236}">
                      <a16:creationId xmlns:a16="http://schemas.microsoft.com/office/drawing/2014/main" id="{F650152B-AFCB-4FBF-9528-6F68B7D83E00}"/>
                    </a:ext>
                  </a:extLst>
                </p:cNvPr>
                <p:cNvCxnSpPr>
                  <a:cxnSpLocks/>
                </p:cNvCxnSpPr>
                <p:nvPr/>
              </p:nvCxnSpPr>
              <p:spPr>
                <a:xfrm>
                  <a:off x="1214438" y="4145759"/>
                  <a:ext cx="5238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7" name="Straight Connector 176">
                  <a:extLst>
                    <a:ext uri="{FF2B5EF4-FFF2-40B4-BE49-F238E27FC236}">
                      <a16:creationId xmlns:a16="http://schemas.microsoft.com/office/drawing/2014/main" id="{820285A3-878E-4240-B906-4C93A28E20F5}"/>
                    </a:ext>
                  </a:extLst>
                </p:cNvPr>
                <p:cNvCxnSpPr>
                  <a:cxnSpLocks/>
                </p:cNvCxnSpPr>
                <p:nvPr/>
              </p:nvCxnSpPr>
              <p:spPr>
                <a:xfrm>
                  <a:off x="1214438" y="4424365"/>
                  <a:ext cx="5238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162" name="Straight Connector 161">
                <a:extLst>
                  <a:ext uri="{FF2B5EF4-FFF2-40B4-BE49-F238E27FC236}">
                    <a16:creationId xmlns:a16="http://schemas.microsoft.com/office/drawing/2014/main" id="{7BDFF0B9-828B-4CB2-BCD0-11215A982977}"/>
                  </a:ext>
                </a:extLst>
              </p:cNvPr>
              <p:cNvCxnSpPr>
                <a:cxnSpLocks/>
              </p:cNvCxnSpPr>
              <p:nvPr/>
            </p:nvCxnSpPr>
            <p:spPr>
              <a:xfrm flipH="1">
                <a:off x="1271258" y="3024986"/>
                <a:ext cx="449454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63" name="Group 162">
                <a:extLst>
                  <a:ext uri="{FF2B5EF4-FFF2-40B4-BE49-F238E27FC236}">
                    <a16:creationId xmlns:a16="http://schemas.microsoft.com/office/drawing/2014/main" id="{4B7E07B2-5CF6-41D9-892C-FFE9CA10A954}"/>
                  </a:ext>
                </a:extLst>
              </p:cNvPr>
              <p:cNvGrpSpPr/>
              <p:nvPr/>
            </p:nvGrpSpPr>
            <p:grpSpPr>
              <a:xfrm>
                <a:off x="1271258" y="2747176"/>
                <a:ext cx="4494545" cy="704850"/>
                <a:chOff x="1271258" y="2747176"/>
                <a:chExt cx="4494545" cy="704850"/>
              </a:xfrm>
            </p:grpSpPr>
            <p:cxnSp>
              <p:nvCxnSpPr>
                <p:cNvPr id="164" name="Straight Connector 163">
                  <a:extLst>
                    <a:ext uri="{FF2B5EF4-FFF2-40B4-BE49-F238E27FC236}">
                      <a16:creationId xmlns:a16="http://schemas.microsoft.com/office/drawing/2014/main" id="{DD28EF12-3E7D-4714-9065-787ADB29DE8F}"/>
                    </a:ext>
                  </a:extLst>
                </p:cNvPr>
                <p:cNvCxnSpPr>
                  <a:cxnSpLocks/>
                </p:cNvCxnSpPr>
                <p:nvPr/>
              </p:nvCxnSpPr>
              <p:spPr>
                <a:xfrm flipH="1">
                  <a:off x="1271258" y="2747176"/>
                  <a:ext cx="4494545" cy="0"/>
                </a:xfrm>
                <a:prstGeom prst="line">
                  <a:avLst/>
                </a:prstGeom>
                <a:ln w="1270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165" name="Straight Connector 164">
                  <a:extLst>
                    <a:ext uri="{FF2B5EF4-FFF2-40B4-BE49-F238E27FC236}">
                      <a16:creationId xmlns:a16="http://schemas.microsoft.com/office/drawing/2014/main" id="{460A9A3B-0D0F-4B04-8062-E207AEE13203}"/>
                    </a:ext>
                  </a:extLst>
                </p:cNvPr>
                <p:cNvCxnSpPr>
                  <a:cxnSpLocks/>
                </p:cNvCxnSpPr>
                <p:nvPr/>
              </p:nvCxnSpPr>
              <p:spPr>
                <a:xfrm flipH="1">
                  <a:off x="1271258" y="3452026"/>
                  <a:ext cx="4494545" cy="0"/>
                </a:xfrm>
                <a:prstGeom prst="line">
                  <a:avLst/>
                </a:prstGeom>
                <a:ln w="12700">
                  <a:solidFill>
                    <a:schemeClr val="tx1"/>
                  </a:solidFill>
                  <a:prstDash val="sysDash"/>
                </a:ln>
              </p:spPr>
              <p:style>
                <a:lnRef idx="1">
                  <a:schemeClr val="accent1"/>
                </a:lnRef>
                <a:fillRef idx="0">
                  <a:schemeClr val="accent1"/>
                </a:fillRef>
                <a:effectRef idx="0">
                  <a:schemeClr val="accent1"/>
                </a:effectRef>
                <a:fontRef idx="minor">
                  <a:schemeClr val="tx1"/>
                </a:fontRef>
              </p:style>
            </p:cxnSp>
          </p:grpSp>
        </p:grpSp>
        <p:sp>
          <p:nvSpPr>
            <p:cNvPr id="94" name="TextBox 93">
              <a:extLst>
                <a:ext uri="{FF2B5EF4-FFF2-40B4-BE49-F238E27FC236}">
                  <a16:creationId xmlns:a16="http://schemas.microsoft.com/office/drawing/2014/main" id="{DDBBA2A1-99E5-45EF-B7B5-8A245BF082FC}"/>
                </a:ext>
              </a:extLst>
            </p:cNvPr>
            <p:cNvSpPr txBox="1"/>
            <p:nvPr/>
          </p:nvSpPr>
          <p:spPr>
            <a:xfrm>
              <a:off x="907673" y="1712240"/>
              <a:ext cx="287945" cy="168373"/>
            </a:xfrm>
            <a:prstGeom prst="rect">
              <a:avLst/>
            </a:prstGeom>
            <a:solidFill>
              <a:schemeClr val="bg1"/>
            </a:solid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9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100</a:t>
              </a:r>
            </a:p>
          </p:txBody>
        </p:sp>
        <p:sp>
          <p:nvSpPr>
            <p:cNvPr id="95" name="TextBox 94">
              <a:extLst>
                <a:ext uri="{FF2B5EF4-FFF2-40B4-BE49-F238E27FC236}">
                  <a16:creationId xmlns:a16="http://schemas.microsoft.com/office/drawing/2014/main" id="{F644D61B-74B9-4E3E-A510-65689D8347F7}"/>
                </a:ext>
              </a:extLst>
            </p:cNvPr>
            <p:cNvSpPr txBox="1"/>
            <p:nvPr/>
          </p:nvSpPr>
          <p:spPr>
            <a:xfrm>
              <a:off x="907673" y="1981582"/>
              <a:ext cx="287945" cy="168373"/>
            </a:xfrm>
            <a:prstGeom prst="rect">
              <a:avLst/>
            </a:prstGeom>
            <a:solidFill>
              <a:schemeClr val="bg1"/>
            </a:solid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9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80</a:t>
              </a:r>
            </a:p>
          </p:txBody>
        </p:sp>
        <p:sp>
          <p:nvSpPr>
            <p:cNvPr id="96" name="TextBox 95">
              <a:extLst>
                <a:ext uri="{FF2B5EF4-FFF2-40B4-BE49-F238E27FC236}">
                  <a16:creationId xmlns:a16="http://schemas.microsoft.com/office/drawing/2014/main" id="{F98FFDDF-C53B-4F2C-9E82-616EBFED1898}"/>
                </a:ext>
              </a:extLst>
            </p:cNvPr>
            <p:cNvSpPr txBox="1"/>
            <p:nvPr/>
          </p:nvSpPr>
          <p:spPr>
            <a:xfrm>
              <a:off x="907673" y="2246608"/>
              <a:ext cx="287945" cy="168373"/>
            </a:xfrm>
            <a:prstGeom prst="rect">
              <a:avLst/>
            </a:prstGeom>
            <a:solidFill>
              <a:schemeClr val="bg1"/>
            </a:solid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9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60</a:t>
              </a:r>
            </a:p>
          </p:txBody>
        </p:sp>
        <p:sp>
          <p:nvSpPr>
            <p:cNvPr id="97" name="TextBox 96">
              <a:extLst>
                <a:ext uri="{FF2B5EF4-FFF2-40B4-BE49-F238E27FC236}">
                  <a16:creationId xmlns:a16="http://schemas.microsoft.com/office/drawing/2014/main" id="{3321A562-B7DF-46A9-A9BE-D4665F2D9A2D}"/>
                </a:ext>
              </a:extLst>
            </p:cNvPr>
            <p:cNvSpPr txBox="1"/>
            <p:nvPr/>
          </p:nvSpPr>
          <p:spPr>
            <a:xfrm>
              <a:off x="907673" y="2511632"/>
              <a:ext cx="287945" cy="168373"/>
            </a:xfrm>
            <a:prstGeom prst="rect">
              <a:avLst/>
            </a:prstGeom>
            <a:solidFill>
              <a:schemeClr val="bg1"/>
            </a:solid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9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40</a:t>
              </a:r>
            </a:p>
          </p:txBody>
        </p:sp>
        <p:sp>
          <p:nvSpPr>
            <p:cNvPr id="98" name="TextBox 97">
              <a:extLst>
                <a:ext uri="{FF2B5EF4-FFF2-40B4-BE49-F238E27FC236}">
                  <a16:creationId xmlns:a16="http://schemas.microsoft.com/office/drawing/2014/main" id="{BA987171-9F6B-4A34-B6E1-77926ED58C0A}"/>
                </a:ext>
              </a:extLst>
            </p:cNvPr>
            <p:cNvSpPr txBox="1"/>
            <p:nvPr/>
          </p:nvSpPr>
          <p:spPr>
            <a:xfrm>
              <a:off x="907673" y="2776658"/>
              <a:ext cx="287945" cy="168373"/>
            </a:xfrm>
            <a:prstGeom prst="rect">
              <a:avLst/>
            </a:prstGeom>
            <a:solidFill>
              <a:schemeClr val="bg1"/>
            </a:solid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9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20</a:t>
              </a:r>
            </a:p>
          </p:txBody>
        </p:sp>
        <p:sp>
          <p:nvSpPr>
            <p:cNvPr id="99" name="TextBox 98">
              <a:extLst>
                <a:ext uri="{FF2B5EF4-FFF2-40B4-BE49-F238E27FC236}">
                  <a16:creationId xmlns:a16="http://schemas.microsoft.com/office/drawing/2014/main" id="{AC45313D-5DA2-4FD0-A4EA-3E978C0E6BEB}"/>
                </a:ext>
              </a:extLst>
            </p:cNvPr>
            <p:cNvSpPr txBox="1"/>
            <p:nvPr/>
          </p:nvSpPr>
          <p:spPr>
            <a:xfrm>
              <a:off x="907673" y="3041687"/>
              <a:ext cx="287945" cy="168373"/>
            </a:xfrm>
            <a:prstGeom prst="rect">
              <a:avLst/>
            </a:prstGeom>
            <a:solidFill>
              <a:schemeClr val="bg1"/>
            </a:solid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9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0</a:t>
              </a:r>
            </a:p>
          </p:txBody>
        </p:sp>
        <p:sp>
          <p:nvSpPr>
            <p:cNvPr id="100" name="TextBox 99">
              <a:extLst>
                <a:ext uri="{FF2B5EF4-FFF2-40B4-BE49-F238E27FC236}">
                  <a16:creationId xmlns:a16="http://schemas.microsoft.com/office/drawing/2014/main" id="{3A9E606D-FB88-44F2-86E2-908DCB8FDEEE}"/>
                </a:ext>
              </a:extLst>
            </p:cNvPr>
            <p:cNvSpPr txBox="1"/>
            <p:nvPr/>
          </p:nvSpPr>
          <p:spPr>
            <a:xfrm>
              <a:off x="907673" y="3306712"/>
              <a:ext cx="287945" cy="168373"/>
            </a:xfrm>
            <a:prstGeom prst="rect">
              <a:avLst/>
            </a:prstGeom>
            <a:solidFill>
              <a:schemeClr val="bg1"/>
            </a:solid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9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20</a:t>
              </a:r>
            </a:p>
          </p:txBody>
        </p:sp>
        <p:sp>
          <p:nvSpPr>
            <p:cNvPr id="101" name="TextBox 100">
              <a:extLst>
                <a:ext uri="{FF2B5EF4-FFF2-40B4-BE49-F238E27FC236}">
                  <a16:creationId xmlns:a16="http://schemas.microsoft.com/office/drawing/2014/main" id="{53B0526C-1B95-4F87-9ECF-0E237618FADE}"/>
                </a:ext>
              </a:extLst>
            </p:cNvPr>
            <p:cNvSpPr txBox="1"/>
            <p:nvPr/>
          </p:nvSpPr>
          <p:spPr>
            <a:xfrm>
              <a:off x="907673" y="3583380"/>
              <a:ext cx="287945" cy="168373"/>
            </a:xfrm>
            <a:prstGeom prst="rect">
              <a:avLst/>
            </a:prstGeom>
            <a:solidFill>
              <a:schemeClr val="bg1"/>
            </a:solid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9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40</a:t>
              </a:r>
            </a:p>
          </p:txBody>
        </p:sp>
        <p:sp>
          <p:nvSpPr>
            <p:cNvPr id="102" name="TextBox 101">
              <a:extLst>
                <a:ext uri="{FF2B5EF4-FFF2-40B4-BE49-F238E27FC236}">
                  <a16:creationId xmlns:a16="http://schemas.microsoft.com/office/drawing/2014/main" id="{3C41ADC4-EDA7-4346-817F-9E4E3EDCEC8C}"/>
                </a:ext>
              </a:extLst>
            </p:cNvPr>
            <p:cNvSpPr txBox="1"/>
            <p:nvPr/>
          </p:nvSpPr>
          <p:spPr>
            <a:xfrm>
              <a:off x="907673" y="3849710"/>
              <a:ext cx="287945" cy="168373"/>
            </a:xfrm>
            <a:prstGeom prst="rect">
              <a:avLst/>
            </a:prstGeom>
            <a:solidFill>
              <a:schemeClr val="bg1"/>
            </a:solid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9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60</a:t>
              </a:r>
            </a:p>
          </p:txBody>
        </p:sp>
        <p:sp>
          <p:nvSpPr>
            <p:cNvPr id="103" name="TextBox 102">
              <a:extLst>
                <a:ext uri="{FF2B5EF4-FFF2-40B4-BE49-F238E27FC236}">
                  <a16:creationId xmlns:a16="http://schemas.microsoft.com/office/drawing/2014/main" id="{DEDD495B-1A0C-4C12-B2B6-824476DF584B}"/>
                </a:ext>
              </a:extLst>
            </p:cNvPr>
            <p:cNvSpPr txBox="1"/>
            <p:nvPr/>
          </p:nvSpPr>
          <p:spPr>
            <a:xfrm>
              <a:off x="907673" y="4115757"/>
              <a:ext cx="287945" cy="168373"/>
            </a:xfrm>
            <a:prstGeom prst="rect">
              <a:avLst/>
            </a:prstGeom>
            <a:solidFill>
              <a:schemeClr val="bg1"/>
            </a:solid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9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80</a:t>
              </a:r>
            </a:p>
          </p:txBody>
        </p:sp>
        <p:sp>
          <p:nvSpPr>
            <p:cNvPr id="104" name="TextBox 103">
              <a:extLst>
                <a:ext uri="{FF2B5EF4-FFF2-40B4-BE49-F238E27FC236}">
                  <a16:creationId xmlns:a16="http://schemas.microsoft.com/office/drawing/2014/main" id="{31CC82E7-0779-4027-B257-F2944C531AD9}"/>
                </a:ext>
              </a:extLst>
            </p:cNvPr>
            <p:cNvSpPr txBox="1"/>
            <p:nvPr/>
          </p:nvSpPr>
          <p:spPr>
            <a:xfrm>
              <a:off x="745124" y="4381806"/>
              <a:ext cx="450497" cy="168373"/>
            </a:xfrm>
            <a:prstGeom prst="rect">
              <a:avLst/>
            </a:prstGeom>
            <a:solidFill>
              <a:schemeClr val="bg1"/>
            </a:solid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9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100</a:t>
              </a:r>
            </a:p>
          </p:txBody>
        </p:sp>
        <p:sp>
          <p:nvSpPr>
            <p:cNvPr id="105" name="TextBox 104">
              <a:extLst>
                <a:ext uri="{FF2B5EF4-FFF2-40B4-BE49-F238E27FC236}">
                  <a16:creationId xmlns:a16="http://schemas.microsoft.com/office/drawing/2014/main" id="{EB91C1CF-3431-4AFB-9F39-A968B74ECFAF}"/>
                </a:ext>
              </a:extLst>
            </p:cNvPr>
            <p:cNvSpPr txBox="1"/>
            <p:nvPr/>
          </p:nvSpPr>
          <p:spPr>
            <a:xfrm rot="16200000">
              <a:off x="-420104" y="3076610"/>
              <a:ext cx="2233965" cy="213661"/>
            </a:xfrm>
            <a:prstGeom prst="rect">
              <a:avLst/>
            </a:prstGeom>
            <a:solidFill>
              <a:schemeClr val="bg1"/>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10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 Change from baseline</a:t>
              </a:r>
            </a:p>
          </p:txBody>
        </p:sp>
        <p:sp>
          <p:nvSpPr>
            <p:cNvPr id="106" name="TextBox 105">
              <a:extLst>
                <a:ext uri="{FF2B5EF4-FFF2-40B4-BE49-F238E27FC236}">
                  <a16:creationId xmlns:a16="http://schemas.microsoft.com/office/drawing/2014/main" id="{1312DDE6-2E72-4D5A-93D1-A406014011DA}"/>
                </a:ext>
              </a:extLst>
            </p:cNvPr>
            <p:cNvSpPr txBox="1"/>
            <p:nvPr/>
          </p:nvSpPr>
          <p:spPr>
            <a:xfrm>
              <a:off x="2675686" y="1625699"/>
              <a:ext cx="1700888" cy="205789"/>
            </a:xfrm>
            <a:prstGeom prst="rect">
              <a:avLst/>
            </a:prstGeom>
            <a:solidFill>
              <a:schemeClr val="bg1"/>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1100" b="1" i="0" u="none" strike="noStrike" kern="0" cap="none" spc="0" normalizeH="0" baseline="0" noProof="0" err="1">
                  <a:ln>
                    <a:noFill/>
                  </a:ln>
                  <a:solidFill>
                    <a:srgbClr val="000000"/>
                  </a:solidFill>
                  <a:effectLst/>
                  <a:uLnTx/>
                  <a:uFillTx/>
                  <a:latin typeface="Arial" panose="020B0604020202020204" pitchFamily="34" charset="0"/>
                  <a:cs typeface="Arial" panose="020B0604020202020204" pitchFamily="34" charset="0"/>
                  <a:sym typeface="Arial"/>
                </a:rPr>
                <a:t>GemCis</a:t>
              </a:r>
              <a:r>
                <a:rPr kumimoji="0" lang="en-IN" sz="11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 + D</a:t>
              </a:r>
            </a:p>
          </p:txBody>
        </p:sp>
        <p:grpSp>
          <p:nvGrpSpPr>
            <p:cNvPr id="107" name="Group 106">
              <a:extLst>
                <a:ext uri="{FF2B5EF4-FFF2-40B4-BE49-F238E27FC236}">
                  <a16:creationId xmlns:a16="http://schemas.microsoft.com/office/drawing/2014/main" id="{5082236D-E48C-4100-BF7E-ECCEFE7716AC}"/>
                </a:ext>
              </a:extLst>
            </p:cNvPr>
            <p:cNvGrpSpPr/>
            <p:nvPr/>
          </p:nvGrpSpPr>
          <p:grpSpPr>
            <a:xfrm>
              <a:off x="4590978" y="2252403"/>
              <a:ext cx="1224553" cy="130957"/>
              <a:chOff x="4595542" y="2169700"/>
              <a:chExt cx="1224553" cy="137139"/>
            </a:xfrm>
          </p:grpSpPr>
          <p:sp>
            <p:nvSpPr>
              <p:cNvPr id="155" name="TextBox 154">
                <a:extLst>
                  <a:ext uri="{FF2B5EF4-FFF2-40B4-BE49-F238E27FC236}">
                    <a16:creationId xmlns:a16="http://schemas.microsoft.com/office/drawing/2014/main" id="{B680E6E7-83DD-4618-B7FF-47F368EE6F61}"/>
                  </a:ext>
                </a:extLst>
              </p:cNvPr>
              <p:cNvSpPr txBox="1"/>
              <p:nvPr/>
            </p:nvSpPr>
            <p:spPr>
              <a:xfrm>
                <a:off x="4713874" y="2169700"/>
                <a:ext cx="218093" cy="137139"/>
              </a:xfrm>
              <a:prstGeom prst="rect">
                <a:avLst/>
              </a:prstGeom>
              <a:solidFill>
                <a:schemeClr val="bg1"/>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7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SD</a:t>
                </a:r>
              </a:p>
            </p:txBody>
          </p:sp>
          <p:sp>
            <p:nvSpPr>
              <p:cNvPr id="156" name="TextBox 155">
                <a:extLst>
                  <a:ext uri="{FF2B5EF4-FFF2-40B4-BE49-F238E27FC236}">
                    <a16:creationId xmlns:a16="http://schemas.microsoft.com/office/drawing/2014/main" id="{903C8C09-65E2-4F9A-8BFD-F36F99FDE1D8}"/>
                  </a:ext>
                </a:extLst>
              </p:cNvPr>
              <p:cNvSpPr txBox="1"/>
              <p:nvPr/>
            </p:nvSpPr>
            <p:spPr>
              <a:xfrm>
                <a:off x="5150783" y="2169700"/>
                <a:ext cx="218093" cy="137139"/>
              </a:xfrm>
              <a:prstGeom prst="rect">
                <a:avLst/>
              </a:prstGeom>
              <a:solidFill>
                <a:schemeClr val="bg1"/>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7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PR</a:t>
                </a:r>
              </a:p>
            </p:txBody>
          </p:sp>
          <p:sp>
            <p:nvSpPr>
              <p:cNvPr id="157" name="TextBox 156">
                <a:extLst>
                  <a:ext uri="{FF2B5EF4-FFF2-40B4-BE49-F238E27FC236}">
                    <a16:creationId xmlns:a16="http://schemas.microsoft.com/office/drawing/2014/main" id="{DDB07E96-F8FC-4C81-AD63-2E6C46B301AE}"/>
                  </a:ext>
                </a:extLst>
              </p:cNvPr>
              <p:cNvSpPr txBox="1"/>
              <p:nvPr/>
            </p:nvSpPr>
            <p:spPr>
              <a:xfrm>
                <a:off x="5602002" y="2169700"/>
                <a:ext cx="218093" cy="137139"/>
              </a:xfrm>
              <a:prstGeom prst="rect">
                <a:avLst/>
              </a:prstGeom>
              <a:solidFill>
                <a:schemeClr val="bg1"/>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7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CR</a:t>
                </a:r>
              </a:p>
            </p:txBody>
          </p:sp>
          <p:sp>
            <p:nvSpPr>
              <p:cNvPr id="158" name="Rectangle 157">
                <a:extLst>
                  <a:ext uri="{FF2B5EF4-FFF2-40B4-BE49-F238E27FC236}">
                    <a16:creationId xmlns:a16="http://schemas.microsoft.com/office/drawing/2014/main" id="{E00FF333-4754-47A9-9FBF-6C83A9D613F0}"/>
                  </a:ext>
                </a:extLst>
              </p:cNvPr>
              <p:cNvSpPr/>
              <p:nvPr/>
            </p:nvSpPr>
            <p:spPr>
              <a:xfrm>
                <a:off x="4595542" y="2196917"/>
                <a:ext cx="107149" cy="10714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159" name="Rectangle 158">
                <a:extLst>
                  <a:ext uri="{FF2B5EF4-FFF2-40B4-BE49-F238E27FC236}">
                    <a16:creationId xmlns:a16="http://schemas.microsoft.com/office/drawing/2014/main" id="{4C9DE663-9E15-471A-A419-9EB3647EB0C6}"/>
                  </a:ext>
                </a:extLst>
              </p:cNvPr>
              <p:cNvSpPr/>
              <p:nvPr/>
            </p:nvSpPr>
            <p:spPr>
              <a:xfrm>
                <a:off x="5037883" y="2196917"/>
                <a:ext cx="107149" cy="10714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160" name="Rectangle 159">
                <a:extLst>
                  <a:ext uri="{FF2B5EF4-FFF2-40B4-BE49-F238E27FC236}">
                    <a16:creationId xmlns:a16="http://schemas.microsoft.com/office/drawing/2014/main" id="{2A72810F-C831-4D85-8162-D712C980FAF9}"/>
                  </a:ext>
                </a:extLst>
              </p:cNvPr>
              <p:cNvSpPr/>
              <p:nvPr/>
            </p:nvSpPr>
            <p:spPr>
              <a:xfrm>
                <a:off x="5475788" y="2196917"/>
                <a:ext cx="107149" cy="10714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grpSp>
        <p:grpSp>
          <p:nvGrpSpPr>
            <p:cNvPr id="108" name="Group 107">
              <a:extLst>
                <a:ext uri="{FF2B5EF4-FFF2-40B4-BE49-F238E27FC236}">
                  <a16:creationId xmlns:a16="http://schemas.microsoft.com/office/drawing/2014/main" id="{8F04FBBF-2F65-4EE8-A021-A488E38D729D}"/>
                </a:ext>
              </a:extLst>
            </p:cNvPr>
            <p:cNvGrpSpPr/>
            <p:nvPr/>
          </p:nvGrpSpPr>
          <p:grpSpPr>
            <a:xfrm>
              <a:off x="1309736" y="2938463"/>
              <a:ext cx="4405673" cy="1529838"/>
              <a:chOff x="1309736" y="2938463"/>
              <a:chExt cx="4405673" cy="1529838"/>
            </a:xfrm>
          </p:grpSpPr>
          <p:sp>
            <p:nvSpPr>
              <p:cNvPr id="109" name="Rectangle 108">
                <a:extLst>
                  <a:ext uri="{FF2B5EF4-FFF2-40B4-BE49-F238E27FC236}">
                    <a16:creationId xmlns:a16="http://schemas.microsoft.com/office/drawing/2014/main" id="{46A537E2-2E3A-4E9D-8FD2-CD2B248D9560}"/>
                  </a:ext>
                </a:extLst>
              </p:cNvPr>
              <p:cNvSpPr/>
              <p:nvPr/>
            </p:nvSpPr>
            <p:spPr>
              <a:xfrm>
                <a:off x="5549796" y="3139901"/>
                <a:ext cx="69239" cy="1328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110" name="Rectangle 109">
                <a:extLst>
                  <a:ext uri="{FF2B5EF4-FFF2-40B4-BE49-F238E27FC236}">
                    <a16:creationId xmlns:a16="http://schemas.microsoft.com/office/drawing/2014/main" id="{4B4F42AB-440F-4543-A0D5-54403C545F2D}"/>
                  </a:ext>
                </a:extLst>
              </p:cNvPr>
              <p:cNvSpPr/>
              <p:nvPr/>
            </p:nvSpPr>
            <p:spPr>
              <a:xfrm>
                <a:off x="5453431" y="3139901"/>
                <a:ext cx="69239" cy="1328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111" name="Rectangle 110">
                <a:extLst>
                  <a:ext uri="{FF2B5EF4-FFF2-40B4-BE49-F238E27FC236}">
                    <a16:creationId xmlns:a16="http://schemas.microsoft.com/office/drawing/2014/main" id="{D0B2A7CF-01A2-4E79-8C84-877625A62C4A}"/>
                  </a:ext>
                </a:extLst>
              </p:cNvPr>
              <p:cNvSpPr/>
              <p:nvPr/>
            </p:nvSpPr>
            <p:spPr>
              <a:xfrm>
                <a:off x="5357066" y="3139901"/>
                <a:ext cx="69239" cy="1328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112" name="Rectangle 111">
                <a:extLst>
                  <a:ext uri="{FF2B5EF4-FFF2-40B4-BE49-F238E27FC236}">
                    <a16:creationId xmlns:a16="http://schemas.microsoft.com/office/drawing/2014/main" id="{F680B515-6156-423F-8EE2-B19AB50D7434}"/>
                  </a:ext>
                </a:extLst>
              </p:cNvPr>
              <p:cNvSpPr/>
              <p:nvPr/>
            </p:nvSpPr>
            <p:spPr>
              <a:xfrm>
                <a:off x="5646170" y="3139901"/>
                <a:ext cx="69239" cy="13284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113" name="Rectangle 112">
                <a:extLst>
                  <a:ext uri="{FF2B5EF4-FFF2-40B4-BE49-F238E27FC236}">
                    <a16:creationId xmlns:a16="http://schemas.microsoft.com/office/drawing/2014/main" id="{DB6252ED-8730-4040-9F42-A5AFB0FF453E}"/>
                  </a:ext>
                </a:extLst>
              </p:cNvPr>
              <p:cNvSpPr/>
              <p:nvPr/>
            </p:nvSpPr>
            <p:spPr>
              <a:xfrm>
                <a:off x="5260701" y="3139902"/>
                <a:ext cx="69239" cy="107967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114" name="Rectangle 113">
                <a:extLst>
                  <a:ext uri="{FF2B5EF4-FFF2-40B4-BE49-F238E27FC236}">
                    <a16:creationId xmlns:a16="http://schemas.microsoft.com/office/drawing/2014/main" id="{807C9087-5BA8-4C21-894D-24FF9C5674D7}"/>
                  </a:ext>
                </a:extLst>
              </p:cNvPr>
              <p:cNvSpPr/>
              <p:nvPr/>
            </p:nvSpPr>
            <p:spPr>
              <a:xfrm>
                <a:off x="5164336" y="3139903"/>
                <a:ext cx="69239" cy="84869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115" name="Rectangle 114">
                <a:extLst>
                  <a:ext uri="{FF2B5EF4-FFF2-40B4-BE49-F238E27FC236}">
                    <a16:creationId xmlns:a16="http://schemas.microsoft.com/office/drawing/2014/main" id="{821494EC-4029-40D0-B119-9A0058B7D216}"/>
                  </a:ext>
                </a:extLst>
              </p:cNvPr>
              <p:cNvSpPr/>
              <p:nvPr/>
            </p:nvSpPr>
            <p:spPr>
              <a:xfrm>
                <a:off x="5067971" y="3139903"/>
                <a:ext cx="69239" cy="83916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116" name="Rectangle 115">
                <a:extLst>
                  <a:ext uri="{FF2B5EF4-FFF2-40B4-BE49-F238E27FC236}">
                    <a16:creationId xmlns:a16="http://schemas.microsoft.com/office/drawing/2014/main" id="{F5CE903A-A25C-4012-AEB3-7040C19D3508}"/>
                  </a:ext>
                </a:extLst>
              </p:cNvPr>
              <p:cNvSpPr/>
              <p:nvPr/>
            </p:nvSpPr>
            <p:spPr>
              <a:xfrm>
                <a:off x="4971606" y="3139903"/>
                <a:ext cx="69239" cy="79192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117" name="Rectangle 116">
                <a:extLst>
                  <a:ext uri="{FF2B5EF4-FFF2-40B4-BE49-F238E27FC236}">
                    <a16:creationId xmlns:a16="http://schemas.microsoft.com/office/drawing/2014/main" id="{A1D6E5B6-ADA2-4A9F-B199-8923D6F434F3}"/>
                  </a:ext>
                </a:extLst>
              </p:cNvPr>
              <p:cNvSpPr/>
              <p:nvPr/>
            </p:nvSpPr>
            <p:spPr>
              <a:xfrm>
                <a:off x="4875241" y="3139902"/>
                <a:ext cx="69239" cy="75820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118" name="Rectangle 117">
                <a:extLst>
                  <a:ext uri="{FF2B5EF4-FFF2-40B4-BE49-F238E27FC236}">
                    <a16:creationId xmlns:a16="http://schemas.microsoft.com/office/drawing/2014/main" id="{82021EA6-36DA-4A07-9DDC-FF43BCDFF7B6}"/>
                  </a:ext>
                </a:extLst>
              </p:cNvPr>
              <p:cNvSpPr/>
              <p:nvPr/>
            </p:nvSpPr>
            <p:spPr>
              <a:xfrm>
                <a:off x="4778876" y="3139903"/>
                <a:ext cx="69239" cy="7391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119" name="Rectangle 118">
                <a:extLst>
                  <a:ext uri="{FF2B5EF4-FFF2-40B4-BE49-F238E27FC236}">
                    <a16:creationId xmlns:a16="http://schemas.microsoft.com/office/drawing/2014/main" id="{0D91CDCD-3321-4DB0-B90C-615402611B07}"/>
                  </a:ext>
                </a:extLst>
              </p:cNvPr>
              <p:cNvSpPr/>
              <p:nvPr/>
            </p:nvSpPr>
            <p:spPr>
              <a:xfrm>
                <a:off x="4682511" y="3139903"/>
                <a:ext cx="69239" cy="70978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120" name="Rectangle 119">
                <a:extLst>
                  <a:ext uri="{FF2B5EF4-FFF2-40B4-BE49-F238E27FC236}">
                    <a16:creationId xmlns:a16="http://schemas.microsoft.com/office/drawing/2014/main" id="{7C8C8845-AAB9-470E-A599-0B2C9AEA5D17}"/>
                  </a:ext>
                </a:extLst>
              </p:cNvPr>
              <p:cNvSpPr/>
              <p:nvPr/>
            </p:nvSpPr>
            <p:spPr>
              <a:xfrm>
                <a:off x="4586146" y="3139904"/>
                <a:ext cx="69239" cy="68379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121" name="Rectangle 120">
                <a:extLst>
                  <a:ext uri="{FF2B5EF4-FFF2-40B4-BE49-F238E27FC236}">
                    <a16:creationId xmlns:a16="http://schemas.microsoft.com/office/drawing/2014/main" id="{4BF63B8D-630F-437F-9209-B33F1F71C14A}"/>
                  </a:ext>
                </a:extLst>
              </p:cNvPr>
              <p:cNvSpPr/>
              <p:nvPr/>
            </p:nvSpPr>
            <p:spPr>
              <a:xfrm>
                <a:off x="4489781" y="3139904"/>
                <a:ext cx="69239" cy="66771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122" name="Rectangle 121">
                <a:extLst>
                  <a:ext uri="{FF2B5EF4-FFF2-40B4-BE49-F238E27FC236}">
                    <a16:creationId xmlns:a16="http://schemas.microsoft.com/office/drawing/2014/main" id="{E857897F-7225-48F0-8C60-EA2E0A22FFC2}"/>
                  </a:ext>
                </a:extLst>
              </p:cNvPr>
              <p:cNvSpPr/>
              <p:nvPr/>
            </p:nvSpPr>
            <p:spPr>
              <a:xfrm>
                <a:off x="4393416" y="3139905"/>
                <a:ext cx="69239" cy="65580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123" name="Rectangle 122">
                <a:extLst>
                  <a:ext uri="{FF2B5EF4-FFF2-40B4-BE49-F238E27FC236}">
                    <a16:creationId xmlns:a16="http://schemas.microsoft.com/office/drawing/2014/main" id="{AD8A0396-2E91-4B06-8D14-3B49F0671CB8}"/>
                  </a:ext>
                </a:extLst>
              </p:cNvPr>
              <p:cNvSpPr/>
              <p:nvPr/>
            </p:nvSpPr>
            <p:spPr>
              <a:xfrm>
                <a:off x="4297051" y="3139905"/>
                <a:ext cx="69239" cy="6486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124" name="Rectangle 123">
                <a:extLst>
                  <a:ext uri="{FF2B5EF4-FFF2-40B4-BE49-F238E27FC236}">
                    <a16:creationId xmlns:a16="http://schemas.microsoft.com/office/drawing/2014/main" id="{C69E357A-C13E-4B60-B0FD-A27206A9DABD}"/>
                  </a:ext>
                </a:extLst>
              </p:cNvPr>
              <p:cNvSpPr/>
              <p:nvPr/>
            </p:nvSpPr>
            <p:spPr>
              <a:xfrm>
                <a:off x="4200686" y="3139906"/>
                <a:ext cx="69239" cy="6153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125" name="Rectangle 124">
                <a:extLst>
                  <a:ext uri="{FF2B5EF4-FFF2-40B4-BE49-F238E27FC236}">
                    <a16:creationId xmlns:a16="http://schemas.microsoft.com/office/drawing/2014/main" id="{0B8C6003-8721-4048-90CF-16E128CE361B}"/>
                  </a:ext>
                </a:extLst>
              </p:cNvPr>
              <p:cNvSpPr/>
              <p:nvPr/>
            </p:nvSpPr>
            <p:spPr>
              <a:xfrm>
                <a:off x="4104321" y="3139907"/>
                <a:ext cx="69239" cy="61056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126" name="Rectangle 125">
                <a:extLst>
                  <a:ext uri="{FF2B5EF4-FFF2-40B4-BE49-F238E27FC236}">
                    <a16:creationId xmlns:a16="http://schemas.microsoft.com/office/drawing/2014/main" id="{50CDCFDD-D2A3-46E4-88C5-659F9201B6AB}"/>
                  </a:ext>
                </a:extLst>
              </p:cNvPr>
              <p:cNvSpPr/>
              <p:nvPr/>
            </p:nvSpPr>
            <p:spPr>
              <a:xfrm>
                <a:off x="4007956" y="3139907"/>
                <a:ext cx="69239" cy="5915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127" name="Rectangle 126">
                <a:extLst>
                  <a:ext uri="{FF2B5EF4-FFF2-40B4-BE49-F238E27FC236}">
                    <a16:creationId xmlns:a16="http://schemas.microsoft.com/office/drawing/2014/main" id="{22012A22-4351-4179-87AA-74CACD4968A1}"/>
                  </a:ext>
                </a:extLst>
              </p:cNvPr>
              <p:cNvSpPr/>
              <p:nvPr/>
            </p:nvSpPr>
            <p:spPr>
              <a:xfrm>
                <a:off x="3911591" y="3139907"/>
                <a:ext cx="69239" cy="58441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128" name="Rectangle 127">
                <a:extLst>
                  <a:ext uri="{FF2B5EF4-FFF2-40B4-BE49-F238E27FC236}">
                    <a16:creationId xmlns:a16="http://schemas.microsoft.com/office/drawing/2014/main" id="{B975EC41-EB62-40F0-B0DB-3C2E88B5416F}"/>
                  </a:ext>
                </a:extLst>
              </p:cNvPr>
              <p:cNvSpPr/>
              <p:nvPr/>
            </p:nvSpPr>
            <p:spPr>
              <a:xfrm>
                <a:off x="3815226" y="3139907"/>
                <a:ext cx="69239" cy="58441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129" name="Rectangle 128">
                <a:extLst>
                  <a:ext uri="{FF2B5EF4-FFF2-40B4-BE49-F238E27FC236}">
                    <a16:creationId xmlns:a16="http://schemas.microsoft.com/office/drawing/2014/main" id="{3D9A4EB5-36DB-4C37-814C-20F9D6F3511C}"/>
                  </a:ext>
                </a:extLst>
              </p:cNvPr>
              <p:cNvSpPr/>
              <p:nvPr/>
            </p:nvSpPr>
            <p:spPr>
              <a:xfrm>
                <a:off x="3718861" y="3139907"/>
                <a:ext cx="69239" cy="57246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130" name="Rectangle 129">
                <a:extLst>
                  <a:ext uri="{FF2B5EF4-FFF2-40B4-BE49-F238E27FC236}">
                    <a16:creationId xmlns:a16="http://schemas.microsoft.com/office/drawing/2014/main" id="{AA34F1F9-38E1-49A0-99A3-475013E18E29}"/>
                  </a:ext>
                </a:extLst>
              </p:cNvPr>
              <p:cNvSpPr/>
              <p:nvPr/>
            </p:nvSpPr>
            <p:spPr>
              <a:xfrm>
                <a:off x="3622496" y="3139907"/>
                <a:ext cx="69239" cy="56531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131" name="Rectangle 130">
                <a:extLst>
                  <a:ext uri="{FF2B5EF4-FFF2-40B4-BE49-F238E27FC236}">
                    <a16:creationId xmlns:a16="http://schemas.microsoft.com/office/drawing/2014/main" id="{ABE3885E-7EA4-4280-828B-ABA6AA0F2135}"/>
                  </a:ext>
                </a:extLst>
              </p:cNvPr>
              <p:cNvSpPr/>
              <p:nvPr/>
            </p:nvSpPr>
            <p:spPr>
              <a:xfrm>
                <a:off x="3526131" y="3139907"/>
                <a:ext cx="69239" cy="54388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132" name="Rectangle 131">
                <a:extLst>
                  <a:ext uri="{FF2B5EF4-FFF2-40B4-BE49-F238E27FC236}">
                    <a16:creationId xmlns:a16="http://schemas.microsoft.com/office/drawing/2014/main" id="{760D865F-2554-45BA-98C9-B913EC5DC256}"/>
                  </a:ext>
                </a:extLst>
              </p:cNvPr>
              <p:cNvSpPr/>
              <p:nvPr/>
            </p:nvSpPr>
            <p:spPr>
              <a:xfrm>
                <a:off x="3429766" y="3139908"/>
                <a:ext cx="69239" cy="5200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133" name="Rectangle 132">
                <a:extLst>
                  <a:ext uri="{FF2B5EF4-FFF2-40B4-BE49-F238E27FC236}">
                    <a16:creationId xmlns:a16="http://schemas.microsoft.com/office/drawing/2014/main" id="{0AF1A23A-197E-4F1D-8374-E9793CC85DB3}"/>
                  </a:ext>
                </a:extLst>
              </p:cNvPr>
              <p:cNvSpPr/>
              <p:nvPr/>
            </p:nvSpPr>
            <p:spPr>
              <a:xfrm>
                <a:off x="3333401" y="3139909"/>
                <a:ext cx="69239" cy="49149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134" name="Rectangle 133">
                <a:extLst>
                  <a:ext uri="{FF2B5EF4-FFF2-40B4-BE49-F238E27FC236}">
                    <a16:creationId xmlns:a16="http://schemas.microsoft.com/office/drawing/2014/main" id="{E4FF1904-3746-4E1A-93B7-51FCBFEB3264}"/>
                  </a:ext>
                </a:extLst>
              </p:cNvPr>
              <p:cNvSpPr/>
              <p:nvPr/>
            </p:nvSpPr>
            <p:spPr>
              <a:xfrm>
                <a:off x="3237036" y="3139909"/>
                <a:ext cx="69239" cy="49149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135" name="Rectangle 134">
                <a:extLst>
                  <a:ext uri="{FF2B5EF4-FFF2-40B4-BE49-F238E27FC236}">
                    <a16:creationId xmlns:a16="http://schemas.microsoft.com/office/drawing/2014/main" id="{A6C5E604-8A45-499E-9A2C-2B9C98916582}"/>
                  </a:ext>
                </a:extLst>
              </p:cNvPr>
              <p:cNvSpPr/>
              <p:nvPr/>
            </p:nvSpPr>
            <p:spPr>
              <a:xfrm>
                <a:off x="3140671" y="3139910"/>
                <a:ext cx="69239" cy="47482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136" name="Rectangle 135">
                <a:extLst>
                  <a:ext uri="{FF2B5EF4-FFF2-40B4-BE49-F238E27FC236}">
                    <a16:creationId xmlns:a16="http://schemas.microsoft.com/office/drawing/2014/main" id="{305041D9-2EE3-479C-9DE3-3801E0514BAA}"/>
                  </a:ext>
                </a:extLst>
              </p:cNvPr>
              <p:cNvSpPr/>
              <p:nvPr/>
            </p:nvSpPr>
            <p:spPr>
              <a:xfrm>
                <a:off x="3044306" y="3139910"/>
                <a:ext cx="69239" cy="4605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137" name="Rectangle 136">
                <a:extLst>
                  <a:ext uri="{FF2B5EF4-FFF2-40B4-BE49-F238E27FC236}">
                    <a16:creationId xmlns:a16="http://schemas.microsoft.com/office/drawing/2014/main" id="{CC58A7EB-1D89-4A40-97EE-C6A0678EB531}"/>
                  </a:ext>
                </a:extLst>
              </p:cNvPr>
              <p:cNvSpPr/>
              <p:nvPr/>
            </p:nvSpPr>
            <p:spPr>
              <a:xfrm>
                <a:off x="2947941" y="3139910"/>
                <a:ext cx="69239" cy="4605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138" name="Rectangle 137">
                <a:extLst>
                  <a:ext uri="{FF2B5EF4-FFF2-40B4-BE49-F238E27FC236}">
                    <a16:creationId xmlns:a16="http://schemas.microsoft.com/office/drawing/2014/main" id="{184E654F-5812-4796-B081-2BC0D829FC02}"/>
                  </a:ext>
                </a:extLst>
              </p:cNvPr>
              <p:cNvSpPr/>
              <p:nvPr/>
            </p:nvSpPr>
            <p:spPr>
              <a:xfrm>
                <a:off x="2851576" y="3139910"/>
                <a:ext cx="69239" cy="42482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139" name="Rectangle 138">
                <a:extLst>
                  <a:ext uri="{FF2B5EF4-FFF2-40B4-BE49-F238E27FC236}">
                    <a16:creationId xmlns:a16="http://schemas.microsoft.com/office/drawing/2014/main" id="{11E0B690-554F-42C1-AFD0-1FF73674C8B5}"/>
                  </a:ext>
                </a:extLst>
              </p:cNvPr>
              <p:cNvSpPr/>
              <p:nvPr/>
            </p:nvSpPr>
            <p:spPr>
              <a:xfrm>
                <a:off x="2755211" y="3139910"/>
                <a:ext cx="69239" cy="41053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140" name="Rectangle 139">
                <a:extLst>
                  <a:ext uri="{FF2B5EF4-FFF2-40B4-BE49-F238E27FC236}">
                    <a16:creationId xmlns:a16="http://schemas.microsoft.com/office/drawing/2014/main" id="{BFB8EB8F-48C6-4B3E-B378-D7A2BD7C5178}"/>
                  </a:ext>
                </a:extLst>
              </p:cNvPr>
              <p:cNvSpPr/>
              <p:nvPr/>
            </p:nvSpPr>
            <p:spPr>
              <a:xfrm>
                <a:off x="2658846" y="3139909"/>
                <a:ext cx="69239" cy="40577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141" name="Rectangle 140">
                <a:extLst>
                  <a:ext uri="{FF2B5EF4-FFF2-40B4-BE49-F238E27FC236}">
                    <a16:creationId xmlns:a16="http://schemas.microsoft.com/office/drawing/2014/main" id="{3196D0BD-5DDE-4EE0-ABC1-55F2A2A5F4BF}"/>
                  </a:ext>
                </a:extLst>
              </p:cNvPr>
              <p:cNvSpPr/>
              <p:nvPr/>
            </p:nvSpPr>
            <p:spPr>
              <a:xfrm>
                <a:off x="2562481" y="3139910"/>
                <a:ext cx="69239" cy="40004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142" name="Rectangle 141">
                <a:extLst>
                  <a:ext uri="{FF2B5EF4-FFF2-40B4-BE49-F238E27FC236}">
                    <a16:creationId xmlns:a16="http://schemas.microsoft.com/office/drawing/2014/main" id="{9C39AB95-1F6B-4B02-8564-1259BA39C689}"/>
                  </a:ext>
                </a:extLst>
              </p:cNvPr>
              <p:cNvSpPr/>
              <p:nvPr/>
            </p:nvSpPr>
            <p:spPr>
              <a:xfrm>
                <a:off x="2369751" y="3139910"/>
                <a:ext cx="69239" cy="39257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143" name="Rectangle 142">
                <a:extLst>
                  <a:ext uri="{FF2B5EF4-FFF2-40B4-BE49-F238E27FC236}">
                    <a16:creationId xmlns:a16="http://schemas.microsoft.com/office/drawing/2014/main" id="{635371A9-7115-4F92-853A-DA56C4C4E013}"/>
                  </a:ext>
                </a:extLst>
              </p:cNvPr>
              <p:cNvSpPr/>
              <p:nvPr/>
            </p:nvSpPr>
            <p:spPr>
              <a:xfrm>
                <a:off x="2466116" y="3139909"/>
                <a:ext cx="69239" cy="39257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144" name="Rectangle 143">
                <a:extLst>
                  <a:ext uri="{FF2B5EF4-FFF2-40B4-BE49-F238E27FC236}">
                    <a16:creationId xmlns:a16="http://schemas.microsoft.com/office/drawing/2014/main" id="{638660E2-3EE8-4047-BB39-2FC6296AEBF4}"/>
                  </a:ext>
                </a:extLst>
              </p:cNvPr>
              <p:cNvSpPr/>
              <p:nvPr/>
            </p:nvSpPr>
            <p:spPr>
              <a:xfrm>
                <a:off x="2273386" y="3139910"/>
                <a:ext cx="69239" cy="36529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145" name="Rectangle 144">
                <a:extLst>
                  <a:ext uri="{FF2B5EF4-FFF2-40B4-BE49-F238E27FC236}">
                    <a16:creationId xmlns:a16="http://schemas.microsoft.com/office/drawing/2014/main" id="{861193AB-8CC4-4FAD-900E-201AD83C36E1}"/>
                  </a:ext>
                </a:extLst>
              </p:cNvPr>
              <p:cNvSpPr/>
              <p:nvPr/>
            </p:nvSpPr>
            <p:spPr>
              <a:xfrm>
                <a:off x="2177021" y="3139910"/>
                <a:ext cx="69239" cy="353384"/>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146" name="Rectangle 145">
                <a:extLst>
                  <a:ext uri="{FF2B5EF4-FFF2-40B4-BE49-F238E27FC236}">
                    <a16:creationId xmlns:a16="http://schemas.microsoft.com/office/drawing/2014/main" id="{4420D13D-6780-4583-8F5A-B2063F9789E2}"/>
                  </a:ext>
                </a:extLst>
              </p:cNvPr>
              <p:cNvSpPr/>
              <p:nvPr/>
            </p:nvSpPr>
            <p:spPr>
              <a:xfrm>
                <a:off x="2080656" y="3139910"/>
                <a:ext cx="69239" cy="31162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147" name="Rectangle 146">
                <a:extLst>
                  <a:ext uri="{FF2B5EF4-FFF2-40B4-BE49-F238E27FC236}">
                    <a16:creationId xmlns:a16="http://schemas.microsoft.com/office/drawing/2014/main" id="{6690D783-0FA8-4305-822F-EBF903F25E4B}"/>
                  </a:ext>
                </a:extLst>
              </p:cNvPr>
              <p:cNvSpPr/>
              <p:nvPr/>
            </p:nvSpPr>
            <p:spPr>
              <a:xfrm>
                <a:off x="1984291" y="3139911"/>
                <a:ext cx="69239" cy="298614"/>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148" name="Rectangle 147">
                <a:extLst>
                  <a:ext uri="{FF2B5EF4-FFF2-40B4-BE49-F238E27FC236}">
                    <a16:creationId xmlns:a16="http://schemas.microsoft.com/office/drawing/2014/main" id="{5C09D5FF-9F6B-45E9-B368-74376F79267B}"/>
                  </a:ext>
                </a:extLst>
              </p:cNvPr>
              <p:cNvSpPr/>
              <p:nvPr/>
            </p:nvSpPr>
            <p:spPr>
              <a:xfrm>
                <a:off x="1887926" y="3139911"/>
                <a:ext cx="69239" cy="298614"/>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149" name="Rectangle 148">
                <a:extLst>
                  <a:ext uri="{FF2B5EF4-FFF2-40B4-BE49-F238E27FC236}">
                    <a16:creationId xmlns:a16="http://schemas.microsoft.com/office/drawing/2014/main" id="{DF49A14D-A834-4D71-81B7-CE9C39C2DFB1}"/>
                  </a:ext>
                </a:extLst>
              </p:cNvPr>
              <p:cNvSpPr/>
              <p:nvPr/>
            </p:nvSpPr>
            <p:spPr>
              <a:xfrm>
                <a:off x="1791561" y="3139911"/>
                <a:ext cx="69239" cy="241464"/>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150" name="Rectangle 149">
                <a:extLst>
                  <a:ext uri="{FF2B5EF4-FFF2-40B4-BE49-F238E27FC236}">
                    <a16:creationId xmlns:a16="http://schemas.microsoft.com/office/drawing/2014/main" id="{F4DCDD16-0E0C-424F-9A13-BEE25D10C150}"/>
                  </a:ext>
                </a:extLst>
              </p:cNvPr>
              <p:cNvSpPr/>
              <p:nvPr/>
            </p:nvSpPr>
            <p:spPr>
              <a:xfrm>
                <a:off x="1695196" y="3139911"/>
                <a:ext cx="69239" cy="21160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151" name="Rectangle 150">
                <a:extLst>
                  <a:ext uri="{FF2B5EF4-FFF2-40B4-BE49-F238E27FC236}">
                    <a16:creationId xmlns:a16="http://schemas.microsoft.com/office/drawing/2014/main" id="{66467518-2FAE-439A-A097-0B94703CE55D}"/>
                  </a:ext>
                </a:extLst>
              </p:cNvPr>
              <p:cNvSpPr/>
              <p:nvPr/>
            </p:nvSpPr>
            <p:spPr>
              <a:xfrm>
                <a:off x="1598831" y="3139911"/>
                <a:ext cx="69239" cy="108114"/>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152" name="Rectangle 151">
                <a:extLst>
                  <a:ext uri="{FF2B5EF4-FFF2-40B4-BE49-F238E27FC236}">
                    <a16:creationId xmlns:a16="http://schemas.microsoft.com/office/drawing/2014/main" id="{40953D37-2A62-4845-94DD-6B5188532C25}"/>
                  </a:ext>
                </a:extLst>
              </p:cNvPr>
              <p:cNvSpPr/>
              <p:nvPr/>
            </p:nvSpPr>
            <p:spPr>
              <a:xfrm>
                <a:off x="1502466" y="3139911"/>
                <a:ext cx="69239" cy="108114"/>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153" name="Rectangle 152">
                <a:extLst>
                  <a:ext uri="{FF2B5EF4-FFF2-40B4-BE49-F238E27FC236}">
                    <a16:creationId xmlns:a16="http://schemas.microsoft.com/office/drawing/2014/main" id="{4AC7BE45-A471-4DCC-B84F-6F9974ED2E4B}"/>
                  </a:ext>
                </a:extLst>
              </p:cNvPr>
              <p:cNvSpPr/>
              <p:nvPr/>
            </p:nvSpPr>
            <p:spPr>
              <a:xfrm>
                <a:off x="1406101" y="3139911"/>
                <a:ext cx="69239" cy="6396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154" name="Rectangle 153">
                <a:extLst>
                  <a:ext uri="{FF2B5EF4-FFF2-40B4-BE49-F238E27FC236}">
                    <a16:creationId xmlns:a16="http://schemas.microsoft.com/office/drawing/2014/main" id="{AA11A4FE-F0CD-43C3-9FE4-4100A7BCE27B}"/>
                  </a:ext>
                </a:extLst>
              </p:cNvPr>
              <p:cNvSpPr/>
              <p:nvPr/>
            </p:nvSpPr>
            <p:spPr>
              <a:xfrm>
                <a:off x="1309736" y="2938463"/>
                <a:ext cx="69239" cy="18071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grpSp>
      </p:grpSp>
      <p:grpSp>
        <p:nvGrpSpPr>
          <p:cNvPr id="178" name="Group 177">
            <a:extLst>
              <a:ext uri="{FF2B5EF4-FFF2-40B4-BE49-F238E27FC236}">
                <a16:creationId xmlns:a16="http://schemas.microsoft.com/office/drawing/2014/main" id="{1BA6442F-6A0B-49FC-8E67-1A2835AF3E65}"/>
              </a:ext>
            </a:extLst>
          </p:cNvPr>
          <p:cNvGrpSpPr/>
          <p:nvPr/>
        </p:nvGrpSpPr>
        <p:grpSpPr>
          <a:xfrm>
            <a:off x="8177152" y="1312571"/>
            <a:ext cx="3882682" cy="2515823"/>
            <a:chOff x="6206034" y="1625699"/>
            <a:chExt cx="5445897" cy="2916671"/>
          </a:xfrm>
        </p:grpSpPr>
        <p:cxnSp>
          <p:nvCxnSpPr>
            <p:cNvPr id="179" name="Straight Connector 178">
              <a:extLst>
                <a:ext uri="{FF2B5EF4-FFF2-40B4-BE49-F238E27FC236}">
                  <a16:creationId xmlns:a16="http://schemas.microsoft.com/office/drawing/2014/main" id="{FE5C6E64-360F-43BA-B6C9-882D7525DDC0}"/>
                </a:ext>
              </a:extLst>
            </p:cNvPr>
            <p:cNvCxnSpPr>
              <a:cxnSpLocks/>
            </p:cNvCxnSpPr>
            <p:nvPr/>
          </p:nvCxnSpPr>
          <p:spPr>
            <a:xfrm flipH="1">
              <a:off x="6916046" y="2874787"/>
              <a:ext cx="4735885" cy="0"/>
            </a:xfrm>
            <a:prstGeom prst="line">
              <a:avLst/>
            </a:prstGeom>
            <a:ln w="1270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180" name="Straight Connector 179">
              <a:extLst>
                <a:ext uri="{FF2B5EF4-FFF2-40B4-BE49-F238E27FC236}">
                  <a16:creationId xmlns:a16="http://schemas.microsoft.com/office/drawing/2014/main" id="{9451CCF1-8FA8-4FC6-A0F4-AB3EC1BF82AE}"/>
                </a:ext>
              </a:extLst>
            </p:cNvPr>
            <p:cNvCxnSpPr>
              <a:cxnSpLocks/>
            </p:cNvCxnSpPr>
            <p:nvPr/>
          </p:nvCxnSpPr>
          <p:spPr>
            <a:xfrm flipH="1">
              <a:off x="6916046" y="3524417"/>
              <a:ext cx="4735885" cy="0"/>
            </a:xfrm>
            <a:prstGeom prst="line">
              <a:avLst/>
            </a:prstGeom>
            <a:ln w="12700">
              <a:solidFill>
                <a:schemeClr val="tx1"/>
              </a:solidFill>
              <a:prstDash val="sysDash"/>
            </a:ln>
          </p:spPr>
          <p:style>
            <a:lnRef idx="1">
              <a:schemeClr val="accent1"/>
            </a:lnRef>
            <a:fillRef idx="0">
              <a:schemeClr val="accent1"/>
            </a:fillRef>
            <a:effectRef idx="0">
              <a:schemeClr val="accent1"/>
            </a:effectRef>
            <a:fontRef idx="minor">
              <a:schemeClr val="tx1"/>
            </a:fontRef>
          </p:style>
        </p:cxnSp>
        <p:grpSp>
          <p:nvGrpSpPr>
            <p:cNvPr id="181" name="Group 180">
              <a:extLst>
                <a:ext uri="{FF2B5EF4-FFF2-40B4-BE49-F238E27FC236}">
                  <a16:creationId xmlns:a16="http://schemas.microsoft.com/office/drawing/2014/main" id="{405B2735-5920-4F4C-8E06-354D696C416D}"/>
                </a:ext>
              </a:extLst>
            </p:cNvPr>
            <p:cNvGrpSpPr/>
            <p:nvPr/>
          </p:nvGrpSpPr>
          <p:grpSpPr>
            <a:xfrm>
              <a:off x="6311795" y="1712240"/>
              <a:ext cx="599818" cy="2830130"/>
              <a:chOff x="6311795" y="1712240"/>
              <a:chExt cx="599818" cy="2830130"/>
            </a:xfrm>
          </p:grpSpPr>
          <p:cxnSp>
            <p:nvCxnSpPr>
              <p:cNvPr id="241" name="Straight Connector 240">
                <a:extLst>
                  <a:ext uri="{FF2B5EF4-FFF2-40B4-BE49-F238E27FC236}">
                    <a16:creationId xmlns:a16="http://schemas.microsoft.com/office/drawing/2014/main" id="{5947588E-4665-41E3-9193-462C720C1493}"/>
                  </a:ext>
                </a:extLst>
              </p:cNvPr>
              <p:cNvCxnSpPr>
                <a:cxnSpLocks/>
              </p:cNvCxnSpPr>
              <p:nvPr/>
            </p:nvCxnSpPr>
            <p:spPr>
              <a:xfrm>
                <a:off x="6911613" y="1804957"/>
                <a:ext cx="0" cy="266956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2" name="Straight Connector 241">
                <a:extLst>
                  <a:ext uri="{FF2B5EF4-FFF2-40B4-BE49-F238E27FC236}">
                    <a16:creationId xmlns:a16="http://schemas.microsoft.com/office/drawing/2014/main" id="{1A2BFD0A-A9DE-4486-88C8-F147379979C5}"/>
                  </a:ext>
                </a:extLst>
              </p:cNvPr>
              <p:cNvCxnSpPr>
                <a:cxnSpLocks/>
              </p:cNvCxnSpPr>
              <p:nvPr/>
            </p:nvCxnSpPr>
            <p:spPr>
              <a:xfrm>
                <a:off x="6859226" y="1811607"/>
                <a:ext cx="5238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3" name="Straight Connector 242">
                <a:extLst>
                  <a:ext uri="{FF2B5EF4-FFF2-40B4-BE49-F238E27FC236}">
                    <a16:creationId xmlns:a16="http://schemas.microsoft.com/office/drawing/2014/main" id="{37C5A4BD-91CF-4650-BCBE-7B8C32B76483}"/>
                  </a:ext>
                </a:extLst>
              </p:cNvPr>
              <p:cNvCxnSpPr>
                <a:cxnSpLocks/>
              </p:cNvCxnSpPr>
              <p:nvPr/>
            </p:nvCxnSpPr>
            <p:spPr>
              <a:xfrm>
                <a:off x="6859226" y="2073922"/>
                <a:ext cx="5238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4" name="Straight Connector 243">
                <a:extLst>
                  <a:ext uri="{FF2B5EF4-FFF2-40B4-BE49-F238E27FC236}">
                    <a16:creationId xmlns:a16="http://schemas.microsoft.com/office/drawing/2014/main" id="{C12419D1-F948-48F8-86CB-1B139A21E06A}"/>
                  </a:ext>
                </a:extLst>
              </p:cNvPr>
              <p:cNvCxnSpPr>
                <a:cxnSpLocks/>
              </p:cNvCxnSpPr>
              <p:nvPr/>
            </p:nvCxnSpPr>
            <p:spPr>
              <a:xfrm>
                <a:off x="6859226" y="2338511"/>
                <a:ext cx="5238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5" name="Straight Connector 244">
                <a:extLst>
                  <a:ext uri="{FF2B5EF4-FFF2-40B4-BE49-F238E27FC236}">
                    <a16:creationId xmlns:a16="http://schemas.microsoft.com/office/drawing/2014/main" id="{22416DC6-8F7E-4C23-AFE3-A7FEB9682AA7}"/>
                  </a:ext>
                </a:extLst>
              </p:cNvPr>
              <p:cNvCxnSpPr>
                <a:cxnSpLocks/>
              </p:cNvCxnSpPr>
              <p:nvPr/>
            </p:nvCxnSpPr>
            <p:spPr>
              <a:xfrm>
                <a:off x="6859226" y="2604558"/>
                <a:ext cx="5238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6" name="Straight Connector 245">
                <a:extLst>
                  <a:ext uri="{FF2B5EF4-FFF2-40B4-BE49-F238E27FC236}">
                    <a16:creationId xmlns:a16="http://schemas.microsoft.com/office/drawing/2014/main" id="{6AB9B779-330C-4E94-81EA-252E81F55BB9}"/>
                  </a:ext>
                </a:extLst>
              </p:cNvPr>
              <p:cNvCxnSpPr>
                <a:cxnSpLocks/>
              </p:cNvCxnSpPr>
              <p:nvPr/>
            </p:nvCxnSpPr>
            <p:spPr>
              <a:xfrm>
                <a:off x="6859226" y="2869146"/>
                <a:ext cx="5238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7" name="Straight Connector 246">
                <a:extLst>
                  <a:ext uri="{FF2B5EF4-FFF2-40B4-BE49-F238E27FC236}">
                    <a16:creationId xmlns:a16="http://schemas.microsoft.com/office/drawing/2014/main" id="{A0E3054B-FEB9-4C0F-A63D-E93512D48368}"/>
                  </a:ext>
                </a:extLst>
              </p:cNvPr>
              <p:cNvCxnSpPr>
                <a:cxnSpLocks/>
              </p:cNvCxnSpPr>
              <p:nvPr/>
            </p:nvCxnSpPr>
            <p:spPr>
              <a:xfrm>
                <a:off x="6859226" y="3134436"/>
                <a:ext cx="5238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8" name="Straight Connector 247">
                <a:extLst>
                  <a:ext uri="{FF2B5EF4-FFF2-40B4-BE49-F238E27FC236}">
                    <a16:creationId xmlns:a16="http://schemas.microsoft.com/office/drawing/2014/main" id="{A34DB534-F1DD-45CC-BFDB-E6B6A7A90EFB}"/>
                  </a:ext>
                </a:extLst>
              </p:cNvPr>
              <p:cNvCxnSpPr>
                <a:cxnSpLocks/>
              </p:cNvCxnSpPr>
              <p:nvPr/>
            </p:nvCxnSpPr>
            <p:spPr>
              <a:xfrm>
                <a:off x="6859226" y="3404971"/>
                <a:ext cx="5238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9" name="Straight Connector 248">
                <a:extLst>
                  <a:ext uri="{FF2B5EF4-FFF2-40B4-BE49-F238E27FC236}">
                    <a16:creationId xmlns:a16="http://schemas.microsoft.com/office/drawing/2014/main" id="{EF7EB884-A504-4FF4-8A6F-010DD2FC89CB}"/>
                  </a:ext>
                </a:extLst>
              </p:cNvPr>
              <p:cNvCxnSpPr>
                <a:cxnSpLocks/>
              </p:cNvCxnSpPr>
              <p:nvPr/>
            </p:nvCxnSpPr>
            <p:spPr>
              <a:xfrm>
                <a:off x="6859226" y="3668102"/>
                <a:ext cx="5238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0" name="Straight Connector 249">
                <a:extLst>
                  <a:ext uri="{FF2B5EF4-FFF2-40B4-BE49-F238E27FC236}">
                    <a16:creationId xmlns:a16="http://schemas.microsoft.com/office/drawing/2014/main" id="{721B0BFA-376C-40C1-912B-D2B88CC42AF9}"/>
                  </a:ext>
                </a:extLst>
              </p:cNvPr>
              <p:cNvCxnSpPr>
                <a:cxnSpLocks/>
              </p:cNvCxnSpPr>
              <p:nvPr/>
            </p:nvCxnSpPr>
            <p:spPr>
              <a:xfrm>
                <a:off x="6859226" y="3934149"/>
                <a:ext cx="5238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1" name="Straight Connector 250">
                <a:extLst>
                  <a:ext uri="{FF2B5EF4-FFF2-40B4-BE49-F238E27FC236}">
                    <a16:creationId xmlns:a16="http://schemas.microsoft.com/office/drawing/2014/main" id="{32395888-DE1F-41AC-B216-412782706CF6}"/>
                  </a:ext>
                </a:extLst>
              </p:cNvPr>
              <p:cNvCxnSpPr>
                <a:cxnSpLocks/>
              </p:cNvCxnSpPr>
              <p:nvPr/>
            </p:nvCxnSpPr>
            <p:spPr>
              <a:xfrm>
                <a:off x="6859226" y="4200196"/>
                <a:ext cx="5238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2" name="Straight Connector 251">
                <a:extLst>
                  <a:ext uri="{FF2B5EF4-FFF2-40B4-BE49-F238E27FC236}">
                    <a16:creationId xmlns:a16="http://schemas.microsoft.com/office/drawing/2014/main" id="{4344F58E-D2AA-49DD-A70B-B3BCCC839F7A}"/>
                  </a:ext>
                </a:extLst>
              </p:cNvPr>
              <p:cNvCxnSpPr>
                <a:cxnSpLocks/>
              </p:cNvCxnSpPr>
              <p:nvPr/>
            </p:nvCxnSpPr>
            <p:spPr>
              <a:xfrm>
                <a:off x="6859226" y="4469975"/>
                <a:ext cx="5238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53" name="TextBox 252">
                <a:extLst>
                  <a:ext uri="{FF2B5EF4-FFF2-40B4-BE49-F238E27FC236}">
                    <a16:creationId xmlns:a16="http://schemas.microsoft.com/office/drawing/2014/main" id="{DC7EBF5C-AD42-49BB-8978-1CE77BCB1BFB}"/>
                  </a:ext>
                </a:extLst>
              </p:cNvPr>
              <p:cNvSpPr txBox="1"/>
              <p:nvPr/>
            </p:nvSpPr>
            <p:spPr>
              <a:xfrm>
                <a:off x="6524752" y="1712240"/>
                <a:ext cx="287945" cy="160566"/>
              </a:xfrm>
              <a:prstGeom prst="rect">
                <a:avLst/>
              </a:prstGeom>
              <a:solidFill>
                <a:schemeClr val="bg1"/>
              </a:solid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9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100</a:t>
                </a:r>
              </a:p>
            </p:txBody>
          </p:sp>
          <p:sp>
            <p:nvSpPr>
              <p:cNvPr id="254" name="TextBox 253">
                <a:extLst>
                  <a:ext uri="{FF2B5EF4-FFF2-40B4-BE49-F238E27FC236}">
                    <a16:creationId xmlns:a16="http://schemas.microsoft.com/office/drawing/2014/main" id="{74011162-69CD-41E5-9F19-9B888003772D}"/>
                  </a:ext>
                </a:extLst>
              </p:cNvPr>
              <p:cNvSpPr txBox="1"/>
              <p:nvPr/>
            </p:nvSpPr>
            <p:spPr>
              <a:xfrm>
                <a:off x="6524752" y="1981582"/>
                <a:ext cx="287945" cy="160566"/>
              </a:xfrm>
              <a:prstGeom prst="rect">
                <a:avLst/>
              </a:prstGeom>
              <a:solidFill>
                <a:schemeClr val="bg1"/>
              </a:solid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9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80</a:t>
                </a:r>
              </a:p>
            </p:txBody>
          </p:sp>
          <p:sp>
            <p:nvSpPr>
              <p:cNvPr id="255" name="TextBox 254">
                <a:extLst>
                  <a:ext uri="{FF2B5EF4-FFF2-40B4-BE49-F238E27FC236}">
                    <a16:creationId xmlns:a16="http://schemas.microsoft.com/office/drawing/2014/main" id="{75BFFA3A-5586-4DB6-8A1A-964C1A7AD8EA}"/>
                  </a:ext>
                </a:extLst>
              </p:cNvPr>
              <p:cNvSpPr txBox="1"/>
              <p:nvPr/>
            </p:nvSpPr>
            <p:spPr>
              <a:xfrm>
                <a:off x="6524752" y="2246608"/>
                <a:ext cx="287945" cy="160566"/>
              </a:xfrm>
              <a:prstGeom prst="rect">
                <a:avLst/>
              </a:prstGeom>
              <a:solidFill>
                <a:schemeClr val="bg1"/>
              </a:solid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9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60</a:t>
                </a:r>
              </a:p>
            </p:txBody>
          </p:sp>
          <p:sp>
            <p:nvSpPr>
              <p:cNvPr id="256" name="TextBox 255">
                <a:extLst>
                  <a:ext uri="{FF2B5EF4-FFF2-40B4-BE49-F238E27FC236}">
                    <a16:creationId xmlns:a16="http://schemas.microsoft.com/office/drawing/2014/main" id="{54F57D44-585C-4110-9706-C63B21C126EE}"/>
                  </a:ext>
                </a:extLst>
              </p:cNvPr>
              <p:cNvSpPr txBox="1"/>
              <p:nvPr/>
            </p:nvSpPr>
            <p:spPr>
              <a:xfrm>
                <a:off x="6524752" y="2511634"/>
                <a:ext cx="287945" cy="160566"/>
              </a:xfrm>
              <a:prstGeom prst="rect">
                <a:avLst/>
              </a:prstGeom>
              <a:solidFill>
                <a:schemeClr val="bg1"/>
              </a:solid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9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40</a:t>
                </a:r>
              </a:p>
            </p:txBody>
          </p:sp>
          <p:sp>
            <p:nvSpPr>
              <p:cNvPr id="257" name="TextBox 256">
                <a:extLst>
                  <a:ext uri="{FF2B5EF4-FFF2-40B4-BE49-F238E27FC236}">
                    <a16:creationId xmlns:a16="http://schemas.microsoft.com/office/drawing/2014/main" id="{73E688A2-2607-43B3-BD8F-1EED5CBB8117}"/>
                  </a:ext>
                </a:extLst>
              </p:cNvPr>
              <p:cNvSpPr txBox="1"/>
              <p:nvPr/>
            </p:nvSpPr>
            <p:spPr>
              <a:xfrm>
                <a:off x="6524752" y="2776659"/>
                <a:ext cx="287945" cy="160566"/>
              </a:xfrm>
              <a:prstGeom prst="rect">
                <a:avLst/>
              </a:prstGeom>
              <a:solidFill>
                <a:schemeClr val="bg1"/>
              </a:solid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9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20</a:t>
                </a:r>
              </a:p>
            </p:txBody>
          </p:sp>
          <p:sp>
            <p:nvSpPr>
              <p:cNvPr id="258" name="TextBox 257">
                <a:extLst>
                  <a:ext uri="{FF2B5EF4-FFF2-40B4-BE49-F238E27FC236}">
                    <a16:creationId xmlns:a16="http://schemas.microsoft.com/office/drawing/2014/main" id="{D24AED3D-5332-46DD-ABDE-0BE060FCB238}"/>
                  </a:ext>
                </a:extLst>
              </p:cNvPr>
              <p:cNvSpPr txBox="1"/>
              <p:nvPr/>
            </p:nvSpPr>
            <p:spPr>
              <a:xfrm>
                <a:off x="6524752" y="3041685"/>
                <a:ext cx="287945" cy="160566"/>
              </a:xfrm>
              <a:prstGeom prst="rect">
                <a:avLst/>
              </a:prstGeom>
              <a:solidFill>
                <a:schemeClr val="bg1"/>
              </a:solid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9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0</a:t>
                </a:r>
              </a:p>
            </p:txBody>
          </p:sp>
          <p:sp>
            <p:nvSpPr>
              <p:cNvPr id="259" name="TextBox 258">
                <a:extLst>
                  <a:ext uri="{FF2B5EF4-FFF2-40B4-BE49-F238E27FC236}">
                    <a16:creationId xmlns:a16="http://schemas.microsoft.com/office/drawing/2014/main" id="{E826E15B-D15F-4A95-9C69-4965B3CCF1D7}"/>
                  </a:ext>
                </a:extLst>
              </p:cNvPr>
              <p:cNvSpPr txBox="1"/>
              <p:nvPr/>
            </p:nvSpPr>
            <p:spPr>
              <a:xfrm>
                <a:off x="6524752" y="3306713"/>
                <a:ext cx="287945" cy="160566"/>
              </a:xfrm>
              <a:prstGeom prst="rect">
                <a:avLst/>
              </a:prstGeom>
              <a:solidFill>
                <a:schemeClr val="bg1"/>
              </a:solid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9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20</a:t>
                </a:r>
              </a:p>
            </p:txBody>
          </p:sp>
          <p:sp>
            <p:nvSpPr>
              <p:cNvPr id="260" name="TextBox 259">
                <a:extLst>
                  <a:ext uri="{FF2B5EF4-FFF2-40B4-BE49-F238E27FC236}">
                    <a16:creationId xmlns:a16="http://schemas.microsoft.com/office/drawing/2014/main" id="{2D108861-3EDD-4034-ABEB-86DC67F2C746}"/>
                  </a:ext>
                </a:extLst>
              </p:cNvPr>
              <p:cNvSpPr txBox="1"/>
              <p:nvPr/>
            </p:nvSpPr>
            <p:spPr>
              <a:xfrm>
                <a:off x="6524752" y="3583382"/>
                <a:ext cx="287945" cy="160566"/>
              </a:xfrm>
              <a:prstGeom prst="rect">
                <a:avLst/>
              </a:prstGeom>
              <a:solidFill>
                <a:schemeClr val="bg1"/>
              </a:solid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9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40</a:t>
                </a:r>
              </a:p>
            </p:txBody>
          </p:sp>
          <p:sp>
            <p:nvSpPr>
              <p:cNvPr id="261" name="TextBox 260">
                <a:extLst>
                  <a:ext uri="{FF2B5EF4-FFF2-40B4-BE49-F238E27FC236}">
                    <a16:creationId xmlns:a16="http://schemas.microsoft.com/office/drawing/2014/main" id="{A9B0AA34-A7CE-44AE-AD29-FEACE35C7D9F}"/>
                  </a:ext>
                </a:extLst>
              </p:cNvPr>
              <p:cNvSpPr txBox="1"/>
              <p:nvPr/>
            </p:nvSpPr>
            <p:spPr>
              <a:xfrm>
                <a:off x="6524752" y="3849708"/>
                <a:ext cx="287945" cy="160566"/>
              </a:xfrm>
              <a:prstGeom prst="rect">
                <a:avLst/>
              </a:prstGeom>
              <a:solidFill>
                <a:schemeClr val="bg1"/>
              </a:solid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9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60</a:t>
                </a:r>
              </a:p>
            </p:txBody>
          </p:sp>
          <p:sp>
            <p:nvSpPr>
              <p:cNvPr id="262" name="TextBox 261">
                <a:extLst>
                  <a:ext uri="{FF2B5EF4-FFF2-40B4-BE49-F238E27FC236}">
                    <a16:creationId xmlns:a16="http://schemas.microsoft.com/office/drawing/2014/main" id="{1A46D73E-7517-4F9D-A264-0BED9A4F4E5F}"/>
                  </a:ext>
                </a:extLst>
              </p:cNvPr>
              <p:cNvSpPr txBox="1"/>
              <p:nvPr/>
            </p:nvSpPr>
            <p:spPr>
              <a:xfrm>
                <a:off x="6524752" y="4115756"/>
                <a:ext cx="287945" cy="160566"/>
              </a:xfrm>
              <a:prstGeom prst="rect">
                <a:avLst/>
              </a:prstGeom>
              <a:solidFill>
                <a:schemeClr val="bg1"/>
              </a:solid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9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80</a:t>
                </a:r>
              </a:p>
            </p:txBody>
          </p:sp>
          <p:sp>
            <p:nvSpPr>
              <p:cNvPr id="263" name="TextBox 262">
                <a:extLst>
                  <a:ext uri="{FF2B5EF4-FFF2-40B4-BE49-F238E27FC236}">
                    <a16:creationId xmlns:a16="http://schemas.microsoft.com/office/drawing/2014/main" id="{5A8DF866-A02B-4900-A66C-86EEAF4724FB}"/>
                  </a:ext>
                </a:extLst>
              </p:cNvPr>
              <p:cNvSpPr txBox="1"/>
              <p:nvPr/>
            </p:nvSpPr>
            <p:spPr>
              <a:xfrm>
                <a:off x="6311795" y="4381804"/>
                <a:ext cx="500904" cy="160566"/>
              </a:xfrm>
              <a:prstGeom prst="rect">
                <a:avLst/>
              </a:prstGeom>
              <a:solidFill>
                <a:schemeClr val="bg1"/>
              </a:solid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9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100</a:t>
                </a:r>
              </a:p>
            </p:txBody>
          </p:sp>
        </p:grpSp>
        <p:sp>
          <p:nvSpPr>
            <p:cNvPr id="182" name="TextBox 181">
              <a:extLst>
                <a:ext uri="{FF2B5EF4-FFF2-40B4-BE49-F238E27FC236}">
                  <a16:creationId xmlns:a16="http://schemas.microsoft.com/office/drawing/2014/main" id="{DC5242E9-63AF-4454-839D-26B3AF8579FE}"/>
                </a:ext>
              </a:extLst>
            </p:cNvPr>
            <p:cNvSpPr txBox="1"/>
            <p:nvPr/>
          </p:nvSpPr>
          <p:spPr>
            <a:xfrm rot="16200000">
              <a:off x="5196974" y="3075518"/>
              <a:ext cx="2233965" cy="215845"/>
            </a:xfrm>
            <a:prstGeom prst="rect">
              <a:avLst/>
            </a:prstGeom>
            <a:solidFill>
              <a:schemeClr val="bg1"/>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10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 Change from baseline</a:t>
              </a:r>
            </a:p>
          </p:txBody>
        </p:sp>
        <p:sp>
          <p:nvSpPr>
            <p:cNvPr id="183" name="TextBox 182">
              <a:extLst>
                <a:ext uri="{FF2B5EF4-FFF2-40B4-BE49-F238E27FC236}">
                  <a16:creationId xmlns:a16="http://schemas.microsoft.com/office/drawing/2014/main" id="{88ADD5BD-64F9-42C9-A2A8-1396F19B411D}"/>
                </a:ext>
              </a:extLst>
            </p:cNvPr>
            <p:cNvSpPr txBox="1"/>
            <p:nvPr/>
          </p:nvSpPr>
          <p:spPr>
            <a:xfrm>
              <a:off x="8292763" y="1625699"/>
              <a:ext cx="1700887" cy="196248"/>
            </a:xfrm>
            <a:prstGeom prst="rect">
              <a:avLst/>
            </a:prstGeom>
            <a:solidFill>
              <a:schemeClr val="bg1"/>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1100" b="1" i="0" u="none" strike="noStrike" kern="0" cap="none" spc="0" normalizeH="0" baseline="0" noProof="0" err="1">
                  <a:ln>
                    <a:noFill/>
                  </a:ln>
                  <a:solidFill>
                    <a:srgbClr val="000000"/>
                  </a:solidFill>
                  <a:effectLst/>
                  <a:uLnTx/>
                  <a:uFillTx/>
                  <a:latin typeface="Arial" panose="020B0604020202020204" pitchFamily="34" charset="0"/>
                  <a:cs typeface="Arial" panose="020B0604020202020204" pitchFamily="34" charset="0"/>
                  <a:sym typeface="Arial"/>
                </a:rPr>
                <a:t>GemCis</a:t>
              </a:r>
              <a:r>
                <a:rPr kumimoji="0" lang="en-IN" sz="1100" b="1"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 + D + T</a:t>
              </a:r>
            </a:p>
          </p:txBody>
        </p:sp>
        <p:sp>
          <p:nvSpPr>
            <p:cNvPr id="184" name="Rectangle 183">
              <a:extLst>
                <a:ext uri="{FF2B5EF4-FFF2-40B4-BE49-F238E27FC236}">
                  <a16:creationId xmlns:a16="http://schemas.microsoft.com/office/drawing/2014/main" id="{AAF39C96-FEF9-4C32-94BF-97F6997E1478}"/>
                </a:ext>
              </a:extLst>
            </p:cNvPr>
            <p:cNvSpPr/>
            <p:nvPr/>
          </p:nvSpPr>
          <p:spPr>
            <a:xfrm>
              <a:off x="11482094" y="3140763"/>
              <a:ext cx="69239" cy="129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185" name="Rectangle 184">
              <a:extLst>
                <a:ext uri="{FF2B5EF4-FFF2-40B4-BE49-F238E27FC236}">
                  <a16:creationId xmlns:a16="http://schemas.microsoft.com/office/drawing/2014/main" id="{48D842D9-D78B-4FFE-AA5F-1FDF14E3933E}"/>
                </a:ext>
              </a:extLst>
            </p:cNvPr>
            <p:cNvSpPr/>
            <p:nvPr/>
          </p:nvSpPr>
          <p:spPr>
            <a:xfrm>
              <a:off x="11375505" y="3140763"/>
              <a:ext cx="69239" cy="9504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186" name="Rectangle 185">
              <a:extLst>
                <a:ext uri="{FF2B5EF4-FFF2-40B4-BE49-F238E27FC236}">
                  <a16:creationId xmlns:a16="http://schemas.microsoft.com/office/drawing/2014/main" id="{03B3CB0F-A36C-4785-9012-524C0711CED2}"/>
                </a:ext>
              </a:extLst>
            </p:cNvPr>
            <p:cNvSpPr/>
            <p:nvPr/>
          </p:nvSpPr>
          <p:spPr>
            <a:xfrm>
              <a:off x="11275310" y="3140763"/>
              <a:ext cx="69239" cy="93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187" name="Rectangle 186">
              <a:extLst>
                <a:ext uri="{FF2B5EF4-FFF2-40B4-BE49-F238E27FC236}">
                  <a16:creationId xmlns:a16="http://schemas.microsoft.com/office/drawing/2014/main" id="{A883D836-2A78-4D5A-BD5A-A4AD121B93B0}"/>
                </a:ext>
              </a:extLst>
            </p:cNvPr>
            <p:cNvSpPr/>
            <p:nvPr/>
          </p:nvSpPr>
          <p:spPr>
            <a:xfrm>
              <a:off x="11169640" y="3140763"/>
              <a:ext cx="69239" cy="882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188" name="Rectangle 187">
              <a:extLst>
                <a:ext uri="{FF2B5EF4-FFF2-40B4-BE49-F238E27FC236}">
                  <a16:creationId xmlns:a16="http://schemas.microsoft.com/office/drawing/2014/main" id="{41ECA420-351E-4DEE-A67E-5D15D5D51D51}"/>
                </a:ext>
              </a:extLst>
            </p:cNvPr>
            <p:cNvSpPr/>
            <p:nvPr/>
          </p:nvSpPr>
          <p:spPr>
            <a:xfrm>
              <a:off x="11067575" y="3140763"/>
              <a:ext cx="69239" cy="84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189" name="Rectangle 188">
              <a:extLst>
                <a:ext uri="{FF2B5EF4-FFF2-40B4-BE49-F238E27FC236}">
                  <a16:creationId xmlns:a16="http://schemas.microsoft.com/office/drawing/2014/main" id="{2290CB28-6993-4FBA-9055-13D304D02327}"/>
                </a:ext>
              </a:extLst>
            </p:cNvPr>
            <p:cNvSpPr/>
            <p:nvPr/>
          </p:nvSpPr>
          <p:spPr>
            <a:xfrm>
              <a:off x="10963099" y="3140763"/>
              <a:ext cx="69239" cy="82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190" name="Rectangle 189">
              <a:extLst>
                <a:ext uri="{FF2B5EF4-FFF2-40B4-BE49-F238E27FC236}">
                  <a16:creationId xmlns:a16="http://schemas.microsoft.com/office/drawing/2014/main" id="{167FCF4D-C677-4427-B928-B0CA2F662F6A}"/>
                </a:ext>
              </a:extLst>
            </p:cNvPr>
            <p:cNvSpPr/>
            <p:nvPr/>
          </p:nvSpPr>
          <p:spPr>
            <a:xfrm>
              <a:off x="10863079" y="3140763"/>
              <a:ext cx="69239" cy="748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191" name="Rectangle 190">
              <a:extLst>
                <a:ext uri="{FF2B5EF4-FFF2-40B4-BE49-F238E27FC236}">
                  <a16:creationId xmlns:a16="http://schemas.microsoft.com/office/drawing/2014/main" id="{50AA5E74-2A83-41DA-B616-0DBF022C813C}"/>
                </a:ext>
              </a:extLst>
            </p:cNvPr>
            <p:cNvSpPr/>
            <p:nvPr/>
          </p:nvSpPr>
          <p:spPr>
            <a:xfrm>
              <a:off x="10757546" y="3140763"/>
              <a:ext cx="69239" cy="73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192" name="Rectangle 191">
              <a:extLst>
                <a:ext uri="{FF2B5EF4-FFF2-40B4-BE49-F238E27FC236}">
                  <a16:creationId xmlns:a16="http://schemas.microsoft.com/office/drawing/2014/main" id="{0DF76B59-A246-4540-9ADD-E35DF2268AFA}"/>
                </a:ext>
              </a:extLst>
            </p:cNvPr>
            <p:cNvSpPr/>
            <p:nvPr/>
          </p:nvSpPr>
          <p:spPr>
            <a:xfrm>
              <a:off x="10654914" y="3140763"/>
              <a:ext cx="69239" cy="684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193" name="Rectangle 192">
              <a:extLst>
                <a:ext uri="{FF2B5EF4-FFF2-40B4-BE49-F238E27FC236}">
                  <a16:creationId xmlns:a16="http://schemas.microsoft.com/office/drawing/2014/main" id="{AA069DCC-C132-4D44-9EF4-CE57CFED52ED}"/>
                </a:ext>
              </a:extLst>
            </p:cNvPr>
            <p:cNvSpPr/>
            <p:nvPr/>
          </p:nvSpPr>
          <p:spPr>
            <a:xfrm>
              <a:off x="10552155" y="3140763"/>
              <a:ext cx="69239" cy="655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194" name="Rectangle 193">
              <a:extLst>
                <a:ext uri="{FF2B5EF4-FFF2-40B4-BE49-F238E27FC236}">
                  <a16:creationId xmlns:a16="http://schemas.microsoft.com/office/drawing/2014/main" id="{4DE0312E-3ADE-458E-A158-9D4364A2A8F0}"/>
                </a:ext>
              </a:extLst>
            </p:cNvPr>
            <p:cNvSpPr/>
            <p:nvPr/>
          </p:nvSpPr>
          <p:spPr>
            <a:xfrm>
              <a:off x="10446402" y="3140763"/>
              <a:ext cx="69239" cy="640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195" name="Rectangle 194">
              <a:extLst>
                <a:ext uri="{FF2B5EF4-FFF2-40B4-BE49-F238E27FC236}">
                  <a16:creationId xmlns:a16="http://schemas.microsoft.com/office/drawing/2014/main" id="{9989BDB4-BC76-476C-B668-2C43D6A9260C}"/>
                </a:ext>
              </a:extLst>
            </p:cNvPr>
            <p:cNvSpPr/>
            <p:nvPr/>
          </p:nvSpPr>
          <p:spPr>
            <a:xfrm>
              <a:off x="10343055" y="3140763"/>
              <a:ext cx="69239" cy="619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196" name="Rectangle 195">
              <a:extLst>
                <a:ext uri="{FF2B5EF4-FFF2-40B4-BE49-F238E27FC236}">
                  <a16:creationId xmlns:a16="http://schemas.microsoft.com/office/drawing/2014/main" id="{9688259A-F2EC-4CAA-8296-4ED3C10D42F3}"/>
                </a:ext>
              </a:extLst>
            </p:cNvPr>
            <p:cNvSpPr/>
            <p:nvPr/>
          </p:nvSpPr>
          <p:spPr>
            <a:xfrm>
              <a:off x="10241820" y="3140763"/>
              <a:ext cx="69239" cy="619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197" name="Rectangle 196">
              <a:extLst>
                <a:ext uri="{FF2B5EF4-FFF2-40B4-BE49-F238E27FC236}">
                  <a16:creationId xmlns:a16="http://schemas.microsoft.com/office/drawing/2014/main" id="{B12F9377-0C37-4E88-96D7-3D8F27D3F3D1}"/>
                </a:ext>
              </a:extLst>
            </p:cNvPr>
            <p:cNvSpPr/>
            <p:nvPr/>
          </p:nvSpPr>
          <p:spPr>
            <a:xfrm>
              <a:off x="10139949" y="3140763"/>
              <a:ext cx="69239" cy="594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198" name="Rectangle 197">
              <a:extLst>
                <a:ext uri="{FF2B5EF4-FFF2-40B4-BE49-F238E27FC236}">
                  <a16:creationId xmlns:a16="http://schemas.microsoft.com/office/drawing/2014/main" id="{C89EAC5E-146E-485F-91C4-D8B18DC52B2C}"/>
                </a:ext>
              </a:extLst>
            </p:cNvPr>
            <p:cNvSpPr/>
            <p:nvPr/>
          </p:nvSpPr>
          <p:spPr>
            <a:xfrm>
              <a:off x="10037625" y="3140763"/>
              <a:ext cx="69239" cy="57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199" name="Rectangle 198">
              <a:extLst>
                <a:ext uri="{FF2B5EF4-FFF2-40B4-BE49-F238E27FC236}">
                  <a16:creationId xmlns:a16="http://schemas.microsoft.com/office/drawing/2014/main" id="{51D6181C-EE57-4010-9D2E-6544B6DF4964}"/>
                </a:ext>
              </a:extLst>
            </p:cNvPr>
            <p:cNvSpPr/>
            <p:nvPr/>
          </p:nvSpPr>
          <p:spPr>
            <a:xfrm>
              <a:off x="9931036" y="3140763"/>
              <a:ext cx="69239" cy="57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200" name="Rectangle 199">
              <a:extLst>
                <a:ext uri="{FF2B5EF4-FFF2-40B4-BE49-F238E27FC236}">
                  <a16:creationId xmlns:a16="http://schemas.microsoft.com/office/drawing/2014/main" id="{32CE65E9-680C-4562-BF59-1B0116B1B007}"/>
                </a:ext>
              </a:extLst>
            </p:cNvPr>
            <p:cNvSpPr/>
            <p:nvPr/>
          </p:nvSpPr>
          <p:spPr>
            <a:xfrm>
              <a:off x="9828745" y="3140763"/>
              <a:ext cx="69239" cy="550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201" name="Rectangle 200">
              <a:extLst>
                <a:ext uri="{FF2B5EF4-FFF2-40B4-BE49-F238E27FC236}">
                  <a16:creationId xmlns:a16="http://schemas.microsoft.com/office/drawing/2014/main" id="{FD166660-88C0-439C-8009-7305AE497CEB}"/>
                </a:ext>
              </a:extLst>
            </p:cNvPr>
            <p:cNvSpPr/>
            <p:nvPr/>
          </p:nvSpPr>
          <p:spPr>
            <a:xfrm>
              <a:off x="9727150" y="3140763"/>
              <a:ext cx="69239" cy="54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202" name="Rectangle 201">
              <a:extLst>
                <a:ext uri="{FF2B5EF4-FFF2-40B4-BE49-F238E27FC236}">
                  <a16:creationId xmlns:a16="http://schemas.microsoft.com/office/drawing/2014/main" id="{D212DB6E-E0ED-4371-B6C2-E7DB6AAFC83F}"/>
                </a:ext>
              </a:extLst>
            </p:cNvPr>
            <p:cNvSpPr/>
            <p:nvPr/>
          </p:nvSpPr>
          <p:spPr>
            <a:xfrm>
              <a:off x="9624509" y="3140763"/>
              <a:ext cx="69239" cy="529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203" name="Rectangle 202">
              <a:extLst>
                <a:ext uri="{FF2B5EF4-FFF2-40B4-BE49-F238E27FC236}">
                  <a16:creationId xmlns:a16="http://schemas.microsoft.com/office/drawing/2014/main" id="{1DDDD2FC-7492-4931-8C29-C27C991A7809}"/>
                </a:ext>
              </a:extLst>
            </p:cNvPr>
            <p:cNvSpPr/>
            <p:nvPr/>
          </p:nvSpPr>
          <p:spPr>
            <a:xfrm>
              <a:off x="9519021" y="3140763"/>
              <a:ext cx="69239" cy="5184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204" name="Rectangle 203">
              <a:extLst>
                <a:ext uri="{FF2B5EF4-FFF2-40B4-BE49-F238E27FC236}">
                  <a16:creationId xmlns:a16="http://schemas.microsoft.com/office/drawing/2014/main" id="{1BA8A89F-18F0-43DA-A50D-0A185ACCFA78}"/>
                </a:ext>
              </a:extLst>
            </p:cNvPr>
            <p:cNvSpPr/>
            <p:nvPr/>
          </p:nvSpPr>
          <p:spPr>
            <a:xfrm>
              <a:off x="9419602" y="3140763"/>
              <a:ext cx="69239" cy="48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205" name="Rectangle 204">
              <a:extLst>
                <a:ext uri="{FF2B5EF4-FFF2-40B4-BE49-F238E27FC236}">
                  <a16:creationId xmlns:a16="http://schemas.microsoft.com/office/drawing/2014/main" id="{DB19F4AB-E1C4-4C6C-BE55-67DF940CC29B}"/>
                </a:ext>
              </a:extLst>
            </p:cNvPr>
            <p:cNvSpPr/>
            <p:nvPr/>
          </p:nvSpPr>
          <p:spPr>
            <a:xfrm>
              <a:off x="9315146" y="3140763"/>
              <a:ext cx="69239" cy="48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206" name="Rectangle 205">
              <a:extLst>
                <a:ext uri="{FF2B5EF4-FFF2-40B4-BE49-F238E27FC236}">
                  <a16:creationId xmlns:a16="http://schemas.microsoft.com/office/drawing/2014/main" id="{3C858B90-A3AE-4B25-9590-1E07568F87CE}"/>
                </a:ext>
              </a:extLst>
            </p:cNvPr>
            <p:cNvSpPr/>
            <p:nvPr/>
          </p:nvSpPr>
          <p:spPr>
            <a:xfrm>
              <a:off x="9209439" y="3140763"/>
              <a:ext cx="69239" cy="4824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207" name="Rectangle 206">
              <a:extLst>
                <a:ext uri="{FF2B5EF4-FFF2-40B4-BE49-F238E27FC236}">
                  <a16:creationId xmlns:a16="http://schemas.microsoft.com/office/drawing/2014/main" id="{728CE43E-2143-4811-BB91-6EDC07A5C74C}"/>
                </a:ext>
              </a:extLst>
            </p:cNvPr>
            <p:cNvSpPr/>
            <p:nvPr/>
          </p:nvSpPr>
          <p:spPr>
            <a:xfrm>
              <a:off x="9106092" y="3140763"/>
              <a:ext cx="69239" cy="453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208" name="Rectangle 207">
              <a:extLst>
                <a:ext uri="{FF2B5EF4-FFF2-40B4-BE49-F238E27FC236}">
                  <a16:creationId xmlns:a16="http://schemas.microsoft.com/office/drawing/2014/main" id="{D3A35438-05DE-431A-992C-24C58D6C517E}"/>
                </a:ext>
              </a:extLst>
            </p:cNvPr>
            <p:cNvSpPr/>
            <p:nvPr/>
          </p:nvSpPr>
          <p:spPr>
            <a:xfrm>
              <a:off x="9007309" y="3140763"/>
              <a:ext cx="69239" cy="453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209" name="Rectangle 208">
              <a:extLst>
                <a:ext uri="{FF2B5EF4-FFF2-40B4-BE49-F238E27FC236}">
                  <a16:creationId xmlns:a16="http://schemas.microsoft.com/office/drawing/2014/main" id="{A2B8FD06-AF83-419F-9E35-5391B03CC041}"/>
                </a:ext>
              </a:extLst>
            </p:cNvPr>
            <p:cNvSpPr/>
            <p:nvPr/>
          </p:nvSpPr>
          <p:spPr>
            <a:xfrm>
              <a:off x="8899163" y="3140763"/>
              <a:ext cx="69239" cy="432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210" name="Rectangle 209">
              <a:extLst>
                <a:ext uri="{FF2B5EF4-FFF2-40B4-BE49-F238E27FC236}">
                  <a16:creationId xmlns:a16="http://schemas.microsoft.com/office/drawing/2014/main" id="{23CA6A4F-B92C-46E3-80A3-B260013371AF}"/>
                </a:ext>
              </a:extLst>
            </p:cNvPr>
            <p:cNvSpPr/>
            <p:nvPr/>
          </p:nvSpPr>
          <p:spPr>
            <a:xfrm>
              <a:off x="8902150" y="3140763"/>
              <a:ext cx="69239" cy="435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211" name="Rectangle 210">
              <a:extLst>
                <a:ext uri="{FF2B5EF4-FFF2-40B4-BE49-F238E27FC236}">
                  <a16:creationId xmlns:a16="http://schemas.microsoft.com/office/drawing/2014/main" id="{FC63901B-4750-4F2A-B4E0-74677493D554}"/>
                </a:ext>
              </a:extLst>
            </p:cNvPr>
            <p:cNvSpPr/>
            <p:nvPr/>
          </p:nvSpPr>
          <p:spPr>
            <a:xfrm>
              <a:off x="8799826" y="3140763"/>
              <a:ext cx="69239" cy="432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212" name="Rectangle 211">
              <a:extLst>
                <a:ext uri="{FF2B5EF4-FFF2-40B4-BE49-F238E27FC236}">
                  <a16:creationId xmlns:a16="http://schemas.microsoft.com/office/drawing/2014/main" id="{4E25D4A3-D0DD-4584-9A54-2421E2CBE40C}"/>
                </a:ext>
              </a:extLst>
            </p:cNvPr>
            <p:cNvSpPr/>
            <p:nvPr/>
          </p:nvSpPr>
          <p:spPr>
            <a:xfrm>
              <a:off x="8696919" y="3140763"/>
              <a:ext cx="69239" cy="421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213" name="Rectangle 212">
              <a:extLst>
                <a:ext uri="{FF2B5EF4-FFF2-40B4-BE49-F238E27FC236}">
                  <a16:creationId xmlns:a16="http://schemas.microsoft.com/office/drawing/2014/main" id="{D263F8F2-25B6-454D-8ABE-4E7CE637AADF}"/>
                </a:ext>
              </a:extLst>
            </p:cNvPr>
            <p:cNvSpPr/>
            <p:nvPr/>
          </p:nvSpPr>
          <p:spPr>
            <a:xfrm>
              <a:off x="8591106" y="3140763"/>
              <a:ext cx="69239" cy="421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214" name="Rectangle 213">
              <a:extLst>
                <a:ext uri="{FF2B5EF4-FFF2-40B4-BE49-F238E27FC236}">
                  <a16:creationId xmlns:a16="http://schemas.microsoft.com/office/drawing/2014/main" id="{64583FEA-37C0-4A6A-ACC4-0B237C210886}"/>
                </a:ext>
              </a:extLst>
            </p:cNvPr>
            <p:cNvSpPr/>
            <p:nvPr/>
          </p:nvSpPr>
          <p:spPr>
            <a:xfrm>
              <a:off x="8486650" y="3140763"/>
              <a:ext cx="69239" cy="39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215" name="Rectangle 214">
              <a:extLst>
                <a:ext uri="{FF2B5EF4-FFF2-40B4-BE49-F238E27FC236}">
                  <a16:creationId xmlns:a16="http://schemas.microsoft.com/office/drawing/2014/main" id="{5EA2FAF1-CED3-4670-BDC9-115665DD8456}"/>
                </a:ext>
              </a:extLst>
            </p:cNvPr>
            <p:cNvSpPr/>
            <p:nvPr/>
          </p:nvSpPr>
          <p:spPr>
            <a:xfrm>
              <a:off x="8386277" y="3140763"/>
              <a:ext cx="69239" cy="388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216" name="Rectangle 215">
              <a:extLst>
                <a:ext uri="{FF2B5EF4-FFF2-40B4-BE49-F238E27FC236}">
                  <a16:creationId xmlns:a16="http://schemas.microsoft.com/office/drawing/2014/main" id="{AE05201B-9D01-425E-A94F-A77EC1947BB8}"/>
                </a:ext>
              </a:extLst>
            </p:cNvPr>
            <p:cNvSpPr/>
            <p:nvPr/>
          </p:nvSpPr>
          <p:spPr>
            <a:xfrm>
              <a:off x="8280538" y="3140763"/>
              <a:ext cx="69239" cy="388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217" name="Rectangle 216">
              <a:extLst>
                <a:ext uri="{FF2B5EF4-FFF2-40B4-BE49-F238E27FC236}">
                  <a16:creationId xmlns:a16="http://schemas.microsoft.com/office/drawing/2014/main" id="{81CF1B9E-A87A-4092-A5F4-C01130EC60D0}"/>
                </a:ext>
              </a:extLst>
            </p:cNvPr>
            <p:cNvSpPr/>
            <p:nvPr/>
          </p:nvSpPr>
          <p:spPr>
            <a:xfrm>
              <a:off x="8180926" y="3140763"/>
              <a:ext cx="69239" cy="388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218" name="Rectangle 217">
              <a:extLst>
                <a:ext uri="{FF2B5EF4-FFF2-40B4-BE49-F238E27FC236}">
                  <a16:creationId xmlns:a16="http://schemas.microsoft.com/office/drawing/2014/main" id="{A7C4CA1C-259D-46E9-BC20-7B04FD38A270}"/>
                </a:ext>
              </a:extLst>
            </p:cNvPr>
            <p:cNvSpPr/>
            <p:nvPr/>
          </p:nvSpPr>
          <p:spPr>
            <a:xfrm>
              <a:off x="8078819" y="3140763"/>
              <a:ext cx="69239" cy="360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219" name="Rectangle 218">
              <a:extLst>
                <a:ext uri="{FF2B5EF4-FFF2-40B4-BE49-F238E27FC236}">
                  <a16:creationId xmlns:a16="http://schemas.microsoft.com/office/drawing/2014/main" id="{A3F220DA-2BD9-484C-9C25-3D6147491B41}"/>
                </a:ext>
              </a:extLst>
            </p:cNvPr>
            <p:cNvSpPr/>
            <p:nvPr/>
          </p:nvSpPr>
          <p:spPr>
            <a:xfrm>
              <a:off x="7973054" y="3140763"/>
              <a:ext cx="69239" cy="345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220" name="Rectangle 219">
              <a:extLst>
                <a:ext uri="{FF2B5EF4-FFF2-40B4-BE49-F238E27FC236}">
                  <a16:creationId xmlns:a16="http://schemas.microsoft.com/office/drawing/2014/main" id="{6D8708D2-E472-4F9E-B69B-3C5EC23F9DFE}"/>
                </a:ext>
              </a:extLst>
            </p:cNvPr>
            <p:cNvSpPr/>
            <p:nvPr/>
          </p:nvSpPr>
          <p:spPr>
            <a:xfrm>
              <a:off x="7872830" y="3140763"/>
              <a:ext cx="69239" cy="2988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221" name="Rectangle 220">
              <a:extLst>
                <a:ext uri="{FF2B5EF4-FFF2-40B4-BE49-F238E27FC236}">
                  <a16:creationId xmlns:a16="http://schemas.microsoft.com/office/drawing/2014/main" id="{09DED491-0222-4931-9DF3-894080043768}"/>
                </a:ext>
              </a:extLst>
            </p:cNvPr>
            <p:cNvSpPr/>
            <p:nvPr/>
          </p:nvSpPr>
          <p:spPr>
            <a:xfrm>
              <a:off x="7767209" y="3140763"/>
              <a:ext cx="69239" cy="162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222" name="Rectangle 221">
              <a:extLst>
                <a:ext uri="{FF2B5EF4-FFF2-40B4-BE49-F238E27FC236}">
                  <a16:creationId xmlns:a16="http://schemas.microsoft.com/office/drawing/2014/main" id="{9A28234B-0EAB-4931-84DA-59CBBD439769}"/>
                </a:ext>
              </a:extLst>
            </p:cNvPr>
            <p:cNvSpPr/>
            <p:nvPr/>
          </p:nvSpPr>
          <p:spPr>
            <a:xfrm>
              <a:off x="7664629" y="3140763"/>
              <a:ext cx="69239" cy="1152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223" name="Rectangle 222">
              <a:extLst>
                <a:ext uri="{FF2B5EF4-FFF2-40B4-BE49-F238E27FC236}">
                  <a16:creationId xmlns:a16="http://schemas.microsoft.com/office/drawing/2014/main" id="{3384C7E4-39C6-47B5-B9EE-157A5D782B0D}"/>
                </a:ext>
              </a:extLst>
            </p:cNvPr>
            <p:cNvSpPr/>
            <p:nvPr/>
          </p:nvSpPr>
          <p:spPr>
            <a:xfrm>
              <a:off x="7561666" y="3140763"/>
              <a:ext cx="69239" cy="93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224" name="Rectangle 223">
              <a:extLst>
                <a:ext uri="{FF2B5EF4-FFF2-40B4-BE49-F238E27FC236}">
                  <a16:creationId xmlns:a16="http://schemas.microsoft.com/office/drawing/2014/main" id="{3844975C-AC2C-4D11-8287-B00CB28C1622}"/>
                </a:ext>
              </a:extLst>
            </p:cNvPr>
            <p:cNvSpPr/>
            <p:nvPr/>
          </p:nvSpPr>
          <p:spPr>
            <a:xfrm>
              <a:off x="7459044" y="3140763"/>
              <a:ext cx="69239" cy="828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225" name="Rectangle 224">
              <a:extLst>
                <a:ext uri="{FF2B5EF4-FFF2-40B4-BE49-F238E27FC236}">
                  <a16:creationId xmlns:a16="http://schemas.microsoft.com/office/drawing/2014/main" id="{5DFAE3A3-F757-46A1-89BE-D1F159B5E259}"/>
                </a:ext>
              </a:extLst>
            </p:cNvPr>
            <p:cNvSpPr/>
            <p:nvPr/>
          </p:nvSpPr>
          <p:spPr>
            <a:xfrm>
              <a:off x="7357107" y="3140763"/>
              <a:ext cx="69239" cy="3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sp>
          <p:nvSpPr>
            <p:cNvPr id="226" name="Rectangle 225">
              <a:extLst>
                <a:ext uri="{FF2B5EF4-FFF2-40B4-BE49-F238E27FC236}">
                  <a16:creationId xmlns:a16="http://schemas.microsoft.com/office/drawing/2014/main" id="{9196BB2E-0413-439F-B4A2-B49A87EE71F5}"/>
                </a:ext>
              </a:extLst>
            </p:cNvPr>
            <p:cNvSpPr/>
            <p:nvPr/>
          </p:nvSpPr>
          <p:spPr>
            <a:xfrm>
              <a:off x="6945373" y="2856005"/>
              <a:ext cx="69239" cy="280800"/>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cxnSp>
          <p:nvCxnSpPr>
            <p:cNvPr id="227" name="Straight Connector 226">
              <a:extLst>
                <a:ext uri="{FF2B5EF4-FFF2-40B4-BE49-F238E27FC236}">
                  <a16:creationId xmlns:a16="http://schemas.microsoft.com/office/drawing/2014/main" id="{A709F85B-87B1-4AEF-8A2C-E13DD0ED111B}"/>
                </a:ext>
              </a:extLst>
            </p:cNvPr>
            <p:cNvCxnSpPr>
              <a:cxnSpLocks/>
            </p:cNvCxnSpPr>
            <p:nvPr/>
          </p:nvCxnSpPr>
          <p:spPr>
            <a:xfrm flipH="1">
              <a:off x="6916047" y="3134436"/>
              <a:ext cx="473588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28" name="Group 227">
              <a:extLst>
                <a:ext uri="{FF2B5EF4-FFF2-40B4-BE49-F238E27FC236}">
                  <a16:creationId xmlns:a16="http://schemas.microsoft.com/office/drawing/2014/main" id="{F6DFEB62-D47E-4487-9765-023AEBC5A3AB}"/>
                </a:ext>
              </a:extLst>
            </p:cNvPr>
            <p:cNvGrpSpPr/>
            <p:nvPr/>
          </p:nvGrpSpPr>
          <p:grpSpPr>
            <a:xfrm>
              <a:off x="9971546" y="2242907"/>
              <a:ext cx="1679313" cy="131951"/>
              <a:chOff x="9971546" y="2242907"/>
              <a:chExt cx="1679313" cy="131951"/>
            </a:xfrm>
          </p:grpSpPr>
          <p:grpSp>
            <p:nvGrpSpPr>
              <p:cNvPr id="229" name="Group 228">
                <a:extLst>
                  <a:ext uri="{FF2B5EF4-FFF2-40B4-BE49-F238E27FC236}">
                    <a16:creationId xmlns:a16="http://schemas.microsoft.com/office/drawing/2014/main" id="{F9C28320-4A93-4720-83D2-E631B2D7072B}"/>
                  </a:ext>
                </a:extLst>
              </p:cNvPr>
              <p:cNvGrpSpPr/>
              <p:nvPr/>
            </p:nvGrpSpPr>
            <p:grpSpPr>
              <a:xfrm>
                <a:off x="10423613" y="2246549"/>
                <a:ext cx="336425" cy="128309"/>
                <a:chOff x="10426306" y="2242907"/>
                <a:chExt cx="336425" cy="128309"/>
              </a:xfrm>
            </p:grpSpPr>
            <p:sp>
              <p:nvSpPr>
                <p:cNvPr id="239" name="TextBox 238">
                  <a:extLst>
                    <a:ext uri="{FF2B5EF4-FFF2-40B4-BE49-F238E27FC236}">
                      <a16:creationId xmlns:a16="http://schemas.microsoft.com/office/drawing/2014/main" id="{5E99EB9C-0D66-4744-AF1E-3FB32C5C6DBC}"/>
                    </a:ext>
                  </a:extLst>
                </p:cNvPr>
                <p:cNvSpPr txBox="1"/>
                <p:nvPr/>
              </p:nvSpPr>
              <p:spPr>
                <a:xfrm>
                  <a:off x="10544637" y="2242907"/>
                  <a:ext cx="218094" cy="124885"/>
                </a:xfrm>
                <a:prstGeom prst="rect">
                  <a:avLst/>
                </a:prstGeom>
                <a:solidFill>
                  <a:schemeClr val="bg1"/>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7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SD</a:t>
                  </a:r>
                </a:p>
              </p:txBody>
            </p:sp>
            <p:sp>
              <p:nvSpPr>
                <p:cNvPr id="240" name="Rectangle 239">
                  <a:extLst>
                    <a:ext uri="{FF2B5EF4-FFF2-40B4-BE49-F238E27FC236}">
                      <a16:creationId xmlns:a16="http://schemas.microsoft.com/office/drawing/2014/main" id="{6B50313E-3D1E-4DD8-9C70-BCBACF3EA20D}"/>
                    </a:ext>
                  </a:extLst>
                </p:cNvPr>
                <p:cNvSpPr/>
                <p:nvPr/>
              </p:nvSpPr>
              <p:spPr>
                <a:xfrm>
                  <a:off x="10426306" y="2268897"/>
                  <a:ext cx="107149" cy="10231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grpSp>
          <p:grpSp>
            <p:nvGrpSpPr>
              <p:cNvPr id="230" name="Group 229">
                <a:extLst>
                  <a:ext uri="{FF2B5EF4-FFF2-40B4-BE49-F238E27FC236}">
                    <a16:creationId xmlns:a16="http://schemas.microsoft.com/office/drawing/2014/main" id="{548610C3-BE56-4CE8-974C-94343C18439D}"/>
                  </a:ext>
                </a:extLst>
              </p:cNvPr>
              <p:cNvGrpSpPr/>
              <p:nvPr/>
            </p:nvGrpSpPr>
            <p:grpSpPr>
              <a:xfrm>
                <a:off x="10867798" y="2242907"/>
                <a:ext cx="330994" cy="128309"/>
                <a:chOff x="10868647" y="2242907"/>
                <a:chExt cx="330994" cy="128309"/>
              </a:xfrm>
            </p:grpSpPr>
            <p:sp>
              <p:nvSpPr>
                <p:cNvPr id="237" name="TextBox 236">
                  <a:extLst>
                    <a:ext uri="{FF2B5EF4-FFF2-40B4-BE49-F238E27FC236}">
                      <a16:creationId xmlns:a16="http://schemas.microsoft.com/office/drawing/2014/main" id="{D7ECAFB9-5DBB-4B47-82C6-25C0C919A3EC}"/>
                    </a:ext>
                  </a:extLst>
                </p:cNvPr>
                <p:cNvSpPr txBox="1"/>
                <p:nvPr/>
              </p:nvSpPr>
              <p:spPr>
                <a:xfrm>
                  <a:off x="10981547" y="2242907"/>
                  <a:ext cx="218094" cy="124885"/>
                </a:xfrm>
                <a:prstGeom prst="rect">
                  <a:avLst/>
                </a:prstGeom>
                <a:solidFill>
                  <a:schemeClr val="bg1"/>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7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PR</a:t>
                  </a:r>
                </a:p>
              </p:txBody>
            </p:sp>
            <p:sp>
              <p:nvSpPr>
                <p:cNvPr id="238" name="Rectangle 237">
                  <a:extLst>
                    <a:ext uri="{FF2B5EF4-FFF2-40B4-BE49-F238E27FC236}">
                      <a16:creationId xmlns:a16="http://schemas.microsoft.com/office/drawing/2014/main" id="{80B686AD-9C76-4AA3-AB6B-8438591EEC98}"/>
                    </a:ext>
                  </a:extLst>
                </p:cNvPr>
                <p:cNvSpPr/>
                <p:nvPr/>
              </p:nvSpPr>
              <p:spPr>
                <a:xfrm>
                  <a:off x="10868647" y="2268897"/>
                  <a:ext cx="107149" cy="10231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grpSp>
          <p:grpSp>
            <p:nvGrpSpPr>
              <p:cNvPr id="231" name="Group 230">
                <a:extLst>
                  <a:ext uri="{FF2B5EF4-FFF2-40B4-BE49-F238E27FC236}">
                    <a16:creationId xmlns:a16="http://schemas.microsoft.com/office/drawing/2014/main" id="{DB948846-822F-493C-98D6-0ACBF9398A82}"/>
                  </a:ext>
                </a:extLst>
              </p:cNvPr>
              <p:cNvGrpSpPr/>
              <p:nvPr/>
            </p:nvGrpSpPr>
            <p:grpSpPr>
              <a:xfrm>
                <a:off x="11306552" y="2246549"/>
                <a:ext cx="344307" cy="128309"/>
                <a:chOff x="11306552" y="2242907"/>
                <a:chExt cx="344307" cy="128309"/>
              </a:xfrm>
            </p:grpSpPr>
            <p:sp>
              <p:nvSpPr>
                <p:cNvPr id="235" name="TextBox 234">
                  <a:extLst>
                    <a:ext uri="{FF2B5EF4-FFF2-40B4-BE49-F238E27FC236}">
                      <a16:creationId xmlns:a16="http://schemas.microsoft.com/office/drawing/2014/main" id="{904B9CF9-9ED0-4E5A-ADCD-6702AC37C8D6}"/>
                    </a:ext>
                  </a:extLst>
                </p:cNvPr>
                <p:cNvSpPr txBox="1"/>
                <p:nvPr/>
              </p:nvSpPr>
              <p:spPr>
                <a:xfrm>
                  <a:off x="11432766" y="2242907"/>
                  <a:ext cx="218093" cy="124885"/>
                </a:xfrm>
                <a:prstGeom prst="rect">
                  <a:avLst/>
                </a:prstGeom>
                <a:solidFill>
                  <a:schemeClr val="bg1"/>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7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CR</a:t>
                  </a:r>
                </a:p>
              </p:txBody>
            </p:sp>
            <p:sp>
              <p:nvSpPr>
                <p:cNvPr id="236" name="Rectangle 235">
                  <a:extLst>
                    <a:ext uri="{FF2B5EF4-FFF2-40B4-BE49-F238E27FC236}">
                      <a16:creationId xmlns:a16="http://schemas.microsoft.com/office/drawing/2014/main" id="{BF2B8CF5-7BB7-46EB-ADD5-BE411C7C661E}"/>
                    </a:ext>
                  </a:extLst>
                </p:cNvPr>
                <p:cNvSpPr/>
                <p:nvPr/>
              </p:nvSpPr>
              <p:spPr>
                <a:xfrm>
                  <a:off x="11306552" y="2268897"/>
                  <a:ext cx="107149" cy="1023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grpSp>
          <p:grpSp>
            <p:nvGrpSpPr>
              <p:cNvPr id="232" name="Group 231">
                <a:extLst>
                  <a:ext uri="{FF2B5EF4-FFF2-40B4-BE49-F238E27FC236}">
                    <a16:creationId xmlns:a16="http://schemas.microsoft.com/office/drawing/2014/main" id="{3AC47A52-8C6B-4B2A-A2F5-145F814F47E5}"/>
                  </a:ext>
                </a:extLst>
              </p:cNvPr>
              <p:cNvGrpSpPr/>
              <p:nvPr/>
            </p:nvGrpSpPr>
            <p:grpSpPr>
              <a:xfrm>
                <a:off x="9971546" y="2246549"/>
                <a:ext cx="344307" cy="128309"/>
                <a:chOff x="11306552" y="2242907"/>
                <a:chExt cx="344307" cy="128309"/>
              </a:xfrm>
            </p:grpSpPr>
            <p:sp>
              <p:nvSpPr>
                <p:cNvPr id="233" name="TextBox 232">
                  <a:extLst>
                    <a:ext uri="{FF2B5EF4-FFF2-40B4-BE49-F238E27FC236}">
                      <a16:creationId xmlns:a16="http://schemas.microsoft.com/office/drawing/2014/main" id="{C01CE353-A77A-4202-A8DE-7C363A6BCD6D}"/>
                    </a:ext>
                  </a:extLst>
                </p:cNvPr>
                <p:cNvSpPr txBox="1"/>
                <p:nvPr/>
              </p:nvSpPr>
              <p:spPr>
                <a:xfrm>
                  <a:off x="11432766" y="2242907"/>
                  <a:ext cx="218093" cy="124885"/>
                </a:xfrm>
                <a:prstGeom prst="rect">
                  <a:avLst/>
                </a:prstGeom>
                <a:solidFill>
                  <a:schemeClr val="bg1"/>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IN" sz="7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a:rPr>
                    <a:t>PD</a:t>
                  </a:r>
                </a:p>
              </p:txBody>
            </p:sp>
            <p:sp>
              <p:nvSpPr>
                <p:cNvPr id="234" name="Rectangle 233">
                  <a:extLst>
                    <a:ext uri="{FF2B5EF4-FFF2-40B4-BE49-F238E27FC236}">
                      <a16:creationId xmlns:a16="http://schemas.microsoft.com/office/drawing/2014/main" id="{E259819F-37A8-4792-BCBC-6DC80A4365AF}"/>
                    </a:ext>
                  </a:extLst>
                </p:cNvPr>
                <p:cNvSpPr/>
                <p:nvPr/>
              </p:nvSpPr>
              <p:spPr>
                <a:xfrm>
                  <a:off x="11306552" y="2268897"/>
                  <a:ext cx="107149" cy="102319"/>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1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grpSp>
        </p:grpSp>
      </p:grpSp>
    </p:spTree>
    <p:extLst>
      <p:ext uri="{BB962C8B-B14F-4D97-AF65-F5344CB8AC3E}">
        <p14:creationId xmlns:p14="http://schemas.microsoft.com/office/powerpoint/2010/main" val="2540036917"/>
      </p:ext>
    </p:extLst>
  </p:cSld>
  <p:clrMapOvr>
    <a:masterClrMapping/>
  </p:clrMapOvr>
  <p:transition>
    <p:fade/>
  </p:transition>
</p:sld>
</file>

<file path=ppt/slides/slide8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5F92722C-BD15-6541-3FD1-C0AC95150482}"/>
              </a:ext>
            </a:extLst>
          </p:cNvPr>
          <p:cNvSpPr>
            <a:spLocks noGrp="1"/>
          </p:cNvSpPr>
          <p:nvPr>
            <p:ph type="ctrTitle" idx="4294967295"/>
          </p:nvPr>
        </p:nvSpPr>
        <p:spPr>
          <a:xfrm>
            <a:off x="330886" y="398969"/>
            <a:ext cx="11213020" cy="576000"/>
          </a:xfrm>
          <a:prstGeom prst="rect">
            <a:avLst/>
          </a:prstGeom>
        </p:spPr>
        <p:txBody>
          <a:bodyPr/>
          <a:lstStyle/>
          <a:p>
            <a:r>
              <a:rPr lang="en-US" sz="3733" b="1" dirty="0">
                <a:latin typeface="Arial Narrow" panose="020B0604020202020204" pitchFamily="34" charset="0"/>
                <a:cs typeface="Arial Narrow" panose="020B0604020202020204" pitchFamily="34" charset="0"/>
              </a:rPr>
              <a:t>IO-Phase-III studies in BTC: TOPAZ-1 &amp; KEYNOTE-966</a:t>
            </a:r>
            <a:endParaRPr lang="de-DE" sz="3733" b="1" dirty="0">
              <a:latin typeface="Arial Narrow" panose="020B0604020202020204" pitchFamily="34" charset="0"/>
              <a:cs typeface="Arial Narrow" panose="020B0604020202020204" pitchFamily="34" charset="0"/>
            </a:endParaRPr>
          </a:p>
        </p:txBody>
      </p:sp>
      <p:grpSp>
        <p:nvGrpSpPr>
          <p:cNvPr id="6" name="Group 17">
            <a:extLst>
              <a:ext uri="{FF2B5EF4-FFF2-40B4-BE49-F238E27FC236}">
                <a16:creationId xmlns:a16="http://schemas.microsoft.com/office/drawing/2014/main" id="{25CCE5AF-D913-7B12-5FBA-DF03F66D3083}"/>
              </a:ext>
            </a:extLst>
          </p:cNvPr>
          <p:cNvGrpSpPr/>
          <p:nvPr/>
        </p:nvGrpSpPr>
        <p:grpSpPr>
          <a:xfrm>
            <a:off x="420912" y="1639618"/>
            <a:ext cx="10999560" cy="1822495"/>
            <a:chOff x="420914" y="1393666"/>
            <a:chExt cx="11575148" cy="2035334"/>
          </a:xfrm>
        </p:grpSpPr>
        <p:cxnSp>
          <p:nvCxnSpPr>
            <p:cNvPr id="7" name="Connector: Elbow 18">
              <a:extLst>
                <a:ext uri="{FF2B5EF4-FFF2-40B4-BE49-F238E27FC236}">
                  <a16:creationId xmlns:a16="http://schemas.microsoft.com/office/drawing/2014/main" id="{0F9C0B0C-AB0B-4D22-2C66-146697031E33}"/>
                </a:ext>
              </a:extLst>
            </p:cNvPr>
            <p:cNvCxnSpPr>
              <a:cxnSpLocks/>
            </p:cNvCxnSpPr>
            <p:nvPr/>
          </p:nvCxnSpPr>
          <p:spPr>
            <a:xfrm>
              <a:off x="5601433" y="2321774"/>
              <a:ext cx="615951" cy="623609"/>
            </a:xfrm>
            <a:prstGeom prst="bentConnector3">
              <a:avLst>
                <a:gd name="adj1" fmla="val 50000"/>
              </a:avLst>
            </a:prstGeom>
            <a:solidFill>
              <a:schemeClr val="bg1"/>
            </a:solidFill>
            <a:ln w="38100">
              <a:solidFill>
                <a:srgbClr val="371643"/>
              </a:solidFill>
              <a:tailEnd type="triangle"/>
            </a:ln>
          </p:spPr>
          <p:style>
            <a:lnRef idx="1">
              <a:schemeClr val="accent1"/>
            </a:lnRef>
            <a:fillRef idx="0">
              <a:schemeClr val="accent1"/>
            </a:fillRef>
            <a:effectRef idx="0">
              <a:schemeClr val="accent1"/>
            </a:effectRef>
            <a:fontRef idx="minor">
              <a:schemeClr val="tx1"/>
            </a:fontRef>
          </p:style>
        </p:cxnSp>
        <p:grpSp>
          <p:nvGrpSpPr>
            <p:cNvPr id="8" name="Group 19">
              <a:extLst>
                <a:ext uri="{FF2B5EF4-FFF2-40B4-BE49-F238E27FC236}">
                  <a16:creationId xmlns:a16="http://schemas.microsoft.com/office/drawing/2014/main" id="{74F535E7-36E2-F7AB-F4E8-BBFF8A8B148B}"/>
                </a:ext>
              </a:extLst>
            </p:cNvPr>
            <p:cNvGrpSpPr/>
            <p:nvPr/>
          </p:nvGrpSpPr>
          <p:grpSpPr>
            <a:xfrm>
              <a:off x="420914" y="1393666"/>
              <a:ext cx="11575148" cy="2035334"/>
              <a:chOff x="420914" y="1646116"/>
              <a:chExt cx="11575148" cy="2035334"/>
            </a:xfrm>
          </p:grpSpPr>
          <p:grpSp>
            <p:nvGrpSpPr>
              <p:cNvPr id="9" name="Group 20">
                <a:extLst>
                  <a:ext uri="{FF2B5EF4-FFF2-40B4-BE49-F238E27FC236}">
                    <a16:creationId xmlns:a16="http://schemas.microsoft.com/office/drawing/2014/main" id="{061BEB29-91C2-3D6C-6347-B961D668553B}"/>
                  </a:ext>
                </a:extLst>
              </p:cNvPr>
              <p:cNvGrpSpPr/>
              <p:nvPr/>
            </p:nvGrpSpPr>
            <p:grpSpPr>
              <a:xfrm>
                <a:off x="990600" y="1646116"/>
                <a:ext cx="8576415" cy="2035334"/>
                <a:chOff x="838200" y="1722450"/>
                <a:chExt cx="8576415" cy="1946899"/>
              </a:xfrm>
              <a:solidFill>
                <a:schemeClr val="bg1"/>
              </a:solidFill>
            </p:grpSpPr>
            <p:cxnSp>
              <p:nvCxnSpPr>
                <p:cNvPr id="13" name="Connector: Elbow 24">
                  <a:extLst>
                    <a:ext uri="{FF2B5EF4-FFF2-40B4-BE49-F238E27FC236}">
                      <a16:creationId xmlns:a16="http://schemas.microsoft.com/office/drawing/2014/main" id="{4DB74F7F-0993-813D-5517-1DBF60785C15}"/>
                    </a:ext>
                  </a:extLst>
                </p:cNvPr>
                <p:cNvCxnSpPr>
                  <a:cxnSpLocks/>
                </p:cNvCxnSpPr>
                <p:nvPr/>
              </p:nvCxnSpPr>
              <p:spPr>
                <a:xfrm flipV="1">
                  <a:off x="5421710" y="2179560"/>
                  <a:ext cx="615951" cy="596513"/>
                </a:xfrm>
                <a:prstGeom prst="bentConnector3">
                  <a:avLst>
                    <a:gd name="adj1" fmla="val 50000"/>
                  </a:avLst>
                </a:prstGeom>
                <a:grpFill/>
                <a:ln w="38100">
                  <a:solidFill>
                    <a:srgbClr val="371643"/>
                  </a:solidFill>
                  <a:tailEnd type="triangle"/>
                </a:ln>
              </p:spPr>
              <p:style>
                <a:lnRef idx="1">
                  <a:schemeClr val="accent1"/>
                </a:lnRef>
                <a:fillRef idx="0">
                  <a:schemeClr val="accent1"/>
                </a:fillRef>
                <a:effectRef idx="0">
                  <a:schemeClr val="accent1"/>
                </a:effectRef>
                <a:fontRef idx="minor">
                  <a:schemeClr val="tx1"/>
                </a:fontRef>
              </p:style>
            </p:cxnSp>
            <p:sp>
              <p:nvSpPr>
                <p:cNvPr id="14" name="Rectangle: Rounded Corners 25">
                  <a:extLst>
                    <a:ext uri="{FF2B5EF4-FFF2-40B4-BE49-F238E27FC236}">
                      <a16:creationId xmlns:a16="http://schemas.microsoft.com/office/drawing/2014/main" id="{A30B390E-6106-4BAA-18CD-A580B39302CB}"/>
                    </a:ext>
                  </a:extLst>
                </p:cNvPr>
                <p:cNvSpPr/>
                <p:nvPr/>
              </p:nvSpPr>
              <p:spPr>
                <a:xfrm>
                  <a:off x="6044012" y="1727942"/>
                  <a:ext cx="3057328" cy="903235"/>
                </a:xfrm>
                <a:prstGeom prst="roundRect">
                  <a:avLst/>
                </a:prstGeom>
                <a:solidFill>
                  <a:srgbClr val="FFFFFF"/>
                </a:solidFill>
                <a:ln w="38100">
                  <a:solidFill>
                    <a:srgbClr val="37164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51" b="1"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Durvalumab </a:t>
                  </a:r>
                  <a:r>
                    <a:rPr kumimoji="0" lang="en-US" sz="1051"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1500 mg on day 1 Q3W</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51" b="1"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 gemcitabine </a:t>
                  </a:r>
                  <a:r>
                    <a:rPr kumimoji="0" lang="en-US" sz="1051"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1000 mg/m</a:t>
                  </a:r>
                  <a:r>
                    <a:rPr kumimoji="0" lang="en-US" sz="1051" b="0" i="0" u="none" strike="noStrike" kern="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2</a:t>
                  </a:r>
                  <a:r>
                    <a:rPr kumimoji="0" lang="en-US" sz="1051"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 and </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51" b="1"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cisplatin </a:t>
                  </a:r>
                  <a:r>
                    <a:rPr kumimoji="0" lang="en-US" sz="1051"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25 mg/m</a:t>
                  </a:r>
                  <a:r>
                    <a:rPr kumimoji="0" lang="en-US" sz="1051" b="0" i="0" u="none" strike="noStrike" kern="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2</a:t>
                  </a:r>
                  <a:r>
                    <a:rPr kumimoji="0" lang="en-US" sz="1051"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 on days 1 and 8 Q3W [up to 8 cycles]</a:t>
                  </a:r>
                  <a:r>
                    <a:rPr kumimoji="0" lang="en-US" sz="1051" b="0" i="0" u="none" strike="noStrike" kern="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1</a:t>
                  </a:r>
                </a:p>
              </p:txBody>
            </p:sp>
            <p:sp>
              <p:nvSpPr>
                <p:cNvPr id="15" name="Oval 14">
                  <a:extLst>
                    <a:ext uri="{FF2B5EF4-FFF2-40B4-BE49-F238E27FC236}">
                      <a16:creationId xmlns:a16="http://schemas.microsoft.com/office/drawing/2014/main" id="{FA7E9890-F7D8-3065-3FD8-11F3DC2FE0B1}"/>
                    </a:ext>
                  </a:extLst>
                </p:cNvPr>
                <p:cNvSpPr/>
                <p:nvPr/>
              </p:nvSpPr>
              <p:spPr>
                <a:xfrm>
                  <a:off x="4787576" y="2241535"/>
                  <a:ext cx="1066796" cy="903235"/>
                </a:xfrm>
                <a:prstGeom prst="ellipse">
                  <a:avLst/>
                </a:prstGeom>
                <a:solidFill>
                  <a:srgbClr val="371643"/>
                </a:solidFill>
                <a:ln w="38100">
                  <a:solidFill>
                    <a:srgbClr val="37164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51"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a:rPr>
                    <a:t>R 1:1</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51" b="0"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a:rPr>
                    <a:t>N=685</a:t>
                  </a:r>
                  <a:r>
                    <a:rPr kumimoji="0" lang="en-US" sz="1051" b="0" i="0" u="none" strike="noStrike" kern="0" cap="none" spc="0" normalizeH="0" baseline="30000" noProof="0" dirty="0">
                      <a:ln>
                        <a:noFill/>
                      </a:ln>
                      <a:solidFill>
                        <a:srgbClr val="FFFFFF"/>
                      </a:solidFill>
                      <a:effectLst/>
                      <a:uLnTx/>
                      <a:uFillTx/>
                      <a:latin typeface="Arial" panose="020B0604020202020204" pitchFamily="34" charset="0"/>
                      <a:ea typeface="+mn-ea"/>
                      <a:cs typeface="Arial" panose="020B0604020202020204" pitchFamily="34" charset="0"/>
                      <a:sym typeface="Arial"/>
                    </a:rPr>
                    <a:t>1</a:t>
                  </a:r>
                </a:p>
              </p:txBody>
            </p:sp>
            <p:sp>
              <p:nvSpPr>
                <p:cNvPr id="16" name="Rectangle: Rounded Corners 27">
                  <a:extLst>
                    <a:ext uri="{FF2B5EF4-FFF2-40B4-BE49-F238E27FC236}">
                      <a16:creationId xmlns:a16="http://schemas.microsoft.com/office/drawing/2014/main" id="{DD6E4A94-7BCD-9DCB-B5E8-D1BF8467B61B}"/>
                    </a:ext>
                  </a:extLst>
                </p:cNvPr>
                <p:cNvSpPr/>
                <p:nvPr/>
              </p:nvSpPr>
              <p:spPr>
                <a:xfrm>
                  <a:off x="6044012" y="2766114"/>
                  <a:ext cx="3057328" cy="903235"/>
                </a:xfrm>
                <a:prstGeom prst="roundRect">
                  <a:avLst/>
                </a:prstGeom>
                <a:solidFill>
                  <a:srgbClr val="FFFFFF"/>
                </a:solidFill>
                <a:ln w="38100">
                  <a:solidFill>
                    <a:srgbClr val="37164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51" b="1"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Placebo</a:t>
                  </a:r>
                  <a:r>
                    <a:rPr kumimoji="0" lang="en-US" sz="1051"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 on day 1 Q3W</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51" b="1"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 gemcitabine </a:t>
                  </a:r>
                  <a:r>
                    <a:rPr kumimoji="0" lang="en-US" sz="1051"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1000 mg/m</a:t>
                  </a:r>
                  <a:r>
                    <a:rPr kumimoji="0" lang="en-US" sz="1051" b="0" i="0" u="none" strike="noStrike" kern="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2</a:t>
                  </a:r>
                  <a:r>
                    <a:rPr kumimoji="0" lang="en-US" sz="1051"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 and </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51" b="1"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cisplatin </a:t>
                  </a:r>
                  <a:r>
                    <a:rPr kumimoji="0" lang="en-US" sz="1051"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25 mg/m</a:t>
                  </a:r>
                  <a:r>
                    <a:rPr kumimoji="0" lang="en-US" sz="1051" b="0" i="0" u="none" strike="noStrike" kern="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2</a:t>
                  </a:r>
                  <a:r>
                    <a:rPr kumimoji="0" lang="en-US" sz="1051"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 on days 1 and 8 Q3W [up to 8 cycles]</a:t>
                  </a:r>
                  <a:r>
                    <a:rPr kumimoji="0" lang="en-US" sz="1051" b="0" i="0" u="none" strike="noStrike" kern="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1</a:t>
                  </a:r>
                </a:p>
              </p:txBody>
            </p:sp>
            <p:sp>
              <p:nvSpPr>
                <p:cNvPr id="17" name="Rectangle: Rounded Corners 29">
                  <a:extLst>
                    <a:ext uri="{FF2B5EF4-FFF2-40B4-BE49-F238E27FC236}">
                      <a16:creationId xmlns:a16="http://schemas.microsoft.com/office/drawing/2014/main" id="{C7E7AF92-8C07-880A-101B-97DC528ABE67}"/>
                    </a:ext>
                  </a:extLst>
                </p:cNvPr>
                <p:cNvSpPr/>
                <p:nvPr/>
              </p:nvSpPr>
              <p:spPr>
                <a:xfrm>
                  <a:off x="838200" y="1722450"/>
                  <a:ext cx="3142642" cy="1946899"/>
                </a:xfrm>
                <a:prstGeom prst="roundRect">
                  <a:avLst/>
                </a:prstGeom>
                <a:solidFill>
                  <a:srgbClr val="FFFFFF"/>
                </a:solidFill>
                <a:ln w="38100">
                  <a:solidFill>
                    <a:srgbClr val="37164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51" b="1"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Study population:</a:t>
                  </a:r>
                  <a:endParaRPr kumimoji="0" lang="en-US" sz="1051" b="1" i="0" u="none" strike="noStrike" kern="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a:p>
                  <a:pPr marL="285737" marR="0" lvl="0" indent="-285737"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1051"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Adults with locally advanced or metastatic BTC*</a:t>
                  </a:r>
                </a:p>
                <a:p>
                  <a:pPr marL="285737" marR="0" lvl="0" indent="-285737"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1051"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Recurrent disease &gt;6 months after curative surgery or adjuvant therapy completion</a:t>
                  </a:r>
                  <a:r>
                    <a:rPr kumimoji="0" lang="en-US" sz="1051" b="0" i="0" u="none" strike="noStrike" kern="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a:t>
                  </a:r>
                </a:p>
                <a:p>
                  <a:pPr marL="285737" marR="0" lvl="0" indent="-285737"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1051"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Measurable lesion(s) by RECIST v1.1</a:t>
                  </a:r>
                </a:p>
                <a:p>
                  <a:pPr marL="285737" marR="0" lvl="0" indent="-285737"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1051"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ECOG PS 0 or 1</a:t>
                  </a:r>
                </a:p>
              </p:txBody>
            </p:sp>
            <p:cxnSp>
              <p:nvCxnSpPr>
                <p:cNvPr id="18" name="Straight Arrow Connector 30">
                  <a:extLst>
                    <a:ext uri="{FF2B5EF4-FFF2-40B4-BE49-F238E27FC236}">
                      <a16:creationId xmlns:a16="http://schemas.microsoft.com/office/drawing/2014/main" id="{6B564398-C20F-A007-008D-A9C81ABFF55A}"/>
                    </a:ext>
                  </a:extLst>
                </p:cNvPr>
                <p:cNvCxnSpPr>
                  <a:cxnSpLocks/>
                  <a:stCxn id="17" idx="3"/>
                </p:cNvCxnSpPr>
                <p:nvPr/>
              </p:nvCxnSpPr>
              <p:spPr>
                <a:xfrm>
                  <a:off x="3980842" y="2695900"/>
                  <a:ext cx="802774" cy="0"/>
                </a:xfrm>
                <a:prstGeom prst="straightConnector1">
                  <a:avLst/>
                </a:prstGeom>
                <a:grpFill/>
                <a:ln w="38100">
                  <a:solidFill>
                    <a:srgbClr val="371643"/>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32">
                  <a:extLst>
                    <a:ext uri="{FF2B5EF4-FFF2-40B4-BE49-F238E27FC236}">
                      <a16:creationId xmlns:a16="http://schemas.microsoft.com/office/drawing/2014/main" id="{15260B94-6AA2-34AF-92C3-B2F85184C3D2}"/>
                    </a:ext>
                  </a:extLst>
                </p:cNvPr>
                <p:cNvCxnSpPr>
                  <a:cxnSpLocks/>
                </p:cNvCxnSpPr>
                <p:nvPr/>
              </p:nvCxnSpPr>
              <p:spPr>
                <a:xfrm flipV="1">
                  <a:off x="9101347" y="2174067"/>
                  <a:ext cx="313268" cy="2747"/>
                </a:xfrm>
                <a:prstGeom prst="straightConnector1">
                  <a:avLst/>
                </a:prstGeom>
                <a:grpFill/>
                <a:ln w="38100">
                  <a:solidFill>
                    <a:srgbClr val="371643"/>
                  </a:solidFill>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33">
                  <a:extLst>
                    <a:ext uri="{FF2B5EF4-FFF2-40B4-BE49-F238E27FC236}">
                      <a16:creationId xmlns:a16="http://schemas.microsoft.com/office/drawing/2014/main" id="{872822C1-B8D2-0350-8DE2-9F6EDFB4C1FA}"/>
                    </a:ext>
                  </a:extLst>
                </p:cNvPr>
                <p:cNvCxnSpPr>
                  <a:cxnSpLocks/>
                </p:cNvCxnSpPr>
                <p:nvPr/>
              </p:nvCxnSpPr>
              <p:spPr>
                <a:xfrm flipV="1">
                  <a:off x="9093707" y="3209492"/>
                  <a:ext cx="313268" cy="2747"/>
                </a:xfrm>
                <a:prstGeom prst="straightConnector1">
                  <a:avLst/>
                </a:prstGeom>
                <a:grpFill/>
                <a:ln w="38100">
                  <a:solidFill>
                    <a:srgbClr val="371643"/>
                  </a:solidFill>
                  <a:tailEnd type="triangle"/>
                </a:ln>
              </p:spPr>
              <p:style>
                <a:lnRef idx="1">
                  <a:schemeClr val="accent1"/>
                </a:lnRef>
                <a:fillRef idx="0">
                  <a:schemeClr val="accent1"/>
                </a:fillRef>
                <a:effectRef idx="0">
                  <a:schemeClr val="accent1"/>
                </a:effectRef>
                <a:fontRef idx="minor">
                  <a:schemeClr val="tx1"/>
                </a:fontRef>
              </p:style>
            </p:cxnSp>
          </p:grpSp>
          <p:sp>
            <p:nvSpPr>
              <p:cNvPr id="10" name="Rectangle: Rounded Corners 21">
                <a:extLst>
                  <a:ext uri="{FF2B5EF4-FFF2-40B4-BE49-F238E27FC236}">
                    <a16:creationId xmlns:a16="http://schemas.microsoft.com/office/drawing/2014/main" id="{1180736B-E43A-46A4-4293-BFE50AA9D64F}"/>
                  </a:ext>
                </a:extLst>
              </p:cNvPr>
              <p:cNvSpPr/>
              <p:nvPr/>
            </p:nvSpPr>
            <p:spPr>
              <a:xfrm>
                <a:off x="9567014" y="1651857"/>
                <a:ext cx="2429048" cy="944264"/>
              </a:xfrm>
              <a:prstGeom prst="roundRect">
                <a:avLst/>
              </a:prstGeom>
              <a:solidFill>
                <a:srgbClr val="FFFFFF"/>
              </a:solidFill>
              <a:ln w="38100">
                <a:solidFill>
                  <a:srgbClr val="37164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51" b="1"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Durvalumab </a:t>
                </a:r>
                <a:r>
                  <a:rPr kumimoji="0" lang="en-US" sz="1051"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1500 mg Q4W until PD, unacceptable toxicity or study withdrawal</a:t>
                </a:r>
              </a:p>
            </p:txBody>
          </p:sp>
          <p:sp>
            <p:nvSpPr>
              <p:cNvPr id="11" name="Rectangle: Rounded Corners 22">
                <a:extLst>
                  <a:ext uri="{FF2B5EF4-FFF2-40B4-BE49-F238E27FC236}">
                    <a16:creationId xmlns:a16="http://schemas.microsoft.com/office/drawing/2014/main" id="{6F66F97D-53B7-6281-65CC-7C4D35E840DA}"/>
                  </a:ext>
                </a:extLst>
              </p:cNvPr>
              <p:cNvSpPr/>
              <p:nvPr/>
            </p:nvSpPr>
            <p:spPr>
              <a:xfrm>
                <a:off x="9555407" y="2737186"/>
                <a:ext cx="2429047" cy="944264"/>
              </a:xfrm>
              <a:prstGeom prst="roundRect">
                <a:avLst/>
              </a:prstGeom>
              <a:solidFill>
                <a:srgbClr val="FFFFFF"/>
              </a:solidFill>
              <a:ln w="38100">
                <a:solidFill>
                  <a:srgbClr val="37164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51" b="1"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Placebo </a:t>
                </a:r>
                <a:r>
                  <a:rPr kumimoji="0" lang="en-US" sz="1051"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Q4W until PD, unacceptable toxicity or study withdrawal</a:t>
                </a:r>
              </a:p>
            </p:txBody>
          </p:sp>
          <p:sp>
            <p:nvSpPr>
              <p:cNvPr id="12" name="Rectangle: Rounded Corners 23">
                <a:extLst>
                  <a:ext uri="{FF2B5EF4-FFF2-40B4-BE49-F238E27FC236}">
                    <a16:creationId xmlns:a16="http://schemas.microsoft.com/office/drawing/2014/main" id="{01D6651D-3A04-EFBF-DBEC-8F8D0061B5D1}"/>
                  </a:ext>
                </a:extLst>
              </p:cNvPr>
              <p:cNvSpPr/>
              <p:nvPr/>
            </p:nvSpPr>
            <p:spPr>
              <a:xfrm rot="16200000">
                <a:off x="-150382" y="2410947"/>
                <a:ext cx="1512938" cy="370346"/>
              </a:xfrm>
              <a:prstGeom prst="roundRect">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a:rPr>
                  <a:t>TOPAZ-1</a:t>
                </a:r>
                <a:r>
                  <a:rPr kumimoji="0" lang="en-US" sz="1200" b="1" i="0" u="none" strike="noStrike" kern="0" cap="none" spc="0" normalizeH="0" baseline="30000" noProof="0" dirty="0">
                    <a:ln>
                      <a:noFill/>
                    </a:ln>
                    <a:solidFill>
                      <a:srgbClr val="FFFFFF"/>
                    </a:solidFill>
                    <a:effectLst/>
                    <a:uLnTx/>
                    <a:uFillTx/>
                    <a:latin typeface="Arial" panose="020B0604020202020204" pitchFamily="34" charset="0"/>
                    <a:ea typeface="+mn-ea"/>
                    <a:cs typeface="Arial" panose="020B0604020202020204" pitchFamily="34" charset="0"/>
                    <a:sym typeface="Arial"/>
                  </a:rPr>
                  <a:t>1,2</a:t>
                </a:r>
              </a:p>
            </p:txBody>
          </p:sp>
        </p:grpSp>
      </p:grpSp>
      <p:grpSp>
        <p:nvGrpSpPr>
          <p:cNvPr id="21" name="Group 34">
            <a:extLst>
              <a:ext uri="{FF2B5EF4-FFF2-40B4-BE49-F238E27FC236}">
                <a16:creationId xmlns:a16="http://schemas.microsoft.com/office/drawing/2014/main" id="{69E493AA-47EA-8483-FEFE-C5E42ACE4541}"/>
              </a:ext>
            </a:extLst>
          </p:cNvPr>
          <p:cNvGrpSpPr/>
          <p:nvPr/>
        </p:nvGrpSpPr>
        <p:grpSpPr>
          <a:xfrm>
            <a:off x="420915" y="3599735"/>
            <a:ext cx="10999560" cy="1864767"/>
            <a:chOff x="420914" y="3803220"/>
            <a:chExt cx="11575148" cy="2038207"/>
          </a:xfrm>
        </p:grpSpPr>
        <p:cxnSp>
          <p:nvCxnSpPr>
            <p:cNvPr id="22" name="Connector: Elbow 35">
              <a:extLst>
                <a:ext uri="{FF2B5EF4-FFF2-40B4-BE49-F238E27FC236}">
                  <a16:creationId xmlns:a16="http://schemas.microsoft.com/office/drawing/2014/main" id="{BC0F6D17-436B-15A7-6F3E-B1FE56EA66CA}"/>
                </a:ext>
              </a:extLst>
            </p:cNvPr>
            <p:cNvCxnSpPr>
              <a:cxnSpLocks/>
            </p:cNvCxnSpPr>
            <p:nvPr/>
          </p:nvCxnSpPr>
          <p:spPr>
            <a:xfrm>
              <a:off x="5610111" y="4862080"/>
              <a:ext cx="615951" cy="596513"/>
            </a:xfrm>
            <a:prstGeom prst="bentConnector3">
              <a:avLst>
                <a:gd name="adj1" fmla="val 50000"/>
              </a:avLst>
            </a:prstGeom>
            <a:solidFill>
              <a:schemeClr val="bg1"/>
            </a:solidFill>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grpSp>
          <p:nvGrpSpPr>
            <p:cNvPr id="23" name="Group 36">
              <a:extLst>
                <a:ext uri="{FF2B5EF4-FFF2-40B4-BE49-F238E27FC236}">
                  <a16:creationId xmlns:a16="http://schemas.microsoft.com/office/drawing/2014/main" id="{D80967AA-67F8-F3D9-2051-D2922E1B2BCB}"/>
                </a:ext>
              </a:extLst>
            </p:cNvPr>
            <p:cNvGrpSpPr/>
            <p:nvPr/>
          </p:nvGrpSpPr>
          <p:grpSpPr>
            <a:xfrm>
              <a:off x="420914" y="3803220"/>
              <a:ext cx="11575148" cy="2038207"/>
              <a:chOff x="420914" y="4055670"/>
              <a:chExt cx="11575148" cy="2038207"/>
            </a:xfrm>
          </p:grpSpPr>
          <p:grpSp>
            <p:nvGrpSpPr>
              <p:cNvPr id="24" name="Group 37">
                <a:extLst>
                  <a:ext uri="{FF2B5EF4-FFF2-40B4-BE49-F238E27FC236}">
                    <a16:creationId xmlns:a16="http://schemas.microsoft.com/office/drawing/2014/main" id="{A4180F71-44D9-A6AA-74CA-D66B77DA6DD8}"/>
                  </a:ext>
                </a:extLst>
              </p:cNvPr>
              <p:cNvGrpSpPr/>
              <p:nvPr/>
            </p:nvGrpSpPr>
            <p:grpSpPr>
              <a:xfrm>
                <a:off x="990600" y="4055670"/>
                <a:ext cx="11005462" cy="2038207"/>
                <a:chOff x="838200" y="1719702"/>
                <a:chExt cx="11005462" cy="1949647"/>
              </a:xfrm>
              <a:solidFill>
                <a:schemeClr val="bg1"/>
              </a:solidFill>
            </p:grpSpPr>
            <p:cxnSp>
              <p:nvCxnSpPr>
                <p:cNvPr id="26" name="Connector: Elbow 39">
                  <a:extLst>
                    <a:ext uri="{FF2B5EF4-FFF2-40B4-BE49-F238E27FC236}">
                      <a16:creationId xmlns:a16="http://schemas.microsoft.com/office/drawing/2014/main" id="{1CD145AF-0CAF-B22D-BDC4-EB4546B5F58D}"/>
                    </a:ext>
                  </a:extLst>
                </p:cNvPr>
                <p:cNvCxnSpPr>
                  <a:cxnSpLocks/>
                </p:cNvCxnSpPr>
                <p:nvPr/>
              </p:nvCxnSpPr>
              <p:spPr>
                <a:xfrm flipV="1">
                  <a:off x="5441757" y="2179560"/>
                  <a:ext cx="615951" cy="596513"/>
                </a:xfrm>
                <a:prstGeom prst="bentConnector3">
                  <a:avLst>
                    <a:gd name="adj1" fmla="val 50000"/>
                  </a:avLst>
                </a:prstGeom>
                <a:grpFill/>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27" name="Rectangle: Rounded Corners 40">
                  <a:extLst>
                    <a:ext uri="{FF2B5EF4-FFF2-40B4-BE49-F238E27FC236}">
                      <a16:creationId xmlns:a16="http://schemas.microsoft.com/office/drawing/2014/main" id="{E5D803B1-B63C-C6CC-E5F5-570084E490C7}"/>
                    </a:ext>
                  </a:extLst>
                </p:cNvPr>
                <p:cNvSpPr/>
                <p:nvPr/>
              </p:nvSpPr>
              <p:spPr>
                <a:xfrm>
                  <a:off x="6064058" y="1727942"/>
                  <a:ext cx="3057328" cy="903235"/>
                </a:xfrm>
                <a:prstGeom prst="roundRect">
                  <a:avLst/>
                </a:prstGeom>
                <a:solidFill>
                  <a:srgbClr val="FFFFFF"/>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51" b="1"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Pembrolizumab</a:t>
                  </a:r>
                  <a:r>
                    <a:rPr kumimoji="0" lang="en-US" sz="1051"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 200 mg on day 1 Q3W </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51" b="1"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 gemcitabine</a:t>
                  </a:r>
                  <a:r>
                    <a:rPr kumimoji="0" lang="en-US" sz="1051"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 1000 mg/m</a:t>
                  </a:r>
                  <a:r>
                    <a:rPr kumimoji="0" lang="en-US" sz="1051" b="0" i="0" u="none" strike="noStrike" kern="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2</a:t>
                  </a:r>
                  <a:r>
                    <a:rPr kumimoji="0" lang="en-US" sz="1051"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 and</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51" b="1"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cisplatin</a:t>
                  </a:r>
                  <a:r>
                    <a:rPr kumimoji="0" lang="en-US" sz="1051"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 25 mg/m</a:t>
                  </a:r>
                  <a:r>
                    <a:rPr kumimoji="0" lang="en-US" sz="1051" b="0" i="0" u="none" strike="noStrike" kern="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2</a:t>
                  </a:r>
                  <a:r>
                    <a:rPr kumimoji="0" lang="en-US" sz="1051"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 on days 1 and 8 Q3W</a:t>
                  </a:r>
                  <a:r>
                    <a:rPr kumimoji="0" lang="en-US" sz="1051" b="1" i="0" u="none" strike="noStrike" kern="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3,4</a:t>
                  </a:r>
                </a:p>
              </p:txBody>
            </p:sp>
            <p:sp>
              <p:nvSpPr>
                <p:cNvPr id="28" name="Oval 27">
                  <a:extLst>
                    <a:ext uri="{FF2B5EF4-FFF2-40B4-BE49-F238E27FC236}">
                      <a16:creationId xmlns:a16="http://schemas.microsoft.com/office/drawing/2014/main" id="{C50B419A-4CE1-F20A-0743-9831D8E67C05}"/>
                    </a:ext>
                  </a:extLst>
                </p:cNvPr>
                <p:cNvSpPr/>
                <p:nvPr/>
              </p:nvSpPr>
              <p:spPr>
                <a:xfrm>
                  <a:off x="4807623" y="2241535"/>
                  <a:ext cx="1066796" cy="903235"/>
                </a:xfrm>
                <a:prstGeom prst="ellipse">
                  <a:avLst/>
                </a:prstGeom>
                <a:solidFill>
                  <a:schemeClr val="accent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51"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a:rPr>
                    <a:t>R 1:1</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51" b="0"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a:rPr>
                    <a:t>N=788</a:t>
                  </a:r>
                  <a:r>
                    <a:rPr kumimoji="0" lang="en-US" sz="1051" b="0" i="0" u="none" strike="noStrike" kern="0" cap="none" spc="0" normalizeH="0" baseline="30000" noProof="0" dirty="0">
                      <a:ln>
                        <a:noFill/>
                      </a:ln>
                      <a:solidFill>
                        <a:srgbClr val="FFFFFF"/>
                      </a:solidFill>
                      <a:effectLst/>
                      <a:uLnTx/>
                      <a:uFillTx/>
                      <a:latin typeface="Arial" panose="020B0604020202020204" pitchFamily="34" charset="0"/>
                      <a:ea typeface="+mn-ea"/>
                      <a:cs typeface="Arial" panose="020B0604020202020204" pitchFamily="34" charset="0"/>
                      <a:sym typeface="Arial"/>
                    </a:rPr>
                    <a:t>3</a:t>
                  </a:r>
                </a:p>
              </p:txBody>
            </p:sp>
            <p:sp>
              <p:nvSpPr>
                <p:cNvPr id="29" name="Rectangle: Rounded Corners 42">
                  <a:extLst>
                    <a:ext uri="{FF2B5EF4-FFF2-40B4-BE49-F238E27FC236}">
                      <a16:creationId xmlns:a16="http://schemas.microsoft.com/office/drawing/2014/main" id="{A8E69F5D-0DEF-B513-A0B6-A9F7615F5B74}"/>
                    </a:ext>
                  </a:extLst>
                </p:cNvPr>
                <p:cNvSpPr/>
                <p:nvPr/>
              </p:nvSpPr>
              <p:spPr>
                <a:xfrm>
                  <a:off x="6064058" y="2766114"/>
                  <a:ext cx="3057328" cy="903235"/>
                </a:xfrm>
                <a:prstGeom prst="roundRect">
                  <a:avLst/>
                </a:prstGeom>
                <a:solidFill>
                  <a:srgbClr val="FFFFFF"/>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51" b="1"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Placebo</a:t>
                  </a:r>
                  <a:r>
                    <a:rPr kumimoji="0" lang="en-US" sz="1051"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 on day 1 Q3W</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51" b="1"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 gemcitabine</a:t>
                  </a:r>
                  <a:r>
                    <a:rPr kumimoji="0" lang="en-US" sz="1051"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 1000 mg/m</a:t>
                  </a:r>
                  <a:r>
                    <a:rPr kumimoji="0" lang="en-US" sz="1051" b="0" i="0" u="none" strike="noStrike" kern="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2</a:t>
                  </a:r>
                  <a:r>
                    <a:rPr kumimoji="0" lang="en-US" sz="1051"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 and</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51" b="1"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cisplatin</a:t>
                  </a:r>
                  <a:r>
                    <a:rPr kumimoji="0" lang="en-US" sz="1051"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 25 mg/m</a:t>
                  </a:r>
                  <a:r>
                    <a:rPr kumimoji="0" lang="en-US" sz="1051" b="0" i="0" u="none" strike="noStrike" kern="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2</a:t>
                  </a:r>
                  <a:r>
                    <a:rPr kumimoji="0" lang="en-US" sz="1051"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 on days 1 and 8 Q3W</a:t>
                  </a:r>
                  <a:r>
                    <a:rPr kumimoji="0" lang="en-US" sz="1051" b="1" i="0" u="none" strike="noStrike" kern="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3,4</a:t>
                  </a:r>
                </a:p>
              </p:txBody>
            </p:sp>
            <p:sp>
              <p:nvSpPr>
                <p:cNvPr id="30" name="Rectangle: Rounded Corners 44">
                  <a:extLst>
                    <a:ext uri="{FF2B5EF4-FFF2-40B4-BE49-F238E27FC236}">
                      <a16:creationId xmlns:a16="http://schemas.microsoft.com/office/drawing/2014/main" id="{AC74D5C2-58F8-DB95-76A6-E6558457B28A}"/>
                    </a:ext>
                  </a:extLst>
                </p:cNvPr>
                <p:cNvSpPr/>
                <p:nvPr/>
              </p:nvSpPr>
              <p:spPr>
                <a:xfrm>
                  <a:off x="838200" y="1722450"/>
                  <a:ext cx="3142643" cy="1946899"/>
                </a:xfrm>
                <a:prstGeom prst="roundRect">
                  <a:avLst/>
                </a:prstGeom>
                <a:solidFill>
                  <a:srgbClr val="FFFFFF"/>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51" b="1"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Study population:</a:t>
                  </a:r>
                  <a:endParaRPr kumimoji="0" lang="en-US" sz="1051" b="1" i="0" u="none" strike="noStrike" kern="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a:p>
                  <a:pPr marL="285737" marR="0" lvl="0" indent="-285737"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1051"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Adults with metastatic and/or unresectable (locally advanced) BTC</a:t>
                  </a:r>
                </a:p>
                <a:p>
                  <a:pPr marL="285737" marR="0" lvl="0" indent="-285737"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1051"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Measurable disease by RECIST v1.1</a:t>
                  </a:r>
                </a:p>
                <a:p>
                  <a:pPr marL="285737" marR="0" lvl="0" indent="-285737"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1051"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ECOG PS 0 or 1</a:t>
                  </a:r>
                </a:p>
                <a:p>
                  <a:pPr marL="285737" marR="0" lvl="0" indent="-285737"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1051"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No prior systemic therapy for advanced BTC</a:t>
                  </a:r>
                </a:p>
              </p:txBody>
            </p:sp>
            <p:cxnSp>
              <p:nvCxnSpPr>
                <p:cNvPr id="31" name="Straight Arrow Connector 45">
                  <a:extLst>
                    <a:ext uri="{FF2B5EF4-FFF2-40B4-BE49-F238E27FC236}">
                      <a16:creationId xmlns:a16="http://schemas.microsoft.com/office/drawing/2014/main" id="{7505E694-34A2-DD8D-2BF9-5417E6D15DB2}"/>
                    </a:ext>
                  </a:extLst>
                </p:cNvPr>
                <p:cNvCxnSpPr>
                  <a:cxnSpLocks/>
                  <a:stCxn id="30" idx="3"/>
                </p:cNvCxnSpPr>
                <p:nvPr/>
              </p:nvCxnSpPr>
              <p:spPr>
                <a:xfrm>
                  <a:off x="3980843" y="2695899"/>
                  <a:ext cx="802774" cy="0"/>
                </a:xfrm>
                <a:prstGeom prst="straightConnector1">
                  <a:avLst/>
                </a:prstGeom>
                <a:grpFill/>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47">
                  <a:extLst>
                    <a:ext uri="{FF2B5EF4-FFF2-40B4-BE49-F238E27FC236}">
                      <a16:creationId xmlns:a16="http://schemas.microsoft.com/office/drawing/2014/main" id="{A0469205-1E2C-1AA5-C93A-0B5B3E20F77D}"/>
                    </a:ext>
                  </a:extLst>
                </p:cNvPr>
                <p:cNvCxnSpPr>
                  <a:cxnSpLocks/>
                </p:cNvCxnSpPr>
                <p:nvPr/>
              </p:nvCxnSpPr>
              <p:spPr>
                <a:xfrm flipV="1">
                  <a:off x="9101339" y="2174067"/>
                  <a:ext cx="313268" cy="2747"/>
                </a:xfrm>
                <a:prstGeom prst="straightConnector1">
                  <a:avLst/>
                </a:prstGeom>
                <a:grpFill/>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48">
                  <a:extLst>
                    <a:ext uri="{FF2B5EF4-FFF2-40B4-BE49-F238E27FC236}">
                      <a16:creationId xmlns:a16="http://schemas.microsoft.com/office/drawing/2014/main" id="{1B493700-91FB-7E47-6397-2904EF17BF96}"/>
                    </a:ext>
                  </a:extLst>
                </p:cNvPr>
                <p:cNvCxnSpPr>
                  <a:cxnSpLocks/>
                </p:cNvCxnSpPr>
                <p:nvPr/>
              </p:nvCxnSpPr>
              <p:spPr>
                <a:xfrm flipV="1">
                  <a:off x="9093698" y="3209492"/>
                  <a:ext cx="313268" cy="2747"/>
                </a:xfrm>
                <a:prstGeom prst="straightConnector1">
                  <a:avLst/>
                </a:prstGeom>
                <a:grpFill/>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34" name="Rectangle: Rounded Corners 49">
                  <a:extLst>
                    <a:ext uri="{FF2B5EF4-FFF2-40B4-BE49-F238E27FC236}">
                      <a16:creationId xmlns:a16="http://schemas.microsoft.com/office/drawing/2014/main" id="{E0F7D4AB-2E8D-6B09-F541-28A9D4D7A9C9}"/>
                    </a:ext>
                  </a:extLst>
                </p:cNvPr>
                <p:cNvSpPr/>
                <p:nvPr/>
              </p:nvSpPr>
              <p:spPr>
                <a:xfrm>
                  <a:off x="9414607" y="1719702"/>
                  <a:ext cx="2429055" cy="1946899"/>
                </a:xfrm>
                <a:prstGeom prst="roundRect">
                  <a:avLst/>
                </a:prstGeom>
                <a:solidFill>
                  <a:srgbClr val="FFFFFF"/>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051" b="1"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Treatment to continue until:</a:t>
                  </a:r>
                  <a:endParaRPr kumimoji="0" lang="en-US" sz="1051" b="1" i="0" u="none" strike="noStrike" kern="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a:p>
                  <a:pPr marL="171442" marR="0" lvl="0" indent="-171442"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1051"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PD, unacceptable toxicity or study withdrawal [for pembrolizumab and gemcitabine]</a:t>
                  </a:r>
                </a:p>
                <a:p>
                  <a:pPr marL="171442" marR="0" lvl="0" indent="-171442"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1051"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Up to 35 cycles [for pembrolizumab] </a:t>
                  </a:r>
                </a:p>
                <a:p>
                  <a:pPr marL="171442" marR="0" lvl="0" indent="-171442"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1051"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Up to 8 cycles [for cisplatin] </a:t>
                  </a:r>
                </a:p>
              </p:txBody>
            </p:sp>
          </p:grpSp>
          <p:sp>
            <p:nvSpPr>
              <p:cNvPr id="25" name="Rectangle: Rounded Corners 38">
                <a:extLst>
                  <a:ext uri="{FF2B5EF4-FFF2-40B4-BE49-F238E27FC236}">
                    <a16:creationId xmlns:a16="http://schemas.microsoft.com/office/drawing/2014/main" id="{2CFC92AC-E52A-4AB2-2127-12BE5C547BC1}"/>
                  </a:ext>
                </a:extLst>
              </p:cNvPr>
              <p:cNvSpPr/>
              <p:nvPr/>
            </p:nvSpPr>
            <p:spPr>
              <a:xfrm rot="16200000">
                <a:off x="-254309" y="4829952"/>
                <a:ext cx="1720794" cy="370347"/>
              </a:xfrm>
              <a:prstGeom prst="round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a:rPr>
                  <a:t>KEYNOTE-966</a:t>
                </a:r>
                <a:r>
                  <a:rPr kumimoji="0" lang="en-US" sz="1200" b="1" i="0" u="none" strike="noStrike" kern="0" cap="none" spc="0" normalizeH="0" baseline="30000" noProof="0" dirty="0">
                    <a:ln>
                      <a:noFill/>
                    </a:ln>
                    <a:solidFill>
                      <a:srgbClr val="FFFFFF"/>
                    </a:solidFill>
                    <a:effectLst/>
                    <a:uLnTx/>
                    <a:uFillTx/>
                    <a:latin typeface="Arial" panose="020B0604020202020204" pitchFamily="34" charset="0"/>
                    <a:ea typeface="+mn-ea"/>
                    <a:cs typeface="Arial" panose="020B0604020202020204" pitchFamily="34" charset="0"/>
                    <a:sym typeface="Arial"/>
                  </a:rPr>
                  <a:t>3–6</a:t>
                </a:r>
              </a:p>
            </p:txBody>
          </p:sp>
        </p:grpSp>
      </p:grpSp>
      <p:pic>
        <p:nvPicPr>
          <p:cNvPr id="35" name="Picture 13">
            <a:extLst>
              <a:ext uri="{FF2B5EF4-FFF2-40B4-BE49-F238E27FC236}">
                <a16:creationId xmlns:a16="http://schemas.microsoft.com/office/drawing/2014/main" id="{0EB8187B-0FDF-3210-0A83-BB043FA78627}"/>
              </a:ext>
            </a:extLst>
          </p:cNvPr>
          <p:cNvPicPr>
            <a:picLocks noChangeAspect="1"/>
          </p:cNvPicPr>
          <p:nvPr/>
        </p:nvPicPr>
        <p:blipFill>
          <a:blip r:embed="rId3"/>
          <a:stretch>
            <a:fillRect/>
          </a:stretch>
        </p:blipFill>
        <p:spPr>
          <a:xfrm>
            <a:off x="1977905" y="1500718"/>
            <a:ext cx="7886352" cy="3993372"/>
          </a:xfrm>
          <a:prstGeom prst="rect">
            <a:avLst/>
          </a:prstGeom>
          <a:ln>
            <a:solidFill>
              <a:srgbClr val="371643"/>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5694867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584D716A-6385-42B8-3BB7-12DB7361247A}"/>
              </a:ext>
            </a:extLst>
          </p:cNvPr>
          <p:cNvSpPr>
            <a:spLocks noGrp="1"/>
          </p:cNvSpPr>
          <p:nvPr>
            <p:ph type="ctrTitle" idx="4294967295"/>
          </p:nvPr>
        </p:nvSpPr>
        <p:spPr>
          <a:xfrm>
            <a:off x="367145" y="285839"/>
            <a:ext cx="11213020" cy="576000"/>
          </a:xfrm>
          <a:prstGeom prst="rect">
            <a:avLst/>
          </a:prstGeom>
        </p:spPr>
        <p:txBody>
          <a:bodyPr/>
          <a:lstStyle/>
          <a:p>
            <a:r>
              <a:rPr lang="de-DE" sz="3733" b="1" dirty="0">
                <a:latin typeface="Arial Narrow" panose="020B0604020202020204" pitchFamily="34" charset="0"/>
                <a:cs typeface="Arial Narrow" panose="020B0604020202020204" pitchFamily="34" charset="0"/>
              </a:rPr>
              <a:t>TOPAZ-1: </a:t>
            </a:r>
            <a:r>
              <a:rPr lang="de-DE" sz="3733" b="1" dirty="0" err="1">
                <a:latin typeface="Arial Narrow" panose="020B0604020202020204" pitchFamily="34" charset="0"/>
                <a:cs typeface="Arial Narrow" panose="020B0604020202020204" pitchFamily="34" charset="0"/>
              </a:rPr>
              <a:t>Durvalumab</a:t>
            </a:r>
            <a:r>
              <a:rPr lang="de-DE" sz="3733" b="1" dirty="0">
                <a:latin typeface="Arial Narrow" panose="020B0604020202020204" pitchFamily="34" charset="0"/>
                <a:cs typeface="Arial Narrow" panose="020B0604020202020204" pitchFamily="34" charset="0"/>
              </a:rPr>
              <a:t> + </a:t>
            </a:r>
            <a:r>
              <a:rPr lang="de-DE" sz="3733" b="1" dirty="0" err="1">
                <a:latin typeface="Arial Narrow" panose="020B0604020202020204" pitchFamily="34" charset="0"/>
                <a:cs typeface="Arial Narrow" panose="020B0604020202020204" pitchFamily="34" charset="0"/>
              </a:rPr>
              <a:t>GemCis</a:t>
            </a:r>
            <a:r>
              <a:rPr lang="de-DE" sz="3733" b="1" dirty="0">
                <a:latin typeface="Arial Narrow" panose="020B0604020202020204" pitchFamily="34" charset="0"/>
                <a:cs typeface="Arial Narrow" panose="020B0604020202020204" pitchFamily="34" charset="0"/>
              </a:rPr>
              <a:t> </a:t>
            </a:r>
            <a:r>
              <a:rPr lang="de-DE" sz="3733" b="1" dirty="0" err="1">
                <a:latin typeface="Arial Narrow" panose="020B0604020202020204" pitchFamily="34" charset="0"/>
                <a:cs typeface="Arial Narrow" panose="020B0604020202020204" pitchFamily="34" charset="0"/>
              </a:rPr>
              <a:t>Improved</a:t>
            </a:r>
            <a:r>
              <a:rPr lang="de-DE" sz="3733" b="1" dirty="0">
                <a:latin typeface="Arial Narrow" panose="020B0604020202020204" pitchFamily="34" charset="0"/>
                <a:cs typeface="Arial Narrow" panose="020B0604020202020204" pitchFamily="34" charset="0"/>
              </a:rPr>
              <a:t> OS vs. </a:t>
            </a:r>
            <a:r>
              <a:rPr lang="de-DE" sz="3733" b="1" dirty="0" err="1">
                <a:latin typeface="Arial Narrow" panose="020B0604020202020204" pitchFamily="34" charset="0"/>
                <a:cs typeface="Arial Narrow" panose="020B0604020202020204" pitchFamily="34" charset="0"/>
              </a:rPr>
              <a:t>GemCis</a:t>
            </a:r>
            <a:endParaRPr lang="de-DE" sz="3733" b="1" dirty="0">
              <a:latin typeface="Arial Narrow" panose="020B0604020202020204" pitchFamily="34" charset="0"/>
              <a:cs typeface="Arial Narrow" panose="020B0604020202020204" pitchFamily="34" charset="0"/>
            </a:endParaRPr>
          </a:p>
        </p:txBody>
      </p:sp>
      <p:sp>
        <p:nvSpPr>
          <p:cNvPr id="5" name="Textplatzhalter 4">
            <a:extLst>
              <a:ext uri="{FF2B5EF4-FFF2-40B4-BE49-F238E27FC236}">
                <a16:creationId xmlns:a16="http://schemas.microsoft.com/office/drawing/2014/main" id="{9859055B-9114-D786-A4EA-F0C8E0377570}"/>
              </a:ext>
            </a:extLst>
          </p:cNvPr>
          <p:cNvSpPr>
            <a:spLocks noGrp="1"/>
          </p:cNvSpPr>
          <p:nvPr>
            <p:ph type="body" idx="4294967295"/>
          </p:nvPr>
        </p:nvSpPr>
        <p:spPr>
          <a:xfrm>
            <a:off x="2360388" y="6340049"/>
            <a:ext cx="3201037" cy="240833"/>
          </a:xfrm>
          <a:prstGeom prst="rect">
            <a:avLst/>
          </a:prstGeom>
        </p:spPr>
        <p:txBody>
          <a:bodyPr/>
          <a:lstStyle/>
          <a:p>
            <a:r>
              <a:rPr lang="de-DE" b="0" dirty="0">
                <a:latin typeface="Arial Narrow" panose="020B0604020202020204" pitchFamily="34" charset="0"/>
                <a:cs typeface="Arial Narrow" panose="020B0604020202020204" pitchFamily="34" charset="0"/>
              </a:rPr>
              <a:t>Arndt Vogel</a:t>
            </a:r>
          </a:p>
        </p:txBody>
      </p:sp>
      <p:sp>
        <p:nvSpPr>
          <p:cNvPr id="6" name="Text Placeholder 3">
            <a:extLst>
              <a:ext uri="{FF2B5EF4-FFF2-40B4-BE49-F238E27FC236}">
                <a16:creationId xmlns:a16="http://schemas.microsoft.com/office/drawing/2014/main" id="{02B0AFC7-358B-B86D-34F2-BBCC8542F5B6}"/>
              </a:ext>
            </a:extLst>
          </p:cNvPr>
          <p:cNvSpPr txBox="1">
            <a:spLocks/>
          </p:cNvSpPr>
          <p:nvPr/>
        </p:nvSpPr>
        <p:spPr>
          <a:xfrm>
            <a:off x="1840575" y="7050273"/>
            <a:ext cx="10058400" cy="119541"/>
          </a:xfr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333" b="0"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endParaRPr>
          </a:p>
        </p:txBody>
      </p:sp>
      <p:cxnSp>
        <p:nvCxnSpPr>
          <p:cNvPr id="7" name="Straight Connector 264">
            <a:extLst>
              <a:ext uri="{FF2B5EF4-FFF2-40B4-BE49-F238E27FC236}">
                <a16:creationId xmlns:a16="http://schemas.microsoft.com/office/drawing/2014/main" id="{CE260CA1-D756-1D69-0BA9-3C38E36234C3}"/>
              </a:ext>
            </a:extLst>
          </p:cNvPr>
          <p:cNvCxnSpPr>
            <a:endCxn id="187" idx="2"/>
          </p:cNvCxnSpPr>
          <p:nvPr/>
        </p:nvCxnSpPr>
        <p:spPr>
          <a:xfrm flipH="1" flipV="1">
            <a:off x="6055225" y="3495899"/>
            <a:ext cx="14209" cy="1592288"/>
          </a:xfrm>
          <a:prstGeom prst="line">
            <a:avLst/>
          </a:prstGeom>
          <a:noFill/>
          <a:ln w="6350" cap="flat" cmpd="sng" algn="ctr">
            <a:solidFill>
              <a:schemeClr val="tx1"/>
            </a:solidFill>
            <a:prstDash val="dash"/>
            <a:miter lim="800000"/>
          </a:ln>
          <a:effectLst/>
        </p:spPr>
      </p:cxnSp>
      <p:cxnSp>
        <p:nvCxnSpPr>
          <p:cNvPr id="8" name="Straight Connector 265">
            <a:extLst>
              <a:ext uri="{FF2B5EF4-FFF2-40B4-BE49-F238E27FC236}">
                <a16:creationId xmlns:a16="http://schemas.microsoft.com/office/drawing/2014/main" id="{4E0B8D75-21E4-F9D5-710A-B2B7A0F46E7F}"/>
              </a:ext>
            </a:extLst>
          </p:cNvPr>
          <p:cNvCxnSpPr>
            <a:cxnSpLocks/>
          </p:cNvCxnSpPr>
          <p:nvPr/>
        </p:nvCxnSpPr>
        <p:spPr>
          <a:xfrm flipH="1" flipV="1">
            <a:off x="7843419" y="4041296"/>
            <a:ext cx="0" cy="1025499"/>
          </a:xfrm>
          <a:prstGeom prst="line">
            <a:avLst/>
          </a:prstGeom>
          <a:noFill/>
          <a:ln w="6350" cap="flat" cmpd="sng" algn="ctr">
            <a:solidFill>
              <a:sysClr val="windowText" lastClr="000000"/>
            </a:solidFill>
            <a:prstDash val="dash"/>
            <a:miter lim="800000"/>
          </a:ln>
          <a:effectLst/>
        </p:spPr>
      </p:cxnSp>
      <p:cxnSp>
        <p:nvCxnSpPr>
          <p:cNvPr id="9" name="Straight Connector 266">
            <a:extLst>
              <a:ext uri="{FF2B5EF4-FFF2-40B4-BE49-F238E27FC236}">
                <a16:creationId xmlns:a16="http://schemas.microsoft.com/office/drawing/2014/main" id="{AB7DC71A-4007-ABF5-79F5-5F726C4ACD82}"/>
              </a:ext>
            </a:extLst>
          </p:cNvPr>
          <p:cNvCxnSpPr>
            <a:cxnSpLocks/>
            <a:endCxn id="239" idx="3"/>
          </p:cNvCxnSpPr>
          <p:nvPr/>
        </p:nvCxnSpPr>
        <p:spPr>
          <a:xfrm flipV="1">
            <a:off x="9617271" y="4267101"/>
            <a:ext cx="0" cy="815600"/>
          </a:xfrm>
          <a:prstGeom prst="line">
            <a:avLst/>
          </a:prstGeom>
          <a:noFill/>
          <a:ln w="6350" cap="flat" cmpd="sng" algn="ctr">
            <a:solidFill>
              <a:sysClr val="windowText" lastClr="000000"/>
            </a:solidFill>
            <a:prstDash val="dash"/>
            <a:miter lim="800000"/>
          </a:ln>
          <a:effectLst/>
        </p:spPr>
      </p:cxnSp>
      <p:sp>
        <p:nvSpPr>
          <p:cNvPr id="10" name="Freeform: Shape 267">
            <a:extLst>
              <a:ext uri="{FF2B5EF4-FFF2-40B4-BE49-F238E27FC236}">
                <a16:creationId xmlns:a16="http://schemas.microsoft.com/office/drawing/2014/main" id="{C5F31668-373C-C5D9-5102-62F441709BBC}"/>
              </a:ext>
            </a:extLst>
          </p:cNvPr>
          <p:cNvSpPr/>
          <p:nvPr/>
        </p:nvSpPr>
        <p:spPr>
          <a:xfrm>
            <a:off x="2513050" y="5095353"/>
            <a:ext cx="21389" cy="72000"/>
          </a:xfrm>
          <a:custGeom>
            <a:avLst/>
            <a:gdLst>
              <a:gd name="connsiteX0" fmla="*/ 0 w 21389"/>
              <a:gd name="connsiteY0" fmla="*/ 0 h 69900"/>
              <a:gd name="connsiteX1" fmla="*/ 0 w 21389"/>
              <a:gd name="connsiteY1" fmla="*/ 69900 h 69900"/>
            </a:gdLst>
            <a:ahLst/>
            <a:cxnLst>
              <a:cxn ang="0">
                <a:pos x="connsiteX0" y="connsiteY0"/>
              </a:cxn>
              <a:cxn ang="0">
                <a:pos x="connsiteX1" y="connsiteY1"/>
              </a:cxn>
            </a:cxnLst>
            <a:rect l="l" t="t" r="r" b="b"/>
            <a:pathLst>
              <a:path w="21389" h="69900">
                <a:moveTo>
                  <a:pt x="0" y="0"/>
                </a:moveTo>
                <a:lnTo>
                  <a:pt x="0" y="69900"/>
                </a:lnTo>
              </a:path>
            </a:pathLst>
          </a:custGeom>
          <a:ln w="19050" cap="flat">
            <a:solidFill>
              <a:srgbClr val="002557"/>
            </a:solid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11" name="TextBox 268">
            <a:extLst>
              <a:ext uri="{FF2B5EF4-FFF2-40B4-BE49-F238E27FC236}">
                <a16:creationId xmlns:a16="http://schemas.microsoft.com/office/drawing/2014/main" id="{0BD3BB10-67E5-A414-4639-63215CB9F849}"/>
              </a:ext>
            </a:extLst>
          </p:cNvPr>
          <p:cNvSpPr txBox="1"/>
          <p:nvPr/>
        </p:nvSpPr>
        <p:spPr>
          <a:xfrm>
            <a:off x="2283508" y="5146313"/>
            <a:ext cx="468000" cy="276999"/>
          </a:xfrm>
          <a:prstGeom prst="rect">
            <a:avLst/>
          </a:prstGeom>
          <a:noFill/>
        </p:spPr>
        <p:txBody>
          <a:bodyPr wrap="none" rtlCol="0">
            <a:noAutofit/>
          </a:bodyPr>
          <a:lstStyle/>
          <a:p>
            <a:pPr marL="0" marR="0" lvl="0" indent="0" algn="ctr" defTabSz="914377" rtl="0" eaLnBrk="1" fontAlgn="auto" latinLnBrk="0" hangingPunct="1">
              <a:lnSpc>
                <a:spcPct val="100000"/>
              </a:lnSpc>
              <a:spcBef>
                <a:spcPts val="0"/>
              </a:spcBef>
              <a:spcAft>
                <a:spcPts val="0"/>
              </a:spcAft>
              <a:buClrTx/>
              <a:buSzTx/>
              <a:buFont typeface="Arial"/>
              <a:buNone/>
              <a:tabLst/>
              <a:defRPr/>
            </a:pPr>
            <a:r>
              <a:rPr kumimoji="0" lang="en-GB" sz="12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HelveticaNeueCE-Roman"/>
                <a:rtl val="0"/>
              </a:rPr>
              <a:t>0</a:t>
            </a:r>
          </a:p>
        </p:txBody>
      </p:sp>
      <p:sp>
        <p:nvSpPr>
          <p:cNvPr id="12" name="Freeform: Shape 269">
            <a:extLst>
              <a:ext uri="{FF2B5EF4-FFF2-40B4-BE49-F238E27FC236}">
                <a16:creationId xmlns:a16="http://schemas.microsoft.com/office/drawing/2014/main" id="{2A24E6FA-109A-C8D1-E3B7-3DF73F10A5CE}"/>
              </a:ext>
            </a:extLst>
          </p:cNvPr>
          <p:cNvSpPr/>
          <p:nvPr/>
        </p:nvSpPr>
        <p:spPr>
          <a:xfrm>
            <a:off x="3402146" y="5095353"/>
            <a:ext cx="21389" cy="72000"/>
          </a:xfrm>
          <a:custGeom>
            <a:avLst/>
            <a:gdLst>
              <a:gd name="connsiteX0" fmla="*/ 0 w 21389"/>
              <a:gd name="connsiteY0" fmla="*/ 0 h 69900"/>
              <a:gd name="connsiteX1" fmla="*/ 0 w 21389"/>
              <a:gd name="connsiteY1" fmla="*/ 69900 h 69900"/>
            </a:gdLst>
            <a:ahLst/>
            <a:cxnLst>
              <a:cxn ang="0">
                <a:pos x="connsiteX0" y="connsiteY0"/>
              </a:cxn>
              <a:cxn ang="0">
                <a:pos x="connsiteX1" y="connsiteY1"/>
              </a:cxn>
            </a:cxnLst>
            <a:rect l="l" t="t" r="r" b="b"/>
            <a:pathLst>
              <a:path w="21389" h="69900">
                <a:moveTo>
                  <a:pt x="0" y="0"/>
                </a:moveTo>
                <a:lnTo>
                  <a:pt x="0" y="69900"/>
                </a:lnTo>
              </a:path>
            </a:pathLst>
          </a:custGeom>
          <a:ln w="19050" cap="flat">
            <a:solidFill>
              <a:srgbClr val="002557"/>
            </a:solid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13" name="TextBox 270">
            <a:extLst>
              <a:ext uri="{FF2B5EF4-FFF2-40B4-BE49-F238E27FC236}">
                <a16:creationId xmlns:a16="http://schemas.microsoft.com/office/drawing/2014/main" id="{97D5FC41-41BE-683A-585B-AFEC46F04F0C}"/>
              </a:ext>
            </a:extLst>
          </p:cNvPr>
          <p:cNvSpPr txBox="1"/>
          <p:nvPr/>
        </p:nvSpPr>
        <p:spPr>
          <a:xfrm>
            <a:off x="3172095" y="5146313"/>
            <a:ext cx="468000" cy="276999"/>
          </a:xfrm>
          <a:prstGeom prst="rect">
            <a:avLst/>
          </a:prstGeom>
          <a:noFill/>
        </p:spPr>
        <p:txBody>
          <a:bodyPr wrap="none" rtlCol="0">
            <a:noAutofit/>
          </a:bodyPr>
          <a:lstStyle/>
          <a:p>
            <a:pPr marL="0" marR="0" lvl="0" indent="0" algn="ctr" defTabSz="914377" rtl="0" eaLnBrk="1" fontAlgn="auto" latinLnBrk="0" hangingPunct="1">
              <a:lnSpc>
                <a:spcPct val="100000"/>
              </a:lnSpc>
              <a:spcBef>
                <a:spcPts val="0"/>
              </a:spcBef>
              <a:spcAft>
                <a:spcPts val="0"/>
              </a:spcAft>
              <a:buClrTx/>
              <a:buSzTx/>
              <a:buFont typeface="Arial"/>
              <a:buNone/>
              <a:tabLst/>
              <a:defRPr/>
            </a:pPr>
            <a:r>
              <a:rPr kumimoji="0" lang="en-GB" sz="12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HelveticaNeueCE-Roman"/>
                <a:rtl val="0"/>
              </a:rPr>
              <a:t>3</a:t>
            </a:r>
          </a:p>
        </p:txBody>
      </p:sp>
      <p:sp>
        <p:nvSpPr>
          <p:cNvPr id="14" name="Freeform: Shape 271">
            <a:extLst>
              <a:ext uri="{FF2B5EF4-FFF2-40B4-BE49-F238E27FC236}">
                <a16:creationId xmlns:a16="http://schemas.microsoft.com/office/drawing/2014/main" id="{A5E365CA-55DE-01F8-C725-C3208C67C3FC}"/>
              </a:ext>
            </a:extLst>
          </p:cNvPr>
          <p:cNvSpPr/>
          <p:nvPr/>
        </p:nvSpPr>
        <p:spPr>
          <a:xfrm>
            <a:off x="4291242" y="5095353"/>
            <a:ext cx="21389" cy="72000"/>
          </a:xfrm>
          <a:custGeom>
            <a:avLst/>
            <a:gdLst>
              <a:gd name="connsiteX0" fmla="*/ 0 w 21389"/>
              <a:gd name="connsiteY0" fmla="*/ 0 h 69900"/>
              <a:gd name="connsiteX1" fmla="*/ 0 w 21389"/>
              <a:gd name="connsiteY1" fmla="*/ 69900 h 69900"/>
            </a:gdLst>
            <a:ahLst/>
            <a:cxnLst>
              <a:cxn ang="0">
                <a:pos x="connsiteX0" y="connsiteY0"/>
              </a:cxn>
              <a:cxn ang="0">
                <a:pos x="connsiteX1" y="connsiteY1"/>
              </a:cxn>
            </a:cxnLst>
            <a:rect l="l" t="t" r="r" b="b"/>
            <a:pathLst>
              <a:path w="21389" h="69900">
                <a:moveTo>
                  <a:pt x="0" y="0"/>
                </a:moveTo>
                <a:lnTo>
                  <a:pt x="0" y="69900"/>
                </a:lnTo>
              </a:path>
            </a:pathLst>
          </a:custGeom>
          <a:ln w="19050" cap="flat">
            <a:solidFill>
              <a:srgbClr val="002557"/>
            </a:solid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15" name="TextBox 272">
            <a:extLst>
              <a:ext uri="{FF2B5EF4-FFF2-40B4-BE49-F238E27FC236}">
                <a16:creationId xmlns:a16="http://schemas.microsoft.com/office/drawing/2014/main" id="{D99F4B36-9C2C-8CEE-15BB-C4F164208F96}"/>
              </a:ext>
            </a:extLst>
          </p:cNvPr>
          <p:cNvSpPr txBox="1"/>
          <p:nvPr/>
        </p:nvSpPr>
        <p:spPr>
          <a:xfrm>
            <a:off x="4060680" y="5146313"/>
            <a:ext cx="468000" cy="276999"/>
          </a:xfrm>
          <a:prstGeom prst="rect">
            <a:avLst/>
          </a:prstGeom>
          <a:noFill/>
        </p:spPr>
        <p:txBody>
          <a:bodyPr wrap="none" rtlCol="0">
            <a:noAutofit/>
          </a:bodyPr>
          <a:lstStyle/>
          <a:p>
            <a:pPr marL="0" marR="0" lvl="0" indent="0" algn="ctr" defTabSz="914377" rtl="0" eaLnBrk="1" fontAlgn="auto" latinLnBrk="0" hangingPunct="1">
              <a:lnSpc>
                <a:spcPct val="100000"/>
              </a:lnSpc>
              <a:spcBef>
                <a:spcPts val="0"/>
              </a:spcBef>
              <a:spcAft>
                <a:spcPts val="0"/>
              </a:spcAft>
              <a:buClrTx/>
              <a:buSzTx/>
              <a:buFont typeface="Arial"/>
              <a:buNone/>
              <a:tabLst/>
              <a:defRPr/>
            </a:pPr>
            <a:r>
              <a:rPr kumimoji="0" lang="en-GB" sz="12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HelveticaNeueCE-Roman"/>
                <a:rtl val="0"/>
              </a:rPr>
              <a:t>6</a:t>
            </a:r>
          </a:p>
        </p:txBody>
      </p:sp>
      <p:sp>
        <p:nvSpPr>
          <p:cNvPr id="16" name="Freeform: Shape 273">
            <a:extLst>
              <a:ext uri="{FF2B5EF4-FFF2-40B4-BE49-F238E27FC236}">
                <a16:creationId xmlns:a16="http://schemas.microsoft.com/office/drawing/2014/main" id="{E43CF7E4-32C5-225C-E9D1-0FD1293EB0EB}"/>
              </a:ext>
            </a:extLst>
          </p:cNvPr>
          <p:cNvSpPr/>
          <p:nvPr/>
        </p:nvSpPr>
        <p:spPr>
          <a:xfrm>
            <a:off x="5180338" y="5095353"/>
            <a:ext cx="21389" cy="72000"/>
          </a:xfrm>
          <a:custGeom>
            <a:avLst/>
            <a:gdLst>
              <a:gd name="connsiteX0" fmla="*/ 0 w 21389"/>
              <a:gd name="connsiteY0" fmla="*/ 0 h 69900"/>
              <a:gd name="connsiteX1" fmla="*/ 0 w 21389"/>
              <a:gd name="connsiteY1" fmla="*/ 69900 h 69900"/>
            </a:gdLst>
            <a:ahLst/>
            <a:cxnLst>
              <a:cxn ang="0">
                <a:pos x="connsiteX0" y="connsiteY0"/>
              </a:cxn>
              <a:cxn ang="0">
                <a:pos x="connsiteX1" y="connsiteY1"/>
              </a:cxn>
            </a:cxnLst>
            <a:rect l="l" t="t" r="r" b="b"/>
            <a:pathLst>
              <a:path w="21389" h="69900">
                <a:moveTo>
                  <a:pt x="0" y="0"/>
                </a:moveTo>
                <a:lnTo>
                  <a:pt x="0" y="69900"/>
                </a:lnTo>
              </a:path>
            </a:pathLst>
          </a:custGeom>
          <a:ln w="19050" cap="flat">
            <a:solidFill>
              <a:srgbClr val="002557"/>
            </a:solid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17" name="TextBox 274">
            <a:extLst>
              <a:ext uri="{FF2B5EF4-FFF2-40B4-BE49-F238E27FC236}">
                <a16:creationId xmlns:a16="http://schemas.microsoft.com/office/drawing/2014/main" id="{FDD8F8AF-6635-C0E9-423F-5FF9CA7B5CBC}"/>
              </a:ext>
            </a:extLst>
          </p:cNvPr>
          <p:cNvSpPr txBox="1"/>
          <p:nvPr/>
        </p:nvSpPr>
        <p:spPr>
          <a:xfrm>
            <a:off x="4949267" y="5146313"/>
            <a:ext cx="468000" cy="276999"/>
          </a:xfrm>
          <a:prstGeom prst="rect">
            <a:avLst/>
          </a:prstGeom>
          <a:noFill/>
        </p:spPr>
        <p:txBody>
          <a:bodyPr wrap="none" rtlCol="0">
            <a:noAutofit/>
          </a:bodyPr>
          <a:lstStyle/>
          <a:p>
            <a:pPr marL="0" marR="0" lvl="0" indent="0" algn="ctr" defTabSz="914377" rtl="0" eaLnBrk="1" fontAlgn="auto" latinLnBrk="0" hangingPunct="1">
              <a:lnSpc>
                <a:spcPct val="100000"/>
              </a:lnSpc>
              <a:spcBef>
                <a:spcPts val="0"/>
              </a:spcBef>
              <a:spcAft>
                <a:spcPts val="0"/>
              </a:spcAft>
              <a:buClrTx/>
              <a:buSzTx/>
              <a:buFont typeface="Arial"/>
              <a:buNone/>
              <a:tabLst/>
              <a:defRPr/>
            </a:pPr>
            <a:r>
              <a:rPr kumimoji="0" lang="en-GB" sz="12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HelveticaNeueCE-Roman"/>
                <a:rtl val="0"/>
              </a:rPr>
              <a:t>9</a:t>
            </a:r>
          </a:p>
        </p:txBody>
      </p:sp>
      <p:sp>
        <p:nvSpPr>
          <p:cNvPr id="18" name="Freeform: Shape 275">
            <a:extLst>
              <a:ext uri="{FF2B5EF4-FFF2-40B4-BE49-F238E27FC236}">
                <a16:creationId xmlns:a16="http://schemas.microsoft.com/office/drawing/2014/main" id="{A78CD303-DD67-C8E6-30F5-C305367B9C1A}"/>
              </a:ext>
            </a:extLst>
          </p:cNvPr>
          <p:cNvSpPr/>
          <p:nvPr/>
        </p:nvSpPr>
        <p:spPr>
          <a:xfrm>
            <a:off x="6069434" y="5095353"/>
            <a:ext cx="21389" cy="72000"/>
          </a:xfrm>
          <a:custGeom>
            <a:avLst/>
            <a:gdLst>
              <a:gd name="connsiteX0" fmla="*/ 0 w 21389"/>
              <a:gd name="connsiteY0" fmla="*/ 0 h 69900"/>
              <a:gd name="connsiteX1" fmla="*/ 0 w 21389"/>
              <a:gd name="connsiteY1" fmla="*/ 69900 h 69900"/>
            </a:gdLst>
            <a:ahLst/>
            <a:cxnLst>
              <a:cxn ang="0">
                <a:pos x="connsiteX0" y="connsiteY0"/>
              </a:cxn>
              <a:cxn ang="0">
                <a:pos x="connsiteX1" y="connsiteY1"/>
              </a:cxn>
            </a:cxnLst>
            <a:rect l="l" t="t" r="r" b="b"/>
            <a:pathLst>
              <a:path w="21389" h="69900">
                <a:moveTo>
                  <a:pt x="0" y="0"/>
                </a:moveTo>
                <a:lnTo>
                  <a:pt x="0" y="69900"/>
                </a:lnTo>
              </a:path>
            </a:pathLst>
          </a:custGeom>
          <a:ln w="19050" cap="flat">
            <a:solidFill>
              <a:srgbClr val="002557"/>
            </a:solid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19" name="TextBox 276">
            <a:extLst>
              <a:ext uri="{FF2B5EF4-FFF2-40B4-BE49-F238E27FC236}">
                <a16:creationId xmlns:a16="http://schemas.microsoft.com/office/drawing/2014/main" id="{8EC70AE0-4370-11BB-C73C-4916824ED5BD}"/>
              </a:ext>
            </a:extLst>
          </p:cNvPr>
          <p:cNvSpPr txBox="1"/>
          <p:nvPr/>
        </p:nvSpPr>
        <p:spPr>
          <a:xfrm>
            <a:off x="5837852" y="5146313"/>
            <a:ext cx="468000" cy="276999"/>
          </a:xfrm>
          <a:prstGeom prst="rect">
            <a:avLst/>
          </a:prstGeom>
          <a:noFill/>
        </p:spPr>
        <p:txBody>
          <a:bodyPr wrap="none" rtlCol="0">
            <a:noAutofit/>
          </a:bodyPr>
          <a:lstStyle/>
          <a:p>
            <a:pPr marL="0" marR="0" lvl="0" indent="0" algn="ctr" defTabSz="914377" rtl="0" eaLnBrk="1" fontAlgn="auto" latinLnBrk="0" hangingPunct="1">
              <a:lnSpc>
                <a:spcPct val="100000"/>
              </a:lnSpc>
              <a:spcBef>
                <a:spcPts val="0"/>
              </a:spcBef>
              <a:spcAft>
                <a:spcPts val="0"/>
              </a:spcAft>
              <a:buClrTx/>
              <a:buSzTx/>
              <a:buFont typeface="Arial"/>
              <a:buNone/>
              <a:tabLst/>
              <a:defRPr/>
            </a:pPr>
            <a:r>
              <a:rPr kumimoji="0" lang="en-GB" sz="12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HelveticaNeueCE-Roman"/>
                <a:rtl val="0"/>
              </a:rPr>
              <a:t>12</a:t>
            </a:r>
          </a:p>
        </p:txBody>
      </p:sp>
      <p:sp>
        <p:nvSpPr>
          <p:cNvPr id="20" name="Freeform: Shape 277">
            <a:extLst>
              <a:ext uri="{FF2B5EF4-FFF2-40B4-BE49-F238E27FC236}">
                <a16:creationId xmlns:a16="http://schemas.microsoft.com/office/drawing/2014/main" id="{084732D4-5F1A-6375-B2D4-2FB0E4941E20}"/>
              </a:ext>
            </a:extLst>
          </p:cNvPr>
          <p:cNvSpPr/>
          <p:nvPr/>
        </p:nvSpPr>
        <p:spPr>
          <a:xfrm>
            <a:off x="6958530" y="5095353"/>
            <a:ext cx="21389" cy="72000"/>
          </a:xfrm>
          <a:custGeom>
            <a:avLst/>
            <a:gdLst>
              <a:gd name="connsiteX0" fmla="*/ 0 w 21389"/>
              <a:gd name="connsiteY0" fmla="*/ 0 h 69900"/>
              <a:gd name="connsiteX1" fmla="*/ 0 w 21389"/>
              <a:gd name="connsiteY1" fmla="*/ 69900 h 69900"/>
            </a:gdLst>
            <a:ahLst/>
            <a:cxnLst>
              <a:cxn ang="0">
                <a:pos x="connsiteX0" y="connsiteY0"/>
              </a:cxn>
              <a:cxn ang="0">
                <a:pos x="connsiteX1" y="connsiteY1"/>
              </a:cxn>
            </a:cxnLst>
            <a:rect l="l" t="t" r="r" b="b"/>
            <a:pathLst>
              <a:path w="21389" h="69900">
                <a:moveTo>
                  <a:pt x="0" y="0"/>
                </a:moveTo>
                <a:lnTo>
                  <a:pt x="0" y="69900"/>
                </a:lnTo>
              </a:path>
            </a:pathLst>
          </a:custGeom>
          <a:ln w="19050" cap="flat">
            <a:solidFill>
              <a:srgbClr val="002557"/>
            </a:solid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21" name="TextBox 278">
            <a:extLst>
              <a:ext uri="{FF2B5EF4-FFF2-40B4-BE49-F238E27FC236}">
                <a16:creationId xmlns:a16="http://schemas.microsoft.com/office/drawing/2014/main" id="{B7C3B7FB-A0BB-B6F7-E989-4929E3037AA6}"/>
              </a:ext>
            </a:extLst>
          </p:cNvPr>
          <p:cNvSpPr txBox="1"/>
          <p:nvPr/>
        </p:nvSpPr>
        <p:spPr>
          <a:xfrm>
            <a:off x="6726439" y="5146313"/>
            <a:ext cx="468000" cy="276999"/>
          </a:xfrm>
          <a:prstGeom prst="rect">
            <a:avLst/>
          </a:prstGeom>
          <a:noFill/>
        </p:spPr>
        <p:txBody>
          <a:bodyPr wrap="none" rtlCol="0">
            <a:noAutofit/>
          </a:bodyPr>
          <a:lstStyle/>
          <a:p>
            <a:pPr marL="0" marR="0" lvl="0" indent="0" algn="ctr" defTabSz="914377" rtl="0" eaLnBrk="1" fontAlgn="auto" latinLnBrk="0" hangingPunct="1">
              <a:lnSpc>
                <a:spcPct val="100000"/>
              </a:lnSpc>
              <a:spcBef>
                <a:spcPts val="0"/>
              </a:spcBef>
              <a:spcAft>
                <a:spcPts val="0"/>
              </a:spcAft>
              <a:buClrTx/>
              <a:buSzTx/>
              <a:buFont typeface="Arial"/>
              <a:buNone/>
              <a:tabLst/>
              <a:defRPr/>
            </a:pPr>
            <a:r>
              <a:rPr kumimoji="0" lang="en-GB" sz="12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HelveticaNeueCE-Roman"/>
                <a:rtl val="0"/>
              </a:rPr>
              <a:t>15</a:t>
            </a:r>
          </a:p>
        </p:txBody>
      </p:sp>
      <p:sp>
        <p:nvSpPr>
          <p:cNvPr id="22" name="Freeform: Shape 279">
            <a:extLst>
              <a:ext uri="{FF2B5EF4-FFF2-40B4-BE49-F238E27FC236}">
                <a16:creationId xmlns:a16="http://schemas.microsoft.com/office/drawing/2014/main" id="{86898492-AE03-71D6-30E1-B94663F95DA5}"/>
              </a:ext>
            </a:extLst>
          </p:cNvPr>
          <p:cNvSpPr/>
          <p:nvPr/>
        </p:nvSpPr>
        <p:spPr>
          <a:xfrm>
            <a:off x="7847626" y="5095353"/>
            <a:ext cx="21389" cy="72000"/>
          </a:xfrm>
          <a:custGeom>
            <a:avLst/>
            <a:gdLst>
              <a:gd name="connsiteX0" fmla="*/ 0 w 21389"/>
              <a:gd name="connsiteY0" fmla="*/ 0 h 69900"/>
              <a:gd name="connsiteX1" fmla="*/ 0 w 21389"/>
              <a:gd name="connsiteY1" fmla="*/ 69900 h 69900"/>
            </a:gdLst>
            <a:ahLst/>
            <a:cxnLst>
              <a:cxn ang="0">
                <a:pos x="connsiteX0" y="connsiteY0"/>
              </a:cxn>
              <a:cxn ang="0">
                <a:pos x="connsiteX1" y="connsiteY1"/>
              </a:cxn>
            </a:cxnLst>
            <a:rect l="l" t="t" r="r" b="b"/>
            <a:pathLst>
              <a:path w="21389" h="69900">
                <a:moveTo>
                  <a:pt x="0" y="0"/>
                </a:moveTo>
                <a:lnTo>
                  <a:pt x="0" y="69900"/>
                </a:lnTo>
              </a:path>
            </a:pathLst>
          </a:custGeom>
          <a:ln w="19050" cap="flat">
            <a:solidFill>
              <a:srgbClr val="002557"/>
            </a:solid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23" name="TextBox 280">
            <a:extLst>
              <a:ext uri="{FF2B5EF4-FFF2-40B4-BE49-F238E27FC236}">
                <a16:creationId xmlns:a16="http://schemas.microsoft.com/office/drawing/2014/main" id="{826CE86C-7DC6-4431-42F4-83D8E2307AF1}"/>
              </a:ext>
            </a:extLst>
          </p:cNvPr>
          <p:cNvSpPr txBox="1"/>
          <p:nvPr/>
        </p:nvSpPr>
        <p:spPr>
          <a:xfrm>
            <a:off x="7615024" y="5146313"/>
            <a:ext cx="468000" cy="276999"/>
          </a:xfrm>
          <a:prstGeom prst="rect">
            <a:avLst/>
          </a:prstGeom>
          <a:noFill/>
        </p:spPr>
        <p:txBody>
          <a:bodyPr wrap="none" rtlCol="0">
            <a:noAutofit/>
          </a:bodyPr>
          <a:lstStyle/>
          <a:p>
            <a:pPr marL="0" marR="0" lvl="0" indent="0" algn="ctr" defTabSz="914377" rtl="0" eaLnBrk="1" fontAlgn="auto" latinLnBrk="0" hangingPunct="1">
              <a:lnSpc>
                <a:spcPct val="100000"/>
              </a:lnSpc>
              <a:spcBef>
                <a:spcPts val="0"/>
              </a:spcBef>
              <a:spcAft>
                <a:spcPts val="0"/>
              </a:spcAft>
              <a:buClrTx/>
              <a:buSzTx/>
              <a:buFont typeface="Arial"/>
              <a:buNone/>
              <a:tabLst/>
              <a:defRPr/>
            </a:pPr>
            <a:r>
              <a:rPr kumimoji="0" lang="en-GB" sz="12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HelveticaNeueCE-Roman"/>
                <a:rtl val="0"/>
              </a:rPr>
              <a:t>18</a:t>
            </a:r>
          </a:p>
        </p:txBody>
      </p:sp>
      <p:sp>
        <p:nvSpPr>
          <p:cNvPr id="24" name="Freeform: Shape 281">
            <a:extLst>
              <a:ext uri="{FF2B5EF4-FFF2-40B4-BE49-F238E27FC236}">
                <a16:creationId xmlns:a16="http://schemas.microsoft.com/office/drawing/2014/main" id="{6D0FF0B4-118D-0B8C-9EC9-860AEC69628A}"/>
              </a:ext>
            </a:extLst>
          </p:cNvPr>
          <p:cNvSpPr/>
          <p:nvPr/>
        </p:nvSpPr>
        <p:spPr>
          <a:xfrm>
            <a:off x="8736722" y="5095353"/>
            <a:ext cx="21389" cy="72000"/>
          </a:xfrm>
          <a:custGeom>
            <a:avLst/>
            <a:gdLst>
              <a:gd name="connsiteX0" fmla="*/ 0 w 21389"/>
              <a:gd name="connsiteY0" fmla="*/ 0 h 69900"/>
              <a:gd name="connsiteX1" fmla="*/ 0 w 21389"/>
              <a:gd name="connsiteY1" fmla="*/ 69900 h 69900"/>
            </a:gdLst>
            <a:ahLst/>
            <a:cxnLst>
              <a:cxn ang="0">
                <a:pos x="connsiteX0" y="connsiteY0"/>
              </a:cxn>
              <a:cxn ang="0">
                <a:pos x="connsiteX1" y="connsiteY1"/>
              </a:cxn>
            </a:cxnLst>
            <a:rect l="l" t="t" r="r" b="b"/>
            <a:pathLst>
              <a:path w="21389" h="69900">
                <a:moveTo>
                  <a:pt x="0" y="0"/>
                </a:moveTo>
                <a:lnTo>
                  <a:pt x="0" y="69900"/>
                </a:lnTo>
              </a:path>
            </a:pathLst>
          </a:custGeom>
          <a:ln w="19050" cap="flat">
            <a:solidFill>
              <a:srgbClr val="002557"/>
            </a:solid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25" name="TextBox 282">
            <a:extLst>
              <a:ext uri="{FF2B5EF4-FFF2-40B4-BE49-F238E27FC236}">
                <a16:creationId xmlns:a16="http://schemas.microsoft.com/office/drawing/2014/main" id="{38DC65E2-0839-3FA7-F9D3-9AB8D98C5698}"/>
              </a:ext>
            </a:extLst>
          </p:cNvPr>
          <p:cNvSpPr txBox="1"/>
          <p:nvPr/>
        </p:nvSpPr>
        <p:spPr>
          <a:xfrm>
            <a:off x="8503611" y="5146313"/>
            <a:ext cx="468000" cy="276999"/>
          </a:xfrm>
          <a:prstGeom prst="rect">
            <a:avLst/>
          </a:prstGeom>
          <a:noFill/>
        </p:spPr>
        <p:txBody>
          <a:bodyPr wrap="none" rtlCol="0">
            <a:noAutofit/>
          </a:bodyPr>
          <a:lstStyle/>
          <a:p>
            <a:pPr marL="0" marR="0" lvl="0" indent="0" algn="ctr" defTabSz="914377" rtl="0" eaLnBrk="1" fontAlgn="auto" latinLnBrk="0" hangingPunct="1">
              <a:lnSpc>
                <a:spcPct val="100000"/>
              </a:lnSpc>
              <a:spcBef>
                <a:spcPts val="0"/>
              </a:spcBef>
              <a:spcAft>
                <a:spcPts val="0"/>
              </a:spcAft>
              <a:buClrTx/>
              <a:buSzTx/>
              <a:buFont typeface="Arial"/>
              <a:buNone/>
              <a:tabLst/>
              <a:defRPr/>
            </a:pPr>
            <a:r>
              <a:rPr kumimoji="0" lang="en-GB" sz="12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HelveticaNeueCE-Roman"/>
                <a:rtl val="0"/>
              </a:rPr>
              <a:t>21</a:t>
            </a:r>
          </a:p>
        </p:txBody>
      </p:sp>
      <p:sp>
        <p:nvSpPr>
          <p:cNvPr id="26" name="Freeform: Shape 283">
            <a:extLst>
              <a:ext uri="{FF2B5EF4-FFF2-40B4-BE49-F238E27FC236}">
                <a16:creationId xmlns:a16="http://schemas.microsoft.com/office/drawing/2014/main" id="{1116E9A9-1B9C-F0D6-8F20-CC90DF5B2875}"/>
              </a:ext>
            </a:extLst>
          </p:cNvPr>
          <p:cNvSpPr/>
          <p:nvPr/>
        </p:nvSpPr>
        <p:spPr>
          <a:xfrm>
            <a:off x="9625818" y="5095353"/>
            <a:ext cx="21389" cy="72000"/>
          </a:xfrm>
          <a:custGeom>
            <a:avLst/>
            <a:gdLst>
              <a:gd name="connsiteX0" fmla="*/ 0 w 21389"/>
              <a:gd name="connsiteY0" fmla="*/ 0 h 69900"/>
              <a:gd name="connsiteX1" fmla="*/ 0 w 21389"/>
              <a:gd name="connsiteY1" fmla="*/ 69900 h 69900"/>
            </a:gdLst>
            <a:ahLst/>
            <a:cxnLst>
              <a:cxn ang="0">
                <a:pos x="connsiteX0" y="connsiteY0"/>
              </a:cxn>
              <a:cxn ang="0">
                <a:pos x="connsiteX1" y="connsiteY1"/>
              </a:cxn>
            </a:cxnLst>
            <a:rect l="l" t="t" r="r" b="b"/>
            <a:pathLst>
              <a:path w="21389" h="69900">
                <a:moveTo>
                  <a:pt x="0" y="0"/>
                </a:moveTo>
                <a:lnTo>
                  <a:pt x="0" y="69900"/>
                </a:lnTo>
              </a:path>
            </a:pathLst>
          </a:custGeom>
          <a:ln w="19050" cap="flat">
            <a:solidFill>
              <a:srgbClr val="002557"/>
            </a:solid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27" name="TextBox 284">
            <a:extLst>
              <a:ext uri="{FF2B5EF4-FFF2-40B4-BE49-F238E27FC236}">
                <a16:creationId xmlns:a16="http://schemas.microsoft.com/office/drawing/2014/main" id="{28555DEF-C7B6-3E02-7D6C-041276E4B432}"/>
              </a:ext>
            </a:extLst>
          </p:cNvPr>
          <p:cNvSpPr txBox="1"/>
          <p:nvPr/>
        </p:nvSpPr>
        <p:spPr>
          <a:xfrm>
            <a:off x="9392196" y="5146313"/>
            <a:ext cx="468000" cy="276999"/>
          </a:xfrm>
          <a:prstGeom prst="rect">
            <a:avLst/>
          </a:prstGeom>
          <a:noFill/>
        </p:spPr>
        <p:txBody>
          <a:bodyPr wrap="none" rtlCol="0">
            <a:noAutofit/>
          </a:bodyPr>
          <a:lstStyle/>
          <a:p>
            <a:pPr marL="0" marR="0" lvl="0" indent="0" algn="ctr" defTabSz="914377" rtl="0" eaLnBrk="1" fontAlgn="auto" latinLnBrk="0" hangingPunct="1">
              <a:lnSpc>
                <a:spcPct val="100000"/>
              </a:lnSpc>
              <a:spcBef>
                <a:spcPts val="0"/>
              </a:spcBef>
              <a:spcAft>
                <a:spcPts val="0"/>
              </a:spcAft>
              <a:buClrTx/>
              <a:buSzTx/>
              <a:buFont typeface="Arial"/>
              <a:buNone/>
              <a:tabLst/>
              <a:defRPr/>
            </a:pPr>
            <a:r>
              <a:rPr kumimoji="0" lang="en-GB" sz="12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HelveticaNeueCE-Roman"/>
                <a:rtl val="0"/>
              </a:rPr>
              <a:t>24</a:t>
            </a:r>
          </a:p>
        </p:txBody>
      </p:sp>
      <p:sp>
        <p:nvSpPr>
          <p:cNvPr id="28" name="Freeform: Shape 285">
            <a:extLst>
              <a:ext uri="{FF2B5EF4-FFF2-40B4-BE49-F238E27FC236}">
                <a16:creationId xmlns:a16="http://schemas.microsoft.com/office/drawing/2014/main" id="{9F985DF3-0618-62AB-E734-24D792BB71F8}"/>
              </a:ext>
            </a:extLst>
          </p:cNvPr>
          <p:cNvSpPr/>
          <p:nvPr/>
        </p:nvSpPr>
        <p:spPr>
          <a:xfrm>
            <a:off x="10514914" y="5095353"/>
            <a:ext cx="21389" cy="72000"/>
          </a:xfrm>
          <a:custGeom>
            <a:avLst/>
            <a:gdLst>
              <a:gd name="connsiteX0" fmla="*/ 0 w 21389"/>
              <a:gd name="connsiteY0" fmla="*/ 0 h 69900"/>
              <a:gd name="connsiteX1" fmla="*/ 0 w 21389"/>
              <a:gd name="connsiteY1" fmla="*/ 69900 h 69900"/>
            </a:gdLst>
            <a:ahLst/>
            <a:cxnLst>
              <a:cxn ang="0">
                <a:pos x="connsiteX0" y="connsiteY0"/>
              </a:cxn>
              <a:cxn ang="0">
                <a:pos x="connsiteX1" y="connsiteY1"/>
              </a:cxn>
            </a:cxnLst>
            <a:rect l="l" t="t" r="r" b="b"/>
            <a:pathLst>
              <a:path w="21389" h="69900">
                <a:moveTo>
                  <a:pt x="0" y="0"/>
                </a:moveTo>
                <a:lnTo>
                  <a:pt x="0" y="69900"/>
                </a:lnTo>
              </a:path>
            </a:pathLst>
          </a:custGeom>
          <a:ln w="19050" cap="flat">
            <a:solidFill>
              <a:srgbClr val="002557"/>
            </a:solid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29" name="TextBox 286">
            <a:extLst>
              <a:ext uri="{FF2B5EF4-FFF2-40B4-BE49-F238E27FC236}">
                <a16:creationId xmlns:a16="http://schemas.microsoft.com/office/drawing/2014/main" id="{0A6CBA8B-ABBB-D09B-34DF-FF14E17C4766}"/>
              </a:ext>
            </a:extLst>
          </p:cNvPr>
          <p:cNvSpPr txBox="1"/>
          <p:nvPr/>
        </p:nvSpPr>
        <p:spPr>
          <a:xfrm>
            <a:off x="10280783" y="5146313"/>
            <a:ext cx="468000" cy="276999"/>
          </a:xfrm>
          <a:prstGeom prst="rect">
            <a:avLst/>
          </a:prstGeom>
          <a:noFill/>
        </p:spPr>
        <p:txBody>
          <a:bodyPr wrap="none" rtlCol="0">
            <a:noAutofit/>
          </a:bodyPr>
          <a:lstStyle/>
          <a:p>
            <a:pPr marL="0" marR="0" lvl="0" indent="0" algn="ctr" defTabSz="914377" rtl="0" eaLnBrk="1" fontAlgn="auto" latinLnBrk="0" hangingPunct="1">
              <a:lnSpc>
                <a:spcPct val="100000"/>
              </a:lnSpc>
              <a:spcBef>
                <a:spcPts val="0"/>
              </a:spcBef>
              <a:spcAft>
                <a:spcPts val="0"/>
              </a:spcAft>
              <a:buClrTx/>
              <a:buSzTx/>
              <a:buFont typeface="Arial"/>
              <a:buNone/>
              <a:tabLst/>
              <a:defRPr/>
            </a:pPr>
            <a:r>
              <a:rPr kumimoji="0" lang="en-GB" sz="12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HelveticaNeueCE-Roman"/>
                <a:rtl val="0"/>
              </a:rPr>
              <a:t>27</a:t>
            </a:r>
          </a:p>
        </p:txBody>
      </p:sp>
      <p:sp>
        <p:nvSpPr>
          <p:cNvPr id="30" name="Freeform: Shape 287">
            <a:extLst>
              <a:ext uri="{FF2B5EF4-FFF2-40B4-BE49-F238E27FC236}">
                <a16:creationId xmlns:a16="http://schemas.microsoft.com/office/drawing/2014/main" id="{00B6D627-692D-7B9A-B83D-AF1F3E2BBAE1}"/>
              </a:ext>
            </a:extLst>
          </p:cNvPr>
          <p:cNvSpPr/>
          <p:nvPr/>
        </p:nvSpPr>
        <p:spPr>
          <a:xfrm>
            <a:off x="11404012" y="5095353"/>
            <a:ext cx="21389" cy="72000"/>
          </a:xfrm>
          <a:custGeom>
            <a:avLst/>
            <a:gdLst>
              <a:gd name="connsiteX0" fmla="*/ 0 w 21389"/>
              <a:gd name="connsiteY0" fmla="*/ 0 h 69900"/>
              <a:gd name="connsiteX1" fmla="*/ 0 w 21389"/>
              <a:gd name="connsiteY1" fmla="*/ 69900 h 69900"/>
            </a:gdLst>
            <a:ahLst/>
            <a:cxnLst>
              <a:cxn ang="0">
                <a:pos x="connsiteX0" y="connsiteY0"/>
              </a:cxn>
              <a:cxn ang="0">
                <a:pos x="connsiteX1" y="connsiteY1"/>
              </a:cxn>
            </a:cxnLst>
            <a:rect l="l" t="t" r="r" b="b"/>
            <a:pathLst>
              <a:path w="21389" h="69900">
                <a:moveTo>
                  <a:pt x="0" y="0"/>
                </a:moveTo>
                <a:lnTo>
                  <a:pt x="0" y="69900"/>
                </a:lnTo>
              </a:path>
            </a:pathLst>
          </a:custGeom>
          <a:ln w="19050" cap="flat">
            <a:solidFill>
              <a:srgbClr val="002557"/>
            </a:solid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31" name="TextBox 288">
            <a:extLst>
              <a:ext uri="{FF2B5EF4-FFF2-40B4-BE49-F238E27FC236}">
                <a16:creationId xmlns:a16="http://schemas.microsoft.com/office/drawing/2014/main" id="{9C160354-9FC3-88F7-DAEC-655A6206690A}"/>
              </a:ext>
            </a:extLst>
          </p:cNvPr>
          <p:cNvSpPr txBox="1"/>
          <p:nvPr/>
        </p:nvSpPr>
        <p:spPr>
          <a:xfrm>
            <a:off x="11169369" y="5146313"/>
            <a:ext cx="468000" cy="276999"/>
          </a:xfrm>
          <a:prstGeom prst="rect">
            <a:avLst/>
          </a:prstGeom>
          <a:noFill/>
        </p:spPr>
        <p:txBody>
          <a:bodyPr wrap="none" rtlCol="0">
            <a:noAutofit/>
          </a:bodyPr>
          <a:lstStyle/>
          <a:p>
            <a:pPr marL="0" marR="0" lvl="0" indent="0" algn="ctr" defTabSz="914377" rtl="0" eaLnBrk="1" fontAlgn="auto" latinLnBrk="0" hangingPunct="1">
              <a:lnSpc>
                <a:spcPct val="100000"/>
              </a:lnSpc>
              <a:spcBef>
                <a:spcPts val="0"/>
              </a:spcBef>
              <a:spcAft>
                <a:spcPts val="0"/>
              </a:spcAft>
              <a:buClrTx/>
              <a:buSzTx/>
              <a:buFont typeface="Arial"/>
              <a:buNone/>
              <a:tabLst/>
              <a:defRPr/>
            </a:pPr>
            <a:r>
              <a:rPr kumimoji="0" lang="en-GB" sz="12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HelveticaNeueCE-Roman"/>
                <a:rtl val="0"/>
              </a:rPr>
              <a:t>30</a:t>
            </a:r>
          </a:p>
        </p:txBody>
      </p:sp>
      <p:sp>
        <p:nvSpPr>
          <p:cNvPr id="32" name="TextBox 289">
            <a:extLst>
              <a:ext uri="{FF2B5EF4-FFF2-40B4-BE49-F238E27FC236}">
                <a16:creationId xmlns:a16="http://schemas.microsoft.com/office/drawing/2014/main" id="{E1D2C0FF-EC2D-9B12-DB65-2B1F55A049BE}"/>
              </a:ext>
            </a:extLst>
          </p:cNvPr>
          <p:cNvSpPr txBox="1"/>
          <p:nvPr/>
        </p:nvSpPr>
        <p:spPr>
          <a:xfrm>
            <a:off x="2297908" y="5535121"/>
            <a:ext cx="439200" cy="276999"/>
          </a:xfrm>
          <a:prstGeom prst="rect">
            <a:avLst/>
          </a:prstGeom>
          <a:noFill/>
        </p:spPr>
        <p:txBody>
          <a:bodyPr wrap="none" rtlCol="0">
            <a:noAutofit/>
          </a:bodyPr>
          <a:lstStyle/>
          <a:p>
            <a:pPr marL="0" marR="0" lvl="0" indent="0" algn="ctr" defTabSz="914377" rtl="0" eaLnBrk="1" fontAlgn="auto" latinLnBrk="0" hangingPunct="1">
              <a:lnSpc>
                <a:spcPct val="100000"/>
              </a:lnSpc>
              <a:spcBef>
                <a:spcPts val="0"/>
              </a:spcBef>
              <a:spcAft>
                <a:spcPts val="0"/>
              </a:spcAft>
              <a:buClrTx/>
              <a:buSzTx/>
              <a:buFont typeface="Arial"/>
              <a:buNone/>
              <a:tabLst/>
              <a:defRPr/>
            </a:pPr>
            <a:r>
              <a:rPr kumimoji="0" lang="en-GB" sz="12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HelveticaNeueCE-Roman"/>
                <a:rtl val="0"/>
              </a:rPr>
              <a:t>341</a:t>
            </a:r>
          </a:p>
        </p:txBody>
      </p:sp>
      <p:sp>
        <p:nvSpPr>
          <p:cNvPr id="33" name="TextBox 290">
            <a:extLst>
              <a:ext uri="{FF2B5EF4-FFF2-40B4-BE49-F238E27FC236}">
                <a16:creationId xmlns:a16="http://schemas.microsoft.com/office/drawing/2014/main" id="{71A2A975-8D3B-2191-BF25-8C38372F2737}"/>
              </a:ext>
            </a:extLst>
          </p:cNvPr>
          <p:cNvSpPr txBox="1"/>
          <p:nvPr/>
        </p:nvSpPr>
        <p:spPr>
          <a:xfrm>
            <a:off x="2297908" y="5722681"/>
            <a:ext cx="439200" cy="276999"/>
          </a:xfrm>
          <a:prstGeom prst="rect">
            <a:avLst/>
          </a:prstGeom>
          <a:noFill/>
        </p:spPr>
        <p:txBody>
          <a:bodyPr wrap="none" rtlCol="0">
            <a:noAutofit/>
          </a:bodyPr>
          <a:lstStyle/>
          <a:p>
            <a:pPr marL="0" marR="0" lvl="0" indent="0" algn="ctr" defTabSz="914377" rtl="0" eaLnBrk="1" fontAlgn="auto" latinLnBrk="0" hangingPunct="1">
              <a:lnSpc>
                <a:spcPct val="100000"/>
              </a:lnSpc>
              <a:spcBef>
                <a:spcPts val="0"/>
              </a:spcBef>
              <a:spcAft>
                <a:spcPts val="0"/>
              </a:spcAft>
              <a:buClrTx/>
              <a:buSzTx/>
              <a:buFont typeface="Arial"/>
              <a:buNone/>
              <a:tabLst/>
              <a:defRPr/>
            </a:pPr>
            <a:r>
              <a:rPr kumimoji="0" lang="en-GB" sz="12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HelveticaNeueCE-Roman"/>
                <a:rtl val="0"/>
              </a:rPr>
              <a:t>344</a:t>
            </a:r>
          </a:p>
        </p:txBody>
      </p:sp>
      <p:sp>
        <p:nvSpPr>
          <p:cNvPr id="34" name="TextBox 291">
            <a:extLst>
              <a:ext uri="{FF2B5EF4-FFF2-40B4-BE49-F238E27FC236}">
                <a16:creationId xmlns:a16="http://schemas.microsoft.com/office/drawing/2014/main" id="{5A809AC1-74D5-7D1E-5E0B-012F9106C86E}"/>
              </a:ext>
            </a:extLst>
          </p:cNvPr>
          <p:cNvSpPr txBox="1"/>
          <p:nvPr/>
        </p:nvSpPr>
        <p:spPr>
          <a:xfrm>
            <a:off x="3186493" y="5535121"/>
            <a:ext cx="439200" cy="276999"/>
          </a:xfrm>
          <a:prstGeom prst="rect">
            <a:avLst/>
          </a:prstGeom>
          <a:noFill/>
        </p:spPr>
        <p:txBody>
          <a:bodyPr wrap="none" rtlCol="0">
            <a:noAutofit/>
          </a:bodyPr>
          <a:lstStyle/>
          <a:p>
            <a:pPr marL="0" marR="0" lvl="0" indent="0" algn="ctr" defTabSz="914377" rtl="0" eaLnBrk="1" fontAlgn="auto" latinLnBrk="0" hangingPunct="1">
              <a:lnSpc>
                <a:spcPct val="100000"/>
              </a:lnSpc>
              <a:spcBef>
                <a:spcPts val="0"/>
              </a:spcBef>
              <a:spcAft>
                <a:spcPts val="0"/>
              </a:spcAft>
              <a:buClrTx/>
              <a:buSzTx/>
              <a:buFont typeface="Arial"/>
              <a:buNone/>
              <a:tabLst/>
              <a:defRPr/>
            </a:pPr>
            <a:r>
              <a:rPr kumimoji="0" lang="en-GB" sz="12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HelveticaNeueCE-Roman"/>
                <a:rtl val="0"/>
              </a:rPr>
              <a:t>309</a:t>
            </a:r>
          </a:p>
        </p:txBody>
      </p:sp>
      <p:sp>
        <p:nvSpPr>
          <p:cNvPr id="35" name="TextBox 292">
            <a:extLst>
              <a:ext uri="{FF2B5EF4-FFF2-40B4-BE49-F238E27FC236}">
                <a16:creationId xmlns:a16="http://schemas.microsoft.com/office/drawing/2014/main" id="{76DDD669-93E6-D32F-DA59-BA1B10C24852}"/>
              </a:ext>
            </a:extLst>
          </p:cNvPr>
          <p:cNvSpPr txBox="1"/>
          <p:nvPr/>
        </p:nvSpPr>
        <p:spPr>
          <a:xfrm>
            <a:off x="3186493" y="5722681"/>
            <a:ext cx="439200" cy="276999"/>
          </a:xfrm>
          <a:prstGeom prst="rect">
            <a:avLst/>
          </a:prstGeom>
          <a:noFill/>
        </p:spPr>
        <p:txBody>
          <a:bodyPr wrap="none" rtlCol="0">
            <a:noAutofit/>
          </a:bodyPr>
          <a:lstStyle/>
          <a:p>
            <a:pPr marL="0" marR="0" lvl="0" indent="0" algn="ctr" defTabSz="914377" rtl="0" eaLnBrk="1" fontAlgn="auto" latinLnBrk="0" hangingPunct="1">
              <a:lnSpc>
                <a:spcPct val="100000"/>
              </a:lnSpc>
              <a:spcBef>
                <a:spcPts val="0"/>
              </a:spcBef>
              <a:spcAft>
                <a:spcPts val="0"/>
              </a:spcAft>
              <a:buClrTx/>
              <a:buSzTx/>
              <a:buFont typeface="Arial"/>
              <a:buNone/>
              <a:tabLst/>
              <a:defRPr/>
            </a:pPr>
            <a:r>
              <a:rPr kumimoji="0" lang="en-GB" sz="12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HelveticaNeueCE-Roman"/>
                <a:rtl val="0"/>
              </a:rPr>
              <a:t>317</a:t>
            </a:r>
          </a:p>
        </p:txBody>
      </p:sp>
      <p:sp>
        <p:nvSpPr>
          <p:cNvPr id="36" name="TextBox 293">
            <a:extLst>
              <a:ext uri="{FF2B5EF4-FFF2-40B4-BE49-F238E27FC236}">
                <a16:creationId xmlns:a16="http://schemas.microsoft.com/office/drawing/2014/main" id="{1FFB52D2-BE6F-3928-2E36-7957CAF784F6}"/>
              </a:ext>
            </a:extLst>
          </p:cNvPr>
          <p:cNvSpPr txBox="1"/>
          <p:nvPr/>
        </p:nvSpPr>
        <p:spPr>
          <a:xfrm>
            <a:off x="4075079" y="5535121"/>
            <a:ext cx="439200" cy="276999"/>
          </a:xfrm>
          <a:prstGeom prst="rect">
            <a:avLst/>
          </a:prstGeom>
          <a:noFill/>
        </p:spPr>
        <p:txBody>
          <a:bodyPr wrap="none" rtlCol="0">
            <a:noAutofit/>
          </a:bodyPr>
          <a:lstStyle/>
          <a:p>
            <a:pPr marL="0" marR="0" lvl="0" indent="0" algn="ctr" defTabSz="914377" rtl="0" eaLnBrk="1" fontAlgn="auto" latinLnBrk="0" hangingPunct="1">
              <a:lnSpc>
                <a:spcPct val="100000"/>
              </a:lnSpc>
              <a:spcBef>
                <a:spcPts val="0"/>
              </a:spcBef>
              <a:spcAft>
                <a:spcPts val="0"/>
              </a:spcAft>
              <a:buClrTx/>
              <a:buSzTx/>
              <a:buFont typeface="Arial"/>
              <a:buNone/>
              <a:tabLst/>
              <a:defRPr/>
            </a:pPr>
            <a:r>
              <a:rPr kumimoji="0" lang="en-GB" sz="12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HelveticaNeueCE-Roman"/>
                <a:rtl val="0"/>
              </a:rPr>
              <a:t>268</a:t>
            </a:r>
          </a:p>
        </p:txBody>
      </p:sp>
      <p:sp>
        <p:nvSpPr>
          <p:cNvPr id="37" name="TextBox 294">
            <a:extLst>
              <a:ext uri="{FF2B5EF4-FFF2-40B4-BE49-F238E27FC236}">
                <a16:creationId xmlns:a16="http://schemas.microsoft.com/office/drawing/2014/main" id="{C14C5E38-6065-4420-3476-42F18FD94F06}"/>
              </a:ext>
            </a:extLst>
          </p:cNvPr>
          <p:cNvSpPr txBox="1"/>
          <p:nvPr/>
        </p:nvSpPr>
        <p:spPr>
          <a:xfrm>
            <a:off x="4075079" y="5722681"/>
            <a:ext cx="439200" cy="276999"/>
          </a:xfrm>
          <a:prstGeom prst="rect">
            <a:avLst/>
          </a:prstGeom>
          <a:noFill/>
        </p:spPr>
        <p:txBody>
          <a:bodyPr wrap="none" rtlCol="0">
            <a:noAutofit/>
          </a:bodyPr>
          <a:lstStyle/>
          <a:p>
            <a:pPr marL="0" marR="0" lvl="0" indent="0" algn="ctr" defTabSz="914377" rtl="0" eaLnBrk="1" fontAlgn="auto" latinLnBrk="0" hangingPunct="1">
              <a:lnSpc>
                <a:spcPct val="100000"/>
              </a:lnSpc>
              <a:spcBef>
                <a:spcPts val="0"/>
              </a:spcBef>
              <a:spcAft>
                <a:spcPts val="0"/>
              </a:spcAft>
              <a:buClrTx/>
              <a:buSzTx/>
              <a:buFont typeface="Arial"/>
              <a:buNone/>
              <a:tabLst/>
              <a:defRPr/>
            </a:pPr>
            <a:r>
              <a:rPr kumimoji="0" lang="en-GB" sz="12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HelveticaNeueCE-Roman"/>
                <a:rtl val="0"/>
              </a:rPr>
              <a:t>261</a:t>
            </a:r>
          </a:p>
        </p:txBody>
      </p:sp>
      <p:sp>
        <p:nvSpPr>
          <p:cNvPr id="38" name="TextBox 295">
            <a:extLst>
              <a:ext uri="{FF2B5EF4-FFF2-40B4-BE49-F238E27FC236}">
                <a16:creationId xmlns:a16="http://schemas.microsoft.com/office/drawing/2014/main" id="{99ACA5DF-9A24-80E9-398A-C80EAABCDE6D}"/>
              </a:ext>
            </a:extLst>
          </p:cNvPr>
          <p:cNvSpPr txBox="1"/>
          <p:nvPr/>
        </p:nvSpPr>
        <p:spPr>
          <a:xfrm>
            <a:off x="4963663" y="5535121"/>
            <a:ext cx="439200" cy="276999"/>
          </a:xfrm>
          <a:prstGeom prst="rect">
            <a:avLst/>
          </a:prstGeom>
          <a:noFill/>
        </p:spPr>
        <p:txBody>
          <a:bodyPr wrap="none" rtlCol="0">
            <a:noAutofit/>
          </a:bodyPr>
          <a:lstStyle/>
          <a:p>
            <a:pPr marL="0" marR="0" lvl="0" indent="0" algn="ctr" defTabSz="914377" rtl="0" eaLnBrk="1" fontAlgn="auto" latinLnBrk="0" hangingPunct="1">
              <a:lnSpc>
                <a:spcPct val="100000"/>
              </a:lnSpc>
              <a:spcBef>
                <a:spcPts val="0"/>
              </a:spcBef>
              <a:spcAft>
                <a:spcPts val="0"/>
              </a:spcAft>
              <a:buClrTx/>
              <a:buSzTx/>
              <a:buFont typeface="Arial"/>
              <a:buNone/>
              <a:tabLst/>
              <a:defRPr/>
            </a:pPr>
            <a:r>
              <a:rPr kumimoji="0" lang="en-GB" sz="12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HelveticaNeueCE-Roman"/>
                <a:rtl val="0"/>
              </a:rPr>
              <a:t>208</a:t>
            </a:r>
          </a:p>
        </p:txBody>
      </p:sp>
      <p:sp>
        <p:nvSpPr>
          <p:cNvPr id="39" name="TextBox 296">
            <a:extLst>
              <a:ext uri="{FF2B5EF4-FFF2-40B4-BE49-F238E27FC236}">
                <a16:creationId xmlns:a16="http://schemas.microsoft.com/office/drawing/2014/main" id="{421CDFDB-0529-44CF-DB79-2931A3C795DE}"/>
              </a:ext>
            </a:extLst>
          </p:cNvPr>
          <p:cNvSpPr txBox="1"/>
          <p:nvPr/>
        </p:nvSpPr>
        <p:spPr>
          <a:xfrm>
            <a:off x="4963663" y="5722681"/>
            <a:ext cx="439200" cy="276999"/>
          </a:xfrm>
          <a:prstGeom prst="rect">
            <a:avLst/>
          </a:prstGeom>
          <a:noFill/>
        </p:spPr>
        <p:txBody>
          <a:bodyPr wrap="none" rtlCol="0">
            <a:noAutofit/>
          </a:bodyPr>
          <a:lstStyle/>
          <a:p>
            <a:pPr marL="0" marR="0" lvl="0" indent="0" algn="ctr" defTabSz="914377" rtl="0" eaLnBrk="1" fontAlgn="auto" latinLnBrk="0" hangingPunct="1">
              <a:lnSpc>
                <a:spcPct val="100000"/>
              </a:lnSpc>
              <a:spcBef>
                <a:spcPts val="0"/>
              </a:spcBef>
              <a:spcAft>
                <a:spcPts val="0"/>
              </a:spcAft>
              <a:buClrTx/>
              <a:buSzTx/>
              <a:buFont typeface="Arial"/>
              <a:buNone/>
              <a:tabLst/>
              <a:defRPr/>
            </a:pPr>
            <a:r>
              <a:rPr kumimoji="0" lang="en-GB" sz="12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HelveticaNeueCE-Roman"/>
                <a:rtl val="0"/>
              </a:rPr>
              <a:t>183</a:t>
            </a:r>
          </a:p>
        </p:txBody>
      </p:sp>
      <p:sp>
        <p:nvSpPr>
          <p:cNvPr id="40" name="TextBox 297">
            <a:extLst>
              <a:ext uri="{FF2B5EF4-FFF2-40B4-BE49-F238E27FC236}">
                <a16:creationId xmlns:a16="http://schemas.microsoft.com/office/drawing/2014/main" id="{D465331D-5EF0-CD18-14F4-681417E1D9B4}"/>
              </a:ext>
            </a:extLst>
          </p:cNvPr>
          <p:cNvSpPr txBox="1"/>
          <p:nvPr/>
        </p:nvSpPr>
        <p:spPr>
          <a:xfrm>
            <a:off x="5852248" y="5535121"/>
            <a:ext cx="439200" cy="276999"/>
          </a:xfrm>
          <a:prstGeom prst="rect">
            <a:avLst/>
          </a:prstGeom>
          <a:noFill/>
        </p:spPr>
        <p:txBody>
          <a:bodyPr wrap="none" rtlCol="0">
            <a:noAutofit/>
          </a:bodyPr>
          <a:lstStyle/>
          <a:p>
            <a:pPr marL="0" marR="0" lvl="0" indent="0" algn="ctr" defTabSz="914377" rtl="0" eaLnBrk="1" fontAlgn="auto" latinLnBrk="0" hangingPunct="1">
              <a:lnSpc>
                <a:spcPct val="100000"/>
              </a:lnSpc>
              <a:spcBef>
                <a:spcPts val="0"/>
              </a:spcBef>
              <a:spcAft>
                <a:spcPts val="0"/>
              </a:spcAft>
              <a:buClrTx/>
              <a:buSzTx/>
              <a:buFont typeface="Arial"/>
              <a:buNone/>
              <a:tabLst/>
              <a:defRPr/>
            </a:pPr>
            <a:r>
              <a:rPr kumimoji="0" lang="en-GB" sz="12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HelveticaNeueCE-Roman"/>
                <a:rtl val="0"/>
              </a:rPr>
              <a:t>135</a:t>
            </a:r>
          </a:p>
        </p:txBody>
      </p:sp>
      <p:sp>
        <p:nvSpPr>
          <p:cNvPr id="41" name="TextBox 298">
            <a:extLst>
              <a:ext uri="{FF2B5EF4-FFF2-40B4-BE49-F238E27FC236}">
                <a16:creationId xmlns:a16="http://schemas.microsoft.com/office/drawing/2014/main" id="{A3CDDEFD-F4DC-C774-A914-7E41D52CB01B}"/>
              </a:ext>
            </a:extLst>
          </p:cNvPr>
          <p:cNvSpPr txBox="1"/>
          <p:nvPr/>
        </p:nvSpPr>
        <p:spPr>
          <a:xfrm>
            <a:off x="5852248" y="5722681"/>
            <a:ext cx="439200" cy="276999"/>
          </a:xfrm>
          <a:prstGeom prst="rect">
            <a:avLst/>
          </a:prstGeom>
          <a:noFill/>
        </p:spPr>
        <p:txBody>
          <a:bodyPr wrap="none" rtlCol="0">
            <a:noAutofit/>
          </a:bodyPr>
          <a:lstStyle/>
          <a:p>
            <a:pPr marL="0" marR="0" lvl="0" indent="0" algn="ctr" defTabSz="914377" rtl="0" eaLnBrk="1" fontAlgn="auto" latinLnBrk="0" hangingPunct="1">
              <a:lnSpc>
                <a:spcPct val="100000"/>
              </a:lnSpc>
              <a:spcBef>
                <a:spcPts val="0"/>
              </a:spcBef>
              <a:spcAft>
                <a:spcPts val="0"/>
              </a:spcAft>
              <a:buClrTx/>
              <a:buSzTx/>
              <a:buFont typeface="Arial"/>
              <a:buNone/>
              <a:tabLst/>
              <a:defRPr/>
            </a:pPr>
            <a:r>
              <a:rPr kumimoji="0" lang="en-GB" sz="12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HelveticaNeueCE-Roman"/>
                <a:rtl val="0"/>
              </a:rPr>
              <a:t>125</a:t>
            </a:r>
          </a:p>
        </p:txBody>
      </p:sp>
      <p:sp>
        <p:nvSpPr>
          <p:cNvPr id="42" name="TextBox 299">
            <a:extLst>
              <a:ext uri="{FF2B5EF4-FFF2-40B4-BE49-F238E27FC236}">
                <a16:creationId xmlns:a16="http://schemas.microsoft.com/office/drawing/2014/main" id="{700655C5-8B51-BBD5-2133-43949B4DEAAF}"/>
              </a:ext>
            </a:extLst>
          </p:cNvPr>
          <p:cNvSpPr txBox="1"/>
          <p:nvPr/>
        </p:nvSpPr>
        <p:spPr>
          <a:xfrm>
            <a:off x="6740833" y="5535121"/>
            <a:ext cx="439200" cy="276999"/>
          </a:xfrm>
          <a:prstGeom prst="rect">
            <a:avLst/>
          </a:prstGeom>
          <a:noFill/>
        </p:spPr>
        <p:txBody>
          <a:bodyPr wrap="none" rtlCol="0">
            <a:noAutofit/>
          </a:bodyPr>
          <a:lstStyle/>
          <a:p>
            <a:pPr marL="0" marR="0" lvl="0" indent="0" algn="ctr" defTabSz="914377" rtl="0" eaLnBrk="1" fontAlgn="auto" latinLnBrk="0" hangingPunct="1">
              <a:lnSpc>
                <a:spcPct val="100000"/>
              </a:lnSpc>
              <a:spcBef>
                <a:spcPts val="0"/>
              </a:spcBef>
              <a:spcAft>
                <a:spcPts val="0"/>
              </a:spcAft>
              <a:buClrTx/>
              <a:buSzTx/>
              <a:buFont typeface="Arial"/>
              <a:buNone/>
              <a:tabLst/>
              <a:defRPr/>
            </a:pPr>
            <a:r>
              <a:rPr kumimoji="0" lang="en-GB" sz="12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HelveticaNeueCE-Roman"/>
                <a:rtl val="0"/>
              </a:rPr>
              <a:t>79</a:t>
            </a:r>
          </a:p>
        </p:txBody>
      </p:sp>
      <p:sp>
        <p:nvSpPr>
          <p:cNvPr id="43" name="TextBox 300">
            <a:extLst>
              <a:ext uri="{FF2B5EF4-FFF2-40B4-BE49-F238E27FC236}">
                <a16:creationId xmlns:a16="http://schemas.microsoft.com/office/drawing/2014/main" id="{9294076E-BF88-9A71-C54C-587A08144E0C}"/>
              </a:ext>
            </a:extLst>
          </p:cNvPr>
          <p:cNvSpPr txBox="1"/>
          <p:nvPr/>
        </p:nvSpPr>
        <p:spPr>
          <a:xfrm>
            <a:off x="6740833" y="5722681"/>
            <a:ext cx="439200" cy="276999"/>
          </a:xfrm>
          <a:prstGeom prst="rect">
            <a:avLst/>
          </a:prstGeom>
          <a:noFill/>
        </p:spPr>
        <p:txBody>
          <a:bodyPr wrap="none" rtlCol="0">
            <a:noAutofit/>
          </a:bodyPr>
          <a:lstStyle/>
          <a:p>
            <a:pPr marL="0" marR="0" lvl="0" indent="0" algn="ctr" defTabSz="914377" rtl="0" eaLnBrk="1" fontAlgn="auto" latinLnBrk="0" hangingPunct="1">
              <a:lnSpc>
                <a:spcPct val="100000"/>
              </a:lnSpc>
              <a:spcBef>
                <a:spcPts val="0"/>
              </a:spcBef>
              <a:spcAft>
                <a:spcPts val="0"/>
              </a:spcAft>
              <a:buClrTx/>
              <a:buSzTx/>
              <a:buFont typeface="Arial"/>
              <a:buNone/>
              <a:tabLst/>
              <a:defRPr/>
            </a:pPr>
            <a:r>
              <a:rPr kumimoji="0" lang="en-GB" sz="12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HelveticaNeueCE-Roman"/>
                <a:rtl val="0"/>
              </a:rPr>
              <a:t>65</a:t>
            </a:r>
          </a:p>
        </p:txBody>
      </p:sp>
      <p:sp>
        <p:nvSpPr>
          <p:cNvPr id="44" name="TextBox 301">
            <a:extLst>
              <a:ext uri="{FF2B5EF4-FFF2-40B4-BE49-F238E27FC236}">
                <a16:creationId xmlns:a16="http://schemas.microsoft.com/office/drawing/2014/main" id="{E812D599-27E5-93EC-58F4-D7427DF0FBF3}"/>
              </a:ext>
            </a:extLst>
          </p:cNvPr>
          <p:cNvSpPr txBox="1"/>
          <p:nvPr/>
        </p:nvSpPr>
        <p:spPr>
          <a:xfrm>
            <a:off x="7629419" y="5535121"/>
            <a:ext cx="439200" cy="276999"/>
          </a:xfrm>
          <a:prstGeom prst="rect">
            <a:avLst/>
          </a:prstGeom>
          <a:noFill/>
        </p:spPr>
        <p:txBody>
          <a:bodyPr wrap="none" rtlCol="0">
            <a:noAutofit/>
          </a:bodyPr>
          <a:lstStyle/>
          <a:p>
            <a:pPr marL="0" marR="0" lvl="0" indent="0" algn="ctr" defTabSz="914377" rtl="0" eaLnBrk="1" fontAlgn="auto" latinLnBrk="0" hangingPunct="1">
              <a:lnSpc>
                <a:spcPct val="100000"/>
              </a:lnSpc>
              <a:spcBef>
                <a:spcPts val="0"/>
              </a:spcBef>
              <a:spcAft>
                <a:spcPts val="0"/>
              </a:spcAft>
              <a:buClrTx/>
              <a:buSzTx/>
              <a:buFont typeface="Arial"/>
              <a:buNone/>
              <a:tabLst/>
              <a:defRPr/>
            </a:pPr>
            <a:r>
              <a:rPr kumimoji="0" lang="en-GB" sz="12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HelveticaNeueCE-Roman"/>
                <a:rtl val="0"/>
              </a:rPr>
              <a:t>49</a:t>
            </a:r>
          </a:p>
        </p:txBody>
      </p:sp>
      <p:sp>
        <p:nvSpPr>
          <p:cNvPr id="45" name="TextBox 302">
            <a:extLst>
              <a:ext uri="{FF2B5EF4-FFF2-40B4-BE49-F238E27FC236}">
                <a16:creationId xmlns:a16="http://schemas.microsoft.com/office/drawing/2014/main" id="{DAC440B0-AB80-6E2E-736B-9D2DB60E46C3}"/>
              </a:ext>
            </a:extLst>
          </p:cNvPr>
          <p:cNvSpPr txBox="1"/>
          <p:nvPr/>
        </p:nvSpPr>
        <p:spPr>
          <a:xfrm>
            <a:off x="7629419" y="5722681"/>
            <a:ext cx="439200" cy="276999"/>
          </a:xfrm>
          <a:prstGeom prst="rect">
            <a:avLst/>
          </a:prstGeom>
          <a:noFill/>
        </p:spPr>
        <p:txBody>
          <a:bodyPr wrap="none" rtlCol="0">
            <a:noAutofit/>
          </a:bodyPr>
          <a:lstStyle/>
          <a:p>
            <a:pPr marL="0" marR="0" lvl="0" indent="0" algn="ctr" defTabSz="914377" rtl="0" eaLnBrk="1" fontAlgn="auto" latinLnBrk="0" hangingPunct="1">
              <a:lnSpc>
                <a:spcPct val="100000"/>
              </a:lnSpc>
              <a:spcBef>
                <a:spcPts val="0"/>
              </a:spcBef>
              <a:spcAft>
                <a:spcPts val="0"/>
              </a:spcAft>
              <a:buClrTx/>
              <a:buSzTx/>
              <a:buFont typeface="Arial"/>
              <a:buNone/>
              <a:tabLst/>
              <a:defRPr/>
            </a:pPr>
            <a:r>
              <a:rPr kumimoji="0" lang="en-GB" sz="12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HelveticaNeueCE-Roman"/>
                <a:rtl val="0"/>
              </a:rPr>
              <a:t>29</a:t>
            </a:r>
          </a:p>
        </p:txBody>
      </p:sp>
      <p:sp>
        <p:nvSpPr>
          <p:cNvPr id="46" name="TextBox 303">
            <a:extLst>
              <a:ext uri="{FF2B5EF4-FFF2-40B4-BE49-F238E27FC236}">
                <a16:creationId xmlns:a16="http://schemas.microsoft.com/office/drawing/2014/main" id="{076840AA-FFD1-C8F6-1831-E958AF8360ED}"/>
              </a:ext>
            </a:extLst>
          </p:cNvPr>
          <p:cNvSpPr txBox="1"/>
          <p:nvPr/>
        </p:nvSpPr>
        <p:spPr>
          <a:xfrm>
            <a:off x="8518003" y="5535121"/>
            <a:ext cx="439200" cy="276999"/>
          </a:xfrm>
          <a:prstGeom prst="rect">
            <a:avLst/>
          </a:prstGeom>
          <a:noFill/>
        </p:spPr>
        <p:txBody>
          <a:bodyPr wrap="none" rtlCol="0">
            <a:noAutofit/>
          </a:bodyPr>
          <a:lstStyle/>
          <a:p>
            <a:pPr marL="0" marR="0" lvl="0" indent="0" algn="ctr" defTabSz="914377" rtl="0" eaLnBrk="1" fontAlgn="auto" latinLnBrk="0" hangingPunct="1">
              <a:lnSpc>
                <a:spcPct val="100000"/>
              </a:lnSpc>
              <a:spcBef>
                <a:spcPts val="0"/>
              </a:spcBef>
              <a:spcAft>
                <a:spcPts val="0"/>
              </a:spcAft>
              <a:buClrTx/>
              <a:buSzTx/>
              <a:buFont typeface="Arial"/>
              <a:buNone/>
              <a:tabLst/>
              <a:defRPr/>
            </a:pPr>
            <a:r>
              <a:rPr kumimoji="0" lang="en-GB" sz="12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HelveticaNeueCE-Roman"/>
                <a:rtl val="0"/>
              </a:rPr>
              <a:t>24</a:t>
            </a:r>
          </a:p>
        </p:txBody>
      </p:sp>
      <p:sp>
        <p:nvSpPr>
          <p:cNvPr id="47" name="TextBox 304">
            <a:extLst>
              <a:ext uri="{FF2B5EF4-FFF2-40B4-BE49-F238E27FC236}">
                <a16:creationId xmlns:a16="http://schemas.microsoft.com/office/drawing/2014/main" id="{130784DA-F7AB-D469-15E7-C7E8BC41087B}"/>
              </a:ext>
            </a:extLst>
          </p:cNvPr>
          <p:cNvSpPr txBox="1"/>
          <p:nvPr/>
        </p:nvSpPr>
        <p:spPr>
          <a:xfrm>
            <a:off x="8518003" y="5722681"/>
            <a:ext cx="439200" cy="276999"/>
          </a:xfrm>
          <a:prstGeom prst="rect">
            <a:avLst/>
          </a:prstGeom>
          <a:noFill/>
        </p:spPr>
        <p:txBody>
          <a:bodyPr wrap="none" rtlCol="0">
            <a:noAutofit/>
          </a:bodyPr>
          <a:lstStyle/>
          <a:p>
            <a:pPr marL="0" marR="0" lvl="0" indent="0" algn="ctr" defTabSz="914377" rtl="0" eaLnBrk="1" fontAlgn="auto" latinLnBrk="0" hangingPunct="1">
              <a:lnSpc>
                <a:spcPct val="100000"/>
              </a:lnSpc>
              <a:spcBef>
                <a:spcPts val="0"/>
              </a:spcBef>
              <a:spcAft>
                <a:spcPts val="0"/>
              </a:spcAft>
              <a:buClrTx/>
              <a:buSzTx/>
              <a:buFont typeface="Arial"/>
              <a:buNone/>
              <a:tabLst/>
              <a:defRPr/>
            </a:pPr>
            <a:r>
              <a:rPr kumimoji="0" lang="en-GB" sz="12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HelveticaNeueCE-Roman"/>
                <a:rtl val="0"/>
              </a:rPr>
              <a:t>10</a:t>
            </a:r>
          </a:p>
        </p:txBody>
      </p:sp>
      <p:sp>
        <p:nvSpPr>
          <p:cNvPr id="48" name="TextBox 305">
            <a:extLst>
              <a:ext uri="{FF2B5EF4-FFF2-40B4-BE49-F238E27FC236}">
                <a16:creationId xmlns:a16="http://schemas.microsoft.com/office/drawing/2014/main" id="{FA78A648-127D-EDD8-2C21-7041AAC42AC5}"/>
              </a:ext>
            </a:extLst>
          </p:cNvPr>
          <p:cNvSpPr txBox="1"/>
          <p:nvPr/>
        </p:nvSpPr>
        <p:spPr>
          <a:xfrm>
            <a:off x="9406588" y="5535121"/>
            <a:ext cx="439200" cy="276999"/>
          </a:xfrm>
          <a:prstGeom prst="rect">
            <a:avLst/>
          </a:prstGeom>
          <a:noFill/>
        </p:spPr>
        <p:txBody>
          <a:bodyPr wrap="none" rtlCol="0">
            <a:noAutofit/>
          </a:bodyPr>
          <a:lstStyle/>
          <a:p>
            <a:pPr marL="0" marR="0" lvl="0" indent="0" algn="ctr" defTabSz="914377" rtl="0" eaLnBrk="1" fontAlgn="auto" latinLnBrk="0" hangingPunct="1">
              <a:lnSpc>
                <a:spcPct val="100000"/>
              </a:lnSpc>
              <a:spcBef>
                <a:spcPts val="0"/>
              </a:spcBef>
              <a:spcAft>
                <a:spcPts val="0"/>
              </a:spcAft>
              <a:buClrTx/>
              <a:buSzTx/>
              <a:buFont typeface="Arial"/>
              <a:buNone/>
              <a:tabLst/>
              <a:defRPr/>
            </a:pPr>
            <a:r>
              <a:rPr kumimoji="0" lang="en-GB" sz="12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HelveticaNeueCE-Roman"/>
                <a:rtl val="0"/>
              </a:rPr>
              <a:t>9</a:t>
            </a:r>
          </a:p>
        </p:txBody>
      </p:sp>
      <p:sp>
        <p:nvSpPr>
          <p:cNvPr id="49" name="TextBox 306">
            <a:extLst>
              <a:ext uri="{FF2B5EF4-FFF2-40B4-BE49-F238E27FC236}">
                <a16:creationId xmlns:a16="http://schemas.microsoft.com/office/drawing/2014/main" id="{745F25C5-3C16-62F5-C2C6-C2DC6BEEDCE6}"/>
              </a:ext>
            </a:extLst>
          </p:cNvPr>
          <p:cNvSpPr txBox="1"/>
          <p:nvPr/>
        </p:nvSpPr>
        <p:spPr>
          <a:xfrm>
            <a:off x="9406588" y="5722681"/>
            <a:ext cx="439200" cy="276999"/>
          </a:xfrm>
          <a:prstGeom prst="rect">
            <a:avLst/>
          </a:prstGeom>
          <a:noFill/>
        </p:spPr>
        <p:txBody>
          <a:bodyPr wrap="none" rtlCol="0">
            <a:noAutofit/>
          </a:bodyPr>
          <a:lstStyle/>
          <a:p>
            <a:pPr marL="0" marR="0" lvl="0" indent="0" algn="ctr" defTabSz="914377" rtl="0" eaLnBrk="1" fontAlgn="auto" latinLnBrk="0" hangingPunct="1">
              <a:lnSpc>
                <a:spcPct val="100000"/>
              </a:lnSpc>
              <a:spcBef>
                <a:spcPts val="0"/>
              </a:spcBef>
              <a:spcAft>
                <a:spcPts val="0"/>
              </a:spcAft>
              <a:buClrTx/>
              <a:buSzTx/>
              <a:buFont typeface="Arial"/>
              <a:buNone/>
              <a:tabLst/>
              <a:defRPr/>
            </a:pPr>
            <a:r>
              <a:rPr kumimoji="0" lang="en-GB" sz="12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HelveticaNeueCE-Roman"/>
                <a:rtl val="0"/>
              </a:rPr>
              <a:t>4</a:t>
            </a:r>
          </a:p>
        </p:txBody>
      </p:sp>
      <p:sp>
        <p:nvSpPr>
          <p:cNvPr id="50" name="TextBox 307">
            <a:extLst>
              <a:ext uri="{FF2B5EF4-FFF2-40B4-BE49-F238E27FC236}">
                <a16:creationId xmlns:a16="http://schemas.microsoft.com/office/drawing/2014/main" id="{6DB88786-F4F3-E8AA-C47C-02D9242A2C36}"/>
              </a:ext>
            </a:extLst>
          </p:cNvPr>
          <p:cNvSpPr txBox="1"/>
          <p:nvPr/>
        </p:nvSpPr>
        <p:spPr>
          <a:xfrm>
            <a:off x="10295173" y="5535121"/>
            <a:ext cx="439200" cy="276999"/>
          </a:xfrm>
          <a:prstGeom prst="rect">
            <a:avLst/>
          </a:prstGeom>
          <a:noFill/>
        </p:spPr>
        <p:txBody>
          <a:bodyPr wrap="none" rtlCol="0">
            <a:noAutofit/>
          </a:bodyPr>
          <a:lstStyle/>
          <a:p>
            <a:pPr marL="0" marR="0" lvl="0" indent="0" algn="ctr" defTabSz="914377" rtl="0" eaLnBrk="1" fontAlgn="auto" latinLnBrk="0" hangingPunct="1">
              <a:lnSpc>
                <a:spcPct val="100000"/>
              </a:lnSpc>
              <a:spcBef>
                <a:spcPts val="0"/>
              </a:spcBef>
              <a:spcAft>
                <a:spcPts val="0"/>
              </a:spcAft>
              <a:buClrTx/>
              <a:buSzTx/>
              <a:buFont typeface="Arial"/>
              <a:buNone/>
              <a:tabLst/>
              <a:defRPr/>
            </a:pPr>
            <a:r>
              <a:rPr kumimoji="0" lang="en-GB" sz="12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HelveticaNeueCE-Roman"/>
                <a:rtl val="0"/>
              </a:rPr>
              <a:t>1</a:t>
            </a:r>
          </a:p>
        </p:txBody>
      </p:sp>
      <p:sp>
        <p:nvSpPr>
          <p:cNvPr id="51" name="TextBox 308">
            <a:extLst>
              <a:ext uri="{FF2B5EF4-FFF2-40B4-BE49-F238E27FC236}">
                <a16:creationId xmlns:a16="http://schemas.microsoft.com/office/drawing/2014/main" id="{E82406BF-390F-22CA-D55C-AD4CD8FE1FE9}"/>
              </a:ext>
            </a:extLst>
          </p:cNvPr>
          <p:cNvSpPr txBox="1"/>
          <p:nvPr/>
        </p:nvSpPr>
        <p:spPr>
          <a:xfrm>
            <a:off x="10295173" y="5722681"/>
            <a:ext cx="439200" cy="276999"/>
          </a:xfrm>
          <a:prstGeom prst="rect">
            <a:avLst/>
          </a:prstGeom>
          <a:noFill/>
        </p:spPr>
        <p:txBody>
          <a:bodyPr wrap="none" rtlCol="0">
            <a:noAutofit/>
          </a:bodyPr>
          <a:lstStyle/>
          <a:p>
            <a:pPr marL="0" marR="0" lvl="0" indent="0" algn="ctr" defTabSz="914377" rtl="0" eaLnBrk="1" fontAlgn="auto" latinLnBrk="0" hangingPunct="1">
              <a:lnSpc>
                <a:spcPct val="100000"/>
              </a:lnSpc>
              <a:spcBef>
                <a:spcPts val="0"/>
              </a:spcBef>
              <a:spcAft>
                <a:spcPts val="0"/>
              </a:spcAft>
              <a:buClrTx/>
              <a:buSzTx/>
              <a:buFont typeface="Arial"/>
              <a:buNone/>
              <a:tabLst/>
              <a:defRPr/>
            </a:pPr>
            <a:r>
              <a:rPr kumimoji="0" lang="en-GB" sz="12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HelveticaNeueCE-Roman"/>
                <a:rtl val="0"/>
              </a:rPr>
              <a:t>0</a:t>
            </a:r>
          </a:p>
        </p:txBody>
      </p:sp>
      <p:sp>
        <p:nvSpPr>
          <p:cNvPr id="52" name="TextBox 309">
            <a:extLst>
              <a:ext uri="{FF2B5EF4-FFF2-40B4-BE49-F238E27FC236}">
                <a16:creationId xmlns:a16="http://schemas.microsoft.com/office/drawing/2014/main" id="{F0533A7D-DE15-3145-E7E6-6AF1D4CBBA2A}"/>
              </a:ext>
            </a:extLst>
          </p:cNvPr>
          <p:cNvSpPr txBox="1"/>
          <p:nvPr/>
        </p:nvSpPr>
        <p:spPr>
          <a:xfrm>
            <a:off x="457200" y="5332321"/>
            <a:ext cx="1643399" cy="276999"/>
          </a:xfrm>
          <a:prstGeom prst="rect">
            <a:avLst/>
          </a:prstGeom>
          <a:noFill/>
        </p:spPr>
        <p:txBody>
          <a:bodyPr rot="0" spcFirstLastPara="0" vertOverflow="overflow" horzOverflow="overflow" vert="horz" wrap="none" lIns="91440" tIns="45720" rIns="91440" bIns="45720" numCol="1" spcCol="0" rtlCol="0" fromWordArt="0" anchor="t" anchorCtr="0" forceAA="0" compatLnSpc="1">
            <a:prstTxWarp prst="textNoShape">
              <a:avLst/>
            </a:prstTxWarp>
            <a:spAutoFit/>
          </a:bodyPr>
          <a:lstStyle>
            <a:defPPr>
              <a:defRPr lang="en-US"/>
            </a:defPPr>
            <a:lvl1pPr>
              <a:defRPr sz="1200" b="1" spc="0" baseline="0">
                <a:solidFill>
                  <a:schemeClr val="bg1"/>
                </a:solidFill>
                <a:latin typeface="+mj-lt"/>
                <a:rtl val="0"/>
              </a:defRPr>
            </a:lvl1pPr>
          </a:lstStyle>
          <a:p>
            <a:pPr marL="0" marR="0" lvl="0" indent="0" algn="l" defTabSz="914377" rtl="0" eaLnBrk="1" fontAlgn="auto" latinLnBrk="0" hangingPunct="1">
              <a:lnSpc>
                <a:spcPct val="100000"/>
              </a:lnSpc>
              <a:spcBef>
                <a:spcPts val="0"/>
              </a:spcBef>
              <a:spcAft>
                <a:spcPts val="0"/>
              </a:spcAft>
              <a:buClrTx/>
              <a:buSzTx/>
              <a:buFont typeface="Arial"/>
              <a:buNone/>
              <a:tabLst/>
              <a:defRPr/>
            </a:pPr>
            <a:r>
              <a:rPr kumimoji="0" lang="en-GB" sz="12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HelveticaNeue-Bold"/>
                <a:rtl val="0"/>
              </a:rPr>
              <a:t>Number of subjects at risk</a:t>
            </a:r>
          </a:p>
        </p:txBody>
      </p:sp>
      <p:sp>
        <p:nvSpPr>
          <p:cNvPr id="53" name="TextBox 310">
            <a:extLst>
              <a:ext uri="{FF2B5EF4-FFF2-40B4-BE49-F238E27FC236}">
                <a16:creationId xmlns:a16="http://schemas.microsoft.com/office/drawing/2014/main" id="{71343426-CA20-AFC6-FC91-1DB4E7529982}"/>
              </a:ext>
            </a:extLst>
          </p:cNvPr>
          <p:cNvSpPr txBox="1"/>
          <p:nvPr/>
        </p:nvSpPr>
        <p:spPr>
          <a:xfrm>
            <a:off x="457200" y="5535121"/>
            <a:ext cx="1465466" cy="276999"/>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 typeface="Arial"/>
              <a:buNone/>
              <a:tabLst/>
              <a:defRPr/>
            </a:pPr>
            <a:r>
              <a:rPr kumimoji="0" lang="en-GB" sz="1200" b="0" i="0" u="none" strike="noStrike" kern="0" cap="none" spc="0" normalizeH="0" baseline="0" noProof="0">
                <a:ln>
                  <a:noFill/>
                </a:ln>
                <a:solidFill>
                  <a:srgbClr val="1E325F"/>
                </a:solidFill>
                <a:effectLst/>
                <a:uLnTx/>
                <a:uFillTx/>
                <a:latin typeface="Arial Narrow" panose="020B0604020202020204" pitchFamily="34" charset="0"/>
                <a:cs typeface="Arial Narrow" panose="020B0604020202020204" pitchFamily="34" charset="0"/>
                <a:sym typeface="HelveticaNeueCE-Roman"/>
                <a:rtl val="0"/>
              </a:rPr>
              <a:t>Durvalumab + GemCis</a:t>
            </a:r>
          </a:p>
        </p:txBody>
      </p:sp>
      <p:sp>
        <p:nvSpPr>
          <p:cNvPr id="54" name="TextBox 311">
            <a:extLst>
              <a:ext uri="{FF2B5EF4-FFF2-40B4-BE49-F238E27FC236}">
                <a16:creationId xmlns:a16="http://schemas.microsoft.com/office/drawing/2014/main" id="{EDB693E7-129E-59CE-B016-A974E2DC31A6}"/>
              </a:ext>
            </a:extLst>
          </p:cNvPr>
          <p:cNvSpPr txBox="1"/>
          <p:nvPr/>
        </p:nvSpPr>
        <p:spPr>
          <a:xfrm>
            <a:off x="457201" y="5722679"/>
            <a:ext cx="1241045" cy="276999"/>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 typeface="Arial"/>
              <a:buNone/>
              <a:tabLst/>
              <a:defRPr/>
            </a:pPr>
            <a:r>
              <a:rPr kumimoji="0" lang="en-GB" sz="1200" b="0"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HelveticaNeueCE-Roman"/>
                <a:rtl val="0"/>
              </a:rPr>
              <a:t>Placebo + </a:t>
            </a:r>
            <a:r>
              <a:rPr kumimoji="0" lang="en-GB" sz="1200" b="0" i="0" u="none" strike="noStrike" kern="0" cap="none" spc="0" normalizeH="0" baseline="0" noProof="0" dirty="0" err="1">
                <a:ln>
                  <a:noFill/>
                </a:ln>
                <a:solidFill>
                  <a:srgbClr val="000000"/>
                </a:solidFill>
                <a:effectLst/>
                <a:uLnTx/>
                <a:uFillTx/>
                <a:latin typeface="Arial Narrow" panose="020B0604020202020204" pitchFamily="34" charset="0"/>
                <a:cs typeface="Arial Narrow" panose="020B0604020202020204" pitchFamily="34" charset="0"/>
                <a:sym typeface="HelveticaNeueCE-Roman"/>
                <a:rtl val="0"/>
              </a:rPr>
              <a:t>GemCis</a:t>
            </a:r>
            <a:endParaRPr kumimoji="0" lang="en-GB" sz="1200" b="0"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HelveticaNeueCE-Roman"/>
              <a:rtl val="0"/>
            </a:endParaRPr>
          </a:p>
        </p:txBody>
      </p:sp>
      <p:sp>
        <p:nvSpPr>
          <p:cNvPr id="55" name="TextBox 312">
            <a:extLst>
              <a:ext uri="{FF2B5EF4-FFF2-40B4-BE49-F238E27FC236}">
                <a16:creationId xmlns:a16="http://schemas.microsoft.com/office/drawing/2014/main" id="{59651801-1F2A-FC53-29BC-D685FEA41409}"/>
              </a:ext>
            </a:extLst>
          </p:cNvPr>
          <p:cNvSpPr txBox="1"/>
          <p:nvPr/>
        </p:nvSpPr>
        <p:spPr>
          <a:xfrm>
            <a:off x="1911246" y="4877199"/>
            <a:ext cx="360996" cy="276999"/>
          </a:xfrm>
          <a:prstGeom prst="rect">
            <a:avLst/>
          </a:prstGeom>
          <a:noFill/>
        </p:spPr>
        <p:txBody>
          <a:bodyPr wrap="none" rtlCol="0">
            <a:spAutoFit/>
          </a:bodyPr>
          <a:lstStyle/>
          <a:p>
            <a:pPr marL="0" marR="0" lvl="0" indent="0" algn="r" defTabSz="914377" rtl="0" eaLnBrk="1" fontAlgn="auto" latinLnBrk="0" hangingPunct="1">
              <a:lnSpc>
                <a:spcPct val="100000"/>
              </a:lnSpc>
              <a:spcBef>
                <a:spcPts val="0"/>
              </a:spcBef>
              <a:spcAft>
                <a:spcPts val="0"/>
              </a:spcAft>
              <a:buClrTx/>
              <a:buSzTx/>
              <a:buFont typeface="Arial"/>
              <a:buNone/>
              <a:tabLst/>
              <a:defRPr/>
            </a:pPr>
            <a:r>
              <a:rPr kumimoji="0" lang="en-GB" sz="12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HelveticaNeueCE-Roman"/>
                <a:rtl val="0"/>
              </a:rPr>
              <a:t>0.0</a:t>
            </a:r>
          </a:p>
        </p:txBody>
      </p:sp>
      <p:sp>
        <p:nvSpPr>
          <p:cNvPr id="56" name="TextBox 313">
            <a:extLst>
              <a:ext uri="{FF2B5EF4-FFF2-40B4-BE49-F238E27FC236}">
                <a16:creationId xmlns:a16="http://schemas.microsoft.com/office/drawing/2014/main" id="{35535232-9670-559B-3420-9B6FE2603A8B}"/>
              </a:ext>
            </a:extLst>
          </p:cNvPr>
          <p:cNvSpPr txBox="1"/>
          <p:nvPr/>
        </p:nvSpPr>
        <p:spPr>
          <a:xfrm>
            <a:off x="1911246" y="4588579"/>
            <a:ext cx="360996" cy="276999"/>
          </a:xfrm>
          <a:prstGeom prst="rect">
            <a:avLst/>
          </a:prstGeom>
          <a:noFill/>
        </p:spPr>
        <p:txBody>
          <a:bodyPr wrap="none" rtlCol="0">
            <a:spAutoFit/>
          </a:bodyPr>
          <a:lstStyle/>
          <a:p>
            <a:pPr marL="0" marR="0" lvl="0" indent="0" algn="r" defTabSz="914377" rtl="0" eaLnBrk="1" fontAlgn="auto" latinLnBrk="0" hangingPunct="1">
              <a:lnSpc>
                <a:spcPct val="100000"/>
              </a:lnSpc>
              <a:spcBef>
                <a:spcPts val="0"/>
              </a:spcBef>
              <a:spcAft>
                <a:spcPts val="0"/>
              </a:spcAft>
              <a:buClrTx/>
              <a:buSzTx/>
              <a:buFont typeface="Arial"/>
              <a:buNone/>
              <a:tabLst/>
              <a:defRPr/>
            </a:pPr>
            <a:r>
              <a:rPr kumimoji="0" lang="en-GB" sz="12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HelveticaNeueCE-Roman"/>
                <a:rtl val="0"/>
              </a:rPr>
              <a:t>0.1</a:t>
            </a:r>
          </a:p>
        </p:txBody>
      </p:sp>
      <p:sp>
        <p:nvSpPr>
          <p:cNvPr id="57" name="TextBox 314">
            <a:extLst>
              <a:ext uri="{FF2B5EF4-FFF2-40B4-BE49-F238E27FC236}">
                <a16:creationId xmlns:a16="http://schemas.microsoft.com/office/drawing/2014/main" id="{2860629D-152F-51DF-7A15-4C9897DDC5BB}"/>
              </a:ext>
            </a:extLst>
          </p:cNvPr>
          <p:cNvSpPr txBox="1"/>
          <p:nvPr/>
        </p:nvSpPr>
        <p:spPr>
          <a:xfrm>
            <a:off x="1911246" y="4299959"/>
            <a:ext cx="360996" cy="276999"/>
          </a:xfrm>
          <a:prstGeom prst="rect">
            <a:avLst/>
          </a:prstGeom>
          <a:noFill/>
        </p:spPr>
        <p:txBody>
          <a:bodyPr wrap="none" rtlCol="0">
            <a:spAutoFit/>
          </a:bodyPr>
          <a:lstStyle/>
          <a:p>
            <a:pPr marL="0" marR="0" lvl="0" indent="0" algn="r" defTabSz="914377" rtl="0" eaLnBrk="1" fontAlgn="auto" latinLnBrk="0" hangingPunct="1">
              <a:lnSpc>
                <a:spcPct val="100000"/>
              </a:lnSpc>
              <a:spcBef>
                <a:spcPts val="0"/>
              </a:spcBef>
              <a:spcAft>
                <a:spcPts val="0"/>
              </a:spcAft>
              <a:buClrTx/>
              <a:buSzTx/>
              <a:buFont typeface="Arial"/>
              <a:buNone/>
              <a:tabLst/>
              <a:defRPr/>
            </a:pPr>
            <a:r>
              <a:rPr kumimoji="0" lang="en-GB" sz="12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HelveticaNeueCE-Roman"/>
                <a:rtl val="0"/>
              </a:rPr>
              <a:t>0.2</a:t>
            </a:r>
          </a:p>
        </p:txBody>
      </p:sp>
      <p:sp>
        <p:nvSpPr>
          <p:cNvPr id="58" name="TextBox 315">
            <a:extLst>
              <a:ext uri="{FF2B5EF4-FFF2-40B4-BE49-F238E27FC236}">
                <a16:creationId xmlns:a16="http://schemas.microsoft.com/office/drawing/2014/main" id="{D72638AD-616A-6CA6-F089-3E410915AD5D}"/>
              </a:ext>
            </a:extLst>
          </p:cNvPr>
          <p:cNvSpPr txBox="1"/>
          <p:nvPr/>
        </p:nvSpPr>
        <p:spPr>
          <a:xfrm>
            <a:off x="1911246" y="4011339"/>
            <a:ext cx="360996" cy="276999"/>
          </a:xfrm>
          <a:prstGeom prst="rect">
            <a:avLst/>
          </a:prstGeom>
          <a:noFill/>
        </p:spPr>
        <p:txBody>
          <a:bodyPr wrap="none" rtlCol="0">
            <a:spAutoFit/>
          </a:bodyPr>
          <a:lstStyle/>
          <a:p>
            <a:pPr marL="0" marR="0" lvl="0" indent="0" algn="r" defTabSz="914377" rtl="0" eaLnBrk="1" fontAlgn="auto" latinLnBrk="0" hangingPunct="1">
              <a:lnSpc>
                <a:spcPct val="100000"/>
              </a:lnSpc>
              <a:spcBef>
                <a:spcPts val="0"/>
              </a:spcBef>
              <a:spcAft>
                <a:spcPts val="0"/>
              </a:spcAft>
              <a:buClrTx/>
              <a:buSzTx/>
              <a:buFont typeface="Arial"/>
              <a:buNone/>
              <a:tabLst/>
              <a:defRPr/>
            </a:pPr>
            <a:r>
              <a:rPr kumimoji="0" lang="en-GB" sz="12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HelveticaNeueCE-Roman"/>
                <a:rtl val="0"/>
              </a:rPr>
              <a:t>0.3</a:t>
            </a:r>
          </a:p>
        </p:txBody>
      </p:sp>
      <p:sp>
        <p:nvSpPr>
          <p:cNvPr id="59" name="TextBox 316">
            <a:extLst>
              <a:ext uri="{FF2B5EF4-FFF2-40B4-BE49-F238E27FC236}">
                <a16:creationId xmlns:a16="http://schemas.microsoft.com/office/drawing/2014/main" id="{7BF467A3-7124-AC57-C90D-C46BE4DFB7A7}"/>
              </a:ext>
            </a:extLst>
          </p:cNvPr>
          <p:cNvSpPr txBox="1"/>
          <p:nvPr/>
        </p:nvSpPr>
        <p:spPr>
          <a:xfrm>
            <a:off x="1911246" y="3722570"/>
            <a:ext cx="360996" cy="276999"/>
          </a:xfrm>
          <a:prstGeom prst="rect">
            <a:avLst/>
          </a:prstGeom>
          <a:noFill/>
        </p:spPr>
        <p:txBody>
          <a:bodyPr wrap="none" rtlCol="0">
            <a:spAutoFit/>
          </a:bodyPr>
          <a:lstStyle/>
          <a:p>
            <a:pPr marL="0" marR="0" lvl="0" indent="0" algn="r" defTabSz="914377" rtl="0" eaLnBrk="1" fontAlgn="auto" latinLnBrk="0" hangingPunct="1">
              <a:lnSpc>
                <a:spcPct val="100000"/>
              </a:lnSpc>
              <a:spcBef>
                <a:spcPts val="0"/>
              </a:spcBef>
              <a:spcAft>
                <a:spcPts val="0"/>
              </a:spcAft>
              <a:buClrTx/>
              <a:buSzTx/>
              <a:buFont typeface="Arial"/>
              <a:buNone/>
              <a:tabLst/>
              <a:defRPr/>
            </a:pPr>
            <a:r>
              <a:rPr kumimoji="0" lang="en-GB" sz="12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HelveticaNeueCE-Roman"/>
                <a:rtl val="0"/>
              </a:rPr>
              <a:t>0.4</a:t>
            </a:r>
          </a:p>
        </p:txBody>
      </p:sp>
      <p:sp>
        <p:nvSpPr>
          <p:cNvPr id="60" name="TextBox 317">
            <a:extLst>
              <a:ext uri="{FF2B5EF4-FFF2-40B4-BE49-F238E27FC236}">
                <a16:creationId xmlns:a16="http://schemas.microsoft.com/office/drawing/2014/main" id="{D0772ED1-80B8-45AB-0E5D-6A336A6C368D}"/>
              </a:ext>
            </a:extLst>
          </p:cNvPr>
          <p:cNvSpPr txBox="1"/>
          <p:nvPr/>
        </p:nvSpPr>
        <p:spPr>
          <a:xfrm>
            <a:off x="1911246" y="3433950"/>
            <a:ext cx="360996" cy="276999"/>
          </a:xfrm>
          <a:prstGeom prst="rect">
            <a:avLst/>
          </a:prstGeom>
          <a:noFill/>
        </p:spPr>
        <p:txBody>
          <a:bodyPr wrap="none" rtlCol="0">
            <a:spAutoFit/>
          </a:bodyPr>
          <a:lstStyle/>
          <a:p>
            <a:pPr marL="0" marR="0" lvl="0" indent="0" algn="r" defTabSz="914377" rtl="0" eaLnBrk="1" fontAlgn="auto" latinLnBrk="0" hangingPunct="1">
              <a:lnSpc>
                <a:spcPct val="100000"/>
              </a:lnSpc>
              <a:spcBef>
                <a:spcPts val="0"/>
              </a:spcBef>
              <a:spcAft>
                <a:spcPts val="0"/>
              </a:spcAft>
              <a:buClrTx/>
              <a:buSzTx/>
              <a:buFont typeface="Arial"/>
              <a:buNone/>
              <a:tabLst/>
              <a:defRPr/>
            </a:pPr>
            <a:r>
              <a:rPr kumimoji="0" lang="en-GB" sz="12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HelveticaNeueCE-Roman"/>
                <a:rtl val="0"/>
              </a:rPr>
              <a:t>0.5</a:t>
            </a:r>
          </a:p>
        </p:txBody>
      </p:sp>
      <p:sp>
        <p:nvSpPr>
          <p:cNvPr id="61" name="TextBox 318">
            <a:extLst>
              <a:ext uri="{FF2B5EF4-FFF2-40B4-BE49-F238E27FC236}">
                <a16:creationId xmlns:a16="http://schemas.microsoft.com/office/drawing/2014/main" id="{05FEF4FF-B7DA-F5D2-BED8-281301A0AAC4}"/>
              </a:ext>
            </a:extLst>
          </p:cNvPr>
          <p:cNvSpPr txBox="1"/>
          <p:nvPr/>
        </p:nvSpPr>
        <p:spPr>
          <a:xfrm rot="16200000">
            <a:off x="212577" y="3477675"/>
            <a:ext cx="2948219" cy="276999"/>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 typeface="Arial"/>
              <a:buNone/>
              <a:tabLst/>
              <a:defRPr/>
            </a:pPr>
            <a:r>
              <a:rPr kumimoji="0" lang="en-GB" sz="1200" b="0" i="0" u="none" strike="noStrike" kern="0" cap="none" spc="-27"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HelveticaNeueCE-Roman"/>
                <a:rtl val="0"/>
              </a:rPr>
              <a:t>Probability of overall survival</a:t>
            </a:r>
          </a:p>
        </p:txBody>
      </p:sp>
      <p:sp>
        <p:nvSpPr>
          <p:cNvPr id="62" name="TextBox 319">
            <a:extLst>
              <a:ext uri="{FF2B5EF4-FFF2-40B4-BE49-F238E27FC236}">
                <a16:creationId xmlns:a16="http://schemas.microsoft.com/office/drawing/2014/main" id="{E687B07A-0C48-7C38-A668-9B1AFA6A23FF}"/>
              </a:ext>
            </a:extLst>
          </p:cNvPr>
          <p:cNvSpPr txBox="1"/>
          <p:nvPr/>
        </p:nvSpPr>
        <p:spPr>
          <a:xfrm>
            <a:off x="1911246" y="3145330"/>
            <a:ext cx="360996" cy="276999"/>
          </a:xfrm>
          <a:prstGeom prst="rect">
            <a:avLst/>
          </a:prstGeom>
          <a:noFill/>
        </p:spPr>
        <p:txBody>
          <a:bodyPr wrap="none" rtlCol="0">
            <a:spAutoFit/>
          </a:bodyPr>
          <a:lstStyle/>
          <a:p>
            <a:pPr marL="0" marR="0" lvl="0" indent="0" algn="r" defTabSz="914377" rtl="0" eaLnBrk="1" fontAlgn="auto" latinLnBrk="0" hangingPunct="1">
              <a:lnSpc>
                <a:spcPct val="100000"/>
              </a:lnSpc>
              <a:spcBef>
                <a:spcPts val="0"/>
              </a:spcBef>
              <a:spcAft>
                <a:spcPts val="0"/>
              </a:spcAft>
              <a:buClrTx/>
              <a:buSzTx/>
              <a:buFont typeface="Arial"/>
              <a:buNone/>
              <a:tabLst/>
              <a:defRPr/>
            </a:pPr>
            <a:r>
              <a:rPr kumimoji="0" lang="en-GB" sz="12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HelveticaNeueCE-Roman"/>
                <a:rtl val="0"/>
              </a:rPr>
              <a:t>0.6</a:t>
            </a:r>
          </a:p>
        </p:txBody>
      </p:sp>
      <p:sp>
        <p:nvSpPr>
          <p:cNvPr id="63" name="TextBox 320">
            <a:extLst>
              <a:ext uri="{FF2B5EF4-FFF2-40B4-BE49-F238E27FC236}">
                <a16:creationId xmlns:a16="http://schemas.microsoft.com/office/drawing/2014/main" id="{E632AA30-1ACC-3C88-8E28-066A526B2FB0}"/>
              </a:ext>
            </a:extLst>
          </p:cNvPr>
          <p:cNvSpPr txBox="1"/>
          <p:nvPr/>
        </p:nvSpPr>
        <p:spPr>
          <a:xfrm>
            <a:off x="1911246" y="2856710"/>
            <a:ext cx="360996" cy="276999"/>
          </a:xfrm>
          <a:prstGeom prst="rect">
            <a:avLst/>
          </a:prstGeom>
          <a:noFill/>
        </p:spPr>
        <p:txBody>
          <a:bodyPr wrap="none" rtlCol="0">
            <a:spAutoFit/>
          </a:bodyPr>
          <a:lstStyle/>
          <a:p>
            <a:pPr marL="0" marR="0" lvl="0" indent="0" algn="r" defTabSz="914377" rtl="0" eaLnBrk="1" fontAlgn="auto" latinLnBrk="0" hangingPunct="1">
              <a:lnSpc>
                <a:spcPct val="100000"/>
              </a:lnSpc>
              <a:spcBef>
                <a:spcPts val="0"/>
              </a:spcBef>
              <a:spcAft>
                <a:spcPts val="0"/>
              </a:spcAft>
              <a:buClrTx/>
              <a:buSzTx/>
              <a:buFont typeface="Arial"/>
              <a:buNone/>
              <a:tabLst/>
              <a:defRPr/>
            </a:pPr>
            <a:r>
              <a:rPr kumimoji="0" lang="en-GB" sz="12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HelveticaNeueCE-Roman"/>
                <a:rtl val="0"/>
              </a:rPr>
              <a:t>0.7</a:t>
            </a:r>
          </a:p>
        </p:txBody>
      </p:sp>
      <p:sp>
        <p:nvSpPr>
          <p:cNvPr id="64" name="TextBox 321">
            <a:extLst>
              <a:ext uri="{FF2B5EF4-FFF2-40B4-BE49-F238E27FC236}">
                <a16:creationId xmlns:a16="http://schemas.microsoft.com/office/drawing/2014/main" id="{AFB193A8-0118-68EE-D9BE-249A18FF5816}"/>
              </a:ext>
            </a:extLst>
          </p:cNvPr>
          <p:cNvSpPr txBox="1"/>
          <p:nvPr/>
        </p:nvSpPr>
        <p:spPr>
          <a:xfrm>
            <a:off x="1911246" y="2567942"/>
            <a:ext cx="360996" cy="276999"/>
          </a:xfrm>
          <a:prstGeom prst="rect">
            <a:avLst/>
          </a:prstGeom>
          <a:noFill/>
        </p:spPr>
        <p:txBody>
          <a:bodyPr wrap="none" rtlCol="0">
            <a:spAutoFit/>
          </a:bodyPr>
          <a:lstStyle/>
          <a:p>
            <a:pPr marL="0" marR="0" lvl="0" indent="0" algn="r" defTabSz="914377" rtl="0" eaLnBrk="1" fontAlgn="auto" latinLnBrk="0" hangingPunct="1">
              <a:lnSpc>
                <a:spcPct val="100000"/>
              </a:lnSpc>
              <a:spcBef>
                <a:spcPts val="0"/>
              </a:spcBef>
              <a:spcAft>
                <a:spcPts val="0"/>
              </a:spcAft>
              <a:buClrTx/>
              <a:buSzTx/>
              <a:buFont typeface="Arial"/>
              <a:buNone/>
              <a:tabLst/>
              <a:defRPr/>
            </a:pPr>
            <a:r>
              <a:rPr kumimoji="0" lang="en-GB" sz="12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HelveticaNeueCE-Roman"/>
                <a:rtl val="0"/>
              </a:rPr>
              <a:t>0.8</a:t>
            </a:r>
          </a:p>
        </p:txBody>
      </p:sp>
      <p:sp>
        <p:nvSpPr>
          <p:cNvPr id="65" name="TextBox 322">
            <a:extLst>
              <a:ext uri="{FF2B5EF4-FFF2-40B4-BE49-F238E27FC236}">
                <a16:creationId xmlns:a16="http://schemas.microsoft.com/office/drawing/2014/main" id="{8D92A40A-44CD-E0FD-877F-3E4DA56E3948}"/>
              </a:ext>
            </a:extLst>
          </p:cNvPr>
          <p:cNvSpPr txBox="1"/>
          <p:nvPr/>
        </p:nvSpPr>
        <p:spPr>
          <a:xfrm>
            <a:off x="1911246" y="2279322"/>
            <a:ext cx="360996" cy="276999"/>
          </a:xfrm>
          <a:prstGeom prst="rect">
            <a:avLst/>
          </a:prstGeom>
          <a:noFill/>
        </p:spPr>
        <p:txBody>
          <a:bodyPr wrap="none" rtlCol="0">
            <a:spAutoFit/>
          </a:bodyPr>
          <a:lstStyle/>
          <a:p>
            <a:pPr marL="0" marR="0" lvl="0" indent="0" algn="r" defTabSz="914377" rtl="0" eaLnBrk="1" fontAlgn="auto" latinLnBrk="0" hangingPunct="1">
              <a:lnSpc>
                <a:spcPct val="100000"/>
              </a:lnSpc>
              <a:spcBef>
                <a:spcPts val="0"/>
              </a:spcBef>
              <a:spcAft>
                <a:spcPts val="0"/>
              </a:spcAft>
              <a:buClrTx/>
              <a:buSzTx/>
              <a:buFont typeface="Arial"/>
              <a:buNone/>
              <a:tabLst/>
              <a:defRPr/>
            </a:pPr>
            <a:r>
              <a:rPr kumimoji="0" lang="en-GB" sz="12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HelveticaNeueCE-Roman"/>
                <a:rtl val="0"/>
              </a:rPr>
              <a:t>0.9</a:t>
            </a:r>
          </a:p>
        </p:txBody>
      </p:sp>
      <p:sp>
        <p:nvSpPr>
          <p:cNvPr id="66" name="TextBox 323">
            <a:extLst>
              <a:ext uri="{FF2B5EF4-FFF2-40B4-BE49-F238E27FC236}">
                <a16:creationId xmlns:a16="http://schemas.microsoft.com/office/drawing/2014/main" id="{7BA1C642-B090-BC91-ADD8-407B3DB4AA67}"/>
              </a:ext>
            </a:extLst>
          </p:cNvPr>
          <p:cNvSpPr txBox="1"/>
          <p:nvPr/>
        </p:nvSpPr>
        <p:spPr>
          <a:xfrm>
            <a:off x="1911246" y="1990702"/>
            <a:ext cx="360996" cy="276999"/>
          </a:xfrm>
          <a:prstGeom prst="rect">
            <a:avLst/>
          </a:prstGeom>
          <a:noFill/>
        </p:spPr>
        <p:txBody>
          <a:bodyPr wrap="none" rtlCol="0">
            <a:spAutoFit/>
          </a:bodyPr>
          <a:lstStyle/>
          <a:p>
            <a:pPr marL="0" marR="0" lvl="0" indent="0" algn="r" defTabSz="914377" rtl="0" eaLnBrk="1" fontAlgn="auto" latinLnBrk="0" hangingPunct="1">
              <a:lnSpc>
                <a:spcPct val="100000"/>
              </a:lnSpc>
              <a:spcBef>
                <a:spcPts val="0"/>
              </a:spcBef>
              <a:spcAft>
                <a:spcPts val="0"/>
              </a:spcAft>
              <a:buClrTx/>
              <a:buSzTx/>
              <a:buFont typeface="Arial"/>
              <a:buNone/>
              <a:tabLst/>
              <a:defRPr/>
            </a:pPr>
            <a:r>
              <a:rPr kumimoji="0" lang="en-GB" sz="12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HelveticaNeueCE-Roman"/>
                <a:rtl val="0"/>
              </a:rPr>
              <a:t>1.0</a:t>
            </a:r>
          </a:p>
        </p:txBody>
      </p:sp>
      <p:grpSp>
        <p:nvGrpSpPr>
          <p:cNvPr id="67" name="Group 324">
            <a:extLst>
              <a:ext uri="{FF2B5EF4-FFF2-40B4-BE49-F238E27FC236}">
                <a16:creationId xmlns:a16="http://schemas.microsoft.com/office/drawing/2014/main" id="{8E9F2E9A-19CE-320A-CD0C-8FF54AA5FB7D}"/>
              </a:ext>
            </a:extLst>
          </p:cNvPr>
          <p:cNvGrpSpPr/>
          <p:nvPr/>
        </p:nvGrpSpPr>
        <p:grpSpPr>
          <a:xfrm>
            <a:off x="2514333" y="2131138"/>
            <a:ext cx="7745131" cy="2775823"/>
            <a:chOff x="2605454" y="1831408"/>
            <a:chExt cx="7745131" cy="2775822"/>
          </a:xfrm>
          <a:solidFill>
            <a:srgbClr val="A5A5A5">
              <a:lumMod val="50000"/>
            </a:srgbClr>
          </a:solidFill>
        </p:grpSpPr>
        <p:sp>
          <p:nvSpPr>
            <p:cNvPr id="68" name="Freeform: Shape 325">
              <a:extLst>
                <a:ext uri="{FF2B5EF4-FFF2-40B4-BE49-F238E27FC236}">
                  <a16:creationId xmlns:a16="http://schemas.microsoft.com/office/drawing/2014/main" id="{5D9BF6F2-AF0B-9CD1-3261-F7F50ECC6F5C}"/>
                </a:ext>
              </a:extLst>
            </p:cNvPr>
            <p:cNvSpPr/>
            <p:nvPr/>
          </p:nvSpPr>
          <p:spPr>
            <a:xfrm>
              <a:off x="2605454" y="1833359"/>
              <a:ext cx="7718177" cy="2737298"/>
            </a:xfrm>
            <a:custGeom>
              <a:avLst/>
              <a:gdLst>
                <a:gd name="connsiteX0" fmla="*/ 0 w 7718177"/>
                <a:gd name="connsiteY0" fmla="*/ 0 h 2281639"/>
                <a:gd name="connsiteX1" fmla="*/ 74435 w 7718177"/>
                <a:gd name="connsiteY1" fmla="*/ 0 h 2281639"/>
                <a:gd name="connsiteX2" fmla="*/ 74435 w 7718177"/>
                <a:gd name="connsiteY2" fmla="*/ 12844 h 2281639"/>
                <a:gd name="connsiteX3" fmla="*/ 114861 w 7718177"/>
                <a:gd name="connsiteY3" fmla="*/ 12844 h 2281639"/>
                <a:gd name="connsiteX4" fmla="*/ 114861 w 7718177"/>
                <a:gd name="connsiteY4" fmla="*/ 20254 h 2281639"/>
                <a:gd name="connsiteX5" fmla="*/ 173896 w 7718177"/>
                <a:gd name="connsiteY5" fmla="*/ 20254 h 2281639"/>
                <a:gd name="connsiteX6" fmla="*/ 173896 w 7718177"/>
                <a:gd name="connsiteY6" fmla="*/ 28775 h 2281639"/>
                <a:gd name="connsiteX7" fmla="*/ 285977 w 7718177"/>
                <a:gd name="connsiteY7" fmla="*/ 28775 h 2281639"/>
                <a:gd name="connsiteX8" fmla="*/ 285977 w 7718177"/>
                <a:gd name="connsiteY8" fmla="*/ 39396 h 2281639"/>
                <a:gd name="connsiteX9" fmla="*/ 418378 w 7718177"/>
                <a:gd name="connsiteY9" fmla="*/ 39396 h 2281639"/>
                <a:gd name="connsiteX10" fmla="*/ 418378 w 7718177"/>
                <a:gd name="connsiteY10" fmla="*/ 63231 h 2281639"/>
                <a:gd name="connsiteX11" fmla="*/ 437843 w 7718177"/>
                <a:gd name="connsiteY11" fmla="*/ 63231 h 2281639"/>
                <a:gd name="connsiteX12" fmla="*/ 437843 w 7718177"/>
                <a:gd name="connsiteY12" fmla="*/ 68542 h 2281639"/>
                <a:gd name="connsiteX13" fmla="*/ 447040 w 7718177"/>
                <a:gd name="connsiteY13" fmla="*/ 68542 h 2281639"/>
                <a:gd name="connsiteX14" fmla="*/ 447040 w 7718177"/>
                <a:gd name="connsiteY14" fmla="*/ 73358 h 2281639"/>
                <a:gd name="connsiteX15" fmla="*/ 481049 w 7718177"/>
                <a:gd name="connsiteY15" fmla="*/ 73358 h 2281639"/>
                <a:gd name="connsiteX16" fmla="*/ 481049 w 7718177"/>
                <a:gd name="connsiteY16" fmla="*/ 76569 h 2281639"/>
                <a:gd name="connsiteX17" fmla="*/ 603397 w 7718177"/>
                <a:gd name="connsiteY17" fmla="*/ 76569 h 2281639"/>
                <a:gd name="connsiteX18" fmla="*/ 603397 w 7718177"/>
                <a:gd name="connsiteY18" fmla="*/ 98799 h 2281639"/>
                <a:gd name="connsiteX19" fmla="*/ 791838 w 7718177"/>
                <a:gd name="connsiteY19" fmla="*/ 98799 h 2281639"/>
                <a:gd name="connsiteX20" fmla="*/ 791838 w 7718177"/>
                <a:gd name="connsiteY20" fmla="*/ 131279 h 2281639"/>
                <a:gd name="connsiteX21" fmla="*/ 807452 w 7718177"/>
                <a:gd name="connsiteY21" fmla="*/ 131279 h 2281639"/>
                <a:gd name="connsiteX22" fmla="*/ 807452 w 7718177"/>
                <a:gd name="connsiteY22" fmla="*/ 139677 h 2281639"/>
                <a:gd name="connsiteX23" fmla="*/ 828628 w 7718177"/>
                <a:gd name="connsiteY23" fmla="*/ 139677 h 2281639"/>
                <a:gd name="connsiteX24" fmla="*/ 828628 w 7718177"/>
                <a:gd name="connsiteY24" fmla="*/ 150298 h 2281639"/>
                <a:gd name="connsiteX25" fmla="*/ 862637 w 7718177"/>
                <a:gd name="connsiteY25" fmla="*/ 150298 h 2281639"/>
                <a:gd name="connsiteX26" fmla="*/ 862637 w 7718177"/>
                <a:gd name="connsiteY26" fmla="*/ 168946 h 2281639"/>
                <a:gd name="connsiteX27" fmla="*/ 888519 w 7718177"/>
                <a:gd name="connsiteY27" fmla="*/ 168946 h 2281639"/>
                <a:gd name="connsiteX28" fmla="*/ 888519 w 7718177"/>
                <a:gd name="connsiteY28" fmla="*/ 190188 h 2281639"/>
                <a:gd name="connsiteX29" fmla="*/ 954612 w 7718177"/>
                <a:gd name="connsiteY29" fmla="*/ 190188 h 2281639"/>
                <a:gd name="connsiteX30" fmla="*/ 954612 w 7718177"/>
                <a:gd name="connsiteY30" fmla="*/ 201921 h 2281639"/>
                <a:gd name="connsiteX31" fmla="*/ 981349 w 7718177"/>
                <a:gd name="connsiteY31" fmla="*/ 201921 h 2281639"/>
                <a:gd name="connsiteX32" fmla="*/ 981349 w 7718177"/>
                <a:gd name="connsiteY32" fmla="*/ 207725 h 2281639"/>
                <a:gd name="connsiteX33" fmla="*/ 991402 w 7718177"/>
                <a:gd name="connsiteY33" fmla="*/ 207725 h 2281639"/>
                <a:gd name="connsiteX34" fmla="*/ 991402 w 7718177"/>
                <a:gd name="connsiteY34" fmla="*/ 213529 h 2281639"/>
                <a:gd name="connsiteX35" fmla="*/ 1016428 w 7718177"/>
                <a:gd name="connsiteY35" fmla="*/ 213529 h 2281639"/>
                <a:gd name="connsiteX36" fmla="*/ 1016428 w 7718177"/>
                <a:gd name="connsiteY36" fmla="*/ 219951 h 2281639"/>
                <a:gd name="connsiteX37" fmla="*/ 1082521 w 7718177"/>
                <a:gd name="connsiteY37" fmla="*/ 219951 h 2281639"/>
                <a:gd name="connsiteX38" fmla="*/ 1082521 w 7718177"/>
                <a:gd name="connsiteY38" fmla="*/ 250208 h 2281639"/>
                <a:gd name="connsiteX39" fmla="*/ 1099205 w 7718177"/>
                <a:gd name="connsiteY39" fmla="*/ 250208 h 2281639"/>
                <a:gd name="connsiteX40" fmla="*/ 1099205 w 7718177"/>
                <a:gd name="connsiteY40" fmla="*/ 261323 h 2281639"/>
                <a:gd name="connsiteX41" fmla="*/ 1142412 w 7718177"/>
                <a:gd name="connsiteY41" fmla="*/ 261323 h 2281639"/>
                <a:gd name="connsiteX42" fmla="*/ 1142412 w 7718177"/>
                <a:gd name="connsiteY42" fmla="*/ 268733 h 2281639"/>
                <a:gd name="connsiteX43" fmla="*/ 1153321 w 7718177"/>
                <a:gd name="connsiteY43" fmla="*/ 268733 h 2281639"/>
                <a:gd name="connsiteX44" fmla="*/ 1153321 w 7718177"/>
                <a:gd name="connsiteY44" fmla="*/ 283059 h 2281639"/>
                <a:gd name="connsiteX45" fmla="*/ 1169149 w 7718177"/>
                <a:gd name="connsiteY45" fmla="*/ 283059 h 2281639"/>
                <a:gd name="connsiteX46" fmla="*/ 1169149 w 7718177"/>
                <a:gd name="connsiteY46" fmla="*/ 314428 h 2281639"/>
                <a:gd name="connsiteX47" fmla="*/ 1238023 w 7718177"/>
                <a:gd name="connsiteY47" fmla="*/ 314428 h 2281639"/>
                <a:gd name="connsiteX48" fmla="*/ 1238023 w 7718177"/>
                <a:gd name="connsiteY48" fmla="*/ 323443 h 2281639"/>
                <a:gd name="connsiteX49" fmla="*/ 1269252 w 7718177"/>
                <a:gd name="connsiteY49" fmla="*/ 323443 h 2281639"/>
                <a:gd name="connsiteX50" fmla="*/ 1269252 w 7718177"/>
                <a:gd name="connsiteY50" fmla="*/ 330359 h 2281639"/>
                <a:gd name="connsiteX51" fmla="*/ 1278449 w 7718177"/>
                <a:gd name="connsiteY51" fmla="*/ 330359 h 2281639"/>
                <a:gd name="connsiteX52" fmla="*/ 1278449 w 7718177"/>
                <a:gd name="connsiteY52" fmla="*/ 337769 h 2281639"/>
                <a:gd name="connsiteX53" fmla="*/ 1375129 w 7718177"/>
                <a:gd name="connsiteY53" fmla="*/ 337769 h 2281639"/>
                <a:gd name="connsiteX54" fmla="*/ 1375129 w 7718177"/>
                <a:gd name="connsiteY54" fmla="*/ 364321 h 2281639"/>
                <a:gd name="connsiteX55" fmla="*/ 1388819 w 7718177"/>
                <a:gd name="connsiteY55" fmla="*/ 364321 h 2281639"/>
                <a:gd name="connsiteX56" fmla="*/ 1388819 w 7718177"/>
                <a:gd name="connsiteY56" fmla="*/ 376548 h 2281639"/>
                <a:gd name="connsiteX57" fmla="*/ 1463468 w 7718177"/>
                <a:gd name="connsiteY57" fmla="*/ 376548 h 2281639"/>
                <a:gd name="connsiteX58" fmla="*/ 1463468 w 7718177"/>
                <a:gd name="connsiteY58" fmla="*/ 391491 h 2281639"/>
                <a:gd name="connsiteX59" fmla="*/ 1481863 w 7718177"/>
                <a:gd name="connsiteY59" fmla="*/ 391491 h 2281639"/>
                <a:gd name="connsiteX60" fmla="*/ 1481863 w 7718177"/>
                <a:gd name="connsiteY60" fmla="*/ 406805 h 2281639"/>
                <a:gd name="connsiteX61" fmla="*/ 1528706 w 7718177"/>
                <a:gd name="connsiteY61" fmla="*/ 406805 h 2281639"/>
                <a:gd name="connsiteX62" fmla="*/ 1528706 w 7718177"/>
                <a:gd name="connsiteY62" fmla="*/ 414832 h 2281639"/>
                <a:gd name="connsiteX63" fmla="*/ 1547956 w 7718177"/>
                <a:gd name="connsiteY63" fmla="*/ 414832 h 2281639"/>
                <a:gd name="connsiteX64" fmla="*/ 1547956 w 7718177"/>
                <a:gd name="connsiteY64" fmla="*/ 428047 h 2281639"/>
                <a:gd name="connsiteX65" fmla="*/ 1560790 w 7718177"/>
                <a:gd name="connsiteY65" fmla="*/ 428047 h 2281639"/>
                <a:gd name="connsiteX66" fmla="*/ 1560790 w 7718177"/>
                <a:gd name="connsiteY66" fmla="*/ 439779 h 2281639"/>
                <a:gd name="connsiteX67" fmla="*/ 1572768 w 7718177"/>
                <a:gd name="connsiteY67" fmla="*/ 439779 h 2281639"/>
                <a:gd name="connsiteX68" fmla="*/ 1572768 w 7718177"/>
                <a:gd name="connsiteY68" fmla="*/ 448300 h 2281639"/>
                <a:gd name="connsiteX69" fmla="*/ 1581966 w 7718177"/>
                <a:gd name="connsiteY69" fmla="*/ 448300 h 2281639"/>
                <a:gd name="connsiteX70" fmla="*/ 1581966 w 7718177"/>
                <a:gd name="connsiteY70" fmla="*/ 459909 h 2281639"/>
                <a:gd name="connsiteX71" fmla="*/ 1596724 w 7718177"/>
                <a:gd name="connsiteY71" fmla="*/ 459909 h 2281639"/>
                <a:gd name="connsiteX72" fmla="*/ 1596724 w 7718177"/>
                <a:gd name="connsiteY72" fmla="*/ 498688 h 2281639"/>
                <a:gd name="connsiteX73" fmla="*/ 1668593 w 7718177"/>
                <a:gd name="connsiteY73" fmla="*/ 498688 h 2281639"/>
                <a:gd name="connsiteX74" fmla="*/ 1668593 w 7718177"/>
                <a:gd name="connsiteY74" fmla="*/ 509926 h 2281639"/>
                <a:gd name="connsiteX75" fmla="*/ 1697041 w 7718177"/>
                <a:gd name="connsiteY75" fmla="*/ 509926 h 2281639"/>
                <a:gd name="connsiteX76" fmla="*/ 1697041 w 7718177"/>
                <a:gd name="connsiteY76" fmla="*/ 514619 h 2281639"/>
                <a:gd name="connsiteX77" fmla="*/ 1716291 w 7718177"/>
                <a:gd name="connsiteY77" fmla="*/ 514619 h 2281639"/>
                <a:gd name="connsiteX78" fmla="*/ 1716291 w 7718177"/>
                <a:gd name="connsiteY78" fmla="*/ 525240 h 2281639"/>
                <a:gd name="connsiteX79" fmla="*/ 1782599 w 7718177"/>
                <a:gd name="connsiteY79" fmla="*/ 525240 h 2281639"/>
                <a:gd name="connsiteX80" fmla="*/ 1782599 w 7718177"/>
                <a:gd name="connsiteY80" fmla="*/ 559820 h 2281639"/>
                <a:gd name="connsiteX81" fmla="*/ 1807410 w 7718177"/>
                <a:gd name="connsiteY81" fmla="*/ 559820 h 2281639"/>
                <a:gd name="connsiteX82" fmla="*/ 1807410 w 7718177"/>
                <a:gd name="connsiteY82" fmla="*/ 573034 h 2281639"/>
                <a:gd name="connsiteX83" fmla="*/ 1823025 w 7718177"/>
                <a:gd name="connsiteY83" fmla="*/ 573034 h 2281639"/>
                <a:gd name="connsiteX84" fmla="*/ 1823025 w 7718177"/>
                <a:gd name="connsiteY84" fmla="*/ 578345 h 2281639"/>
                <a:gd name="connsiteX85" fmla="*/ 1864307 w 7718177"/>
                <a:gd name="connsiteY85" fmla="*/ 578345 h 2281639"/>
                <a:gd name="connsiteX86" fmla="*/ 1864307 w 7718177"/>
                <a:gd name="connsiteY86" fmla="*/ 586866 h 2281639"/>
                <a:gd name="connsiteX87" fmla="*/ 1938956 w 7718177"/>
                <a:gd name="connsiteY87" fmla="*/ 586866 h 2281639"/>
                <a:gd name="connsiteX88" fmla="*/ 1938956 w 7718177"/>
                <a:gd name="connsiteY88" fmla="*/ 612924 h 2281639"/>
                <a:gd name="connsiteX89" fmla="*/ 1985799 w 7718177"/>
                <a:gd name="connsiteY89" fmla="*/ 612924 h 2281639"/>
                <a:gd name="connsiteX90" fmla="*/ 1985799 w 7718177"/>
                <a:gd name="connsiteY90" fmla="*/ 623545 h 2281639"/>
                <a:gd name="connsiteX91" fmla="*/ 2002483 w 7718177"/>
                <a:gd name="connsiteY91" fmla="*/ 623545 h 2281639"/>
                <a:gd name="connsiteX92" fmla="*/ 2002483 w 7718177"/>
                <a:gd name="connsiteY92" fmla="*/ 636883 h 2281639"/>
                <a:gd name="connsiteX93" fmla="*/ 2018097 w 7718177"/>
                <a:gd name="connsiteY93" fmla="*/ 636883 h 2281639"/>
                <a:gd name="connsiteX94" fmla="*/ 2018097 w 7718177"/>
                <a:gd name="connsiteY94" fmla="*/ 683072 h 2281639"/>
                <a:gd name="connsiteX95" fmla="*/ 2079699 w 7718177"/>
                <a:gd name="connsiteY95" fmla="*/ 683072 h 2281639"/>
                <a:gd name="connsiteX96" fmla="*/ 2079699 w 7718177"/>
                <a:gd name="connsiteY96" fmla="*/ 694187 h 2281639"/>
                <a:gd name="connsiteX97" fmla="*/ 2122050 w 7718177"/>
                <a:gd name="connsiteY97" fmla="*/ 694187 h 2281639"/>
                <a:gd name="connsiteX98" fmla="*/ 2122050 w 7718177"/>
                <a:gd name="connsiteY98" fmla="*/ 703696 h 2281639"/>
                <a:gd name="connsiteX99" fmla="*/ 2141300 w 7718177"/>
                <a:gd name="connsiteY99" fmla="*/ 703696 h 2281639"/>
                <a:gd name="connsiteX100" fmla="*/ 2141300 w 7718177"/>
                <a:gd name="connsiteY100" fmla="*/ 745191 h 2281639"/>
                <a:gd name="connsiteX101" fmla="*/ 2251670 w 7718177"/>
                <a:gd name="connsiteY101" fmla="*/ 745191 h 2281639"/>
                <a:gd name="connsiteX102" fmla="*/ 2251670 w 7718177"/>
                <a:gd name="connsiteY102" fmla="*/ 758406 h 2281639"/>
                <a:gd name="connsiteX103" fmla="*/ 2296802 w 7718177"/>
                <a:gd name="connsiteY103" fmla="*/ 758406 h 2281639"/>
                <a:gd name="connsiteX104" fmla="*/ 2296802 w 7718177"/>
                <a:gd name="connsiteY104" fmla="*/ 784958 h 2281639"/>
                <a:gd name="connsiteX105" fmla="*/ 2328031 w 7718177"/>
                <a:gd name="connsiteY105" fmla="*/ 784958 h 2281639"/>
                <a:gd name="connsiteX106" fmla="*/ 2328031 w 7718177"/>
                <a:gd name="connsiteY106" fmla="*/ 803606 h 2281639"/>
                <a:gd name="connsiteX107" fmla="*/ 2356479 w 7718177"/>
                <a:gd name="connsiteY107" fmla="*/ 803606 h 2281639"/>
                <a:gd name="connsiteX108" fmla="*/ 2356479 w 7718177"/>
                <a:gd name="connsiteY108" fmla="*/ 817438 h 2281639"/>
                <a:gd name="connsiteX109" fmla="*/ 2380435 w 7718177"/>
                <a:gd name="connsiteY109" fmla="*/ 817438 h 2281639"/>
                <a:gd name="connsiteX110" fmla="*/ 2380435 w 7718177"/>
                <a:gd name="connsiteY110" fmla="*/ 834852 h 2281639"/>
                <a:gd name="connsiteX111" fmla="*/ 2429203 w 7718177"/>
                <a:gd name="connsiteY111" fmla="*/ 834852 h 2281639"/>
                <a:gd name="connsiteX112" fmla="*/ 2429203 w 7718177"/>
                <a:gd name="connsiteY112" fmla="*/ 842879 h 2281639"/>
                <a:gd name="connsiteX113" fmla="*/ 2472409 w 7718177"/>
                <a:gd name="connsiteY113" fmla="*/ 842879 h 2281639"/>
                <a:gd name="connsiteX114" fmla="*/ 2472409 w 7718177"/>
                <a:gd name="connsiteY114" fmla="*/ 853500 h 2281639"/>
                <a:gd name="connsiteX115" fmla="*/ 2496366 w 7718177"/>
                <a:gd name="connsiteY115" fmla="*/ 853500 h 2281639"/>
                <a:gd name="connsiteX116" fmla="*/ 2496366 w 7718177"/>
                <a:gd name="connsiteY116" fmla="*/ 883263 h 2281639"/>
                <a:gd name="connsiteX117" fmla="*/ 2519252 w 7718177"/>
                <a:gd name="connsiteY117" fmla="*/ 883263 h 2281639"/>
                <a:gd name="connsiteX118" fmla="*/ 2519252 w 7718177"/>
                <a:gd name="connsiteY118" fmla="*/ 901294 h 2281639"/>
                <a:gd name="connsiteX119" fmla="*/ 2543209 w 7718177"/>
                <a:gd name="connsiteY119" fmla="*/ 901294 h 2281639"/>
                <a:gd name="connsiteX120" fmla="*/ 2543209 w 7718177"/>
                <a:gd name="connsiteY120" fmla="*/ 919325 h 2281639"/>
                <a:gd name="connsiteX121" fmla="*/ 2571657 w 7718177"/>
                <a:gd name="connsiteY121" fmla="*/ 919325 h 2281639"/>
                <a:gd name="connsiteX122" fmla="*/ 2571657 w 7718177"/>
                <a:gd name="connsiteY122" fmla="*/ 935873 h 2281639"/>
                <a:gd name="connsiteX123" fmla="*/ 2599463 w 7718177"/>
                <a:gd name="connsiteY123" fmla="*/ 935873 h 2281639"/>
                <a:gd name="connsiteX124" fmla="*/ 2599463 w 7718177"/>
                <a:gd name="connsiteY124" fmla="*/ 951805 h 2281639"/>
                <a:gd name="connsiteX125" fmla="*/ 2622350 w 7718177"/>
                <a:gd name="connsiteY125" fmla="*/ 951805 h 2281639"/>
                <a:gd name="connsiteX126" fmla="*/ 2622350 w 7718177"/>
                <a:gd name="connsiteY126" fmla="*/ 968724 h 2281639"/>
                <a:gd name="connsiteX127" fmla="*/ 2652723 w 7718177"/>
                <a:gd name="connsiteY127" fmla="*/ 968724 h 2281639"/>
                <a:gd name="connsiteX128" fmla="*/ 2652723 w 7718177"/>
                <a:gd name="connsiteY128" fmla="*/ 987372 h 2281639"/>
                <a:gd name="connsiteX129" fmla="*/ 2692293 w 7718177"/>
                <a:gd name="connsiteY129" fmla="*/ 987372 h 2281639"/>
                <a:gd name="connsiteX130" fmla="*/ 2692293 w 7718177"/>
                <a:gd name="connsiteY130" fmla="*/ 1004292 h 2281639"/>
                <a:gd name="connsiteX131" fmla="*/ 2739992 w 7718177"/>
                <a:gd name="connsiteY131" fmla="*/ 1004292 h 2281639"/>
                <a:gd name="connsiteX132" fmla="*/ 2739992 w 7718177"/>
                <a:gd name="connsiteY132" fmla="*/ 1020223 h 2281639"/>
                <a:gd name="connsiteX133" fmla="*/ 2848650 w 7718177"/>
                <a:gd name="connsiteY133" fmla="*/ 1020223 h 2281639"/>
                <a:gd name="connsiteX134" fmla="*/ 2848650 w 7718177"/>
                <a:gd name="connsiteY134" fmla="*/ 1034055 h 2281639"/>
                <a:gd name="connsiteX135" fmla="*/ 2870681 w 7718177"/>
                <a:gd name="connsiteY135" fmla="*/ 1034055 h 2281639"/>
                <a:gd name="connsiteX136" fmla="*/ 2870681 w 7718177"/>
                <a:gd name="connsiteY136" fmla="*/ 1057396 h 2281639"/>
                <a:gd name="connsiteX137" fmla="*/ 2945117 w 7718177"/>
                <a:gd name="connsiteY137" fmla="*/ 1057396 h 2281639"/>
                <a:gd name="connsiteX138" fmla="*/ 2945117 w 7718177"/>
                <a:gd name="connsiteY138" fmla="*/ 1069129 h 2281639"/>
                <a:gd name="connsiteX139" fmla="*/ 3005007 w 7718177"/>
                <a:gd name="connsiteY139" fmla="*/ 1069129 h 2281639"/>
                <a:gd name="connsiteX140" fmla="*/ 3005007 w 7718177"/>
                <a:gd name="connsiteY140" fmla="*/ 1076045 h 2281639"/>
                <a:gd name="connsiteX141" fmla="*/ 3045433 w 7718177"/>
                <a:gd name="connsiteY141" fmla="*/ 1076045 h 2281639"/>
                <a:gd name="connsiteX142" fmla="*/ 3045433 w 7718177"/>
                <a:gd name="connsiteY142" fmla="*/ 1087159 h 2281639"/>
                <a:gd name="connsiteX143" fmla="*/ 3124574 w 7718177"/>
                <a:gd name="connsiteY143" fmla="*/ 1087159 h 2281639"/>
                <a:gd name="connsiteX144" fmla="*/ 3124574 w 7718177"/>
                <a:gd name="connsiteY144" fmla="*/ 1096175 h 2281639"/>
                <a:gd name="connsiteX145" fmla="*/ 3186176 w 7718177"/>
                <a:gd name="connsiteY145" fmla="*/ 1096175 h 2281639"/>
                <a:gd name="connsiteX146" fmla="*/ 3186176 w 7718177"/>
                <a:gd name="connsiteY146" fmla="*/ 1099880 h 2281639"/>
                <a:gd name="connsiteX147" fmla="*/ 3204571 w 7718177"/>
                <a:gd name="connsiteY147" fmla="*/ 1099880 h 2281639"/>
                <a:gd name="connsiteX148" fmla="*/ 3204571 w 7718177"/>
                <a:gd name="connsiteY148" fmla="*/ 1144587 h 2281639"/>
                <a:gd name="connsiteX149" fmla="*/ 3204571 w 7718177"/>
                <a:gd name="connsiteY149" fmla="*/ 1162617 h 2281639"/>
                <a:gd name="connsiteX150" fmla="*/ 3310449 w 7718177"/>
                <a:gd name="connsiteY150" fmla="*/ 1162617 h 2281639"/>
                <a:gd name="connsiteX151" fmla="*/ 3310449 w 7718177"/>
                <a:gd name="connsiteY151" fmla="*/ 1168916 h 2281639"/>
                <a:gd name="connsiteX152" fmla="*/ 3386809 w 7718177"/>
                <a:gd name="connsiteY152" fmla="*/ 1168916 h 2281639"/>
                <a:gd name="connsiteX153" fmla="*/ 3386809 w 7718177"/>
                <a:gd name="connsiteY153" fmla="*/ 1210411 h 2281639"/>
                <a:gd name="connsiteX154" fmla="*/ 3433652 w 7718177"/>
                <a:gd name="connsiteY154" fmla="*/ 1210411 h 2281639"/>
                <a:gd name="connsiteX155" fmla="*/ 3433652 w 7718177"/>
                <a:gd name="connsiteY155" fmla="*/ 1218933 h 2281639"/>
                <a:gd name="connsiteX156" fmla="*/ 3463170 w 7718177"/>
                <a:gd name="connsiteY156" fmla="*/ 1218933 h 2281639"/>
                <a:gd name="connsiteX157" fmla="*/ 3463170 w 7718177"/>
                <a:gd name="connsiteY157" fmla="*/ 1233259 h 2281639"/>
                <a:gd name="connsiteX158" fmla="*/ 3508088 w 7718177"/>
                <a:gd name="connsiteY158" fmla="*/ 1233259 h 2281639"/>
                <a:gd name="connsiteX159" fmla="*/ 3508088 w 7718177"/>
                <a:gd name="connsiteY159" fmla="*/ 1241162 h 2281639"/>
                <a:gd name="connsiteX160" fmla="*/ 3544878 w 7718177"/>
                <a:gd name="connsiteY160" fmla="*/ 1241162 h 2281639"/>
                <a:gd name="connsiteX161" fmla="*/ 3544878 w 7718177"/>
                <a:gd name="connsiteY161" fmla="*/ 1250795 h 2281639"/>
                <a:gd name="connsiteX162" fmla="*/ 3581668 w 7718177"/>
                <a:gd name="connsiteY162" fmla="*/ 1250795 h 2281639"/>
                <a:gd name="connsiteX163" fmla="*/ 3581668 w 7718177"/>
                <a:gd name="connsiteY163" fmla="*/ 1268826 h 2281639"/>
                <a:gd name="connsiteX164" fmla="*/ 3611185 w 7718177"/>
                <a:gd name="connsiteY164" fmla="*/ 1268826 h 2281639"/>
                <a:gd name="connsiteX165" fmla="*/ 3611185 w 7718177"/>
                <a:gd name="connsiteY165" fmla="*/ 1284757 h 2281639"/>
                <a:gd name="connsiteX166" fmla="*/ 3647975 w 7718177"/>
                <a:gd name="connsiteY166" fmla="*/ 1284757 h 2281639"/>
                <a:gd name="connsiteX167" fmla="*/ 3647975 w 7718177"/>
                <a:gd name="connsiteY167" fmla="*/ 1294884 h 2281639"/>
                <a:gd name="connsiteX168" fmla="*/ 3669150 w 7718177"/>
                <a:gd name="connsiteY168" fmla="*/ 1294884 h 2281639"/>
                <a:gd name="connsiteX169" fmla="*/ 3669150 w 7718177"/>
                <a:gd name="connsiteY169" fmla="*/ 1315015 h 2281639"/>
                <a:gd name="connsiteX170" fmla="*/ 3687545 w 7718177"/>
                <a:gd name="connsiteY170" fmla="*/ 1315015 h 2281639"/>
                <a:gd name="connsiteX171" fmla="*/ 3687545 w 7718177"/>
                <a:gd name="connsiteY171" fmla="*/ 1337368 h 2281639"/>
                <a:gd name="connsiteX172" fmla="*/ 3726260 w 7718177"/>
                <a:gd name="connsiteY172" fmla="*/ 1337368 h 2281639"/>
                <a:gd name="connsiteX173" fmla="*/ 3726260 w 7718177"/>
                <a:gd name="connsiteY173" fmla="*/ 1352682 h 2281639"/>
                <a:gd name="connsiteX174" fmla="*/ 3769467 w 7718177"/>
                <a:gd name="connsiteY174" fmla="*/ 1352682 h 2281639"/>
                <a:gd name="connsiteX175" fmla="*/ 3769467 w 7718177"/>
                <a:gd name="connsiteY175" fmla="*/ 1362315 h 2281639"/>
                <a:gd name="connsiteX176" fmla="*/ 3807968 w 7718177"/>
                <a:gd name="connsiteY176" fmla="*/ 1362315 h 2281639"/>
                <a:gd name="connsiteX177" fmla="*/ 3807968 w 7718177"/>
                <a:gd name="connsiteY177" fmla="*/ 1404181 h 2281639"/>
                <a:gd name="connsiteX178" fmla="*/ 3849464 w 7718177"/>
                <a:gd name="connsiteY178" fmla="*/ 1404181 h 2281639"/>
                <a:gd name="connsiteX179" fmla="*/ 3849464 w 7718177"/>
                <a:gd name="connsiteY179" fmla="*/ 1417025 h 2281639"/>
                <a:gd name="connsiteX180" fmla="*/ 3923899 w 7718177"/>
                <a:gd name="connsiteY180" fmla="*/ 1417025 h 2281639"/>
                <a:gd name="connsiteX181" fmla="*/ 3923899 w 7718177"/>
                <a:gd name="connsiteY181" fmla="*/ 1421718 h 2281639"/>
                <a:gd name="connsiteX182" fmla="*/ 3975448 w 7718177"/>
                <a:gd name="connsiteY182" fmla="*/ 1421718 h 2281639"/>
                <a:gd name="connsiteX183" fmla="*/ 3975448 w 7718177"/>
                <a:gd name="connsiteY183" fmla="*/ 1432339 h 2281639"/>
                <a:gd name="connsiteX184" fmla="*/ 4000260 w 7718177"/>
                <a:gd name="connsiteY184" fmla="*/ 1432339 h 2281639"/>
                <a:gd name="connsiteX185" fmla="*/ 4000260 w 7718177"/>
                <a:gd name="connsiteY185" fmla="*/ 1442465 h 2281639"/>
                <a:gd name="connsiteX186" fmla="*/ 4010313 w 7718177"/>
                <a:gd name="connsiteY186" fmla="*/ 1442465 h 2281639"/>
                <a:gd name="connsiteX187" fmla="*/ 4010313 w 7718177"/>
                <a:gd name="connsiteY187" fmla="*/ 1468524 h 2281639"/>
                <a:gd name="connsiteX188" fmla="*/ 4045391 w 7718177"/>
                <a:gd name="connsiteY188" fmla="*/ 1468524 h 2281639"/>
                <a:gd name="connsiteX189" fmla="*/ 4045391 w 7718177"/>
                <a:gd name="connsiteY189" fmla="*/ 1479145 h 2281639"/>
                <a:gd name="connsiteX190" fmla="*/ 4072984 w 7718177"/>
                <a:gd name="connsiteY190" fmla="*/ 1479145 h 2281639"/>
                <a:gd name="connsiteX191" fmla="*/ 4072984 w 7718177"/>
                <a:gd name="connsiteY191" fmla="*/ 1494582 h 2281639"/>
                <a:gd name="connsiteX192" fmla="*/ 4123463 w 7718177"/>
                <a:gd name="connsiteY192" fmla="*/ 1494582 h 2281639"/>
                <a:gd name="connsiteX193" fmla="*/ 4123463 w 7718177"/>
                <a:gd name="connsiteY193" fmla="*/ 1501992 h 2281639"/>
                <a:gd name="connsiteX194" fmla="*/ 4186134 w 7718177"/>
                <a:gd name="connsiteY194" fmla="*/ 1501992 h 2281639"/>
                <a:gd name="connsiteX195" fmla="*/ 4186134 w 7718177"/>
                <a:gd name="connsiteY195" fmla="*/ 1518911 h 2281639"/>
                <a:gd name="connsiteX196" fmla="*/ 4210091 w 7718177"/>
                <a:gd name="connsiteY196" fmla="*/ 1518911 h 2281639"/>
                <a:gd name="connsiteX197" fmla="*/ 4210091 w 7718177"/>
                <a:gd name="connsiteY197" fmla="*/ 1546081 h 2281639"/>
                <a:gd name="connsiteX198" fmla="*/ 4257789 w 7718177"/>
                <a:gd name="connsiteY198" fmla="*/ 1546081 h 2281639"/>
                <a:gd name="connsiteX199" fmla="*/ 4257789 w 7718177"/>
                <a:gd name="connsiteY199" fmla="*/ 1563618 h 2281639"/>
                <a:gd name="connsiteX200" fmla="*/ 4287306 w 7718177"/>
                <a:gd name="connsiteY200" fmla="*/ 1563618 h 2281639"/>
                <a:gd name="connsiteX201" fmla="*/ 4287306 w 7718177"/>
                <a:gd name="connsiteY201" fmla="*/ 1579549 h 2281639"/>
                <a:gd name="connsiteX202" fmla="*/ 4429760 w 7718177"/>
                <a:gd name="connsiteY202" fmla="*/ 1579549 h 2281639"/>
                <a:gd name="connsiteX203" fmla="*/ 4429760 w 7718177"/>
                <a:gd name="connsiteY203" fmla="*/ 1598568 h 2281639"/>
                <a:gd name="connsiteX204" fmla="*/ 4484945 w 7718177"/>
                <a:gd name="connsiteY204" fmla="*/ 1598568 h 2281639"/>
                <a:gd name="connsiteX205" fmla="*/ 4484945 w 7718177"/>
                <a:gd name="connsiteY205" fmla="*/ 1607707 h 2281639"/>
                <a:gd name="connsiteX206" fmla="*/ 4532002 w 7718177"/>
                <a:gd name="connsiteY206" fmla="*/ 1607707 h 2281639"/>
                <a:gd name="connsiteX207" fmla="*/ 4532002 w 7718177"/>
                <a:gd name="connsiteY207" fmla="*/ 1616105 h 2281639"/>
                <a:gd name="connsiteX208" fmla="*/ 4583336 w 7718177"/>
                <a:gd name="connsiteY208" fmla="*/ 1616105 h 2281639"/>
                <a:gd name="connsiteX209" fmla="*/ 4583336 w 7718177"/>
                <a:gd name="connsiteY209" fmla="*/ 1634259 h 2281639"/>
                <a:gd name="connsiteX210" fmla="*/ 4612854 w 7718177"/>
                <a:gd name="connsiteY210" fmla="*/ 1634259 h 2281639"/>
                <a:gd name="connsiteX211" fmla="*/ 4612854 w 7718177"/>
                <a:gd name="connsiteY211" fmla="*/ 1648585 h 2281639"/>
                <a:gd name="connsiteX212" fmla="*/ 4706754 w 7718177"/>
                <a:gd name="connsiteY212" fmla="*/ 1648585 h 2281639"/>
                <a:gd name="connsiteX213" fmla="*/ 4706754 w 7718177"/>
                <a:gd name="connsiteY213" fmla="*/ 1655501 h 2281639"/>
                <a:gd name="connsiteX214" fmla="*/ 4819904 w 7718177"/>
                <a:gd name="connsiteY214" fmla="*/ 1655501 h 2281639"/>
                <a:gd name="connsiteX215" fmla="*/ 4819904 w 7718177"/>
                <a:gd name="connsiteY215" fmla="*/ 1667727 h 2281639"/>
                <a:gd name="connsiteX216" fmla="*/ 4863111 w 7718177"/>
                <a:gd name="connsiteY216" fmla="*/ 1667727 h 2281639"/>
                <a:gd name="connsiteX217" fmla="*/ 4863111 w 7718177"/>
                <a:gd name="connsiteY217" fmla="*/ 1674026 h 2281639"/>
                <a:gd name="connsiteX218" fmla="*/ 4872308 w 7718177"/>
                <a:gd name="connsiteY218" fmla="*/ 1674026 h 2281639"/>
                <a:gd name="connsiteX219" fmla="*/ 4872308 w 7718177"/>
                <a:gd name="connsiteY219" fmla="*/ 1691068 h 2281639"/>
                <a:gd name="connsiteX220" fmla="*/ 4885142 w 7718177"/>
                <a:gd name="connsiteY220" fmla="*/ 1691068 h 2281639"/>
                <a:gd name="connsiteX221" fmla="*/ 4885142 w 7718177"/>
                <a:gd name="connsiteY221" fmla="*/ 1698972 h 2281639"/>
                <a:gd name="connsiteX222" fmla="*/ 4943963 w 7718177"/>
                <a:gd name="connsiteY222" fmla="*/ 1698972 h 2281639"/>
                <a:gd name="connsiteX223" fmla="*/ 4943963 w 7718177"/>
                <a:gd name="connsiteY223" fmla="*/ 1707000 h 2281639"/>
                <a:gd name="connsiteX224" fmla="*/ 4980753 w 7718177"/>
                <a:gd name="connsiteY224" fmla="*/ 1707000 h 2281639"/>
                <a:gd name="connsiteX225" fmla="*/ 4980753 w 7718177"/>
                <a:gd name="connsiteY225" fmla="*/ 1728736 h 2281639"/>
                <a:gd name="connsiteX226" fmla="*/ 5138179 w 7718177"/>
                <a:gd name="connsiteY226" fmla="*/ 1728736 h 2281639"/>
                <a:gd name="connsiteX227" fmla="*/ 5138179 w 7718177"/>
                <a:gd name="connsiteY227" fmla="*/ 1743555 h 2281639"/>
                <a:gd name="connsiteX228" fmla="*/ 5186734 w 7718177"/>
                <a:gd name="connsiteY228" fmla="*/ 1743555 h 2281639"/>
                <a:gd name="connsiteX229" fmla="*/ 5186734 w 7718177"/>
                <a:gd name="connsiteY229" fmla="*/ 1750471 h 2281639"/>
                <a:gd name="connsiteX230" fmla="*/ 5242133 w 7718177"/>
                <a:gd name="connsiteY230" fmla="*/ 1750471 h 2281639"/>
                <a:gd name="connsiteX231" fmla="*/ 5242133 w 7718177"/>
                <a:gd name="connsiteY231" fmla="*/ 1786162 h 2281639"/>
                <a:gd name="connsiteX232" fmla="*/ 5406618 w 7718177"/>
                <a:gd name="connsiteY232" fmla="*/ 1786162 h 2281639"/>
                <a:gd name="connsiteX233" fmla="*/ 5406618 w 7718177"/>
                <a:gd name="connsiteY233" fmla="*/ 1796660 h 2281639"/>
                <a:gd name="connsiteX234" fmla="*/ 5430574 w 7718177"/>
                <a:gd name="connsiteY234" fmla="*/ 1796660 h 2281639"/>
                <a:gd name="connsiteX235" fmla="*/ 5430574 w 7718177"/>
                <a:gd name="connsiteY235" fmla="*/ 1809504 h 2281639"/>
                <a:gd name="connsiteX236" fmla="*/ 5464583 w 7718177"/>
                <a:gd name="connsiteY236" fmla="*/ 1809504 h 2281639"/>
                <a:gd name="connsiteX237" fmla="*/ 5464583 w 7718177"/>
                <a:gd name="connsiteY237" fmla="*/ 1817408 h 2281639"/>
                <a:gd name="connsiteX238" fmla="*/ 5482123 w 7718177"/>
                <a:gd name="connsiteY238" fmla="*/ 1817408 h 2281639"/>
                <a:gd name="connsiteX239" fmla="*/ 5482123 w 7718177"/>
                <a:gd name="connsiteY239" fmla="*/ 1857298 h 2281639"/>
                <a:gd name="connsiteX240" fmla="*/ 5620940 w 7718177"/>
                <a:gd name="connsiteY240" fmla="*/ 1857298 h 2281639"/>
                <a:gd name="connsiteX241" fmla="*/ 5620940 w 7718177"/>
                <a:gd name="connsiteY241" fmla="*/ 1883232 h 2281639"/>
                <a:gd name="connsiteX242" fmla="*/ 5741576 w 7718177"/>
                <a:gd name="connsiteY242" fmla="*/ 1883232 h 2281639"/>
                <a:gd name="connsiteX243" fmla="*/ 5741576 w 7718177"/>
                <a:gd name="connsiteY243" fmla="*/ 1906697 h 2281639"/>
                <a:gd name="connsiteX244" fmla="*/ 5870341 w 7718177"/>
                <a:gd name="connsiteY244" fmla="*/ 1906697 h 2281639"/>
                <a:gd name="connsiteX245" fmla="*/ 5870341 w 7718177"/>
                <a:gd name="connsiteY245" fmla="*/ 1921517 h 2281639"/>
                <a:gd name="connsiteX246" fmla="*/ 5906061 w 7718177"/>
                <a:gd name="connsiteY246" fmla="*/ 1921517 h 2281639"/>
                <a:gd name="connsiteX247" fmla="*/ 5906061 w 7718177"/>
                <a:gd name="connsiteY247" fmla="*/ 1937942 h 2281639"/>
                <a:gd name="connsiteX248" fmla="*/ 5938360 w 7718177"/>
                <a:gd name="connsiteY248" fmla="*/ 1937942 h 2281639"/>
                <a:gd name="connsiteX249" fmla="*/ 5938360 w 7718177"/>
                <a:gd name="connsiteY249" fmla="*/ 1964495 h 2281639"/>
                <a:gd name="connsiteX250" fmla="*/ 6000817 w 7718177"/>
                <a:gd name="connsiteY250" fmla="*/ 1964495 h 2281639"/>
                <a:gd name="connsiteX251" fmla="*/ 6000817 w 7718177"/>
                <a:gd name="connsiteY251" fmla="*/ 1971411 h 2281639"/>
                <a:gd name="connsiteX252" fmla="*/ 6109476 w 7718177"/>
                <a:gd name="connsiteY252" fmla="*/ 1971411 h 2281639"/>
                <a:gd name="connsiteX253" fmla="*/ 6109476 w 7718177"/>
                <a:gd name="connsiteY253" fmla="*/ 2006978 h 2281639"/>
                <a:gd name="connsiteX254" fmla="*/ 6140704 w 7718177"/>
                <a:gd name="connsiteY254" fmla="*/ 2006978 h 2281639"/>
                <a:gd name="connsiteX255" fmla="*/ 6140704 w 7718177"/>
                <a:gd name="connsiteY255" fmla="*/ 2020316 h 2281639"/>
                <a:gd name="connsiteX256" fmla="*/ 6211503 w 7718177"/>
                <a:gd name="connsiteY256" fmla="*/ 2020316 h 2281639"/>
                <a:gd name="connsiteX257" fmla="*/ 6211503 w 7718177"/>
                <a:gd name="connsiteY257" fmla="*/ 2042052 h 2281639"/>
                <a:gd name="connsiteX258" fmla="*/ 6696189 w 7718177"/>
                <a:gd name="connsiteY258" fmla="*/ 2042052 h 2281639"/>
                <a:gd name="connsiteX259" fmla="*/ 6696189 w 7718177"/>
                <a:gd name="connsiteY259" fmla="*/ 2095774 h 2281639"/>
                <a:gd name="connsiteX260" fmla="*/ 6798430 w 7718177"/>
                <a:gd name="connsiteY260" fmla="*/ 2095774 h 2281639"/>
                <a:gd name="connsiteX261" fmla="*/ 6798430 w 7718177"/>
                <a:gd name="connsiteY261" fmla="*/ 2158882 h 2281639"/>
                <a:gd name="connsiteX262" fmla="*/ 7610589 w 7718177"/>
                <a:gd name="connsiteY262" fmla="*/ 2158882 h 2281639"/>
                <a:gd name="connsiteX263" fmla="*/ 7610589 w 7718177"/>
                <a:gd name="connsiteY263" fmla="*/ 2281639 h 2281639"/>
                <a:gd name="connsiteX264" fmla="*/ 7718178 w 7718177"/>
                <a:gd name="connsiteY264" fmla="*/ 2281639 h 2281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Lst>
              <a:rect l="l" t="t" r="r" b="b"/>
              <a:pathLst>
                <a:path w="7718177" h="2281639">
                  <a:moveTo>
                    <a:pt x="0" y="0"/>
                  </a:moveTo>
                  <a:lnTo>
                    <a:pt x="74435" y="0"/>
                  </a:lnTo>
                  <a:lnTo>
                    <a:pt x="74435" y="12844"/>
                  </a:lnTo>
                  <a:lnTo>
                    <a:pt x="114861" y="12844"/>
                  </a:lnTo>
                  <a:lnTo>
                    <a:pt x="114861" y="20254"/>
                  </a:lnTo>
                  <a:lnTo>
                    <a:pt x="173896" y="20254"/>
                  </a:lnTo>
                  <a:lnTo>
                    <a:pt x="173896" y="28775"/>
                  </a:lnTo>
                  <a:lnTo>
                    <a:pt x="285977" y="28775"/>
                  </a:lnTo>
                  <a:lnTo>
                    <a:pt x="285977" y="39396"/>
                  </a:lnTo>
                  <a:lnTo>
                    <a:pt x="418378" y="39396"/>
                  </a:lnTo>
                  <a:lnTo>
                    <a:pt x="418378" y="63231"/>
                  </a:lnTo>
                  <a:lnTo>
                    <a:pt x="437843" y="63231"/>
                  </a:lnTo>
                  <a:lnTo>
                    <a:pt x="437843" y="68542"/>
                  </a:lnTo>
                  <a:lnTo>
                    <a:pt x="447040" y="68542"/>
                  </a:lnTo>
                  <a:lnTo>
                    <a:pt x="447040" y="73358"/>
                  </a:lnTo>
                  <a:lnTo>
                    <a:pt x="481049" y="73358"/>
                  </a:lnTo>
                  <a:lnTo>
                    <a:pt x="481049" y="76569"/>
                  </a:lnTo>
                  <a:lnTo>
                    <a:pt x="603397" y="76569"/>
                  </a:lnTo>
                  <a:lnTo>
                    <a:pt x="603397" y="98799"/>
                  </a:lnTo>
                  <a:lnTo>
                    <a:pt x="791838" y="98799"/>
                  </a:lnTo>
                  <a:lnTo>
                    <a:pt x="791838" y="131279"/>
                  </a:lnTo>
                  <a:lnTo>
                    <a:pt x="807452" y="131279"/>
                  </a:lnTo>
                  <a:lnTo>
                    <a:pt x="807452" y="139677"/>
                  </a:lnTo>
                  <a:lnTo>
                    <a:pt x="828628" y="139677"/>
                  </a:lnTo>
                  <a:lnTo>
                    <a:pt x="828628" y="150298"/>
                  </a:lnTo>
                  <a:lnTo>
                    <a:pt x="862637" y="150298"/>
                  </a:lnTo>
                  <a:lnTo>
                    <a:pt x="862637" y="168946"/>
                  </a:lnTo>
                  <a:lnTo>
                    <a:pt x="888519" y="168946"/>
                  </a:lnTo>
                  <a:lnTo>
                    <a:pt x="888519" y="190188"/>
                  </a:lnTo>
                  <a:lnTo>
                    <a:pt x="954612" y="190188"/>
                  </a:lnTo>
                  <a:lnTo>
                    <a:pt x="954612" y="201921"/>
                  </a:lnTo>
                  <a:lnTo>
                    <a:pt x="981349" y="201921"/>
                  </a:lnTo>
                  <a:lnTo>
                    <a:pt x="981349" y="207725"/>
                  </a:lnTo>
                  <a:lnTo>
                    <a:pt x="991402" y="207725"/>
                  </a:lnTo>
                  <a:lnTo>
                    <a:pt x="991402" y="213529"/>
                  </a:lnTo>
                  <a:lnTo>
                    <a:pt x="1016428" y="213529"/>
                  </a:lnTo>
                  <a:lnTo>
                    <a:pt x="1016428" y="219951"/>
                  </a:lnTo>
                  <a:lnTo>
                    <a:pt x="1082521" y="219951"/>
                  </a:lnTo>
                  <a:lnTo>
                    <a:pt x="1082521" y="250208"/>
                  </a:lnTo>
                  <a:lnTo>
                    <a:pt x="1099205" y="250208"/>
                  </a:lnTo>
                  <a:lnTo>
                    <a:pt x="1099205" y="261323"/>
                  </a:lnTo>
                  <a:lnTo>
                    <a:pt x="1142412" y="261323"/>
                  </a:lnTo>
                  <a:lnTo>
                    <a:pt x="1142412" y="268733"/>
                  </a:lnTo>
                  <a:lnTo>
                    <a:pt x="1153321" y="268733"/>
                  </a:lnTo>
                  <a:lnTo>
                    <a:pt x="1153321" y="283059"/>
                  </a:lnTo>
                  <a:lnTo>
                    <a:pt x="1169149" y="283059"/>
                  </a:lnTo>
                  <a:lnTo>
                    <a:pt x="1169149" y="314428"/>
                  </a:lnTo>
                  <a:lnTo>
                    <a:pt x="1238023" y="314428"/>
                  </a:lnTo>
                  <a:lnTo>
                    <a:pt x="1238023" y="323443"/>
                  </a:lnTo>
                  <a:lnTo>
                    <a:pt x="1269252" y="323443"/>
                  </a:lnTo>
                  <a:lnTo>
                    <a:pt x="1269252" y="330359"/>
                  </a:lnTo>
                  <a:lnTo>
                    <a:pt x="1278449" y="330359"/>
                  </a:lnTo>
                  <a:lnTo>
                    <a:pt x="1278449" y="337769"/>
                  </a:lnTo>
                  <a:lnTo>
                    <a:pt x="1375129" y="337769"/>
                  </a:lnTo>
                  <a:lnTo>
                    <a:pt x="1375129" y="364321"/>
                  </a:lnTo>
                  <a:lnTo>
                    <a:pt x="1388819" y="364321"/>
                  </a:lnTo>
                  <a:lnTo>
                    <a:pt x="1388819" y="376548"/>
                  </a:lnTo>
                  <a:lnTo>
                    <a:pt x="1463468" y="376548"/>
                  </a:lnTo>
                  <a:lnTo>
                    <a:pt x="1463468" y="391491"/>
                  </a:lnTo>
                  <a:lnTo>
                    <a:pt x="1481863" y="391491"/>
                  </a:lnTo>
                  <a:lnTo>
                    <a:pt x="1481863" y="406805"/>
                  </a:lnTo>
                  <a:lnTo>
                    <a:pt x="1528706" y="406805"/>
                  </a:lnTo>
                  <a:lnTo>
                    <a:pt x="1528706" y="414832"/>
                  </a:lnTo>
                  <a:lnTo>
                    <a:pt x="1547956" y="414832"/>
                  </a:lnTo>
                  <a:lnTo>
                    <a:pt x="1547956" y="428047"/>
                  </a:lnTo>
                  <a:lnTo>
                    <a:pt x="1560790" y="428047"/>
                  </a:lnTo>
                  <a:lnTo>
                    <a:pt x="1560790" y="439779"/>
                  </a:lnTo>
                  <a:lnTo>
                    <a:pt x="1572768" y="439779"/>
                  </a:lnTo>
                  <a:lnTo>
                    <a:pt x="1572768" y="448300"/>
                  </a:lnTo>
                  <a:lnTo>
                    <a:pt x="1581966" y="448300"/>
                  </a:lnTo>
                  <a:lnTo>
                    <a:pt x="1581966" y="459909"/>
                  </a:lnTo>
                  <a:lnTo>
                    <a:pt x="1596724" y="459909"/>
                  </a:lnTo>
                  <a:lnTo>
                    <a:pt x="1596724" y="498688"/>
                  </a:lnTo>
                  <a:lnTo>
                    <a:pt x="1668593" y="498688"/>
                  </a:lnTo>
                  <a:lnTo>
                    <a:pt x="1668593" y="509926"/>
                  </a:lnTo>
                  <a:lnTo>
                    <a:pt x="1697041" y="509926"/>
                  </a:lnTo>
                  <a:lnTo>
                    <a:pt x="1697041" y="514619"/>
                  </a:lnTo>
                  <a:lnTo>
                    <a:pt x="1716291" y="514619"/>
                  </a:lnTo>
                  <a:lnTo>
                    <a:pt x="1716291" y="525240"/>
                  </a:lnTo>
                  <a:lnTo>
                    <a:pt x="1782599" y="525240"/>
                  </a:lnTo>
                  <a:lnTo>
                    <a:pt x="1782599" y="559820"/>
                  </a:lnTo>
                  <a:lnTo>
                    <a:pt x="1807410" y="559820"/>
                  </a:lnTo>
                  <a:lnTo>
                    <a:pt x="1807410" y="573034"/>
                  </a:lnTo>
                  <a:lnTo>
                    <a:pt x="1823025" y="573034"/>
                  </a:lnTo>
                  <a:lnTo>
                    <a:pt x="1823025" y="578345"/>
                  </a:lnTo>
                  <a:lnTo>
                    <a:pt x="1864307" y="578345"/>
                  </a:lnTo>
                  <a:lnTo>
                    <a:pt x="1864307" y="586866"/>
                  </a:lnTo>
                  <a:lnTo>
                    <a:pt x="1938956" y="586866"/>
                  </a:lnTo>
                  <a:lnTo>
                    <a:pt x="1938956" y="612924"/>
                  </a:lnTo>
                  <a:lnTo>
                    <a:pt x="1985799" y="612924"/>
                  </a:lnTo>
                  <a:lnTo>
                    <a:pt x="1985799" y="623545"/>
                  </a:lnTo>
                  <a:lnTo>
                    <a:pt x="2002483" y="623545"/>
                  </a:lnTo>
                  <a:lnTo>
                    <a:pt x="2002483" y="636883"/>
                  </a:lnTo>
                  <a:lnTo>
                    <a:pt x="2018097" y="636883"/>
                  </a:lnTo>
                  <a:lnTo>
                    <a:pt x="2018097" y="683072"/>
                  </a:lnTo>
                  <a:lnTo>
                    <a:pt x="2079699" y="683072"/>
                  </a:lnTo>
                  <a:lnTo>
                    <a:pt x="2079699" y="694187"/>
                  </a:lnTo>
                  <a:lnTo>
                    <a:pt x="2122050" y="694187"/>
                  </a:lnTo>
                  <a:lnTo>
                    <a:pt x="2122050" y="703696"/>
                  </a:lnTo>
                  <a:lnTo>
                    <a:pt x="2141300" y="703696"/>
                  </a:lnTo>
                  <a:lnTo>
                    <a:pt x="2141300" y="745191"/>
                  </a:lnTo>
                  <a:lnTo>
                    <a:pt x="2251670" y="745191"/>
                  </a:lnTo>
                  <a:lnTo>
                    <a:pt x="2251670" y="758406"/>
                  </a:lnTo>
                  <a:lnTo>
                    <a:pt x="2296802" y="758406"/>
                  </a:lnTo>
                  <a:lnTo>
                    <a:pt x="2296802" y="784958"/>
                  </a:lnTo>
                  <a:lnTo>
                    <a:pt x="2328031" y="784958"/>
                  </a:lnTo>
                  <a:lnTo>
                    <a:pt x="2328031" y="803606"/>
                  </a:lnTo>
                  <a:lnTo>
                    <a:pt x="2356479" y="803606"/>
                  </a:lnTo>
                  <a:lnTo>
                    <a:pt x="2356479" y="817438"/>
                  </a:lnTo>
                  <a:lnTo>
                    <a:pt x="2380435" y="817438"/>
                  </a:lnTo>
                  <a:lnTo>
                    <a:pt x="2380435" y="834852"/>
                  </a:lnTo>
                  <a:lnTo>
                    <a:pt x="2429203" y="834852"/>
                  </a:lnTo>
                  <a:lnTo>
                    <a:pt x="2429203" y="842879"/>
                  </a:lnTo>
                  <a:lnTo>
                    <a:pt x="2472409" y="842879"/>
                  </a:lnTo>
                  <a:lnTo>
                    <a:pt x="2472409" y="853500"/>
                  </a:lnTo>
                  <a:lnTo>
                    <a:pt x="2496366" y="853500"/>
                  </a:lnTo>
                  <a:lnTo>
                    <a:pt x="2496366" y="883263"/>
                  </a:lnTo>
                  <a:lnTo>
                    <a:pt x="2519252" y="883263"/>
                  </a:lnTo>
                  <a:lnTo>
                    <a:pt x="2519252" y="901294"/>
                  </a:lnTo>
                  <a:lnTo>
                    <a:pt x="2543209" y="901294"/>
                  </a:lnTo>
                  <a:lnTo>
                    <a:pt x="2543209" y="919325"/>
                  </a:lnTo>
                  <a:lnTo>
                    <a:pt x="2571657" y="919325"/>
                  </a:lnTo>
                  <a:lnTo>
                    <a:pt x="2571657" y="935873"/>
                  </a:lnTo>
                  <a:lnTo>
                    <a:pt x="2599463" y="935873"/>
                  </a:lnTo>
                  <a:lnTo>
                    <a:pt x="2599463" y="951805"/>
                  </a:lnTo>
                  <a:lnTo>
                    <a:pt x="2622350" y="951805"/>
                  </a:lnTo>
                  <a:lnTo>
                    <a:pt x="2622350" y="968724"/>
                  </a:lnTo>
                  <a:lnTo>
                    <a:pt x="2652723" y="968724"/>
                  </a:lnTo>
                  <a:lnTo>
                    <a:pt x="2652723" y="987372"/>
                  </a:lnTo>
                  <a:lnTo>
                    <a:pt x="2692293" y="987372"/>
                  </a:lnTo>
                  <a:lnTo>
                    <a:pt x="2692293" y="1004292"/>
                  </a:lnTo>
                  <a:lnTo>
                    <a:pt x="2739992" y="1004292"/>
                  </a:lnTo>
                  <a:lnTo>
                    <a:pt x="2739992" y="1020223"/>
                  </a:lnTo>
                  <a:lnTo>
                    <a:pt x="2848650" y="1020223"/>
                  </a:lnTo>
                  <a:lnTo>
                    <a:pt x="2848650" y="1034055"/>
                  </a:lnTo>
                  <a:lnTo>
                    <a:pt x="2870681" y="1034055"/>
                  </a:lnTo>
                  <a:lnTo>
                    <a:pt x="2870681" y="1057396"/>
                  </a:lnTo>
                  <a:lnTo>
                    <a:pt x="2945117" y="1057396"/>
                  </a:lnTo>
                  <a:lnTo>
                    <a:pt x="2945117" y="1069129"/>
                  </a:lnTo>
                  <a:lnTo>
                    <a:pt x="3005007" y="1069129"/>
                  </a:lnTo>
                  <a:lnTo>
                    <a:pt x="3005007" y="1076045"/>
                  </a:lnTo>
                  <a:lnTo>
                    <a:pt x="3045433" y="1076045"/>
                  </a:lnTo>
                  <a:lnTo>
                    <a:pt x="3045433" y="1087159"/>
                  </a:lnTo>
                  <a:lnTo>
                    <a:pt x="3124574" y="1087159"/>
                  </a:lnTo>
                  <a:lnTo>
                    <a:pt x="3124574" y="1096175"/>
                  </a:lnTo>
                  <a:lnTo>
                    <a:pt x="3186176" y="1096175"/>
                  </a:lnTo>
                  <a:lnTo>
                    <a:pt x="3186176" y="1099880"/>
                  </a:lnTo>
                  <a:lnTo>
                    <a:pt x="3204571" y="1099880"/>
                  </a:lnTo>
                  <a:lnTo>
                    <a:pt x="3204571" y="1144587"/>
                  </a:lnTo>
                  <a:lnTo>
                    <a:pt x="3204571" y="1162617"/>
                  </a:lnTo>
                  <a:lnTo>
                    <a:pt x="3310449" y="1162617"/>
                  </a:lnTo>
                  <a:lnTo>
                    <a:pt x="3310449" y="1168916"/>
                  </a:lnTo>
                  <a:lnTo>
                    <a:pt x="3386809" y="1168916"/>
                  </a:lnTo>
                  <a:lnTo>
                    <a:pt x="3386809" y="1210411"/>
                  </a:lnTo>
                  <a:lnTo>
                    <a:pt x="3433652" y="1210411"/>
                  </a:lnTo>
                  <a:lnTo>
                    <a:pt x="3433652" y="1218933"/>
                  </a:lnTo>
                  <a:lnTo>
                    <a:pt x="3463170" y="1218933"/>
                  </a:lnTo>
                  <a:lnTo>
                    <a:pt x="3463170" y="1233259"/>
                  </a:lnTo>
                  <a:lnTo>
                    <a:pt x="3508088" y="1233259"/>
                  </a:lnTo>
                  <a:lnTo>
                    <a:pt x="3508088" y="1241162"/>
                  </a:lnTo>
                  <a:lnTo>
                    <a:pt x="3544878" y="1241162"/>
                  </a:lnTo>
                  <a:lnTo>
                    <a:pt x="3544878" y="1250795"/>
                  </a:lnTo>
                  <a:lnTo>
                    <a:pt x="3581668" y="1250795"/>
                  </a:lnTo>
                  <a:lnTo>
                    <a:pt x="3581668" y="1268826"/>
                  </a:lnTo>
                  <a:lnTo>
                    <a:pt x="3611185" y="1268826"/>
                  </a:lnTo>
                  <a:lnTo>
                    <a:pt x="3611185" y="1284757"/>
                  </a:lnTo>
                  <a:lnTo>
                    <a:pt x="3647975" y="1284757"/>
                  </a:lnTo>
                  <a:lnTo>
                    <a:pt x="3647975" y="1294884"/>
                  </a:lnTo>
                  <a:lnTo>
                    <a:pt x="3669150" y="1294884"/>
                  </a:lnTo>
                  <a:lnTo>
                    <a:pt x="3669150" y="1315015"/>
                  </a:lnTo>
                  <a:lnTo>
                    <a:pt x="3687545" y="1315015"/>
                  </a:lnTo>
                  <a:lnTo>
                    <a:pt x="3687545" y="1337368"/>
                  </a:lnTo>
                  <a:lnTo>
                    <a:pt x="3726260" y="1337368"/>
                  </a:lnTo>
                  <a:lnTo>
                    <a:pt x="3726260" y="1352682"/>
                  </a:lnTo>
                  <a:lnTo>
                    <a:pt x="3769467" y="1352682"/>
                  </a:lnTo>
                  <a:lnTo>
                    <a:pt x="3769467" y="1362315"/>
                  </a:lnTo>
                  <a:lnTo>
                    <a:pt x="3807968" y="1362315"/>
                  </a:lnTo>
                  <a:lnTo>
                    <a:pt x="3807968" y="1404181"/>
                  </a:lnTo>
                  <a:lnTo>
                    <a:pt x="3849464" y="1404181"/>
                  </a:lnTo>
                  <a:lnTo>
                    <a:pt x="3849464" y="1417025"/>
                  </a:lnTo>
                  <a:lnTo>
                    <a:pt x="3923899" y="1417025"/>
                  </a:lnTo>
                  <a:lnTo>
                    <a:pt x="3923899" y="1421718"/>
                  </a:lnTo>
                  <a:lnTo>
                    <a:pt x="3975448" y="1421718"/>
                  </a:lnTo>
                  <a:lnTo>
                    <a:pt x="3975448" y="1432339"/>
                  </a:lnTo>
                  <a:lnTo>
                    <a:pt x="4000260" y="1432339"/>
                  </a:lnTo>
                  <a:lnTo>
                    <a:pt x="4000260" y="1442465"/>
                  </a:lnTo>
                  <a:lnTo>
                    <a:pt x="4010313" y="1442465"/>
                  </a:lnTo>
                  <a:lnTo>
                    <a:pt x="4010313" y="1468524"/>
                  </a:lnTo>
                  <a:lnTo>
                    <a:pt x="4045391" y="1468524"/>
                  </a:lnTo>
                  <a:lnTo>
                    <a:pt x="4045391" y="1479145"/>
                  </a:lnTo>
                  <a:lnTo>
                    <a:pt x="4072984" y="1479145"/>
                  </a:lnTo>
                  <a:lnTo>
                    <a:pt x="4072984" y="1494582"/>
                  </a:lnTo>
                  <a:lnTo>
                    <a:pt x="4123463" y="1494582"/>
                  </a:lnTo>
                  <a:lnTo>
                    <a:pt x="4123463" y="1501992"/>
                  </a:lnTo>
                  <a:lnTo>
                    <a:pt x="4186134" y="1501992"/>
                  </a:lnTo>
                  <a:lnTo>
                    <a:pt x="4186134" y="1518911"/>
                  </a:lnTo>
                  <a:lnTo>
                    <a:pt x="4210091" y="1518911"/>
                  </a:lnTo>
                  <a:lnTo>
                    <a:pt x="4210091" y="1546081"/>
                  </a:lnTo>
                  <a:lnTo>
                    <a:pt x="4257789" y="1546081"/>
                  </a:lnTo>
                  <a:lnTo>
                    <a:pt x="4257789" y="1563618"/>
                  </a:lnTo>
                  <a:lnTo>
                    <a:pt x="4287306" y="1563618"/>
                  </a:lnTo>
                  <a:lnTo>
                    <a:pt x="4287306" y="1579549"/>
                  </a:lnTo>
                  <a:lnTo>
                    <a:pt x="4429760" y="1579549"/>
                  </a:lnTo>
                  <a:lnTo>
                    <a:pt x="4429760" y="1598568"/>
                  </a:lnTo>
                  <a:lnTo>
                    <a:pt x="4484945" y="1598568"/>
                  </a:lnTo>
                  <a:lnTo>
                    <a:pt x="4484945" y="1607707"/>
                  </a:lnTo>
                  <a:lnTo>
                    <a:pt x="4532002" y="1607707"/>
                  </a:lnTo>
                  <a:lnTo>
                    <a:pt x="4532002" y="1616105"/>
                  </a:lnTo>
                  <a:lnTo>
                    <a:pt x="4583336" y="1616105"/>
                  </a:lnTo>
                  <a:lnTo>
                    <a:pt x="4583336" y="1634259"/>
                  </a:lnTo>
                  <a:lnTo>
                    <a:pt x="4612854" y="1634259"/>
                  </a:lnTo>
                  <a:lnTo>
                    <a:pt x="4612854" y="1648585"/>
                  </a:lnTo>
                  <a:lnTo>
                    <a:pt x="4706754" y="1648585"/>
                  </a:lnTo>
                  <a:lnTo>
                    <a:pt x="4706754" y="1655501"/>
                  </a:lnTo>
                  <a:lnTo>
                    <a:pt x="4819904" y="1655501"/>
                  </a:lnTo>
                  <a:lnTo>
                    <a:pt x="4819904" y="1667727"/>
                  </a:lnTo>
                  <a:lnTo>
                    <a:pt x="4863111" y="1667727"/>
                  </a:lnTo>
                  <a:lnTo>
                    <a:pt x="4863111" y="1674026"/>
                  </a:lnTo>
                  <a:lnTo>
                    <a:pt x="4872308" y="1674026"/>
                  </a:lnTo>
                  <a:lnTo>
                    <a:pt x="4872308" y="1691068"/>
                  </a:lnTo>
                  <a:lnTo>
                    <a:pt x="4885142" y="1691068"/>
                  </a:lnTo>
                  <a:lnTo>
                    <a:pt x="4885142" y="1698972"/>
                  </a:lnTo>
                  <a:lnTo>
                    <a:pt x="4943963" y="1698972"/>
                  </a:lnTo>
                  <a:lnTo>
                    <a:pt x="4943963" y="1707000"/>
                  </a:lnTo>
                  <a:lnTo>
                    <a:pt x="4980753" y="1707000"/>
                  </a:lnTo>
                  <a:lnTo>
                    <a:pt x="4980753" y="1728736"/>
                  </a:lnTo>
                  <a:lnTo>
                    <a:pt x="5138179" y="1728736"/>
                  </a:lnTo>
                  <a:lnTo>
                    <a:pt x="5138179" y="1743555"/>
                  </a:lnTo>
                  <a:lnTo>
                    <a:pt x="5186734" y="1743555"/>
                  </a:lnTo>
                  <a:lnTo>
                    <a:pt x="5186734" y="1750471"/>
                  </a:lnTo>
                  <a:lnTo>
                    <a:pt x="5242133" y="1750471"/>
                  </a:lnTo>
                  <a:lnTo>
                    <a:pt x="5242133" y="1786162"/>
                  </a:lnTo>
                  <a:lnTo>
                    <a:pt x="5406618" y="1786162"/>
                  </a:lnTo>
                  <a:lnTo>
                    <a:pt x="5406618" y="1796660"/>
                  </a:lnTo>
                  <a:lnTo>
                    <a:pt x="5430574" y="1796660"/>
                  </a:lnTo>
                  <a:lnTo>
                    <a:pt x="5430574" y="1809504"/>
                  </a:lnTo>
                  <a:lnTo>
                    <a:pt x="5464583" y="1809504"/>
                  </a:lnTo>
                  <a:lnTo>
                    <a:pt x="5464583" y="1817408"/>
                  </a:lnTo>
                  <a:lnTo>
                    <a:pt x="5482123" y="1817408"/>
                  </a:lnTo>
                  <a:lnTo>
                    <a:pt x="5482123" y="1857298"/>
                  </a:lnTo>
                  <a:lnTo>
                    <a:pt x="5620940" y="1857298"/>
                  </a:lnTo>
                  <a:lnTo>
                    <a:pt x="5620940" y="1883232"/>
                  </a:lnTo>
                  <a:lnTo>
                    <a:pt x="5741576" y="1883232"/>
                  </a:lnTo>
                  <a:lnTo>
                    <a:pt x="5741576" y="1906697"/>
                  </a:lnTo>
                  <a:lnTo>
                    <a:pt x="5870341" y="1906697"/>
                  </a:lnTo>
                  <a:lnTo>
                    <a:pt x="5870341" y="1921517"/>
                  </a:lnTo>
                  <a:lnTo>
                    <a:pt x="5906061" y="1921517"/>
                  </a:lnTo>
                  <a:lnTo>
                    <a:pt x="5906061" y="1937942"/>
                  </a:lnTo>
                  <a:lnTo>
                    <a:pt x="5938360" y="1937942"/>
                  </a:lnTo>
                  <a:lnTo>
                    <a:pt x="5938360" y="1964495"/>
                  </a:lnTo>
                  <a:lnTo>
                    <a:pt x="6000817" y="1964495"/>
                  </a:lnTo>
                  <a:lnTo>
                    <a:pt x="6000817" y="1971411"/>
                  </a:lnTo>
                  <a:lnTo>
                    <a:pt x="6109476" y="1971411"/>
                  </a:lnTo>
                  <a:lnTo>
                    <a:pt x="6109476" y="2006978"/>
                  </a:lnTo>
                  <a:lnTo>
                    <a:pt x="6140704" y="2006978"/>
                  </a:lnTo>
                  <a:lnTo>
                    <a:pt x="6140704" y="2020316"/>
                  </a:lnTo>
                  <a:lnTo>
                    <a:pt x="6211503" y="2020316"/>
                  </a:lnTo>
                  <a:lnTo>
                    <a:pt x="6211503" y="2042052"/>
                  </a:lnTo>
                  <a:lnTo>
                    <a:pt x="6696189" y="2042052"/>
                  </a:lnTo>
                  <a:lnTo>
                    <a:pt x="6696189" y="2095774"/>
                  </a:lnTo>
                  <a:lnTo>
                    <a:pt x="6798430" y="2095774"/>
                  </a:lnTo>
                  <a:lnTo>
                    <a:pt x="6798430" y="2158882"/>
                  </a:lnTo>
                  <a:lnTo>
                    <a:pt x="7610589" y="2158882"/>
                  </a:lnTo>
                  <a:lnTo>
                    <a:pt x="7610589" y="2281639"/>
                  </a:lnTo>
                  <a:lnTo>
                    <a:pt x="7718178" y="2281639"/>
                  </a:lnTo>
                </a:path>
              </a:pathLst>
            </a:custGeom>
            <a:noFill/>
            <a:ln w="28575" cap="flat">
              <a:solidFill>
                <a:srgbClr val="A5A5A5">
                  <a:lumMod val="50000"/>
                </a:srgbClr>
              </a:solid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69" name="Freeform: Shape 326">
              <a:extLst>
                <a:ext uri="{FF2B5EF4-FFF2-40B4-BE49-F238E27FC236}">
                  <a16:creationId xmlns:a16="http://schemas.microsoft.com/office/drawing/2014/main" id="{8473B2E1-7B4D-4AD4-69E8-1263270BBFFE}"/>
                </a:ext>
              </a:extLst>
            </p:cNvPr>
            <p:cNvSpPr/>
            <p:nvPr/>
          </p:nvSpPr>
          <p:spPr>
            <a:xfrm>
              <a:off x="3445717" y="1999572"/>
              <a:ext cx="72000" cy="72000"/>
            </a:xfrm>
            <a:custGeom>
              <a:avLst/>
              <a:gdLst>
                <a:gd name="connsiteX0" fmla="*/ 83388 w 83419"/>
                <a:gd name="connsiteY0" fmla="*/ 24038 h 48160"/>
                <a:gd name="connsiteX1" fmla="*/ 41657 w 83419"/>
                <a:gd name="connsiteY1" fmla="*/ 48108 h 48160"/>
                <a:gd name="connsiteX2" fmla="*/ -32 w 83419"/>
                <a:gd name="connsiteY2" fmla="*/ 24026 h 48160"/>
                <a:gd name="connsiteX3" fmla="*/ 40609 w 83419"/>
                <a:gd name="connsiteY3" fmla="*/ -44 h 48160"/>
                <a:gd name="connsiteX4" fmla="*/ 83366 w 83419"/>
                <a:gd name="connsiteY4" fmla="*/ 23408 h 48160"/>
                <a:gd name="connsiteX5" fmla="*/ 83388 w 83419"/>
                <a:gd name="connsiteY5" fmla="*/ 24038 h 48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419" h="48160">
                  <a:moveTo>
                    <a:pt x="83388" y="24038"/>
                  </a:moveTo>
                  <a:cubicBezTo>
                    <a:pt x="83388" y="37339"/>
                    <a:pt x="64693" y="48121"/>
                    <a:pt x="41657" y="48108"/>
                  </a:cubicBezTo>
                  <a:cubicBezTo>
                    <a:pt x="18620" y="48108"/>
                    <a:pt x="-32" y="37327"/>
                    <a:pt x="-32" y="24026"/>
                  </a:cubicBezTo>
                  <a:cubicBezTo>
                    <a:pt x="-32" y="10960"/>
                    <a:pt x="18000" y="290"/>
                    <a:pt x="40609" y="-44"/>
                  </a:cubicBezTo>
                  <a:cubicBezTo>
                    <a:pt x="63645" y="-390"/>
                    <a:pt x="82789" y="10120"/>
                    <a:pt x="83366" y="23408"/>
                  </a:cubicBezTo>
                  <a:cubicBezTo>
                    <a:pt x="83388" y="23618"/>
                    <a:pt x="83388" y="23828"/>
                    <a:pt x="83388" y="24038"/>
                  </a:cubicBezTo>
                  <a:close/>
                </a:path>
              </a:pathLst>
            </a:custGeom>
            <a:grp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70" name="Freeform: Shape 327">
              <a:extLst>
                <a:ext uri="{FF2B5EF4-FFF2-40B4-BE49-F238E27FC236}">
                  <a16:creationId xmlns:a16="http://schemas.microsoft.com/office/drawing/2014/main" id="{30EE496F-2965-91BE-492E-140E906879E9}"/>
                </a:ext>
              </a:extLst>
            </p:cNvPr>
            <p:cNvSpPr/>
            <p:nvPr/>
          </p:nvSpPr>
          <p:spPr>
            <a:xfrm>
              <a:off x="4024730" y="2264035"/>
              <a:ext cx="72000" cy="72000"/>
            </a:xfrm>
            <a:custGeom>
              <a:avLst/>
              <a:gdLst>
                <a:gd name="connsiteX0" fmla="*/ 85526 w 85557"/>
                <a:gd name="connsiteY0" fmla="*/ 24660 h 49399"/>
                <a:gd name="connsiteX1" fmla="*/ 42726 w 85557"/>
                <a:gd name="connsiteY1" fmla="*/ 49347 h 49399"/>
                <a:gd name="connsiteX2" fmla="*/ -32 w 85557"/>
                <a:gd name="connsiteY2" fmla="*/ 24647 h 49399"/>
                <a:gd name="connsiteX3" fmla="*/ 42769 w 85557"/>
                <a:gd name="connsiteY3" fmla="*/ -52 h 49399"/>
                <a:gd name="connsiteX4" fmla="*/ 43817 w 85557"/>
                <a:gd name="connsiteY4" fmla="*/ -40 h 49399"/>
                <a:gd name="connsiteX5" fmla="*/ 85526 w 85557"/>
                <a:gd name="connsiteY5" fmla="*/ 24660 h 49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557" h="49399">
                  <a:moveTo>
                    <a:pt x="85526" y="24660"/>
                  </a:moveTo>
                  <a:cubicBezTo>
                    <a:pt x="85526" y="38306"/>
                    <a:pt x="66361" y="49360"/>
                    <a:pt x="42726" y="49347"/>
                  </a:cubicBezTo>
                  <a:cubicBezTo>
                    <a:pt x="19112" y="49347"/>
                    <a:pt x="-32" y="38282"/>
                    <a:pt x="-32" y="24647"/>
                  </a:cubicBezTo>
                  <a:cubicBezTo>
                    <a:pt x="-32" y="11001"/>
                    <a:pt x="19133" y="-52"/>
                    <a:pt x="42769" y="-52"/>
                  </a:cubicBezTo>
                  <a:cubicBezTo>
                    <a:pt x="43111" y="-52"/>
                    <a:pt x="43475" y="-40"/>
                    <a:pt x="43817" y="-40"/>
                  </a:cubicBezTo>
                  <a:cubicBezTo>
                    <a:pt x="67024" y="294"/>
                    <a:pt x="85526" y="11260"/>
                    <a:pt x="85526" y="24660"/>
                  </a:cubicBezTo>
                  <a:close/>
                </a:path>
              </a:pathLst>
            </a:custGeom>
            <a:grp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71" name="Freeform: Shape 328">
              <a:extLst>
                <a:ext uri="{FF2B5EF4-FFF2-40B4-BE49-F238E27FC236}">
                  <a16:creationId xmlns:a16="http://schemas.microsoft.com/office/drawing/2014/main" id="{926F8FC0-B7F7-BE6C-B5F4-A34573AEBFAD}"/>
                </a:ext>
              </a:extLst>
            </p:cNvPr>
            <p:cNvSpPr/>
            <p:nvPr/>
          </p:nvSpPr>
          <p:spPr>
            <a:xfrm>
              <a:off x="4841389" y="2707934"/>
              <a:ext cx="72000" cy="72000"/>
            </a:xfrm>
            <a:custGeom>
              <a:avLst/>
              <a:gdLst>
                <a:gd name="connsiteX0" fmla="*/ 85518 w 85563"/>
                <a:gd name="connsiteY0" fmla="*/ 24038 h 49403"/>
                <a:gd name="connsiteX1" fmla="*/ 43830 w 85563"/>
                <a:gd name="connsiteY1" fmla="*/ 49343 h 49403"/>
                <a:gd name="connsiteX2" fmla="*/ -18 w 85563"/>
                <a:gd name="connsiteY2" fmla="*/ 25273 h 49403"/>
                <a:gd name="connsiteX3" fmla="*/ 41691 w 85563"/>
                <a:gd name="connsiteY3" fmla="*/ -32 h 49403"/>
                <a:gd name="connsiteX4" fmla="*/ 42739 w 85563"/>
                <a:gd name="connsiteY4" fmla="*/ -44 h 49403"/>
                <a:gd name="connsiteX5" fmla="*/ 85497 w 85563"/>
                <a:gd name="connsiteY5" fmla="*/ 23408 h 49403"/>
                <a:gd name="connsiteX6" fmla="*/ 85518 w 85563"/>
                <a:gd name="connsiteY6" fmla="*/ 24038 h 49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63" h="49403">
                  <a:moveTo>
                    <a:pt x="85518" y="24038"/>
                  </a:moveTo>
                  <a:cubicBezTo>
                    <a:pt x="86117" y="37673"/>
                    <a:pt x="67444" y="49010"/>
                    <a:pt x="43830" y="49343"/>
                  </a:cubicBezTo>
                  <a:cubicBezTo>
                    <a:pt x="20194" y="49689"/>
                    <a:pt x="580" y="38907"/>
                    <a:pt x="-18" y="25273"/>
                  </a:cubicBezTo>
                  <a:cubicBezTo>
                    <a:pt x="-596" y="11639"/>
                    <a:pt x="18056" y="302"/>
                    <a:pt x="41691" y="-32"/>
                  </a:cubicBezTo>
                  <a:cubicBezTo>
                    <a:pt x="42033" y="-44"/>
                    <a:pt x="42397" y="-44"/>
                    <a:pt x="42739" y="-44"/>
                  </a:cubicBezTo>
                  <a:cubicBezTo>
                    <a:pt x="65776" y="-390"/>
                    <a:pt x="84919" y="10120"/>
                    <a:pt x="85497" y="23408"/>
                  </a:cubicBezTo>
                  <a:cubicBezTo>
                    <a:pt x="85518" y="23618"/>
                    <a:pt x="85518" y="23828"/>
                    <a:pt x="85518" y="24038"/>
                  </a:cubicBezTo>
                  <a:close/>
                </a:path>
              </a:pathLst>
            </a:custGeom>
            <a:grp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72" name="Freeform: Shape 329">
              <a:extLst>
                <a:ext uri="{FF2B5EF4-FFF2-40B4-BE49-F238E27FC236}">
                  <a16:creationId xmlns:a16="http://schemas.microsoft.com/office/drawing/2014/main" id="{3057D508-663F-1BCE-7343-4B6B1D05F896}"/>
                </a:ext>
              </a:extLst>
            </p:cNvPr>
            <p:cNvSpPr/>
            <p:nvPr/>
          </p:nvSpPr>
          <p:spPr>
            <a:xfrm>
              <a:off x="4879026" y="2749119"/>
              <a:ext cx="72000" cy="72000"/>
            </a:xfrm>
            <a:custGeom>
              <a:avLst/>
              <a:gdLst>
                <a:gd name="connsiteX0" fmla="*/ 85526 w 85557"/>
                <a:gd name="connsiteY0" fmla="*/ 24660 h 49399"/>
                <a:gd name="connsiteX1" fmla="*/ 42726 w 85557"/>
                <a:gd name="connsiteY1" fmla="*/ 49347 h 49399"/>
                <a:gd name="connsiteX2" fmla="*/ -32 w 85557"/>
                <a:gd name="connsiteY2" fmla="*/ 24647 h 49399"/>
                <a:gd name="connsiteX3" fmla="*/ 42769 w 85557"/>
                <a:gd name="connsiteY3" fmla="*/ -52 h 49399"/>
                <a:gd name="connsiteX4" fmla="*/ 43817 w 85557"/>
                <a:gd name="connsiteY4" fmla="*/ -40 h 49399"/>
                <a:gd name="connsiteX5" fmla="*/ 85526 w 85557"/>
                <a:gd name="connsiteY5" fmla="*/ 24660 h 49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557" h="49399">
                  <a:moveTo>
                    <a:pt x="85526" y="24660"/>
                  </a:moveTo>
                  <a:cubicBezTo>
                    <a:pt x="85526" y="38306"/>
                    <a:pt x="66361" y="49360"/>
                    <a:pt x="42726" y="49347"/>
                  </a:cubicBezTo>
                  <a:cubicBezTo>
                    <a:pt x="19112" y="49347"/>
                    <a:pt x="-32" y="38282"/>
                    <a:pt x="-32" y="24647"/>
                  </a:cubicBezTo>
                  <a:cubicBezTo>
                    <a:pt x="-32" y="11001"/>
                    <a:pt x="19133" y="-52"/>
                    <a:pt x="42769" y="-52"/>
                  </a:cubicBezTo>
                  <a:cubicBezTo>
                    <a:pt x="43111" y="-52"/>
                    <a:pt x="43475" y="-40"/>
                    <a:pt x="43817" y="-40"/>
                  </a:cubicBezTo>
                  <a:cubicBezTo>
                    <a:pt x="67024" y="294"/>
                    <a:pt x="85526" y="11260"/>
                    <a:pt x="85526" y="24660"/>
                  </a:cubicBezTo>
                  <a:close/>
                </a:path>
              </a:pathLst>
            </a:custGeom>
            <a:grp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73" name="Freeform: Shape 330">
              <a:extLst>
                <a:ext uri="{FF2B5EF4-FFF2-40B4-BE49-F238E27FC236}">
                  <a16:creationId xmlns:a16="http://schemas.microsoft.com/office/drawing/2014/main" id="{50FB8801-A155-E5DD-4918-30DD450FCD48}"/>
                </a:ext>
              </a:extLst>
            </p:cNvPr>
            <p:cNvSpPr/>
            <p:nvPr/>
          </p:nvSpPr>
          <p:spPr>
            <a:xfrm>
              <a:off x="4906840" y="2766913"/>
              <a:ext cx="72000" cy="72000"/>
            </a:xfrm>
            <a:custGeom>
              <a:avLst/>
              <a:gdLst>
                <a:gd name="connsiteX0" fmla="*/ 85518 w 85563"/>
                <a:gd name="connsiteY0" fmla="*/ 24030 h 49395"/>
                <a:gd name="connsiteX1" fmla="*/ 43830 w 85563"/>
                <a:gd name="connsiteY1" fmla="*/ 49335 h 49395"/>
                <a:gd name="connsiteX2" fmla="*/ -18 w 85563"/>
                <a:gd name="connsiteY2" fmla="*/ 25265 h 49395"/>
                <a:gd name="connsiteX3" fmla="*/ 41691 w 85563"/>
                <a:gd name="connsiteY3" fmla="*/ -40 h 49395"/>
                <a:gd name="connsiteX4" fmla="*/ 42739 w 85563"/>
                <a:gd name="connsiteY4" fmla="*/ -52 h 49395"/>
                <a:gd name="connsiteX5" fmla="*/ 85518 w 85563"/>
                <a:gd name="connsiteY5" fmla="*/ 24030 h 49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563" h="49395">
                  <a:moveTo>
                    <a:pt x="85518" y="24030"/>
                  </a:moveTo>
                  <a:cubicBezTo>
                    <a:pt x="86117" y="37664"/>
                    <a:pt x="67444" y="49001"/>
                    <a:pt x="43830" y="49335"/>
                  </a:cubicBezTo>
                  <a:cubicBezTo>
                    <a:pt x="20195" y="49681"/>
                    <a:pt x="580" y="38899"/>
                    <a:pt x="-18" y="25265"/>
                  </a:cubicBezTo>
                  <a:cubicBezTo>
                    <a:pt x="-596" y="11631"/>
                    <a:pt x="18056" y="294"/>
                    <a:pt x="41691" y="-40"/>
                  </a:cubicBezTo>
                  <a:cubicBezTo>
                    <a:pt x="42033" y="-52"/>
                    <a:pt x="42397" y="-52"/>
                    <a:pt x="42739" y="-52"/>
                  </a:cubicBezTo>
                  <a:cubicBezTo>
                    <a:pt x="65947" y="-52"/>
                    <a:pt x="84940" y="10630"/>
                    <a:pt x="85518" y="24030"/>
                  </a:cubicBezTo>
                  <a:close/>
                </a:path>
              </a:pathLst>
            </a:custGeom>
            <a:grp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74" name="Freeform: Shape 331">
              <a:extLst>
                <a:ext uri="{FF2B5EF4-FFF2-40B4-BE49-F238E27FC236}">
                  <a16:creationId xmlns:a16="http://schemas.microsoft.com/office/drawing/2014/main" id="{AF709421-2386-EF9E-C552-3556FDD89B39}"/>
                </a:ext>
              </a:extLst>
            </p:cNvPr>
            <p:cNvSpPr/>
            <p:nvPr/>
          </p:nvSpPr>
          <p:spPr>
            <a:xfrm>
              <a:off x="4950903" y="2798163"/>
              <a:ext cx="72000" cy="72000"/>
            </a:xfrm>
            <a:custGeom>
              <a:avLst/>
              <a:gdLst>
                <a:gd name="connsiteX0" fmla="*/ 85518 w 85563"/>
                <a:gd name="connsiteY0" fmla="*/ 24042 h 49406"/>
                <a:gd name="connsiteX1" fmla="*/ 43830 w 85563"/>
                <a:gd name="connsiteY1" fmla="*/ 49346 h 49406"/>
                <a:gd name="connsiteX2" fmla="*/ -18 w 85563"/>
                <a:gd name="connsiteY2" fmla="*/ 25277 h 49406"/>
                <a:gd name="connsiteX3" fmla="*/ 41691 w 85563"/>
                <a:gd name="connsiteY3" fmla="*/ -28 h 49406"/>
                <a:gd name="connsiteX4" fmla="*/ 42739 w 85563"/>
                <a:gd name="connsiteY4" fmla="*/ -41 h 49406"/>
                <a:gd name="connsiteX5" fmla="*/ 85497 w 85563"/>
                <a:gd name="connsiteY5" fmla="*/ 23165 h 49406"/>
                <a:gd name="connsiteX6" fmla="*/ 85518 w 85563"/>
                <a:gd name="connsiteY6" fmla="*/ 24042 h 49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63" h="49406">
                  <a:moveTo>
                    <a:pt x="85518" y="24042"/>
                  </a:moveTo>
                  <a:cubicBezTo>
                    <a:pt x="86117" y="37676"/>
                    <a:pt x="67444" y="49013"/>
                    <a:pt x="43830" y="49346"/>
                  </a:cubicBezTo>
                  <a:cubicBezTo>
                    <a:pt x="20195" y="49692"/>
                    <a:pt x="580" y="38911"/>
                    <a:pt x="-18" y="25277"/>
                  </a:cubicBezTo>
                  <a:cubicBezTo>
                    <a:pt x="-596" y="11642"/>
                    <a:pt x="18056" y="305"/>
                    <a:pt x="41691" y="-28"/>
                  </a:cubicBezTo>
                  <a:cubicBezTo>
                    <a:pt x="42033" y="-41"/>
                    <a:pt x="42397" y="-41"/>
                    <a:pt x="42739" y="-41"/>
                  </a:cubicBezTo>
                  <a:cubicBezTo>
                    <a:pt x="65647" y="-448"/>
                    <a:pt x="84791" y="9938"/>
                    <a:pt x="85497" y="23165"/>
                  </a:cubicBezTo>
                  <a:cubicBezTo>
                    <a:pt x="85518" y="23461"/>
                    <a:pt x="85518" y="23745"/>
                    <a:pt x="85518" y="24042"/>
                  </a:cubicBezTo>
                  <a:close/>
                </a:path>
              </a:pathLst>
            </a:custGeom>
            <a:grp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75" name="Freeform: Shape 332">
              <a:extLst>
                <a:ext uri="{FF2B5EF4-FFF2-40B4-BE49-F238E27FC236}">
                  <a16:creationId xmlns:a16="http://schemas.microsoft.com/office/drawing/2014/main" id="{9FCD966C-F0D1-9366-9B90-0F2386618D61}"/>
                </a:ext>
              </a:extLst>
            </p:cNvPr>
            <p:cNvSpPr/>
            <p:nvPr/>
          </p:nvSpPr>
          <p:spPr>
            <a:xfrm>
              <a:off x="4981909" y="2809717"/>
              <a:ext cx="72000" cy="72000"/>
            </a:xfrm>
            <a:custGeom>
              <a:avLst/>
              <a:gdLst>
                <a:gd name="connsiteX0" fmla="*/ 85526 w 85557"/>
                <a:gd name="connsiteY0" fmla="*/ 24660 h 49399"/>
                <a:gd name="connsiteX1" fmla="*/ 42726 w 85557"/>
                <a:gd name="connsiteY1" fmla="*/ 49347 h 49399"/>
                <a:gd name="connsiteX2" fmla="*/ -32 w 85557"/>
                <a:gd name="connsiteY2" fmla="*/ 24647 h 49399"/>
                <a:gd name="connsiteX3" fmla="*/ 42769 w 85557"/>
                <a:gd name="connsiteY3" fmla="*/ -52 h 49399"/>
                <a:gd name="connsiteX4" fmla="*/ 43817 w 85557"/>
                <a:gd name="connsiteY4" fmla="*/ -40 h 49399"/>
                <a:gd name="connsiteX5" fmla="*/ 85526 w 85557"/>
                <a:gd name="connsiteY5" fmla="*/ 24660 h 49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557" h="49399">
                  <a:moveTo>
                    <a:pt x="85526" y="24660"/>
                  </a:moveTo>
                  <a:cubicBezTo>
                    <a:pt x="85526" y="38306"/>
                    <a:pt x="66361" y="49360"/>
                    <a:pt x="42726" y="49347"/>
                  </a:cubicBezTo>
                  <a:cubicBezTo>
                    <a:pt x="19112" y="49347"/>
                    <a:pt x="-32" y="38282"/>
                    <a:pt x="-32" y="24647"/>
                  </a:cubicBezTo>
                  <a:cubicBezTo>
                    <a:pt x="-32" y="11001"/>
                    <a:pt x="19133" y="-52"/>
                    <a:pt x="42769" y="-52"/>
                  </a:cubicBezTo>
                  <a:cubicBezTo>
                    <a:pt x="43111" y="-52"/>
                    <a:pt x="43475" y="-40"/>
                    <a:pt x="43817" y="-40"/>
                  </a:cubicBezTo>
                  <a:cubicBezTo>
                    <a:pt x="67024" y="294"/>
                    <a:pt x="85526" y="11260"/>
                    <a:pt x="85526" y="24660"/>
                  </a:cubicBezTo>
                  <a:close/>
                </a:path>
              </a:pathLst>
            </a:custGeom>
            <a:grp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76" name="Freeform: Shape 333">
              <a:extLst>
                <a:ext uri="{FF2B5EF4-FFF2-40B4-BE49-F238E27FC236}">
                  <a16:creationId xmlns:a16="http://schemas.microsoft.com/office/drawing/2014/main" id="{01848002-4078-ED0C-5EF0-93271BEF47AA}"/>
                </a:ext>
              </a:extLst>
            </p:cNvPr>
            <p:cNvSpPr/>
            <p:nvPr/>
          </p:nvSpPr>
          <p:spPr>
            <a:xfrm>
              <a:off x="5028538" y="2809731"/>
              <a:ext cx="72000" cy="72000"/>
            </a:xfrm>
            <a:custGeom>
              <a:avLst/>
              <a:gdLst>
                <a:gd name="connsiteX0" fmla="*/ 85526 w 85557"/>
                <a:gd name="connsiteY0" fmla="*/ 24647 h 49399"/>
                <a:gd name="connsiteX1" fmla="*/ 42747 w 85557"/>
                <a:gd name="connsiteY1" fmla="*/ 49347 h 49399"/>
                <a:gd name="connsiteX2" fmla="*/ -32 w 85557"/>
                <a:gd name="connsiteY2" fmla="*/ 24647 h 49399"/>
                <a:gd name="connsiteX3" fmla="*/ 42747 w 85557"/>
                <a:gd name="connsiteY3" fmla="*/ -52 h 49399"/>
                <a:gd name="connsiteX4" fmla="*/ 85526 w 85557"/>
                <a:gd name="connsiteY4" fmla="*/ 24647 h 493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557" h="49399">
                  <a:moveTo>
                    <a:pt x="85526" y="24647"/>
                  </a:moveTo>
                  <a:cubicBezTo>
                    <a:pt x="85526" y="38294"/>
                    <a:pt x="66383" y="49347"/>
                    <a:pt x="42747" y="49347"/>
                  </a:cubicBezTo>
                  <a:cubicBezTo>
                    <a:pt x="19112" y="49347"/>
                    <a:pt x="-32" y="38294"/>
                    <a:pt x="-32" y="24647"/>
                  </a:cubicBezTo>
                  <a:cubicBezTo>
                    <a:pt x="-32" y="11001"/>
                    <a:pt x="19112" y="-52"/>
                    <a:pt x="42747" y="-52"/>
                  </a:cubicBezTo>
                  <a:cubicBezTo>
                    <a:pt x="66383" y="-52"/>
                    <a:pt x="85526" y="11001"/>
                    <a:pt x="85526" y="24647"/>
                  </a:cubicBezTo>
                  <a:close/>
                </a:path>
              </a:pathLst>
            </a:custGeom>
            <a:grp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77" name="Freeform: Shape 334">
              <a:extLst>
                <a:ext uri="{FF2B5EF4-FFF2-40B4-BE49-F238E27FC236}">
                  <a16:creationId xmlns:a16="http://schemas.microsoft.com/office/drawing/2014/main" id="{1967D187-D9C3-C7A6-C527-F2782F4356F1}"/>
                </a:ext>
              </a:extLst>
            </p:cNvPr>
            <p:cNvSpPr/>
            <p:nvPr/>
          </p:nvSpPr>
          <p:spPr>
            <a:xfrm>
              <a:off x="5084151" y="2853276"/>
              <a:ext cx="72000" cy="72000"/>
            </a:xfrm>
            <a:custGeom>
              <a:avLst/>
              <a:gdLst>
                <a:gd name="connsiteX0" fmla="*/ 85526 w 85579"/>
                <a:gd name="connsiteY0" fmla="*/ 24660 h 49399"/>
                <a:gd name="connsiteX1" fmla="*/ 42726 w 85579"/>
                <a:gd name="connsiteY1" fmla="*/ 49347 h 49399"/>
                <a:gd name="connsiteX2" fmla="*/ -32 w 85579"/>
                <a:gd name="connsiteY2" fmla="*/ 24647 h 49399"/>
                <a:gd name="connsiteX3" fmla="*/ 42769 w 85579"/>
                <a:gd name="connsiteY3" fmla="*/ -52 h 49399"/>
                <a:gd name="connsiteX4" fmla="*/ 43817 w 85579"/>
                <a:gd name="connsiteY4" fmla="*/ -40 h 49399"/>
                <a:gd name="connsiteX5" fmla="*/ 85548 w 85579"/>
                <a:gd name="connsiteY5" fmla="*/ 24030 h 49399"/>
                <a:gd name="connsiteX6" fmla="*/ 85526 w 85579"/>
                <a:gd name="connsiteY6" fmla="*/ 24660 h 49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79" h="49399">
                  <a:moveTo>
                    <a:pt x="85526" y="24660"/>
                  </a:moveTo>
                  <a:cubicBezTo>
                    <a:pt x="85526" y="38306"/>
                    <a:pt x="66361" y="49360"/>
                    <a:pt x="42726" y="49347"/>
                  </a:cubicBezTo>
                  <a:cubicBezTo>
                    <a:pt x="19112" y="49347"/>
                    <a:pt x="-32" y="38282"/>
                    <a:pt x="-32" y="24647"/>
                  </a:cubicBezTo>
                  <a:cubicBezTo>
                    <a:pt x="-32" y="11001"/>
                    <a:pt x="19133" y="-52"/>
                    <a:pt x="42769" y="-52"/>
                  </a:cubicBezTo>
                  <a:cubicBezTo>
                    <a:pt x="43111" y="-52"/>
                    <a:pt x="43475" y="-40"/>
                    <a:pt x="43817" y="-40"/>
                  </a:cubicBezTo>
                  <a:cubicBezTo>
                    <a:pt x="66853" y="-40"/>
                    <a:pt x="85526" y="10729"/>
                    <a:pt x="85548" y="24030"/>
                  </a:cubicBezTo>
                  <a:cubicBezTo>
                    <a:pt x="85548" y="24240"/>
                    <a:pt x="85526" y="24450"/>
                    <a:pt x="85526" y="24660"/>
                  </a:cubicBezTo>
                  <a:close/>
                </a:path>
              </a:pathLst>
            </a:custGeom>
            <a:grp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78" name="Freeform: Shape 335">
              <a:extLst>
                <a:ext uri="{FF2B5EF4-FFF2-40B4-BE49-F238E27FC236}">
                  <a16:creationId xmlns:a16="http://schemas.microsoft.com/office/drawing/2014/main" id="{BB3D1B4D-047D-6CD7-B7DF-4BFD05F3FFE9}"/>
                </a:ext>
              </a:extLst>
            </p:cNvPr>
            <p:cNvSpPr/>
            <p:nvPr/>
          </p:nvSpPr>
          <p:spPr>
            <a:xfrm>
              <a:off x="5097634" y="2889000"/>
              <a:ext cx="72000" cy="72000"/>
            </a:xfrm>
            <a:custGeom>
              <a:avLst/>
              <a:gdLst>
                <a:gd name="connsiteX0" fmla="*/ 83379 w 83410"/>
                <a:gd name="connsiteY0" fmla="*/ 24648 h 48160"/>
                <a:gd name="connsiteX1" fmla="*/ 40622 w 83410"/>
                <a:gd name="connsiteY1" fmla="*/ 48100 h 48160"/>
                <a:gd name="connsiteX2" fmla="*/ -18 w 83410"/>
                <a:gd name="connsiteY2" fmla="*/ 23413 h 48160"/>
                <a:gd name="connsiteX3" fmla="*/ 41884 w 83410"/>
                <a:gd name="connsiteY3" fmla="*/ -52 h 48160"/>
                <a:gd name="connsiteX4" fmla="*/ 83379 w 83410"/>
                <a:gd name="connsiteY4" fmla="*/ 24648 h 481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410" h="48160">
                  <a:moveTo>
                    <a:pt x="83379" y="24648"/>
                  </a:moveTo>
                  <a:cubicBezTo>
                    <a:pt x="82781" y="37949"/>
                    <a:pt x="63637" y="48446"/>
                    <a:pt x="40622" y="48100"/>
                  </a:cubicBezTo>
                  <a:cubicBezTo>
                    <a:pt x="17585" y="47767"/>
                    <a:pt x="-596" y="36714"/>
                    <a:pt x="-18" y="23413"/>
                  </a:cubicBezTo>
                  <a:cubicBezTo>
                    <a:pt x="581" y="10310"/>
                    <a:pt x="19190" y="-114"/>
                    <a:pt x="41884" y="-52"/>
                  </a:cubicBezTo>
                  <a:cubicBezTo>
                    <a:pt x="65006" y="343"/>
                    <a:pt x="83379" y="11285"/>
                    <a:pt x="83379" y="24648"/>
                  </a:cubicBezTo>
                  <a:close/>
                </a:path>
              </a:pathLst>
            </a:custGeom>
            <a:grp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79" name="Freeform: Shape 336">
              <a:extLst>
                <a:ext uri="{FF2B5EF4-FFF2-40B4-BE49-F238E27FC236}">
                  <a16:creationId xmlns:a16="http://schemas.microsoft.com/office/drawing/2014/main" id="{D2088A94-DC70-4C05-F748-4C37C1B399B1}"/>
                </a:ext>
              </a:extLst>
            </p:cNvPr>
            <p:cNvSpPr/>
            <p:nvPr/>
          </p:nvSpPr>
          <p:spPr>
            <a:xfrm>
              <a:off x="5122224" y="2895360"/>
              <a:ext cx="72000" cy="72000"/>
            </a:xfrm>
            <a:custGeom>
              <a:avLst/>
              <a:gdLst>
                <a:gd name="connsiteX0" fmla="*/ 83387 w 83418"/>
                <a:gd name="connsiteY0" fmla="*/ 24038 h 48160"/>
                <a:gd name="connsiteX1" fmla="*/ 41657 w 83418"/>
                <a:gd name="connsiteY1" fmla="*/ 48108 h 48160"/>
                <a:gd name="connsiteX2" fmla="*/ -32 w 83418"/>
                <a:gd name="connsiteY2" fmla="*/ 24026 h 48160"/>
                <a:gd name="connsiteX3" fmla="*/ 40608 w 83418"/>
                <a:gd name="connsiteY3" fmla="*/ -44 h 48160"/>
                <a:gd name="connsiteX4" fmla="*/ 83366 w 83418"/>
                <a:gd name="connsiteY4" fmla="*/ 23408 h 48160"/>
                <a:gd name="connsiteX5" fmla="*/ 83387 w 83418"/>
                <a:gd name="connsiteY5" fmla="*/ 24038 h 48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418" h="48160">
                  <a:moveTo>
                    <a:pt x="83387" y="24038"/>
                  </a:moveTo>
                  <a:cubicBezTo>
                    <a:pt x="83387" y="37339"/>
                    <a:pt x="64693" y="48120"/>
                    <a:pt x="41657" y="48108"/>
                  </a:cubicBezTo>
                  <a:cubicBezTo>
                    <a:pt x="18620" y="48108"/>
                    <a:pt x="-32" y="37327"/>
                    <a:pt x="-32" y="24026"/>
                  </a:cubicBezTo>
                  <a:cubicBezTo>
                    <a:pt x="-32" y="10960"/>
                    <a:pt x="18000" y="289"/>
                    <a:pt x="40608" y="-44"/>
                  </a:cubicBezTo>
                  <a:cubicBezTo>
                    <a:pt x="63645" y="-390"/>
                    <a:pt x="82788" y="10120"/>
                    <a:pt x="83366" y="23408"/>
                  </a:cubicBezTo>
                  <a:cubicBezTo>
                    <a:pt x="83387" y="23618"/>
                    <a:pt x="83387" y="23828"/>
                    <a:pt x="83387" y="24038"/>
                  </a:cubicBezTo>
                  <a:close/>
                </a:path>
              </a:pathLst>
            </a:custGeom>
            <a:grp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80" name="Freeform: Shape 337">
              <a:extLst>
                <a:ext uri="{FF2B5EF4-FFF2-40B4-BE49-F238E27FC236}">
                  <a16:creationId xmlns:a16="http://schemas.microsoft.com/office/drawing/2014/main" id="{3CF99F9B-4A62-B3F2-38F2-A248EE108400}"/>
                </a:ext>
              </a:extLst>
            </p:cNvPr>
            <p:cNvSpPr/>
            <p:nvPr/>
          </p:nvSpPr>
          <p:spPr>
            <a:xfrm>
              <a:off x="5148327" y="2924114"/>
              <a:ext cx="72000" cy="72000"/>
            </a:xfrm>
            <a:custGeom>
              <a:avLst/>
              <a:gdLst>
                <a:gd name="connsiteX0" fmla="*/ 83379 w 83410"/>
                <a:gd name="connsiteY0" fmla="*/ 24648 h 48160"/>
                <a:gd name="connsiteX1" fmla="*/ 40622 w 83410"/>
                <a:gd name="connsiteY1" fmla="*/ 48100 h 48160"/>
                <a:gd name="connsiteX2" fmla="*/ -18 w 83410"/>
                <a:gd name="connsiteY2" fmla="*/ 23413 h 48160"/>
                <a:gd name="connsiteX3" fmla="*/ 41884 w 83410"/>
                <a:gd name="connsiteY3" fmla="*/ -52 h 48160"/>
                <a:gd name="connsiteX4" fmla="*/ 83379 w 83410"/>
                <a:gd name="connsiteY4" fmla="*/ 24648 h 481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410" h="48160">
                  <a:moveTo>
                    <a:pt x="83379" y="24648"/>
                  </a:moveTo>
                  <a:cubicBezTo>
                    <a:pt x="82780" y="37949"/>
                    <a:pt x="63637" y="48446"/>
                    <a:pt x="40622" y="48100"/>
                  </a:cubicBezTo>
                  <a:cubicBezTo>
                    <a:pt x="17585" y="47767"/>
                    <a:pt x="-596" y="36713"/>
                    <a:pt x="-18" y="23413"/>
                  </a:cubicBezTo>
                  <a:cubicBezTo>
                    <a:pt x="581" y="10310"/>
                    <a:pt x="19189" y="-114"/>
                    <a:pt x="41884" y="-52"/>
                  </a:cubicBezTo>
                  <a:cubicBezTo>
                    <a:pt x="65006" y="343"/>
                    <a:pt x="83379" y="11285"/>
                    <a:pt x="83379" y="24648"/>
                  </a:cubicBezTo>
                  <a:close/>
                </a:path>
              </a:pathLst>
            </a:custGeom>
            <a:grp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81" name="Freeform: Shape 338">
              <a:extLst>
                <a:ext uri="{FF2B5EF4-FFF2-40B4-BE49-F238E27FC236}">
                  <a16:creationId xmlns:a16="http://schemas.microsoft.com/office/drawing/2014/main" id="{43B123CA-AEA5-2F81-1C21-9E102A0CAB99}"/>
                </a:ext>
              </a:extLst>
            </p:cNvPr>
            <p:cNvSpPr/>
            <p:nvPr/>
          </p:nvSpPr>
          <p:spPr>
            <a:xfrm>
              <a:off x="5176126" y="2949153"/>
              <a:ext cx="72000" cy="72000"/>
            </a:xfrm>
            <a:custGeom>
              <a:avLst/>
              <a:gdLst>
                <a:gd name="connsiteX0" fmla="*/ 83387 w 83418"/>
                <a:gd name="connsiteY0" fmla="*/ 24030 h 48164"/>
                <a:gd name="connsiteX1" fmla="*/ 41678 w 83418"/>
                <a:gd name="connsiteY1" fmla="*/ 48112 h 48164"/>
                <a:gd name="connsiteX2" fmla="*/ -32 w 83418"/>
                <a:gd name="connsiteY2" fmla="*/ 24030 h 48164"/>
                <a:gd name="connsiteX3" fmla="*/ 41678 w 83418"/>
                <a:gd name="connsiteY3" fmla="*/ -52 h 48164"/>
                <a:gd name="connsiteX4" fmla="*/ 83387 w 83418"/>
                <a:gd name="connsiteY4" fmla="*/ 24030 h 481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418" h="48164">
                  <a:moveTo>
                    <a:pt x="83387" y="24030"/>
                  </a:moveTo>
                  <a:cubicBezTo>
                    <a:pt x="83387" y="37331"/>
                    <a:pt x="64714" y="48112"/>
                    <a:pt x="41678" y="48112"/>
                  </a:cubicBezTo>
                  <a:cubicBezTo>
                    <a:pt x="18641" y="48112"/>
                    <a:pt x="-32" y="37331"/>
                    <a:pt x="-32" y="24030"/>
                  </a:cubicBezTo>
                  <a:cubicBezTo>
                    <a:pt x="-32" y="10729"/>
                    <a:pt x="18641" y="-52"/>
                    <a:pt x="41678" y="-52"/>
                  </a:cubicBezTo>
                  <a:cubicBezTo>
                    <a:pt x="64714" y="-52"/>
                    <a:pt x="83387" y="10729"/>
                    <a:pt x="83387" y="24030"/>
                  </a:cubicBezTo>
                  <a:close/>
                </a:path>
              </a:pathLst>
            </a:custGeom>
            <a:grp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82" name="Freeform: Shape 339">
              <a:extLst>
                <a:ext uri="{FF2B5EF4-FFF2-40B4-BE49-F238E27FC236}">
                  <a16:creationId xmlns:a16="http://schemas.microsoft.com/office/drawing/2014/main" id="{7AC3A253-EBD9-17A7-7E67-6A0AA84E934E}"/>
                </a:ext>
              </a:extLst>
            </p:cNvPr>
            <p:cNvSpPr/>
            <p:nvPr/>
          </p:nvSpPr>
          <p:spPr>
            <a:xfrm>
              <a:off x="5221257" y="2975971"/>
              <a:ext cx="72000" cy="72000"/>
            </a:xfrm>
            <a:custGeom>
              <a:avLst/>
              <a:gdLst>
                <a:gd name="connsiteX0" fmla="*/ 83387 w 83418"/>
                <a:gd name="connsiteY0" fmla="*/ 24030 h 48164"/>
                <a:gd name="connsiteX1" fmla="*/ 41678 w 83418"/>
                <a:gd name="connsiteY1" fmla="*/ 48112 h 48164"/>
                <a:gd name="connsiteX2" fmla="*/ -32 w 83418"/>
                <a:gd name="connsiteY2" fmla="*/ 24030 h 48164"/>
                <a:gd name="connsiteX3" fmla="*/ 41678 w 83418"/>
                <a:gd name="connsiteY3" fmla="*/ -52 h 48164"/>
                <a:gd name="connsiteX4" fmla="*/ 83387 w 83418"/>
                <a:gd name="connsiteY4" fmla="*/ 24030 h 481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418" h="48164">
                  <a:moveTo>
                    <a:pt x="83387" y="24030"/>
                  </a:moveTo>
                  <a:cubicBezTo>
                    <a:pt x="83387" y="37331"/>
                    <a:pt x="64714" y="48112"/>
                    <a:pt x="41678" y="48112"/>
                  </a:cubicBezTo>
                  <a:cubicBezTo>
                    <a:pt x="18641" y="48112"/>
                    <a:pt x="-32" y="37331"/>
                    <a:pt x="-32" y="24030"/>
                  </a:cubicBezTo>
                  <a:cubicBezTo>
                    <a:pt x="-32" y="10729"/>
                    <a:pt x="18641" y="-52"/>
                    <a:pt x="41678" y="-52"/>
                  </a:cubicBezTo>
                  <a:cubicBezTo>
                    <a:pt x="64479" y="269"/>
                    <a:pt x="82831" y="10865"/>
                    <a:pt x="83387" y="24030"/>
                  </a:cubicBezTo>
                  <a:close/>
                </a:path>
              </a:pathLst>
            </a:custGeom>
            <a:grp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83" name="Freeform: Shape 340">
              <a:extLst>
                <a:ext uri="{FF2B5EF4-FFF2-40B4-BE49-F238E27FC236}">
                  <a16:creationId xmlns:a16="http://schemas.microsoft.com/office/drawing/2014/main" id="{D330693F-6CCB-41C8-1766-7DA2F1035D2B}"/>
                </a:ext>
              </a:extLst>
            </p:cNvPr>
            <p:cNvSpPr/>
            <p:nvPr/>
          </p:nvSpPr>
          <p:spPr>
            <a:xfrm>
              <a:off x="5249064" y="2990788"/>
              <a:ext cx="72000" cy="72000"/>
            </a:xfrm>
            <a:custGeom>
              <a:avLst/>
              <a:gdLst>
                <a:gd name="connsiteX0" fmla="*/ 83387 w 83418"/>
                <a:gd name="connsiteY0" fmla="*/ 24030 h 48152"/>
                <a:gd name="connsiteX1" fmla="*/ 41656 w 83418"/>
                <a:gd name="connsiteY1" fmla="*/ 48100 h 48152"/>
                <a:gd name="connsiteX2" fmla="*/ -32 w 83418"/>
                <a:gd name="connsiteY2" fmla="*/ 24018 h 48152"/>
                <a:gd name="connsiteX3" fmla="*/ 40608 w 83418"/>
                <a:gd name="connsiteY3" fmla="*/ -52 h 48152"/>
                <a:gd name="connsiteX4" fmla="*/ 83387 w 83418"/>
                <a:gd name="connsiteY4" fmla="*/ 24030 h 48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418" h="48152">
                  <a:moveTo>
                    <a:pt x="83387" y="24030"/>
                  </a:moveTo>
                  <a:cubicBezTo>
                    <a:pt x="83387" y="37331"/>
                    <a:pt x="64693" y="48112"/>
                    <a:pt x="41656" y="48100"/>
                  </a:cubicBezTo>
                  <a:cubicBezTo>
                    <a:pt x="18620" y="48100"/>
                    <a:pt x="-32" y="37318"/>
                    <a:pt x="-32" y="24018"/>
                  </a:cubicBezTo>
                  <a:cubicBezTo>
                    <a:pt x="-32" y="10951"/>
                    <a:pt x="18000" y="281"/>
                    <a:pt x="40608" y="-52"/>
                  </a:cubicBezTo>
                  <a:cubicBezTo>
                    <a:pt x="63816" y="-52"/>
                    <a:pt x="82810" y="10630"/>
                    <a:pt x="83387" y="24030"/>
                  </a:cubicBezTo>
                  <a:close/>
                </a:path>
              </a:pathLst>
            </a:custGeom>
            <a:grp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84" name="Freeform: Shape 341">
              <a:extLst>
                <a:ext uri="{FF2B5EF4-FFF2-40B4-BE49-F238E27FC236}">
                  <a16:creationId xmlns:a16="http://schemas.microsoft.com/office/drawing/2014/main" id="{FF3CDB12-626F-1351-FC9B-19F40A660EEF}"/>
                </a:ext>
              </a:extLst>
            </p:cNvPr>
            <p:cNvSpPr/>
            <p:nvPr/>
          </p:nvSpPr>
          <p:spPr>
            <a:xfrm>
              <a:off x="5286502" y="3010196"/>
              <a:ext cx="72000" cy="72000"/>
            </a:xfrm>
            <a:custGeom>
              <a:avLst/>
              <a:gdLst>
                <a:gd name="connsiteX0" fmla="*/ 83380 w 83411"/>
                <a:gd name="connsiteY0" fmla="*/ 24647 h 48160"/>
                <a:gd name="connsiteX1" fmla="*/ 40601 w 83411"/>
                <a:gd name="connsiteY1" fmla="*/ 48100 h 48160"/>
                <a:gd name="connsiteX2" fmla="*/ -17 w 83411"/>
                <a:gd name="connsiteY2" fmla="*/ 23400 h 48160"/>
                <a:gd name="connsiteX3" fmla="*/ 40601 w 83411"/>
                <a:gd name="connsiteY3" fmla="*/ -52 h 48160"/>
                <a:gd name="connsiteX4" fmla="*/ 83380 w 83411"/>
                <a:gd name="connsiteY4" fmla="*/ 24647 h 481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411" h="48160">
                  <a:moveTo>
                    <a:pt x="83380" y="24647"/>
                  </a:moveTo>
                  <a:cubicBezTo>
                    <a:pt x="82782" y="37948"/>
                    <a:pt x="63638" y="48446"/>
                    <a:pt x="40601" y="48100"/>
                  </a:cubicBezTo>
                  <a:cubicBezTo>
                    <a:pt x="17565" y="47754"/>
                    <a:pt x="-616" y="36689"/>
                    <a:pt x="-17" y="23400"/>
                  </a:cubicBezTo>
                  <a:cubicBezTo>
                    <a:pt x="561" y="10581"/>
                    <a:pt x="18421" y="281"/>
                    <a:pt x="40601" y="-52"/>
                  </a:cubicBezTo>
                  <a:cubicBezTo>
                    <a:pt x="64237" y="-52"/>
                    <a:pt x="83380" y="11001"/>
                    <a:pt x="83380" y="24647"/>
                  </a:cubicBezTo>
                  <a:close/>
                </a:path>
              </a:pathLst>
            </a:custGeom>
            <a:grp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85" name="Freeform: Shape 342">
              <a:extLst>
                <a:ext uri="{FF2B5EF4-FFF2-40B4-BE49-F238E27FC236}">
                  <a16:creationId xmlns:a16="http://schemas.microsoft.com/office/drawing/2014/main" id="{8AB7CA03-240F-7CAE-8FD0-74BE68CEE48D}"/>
                </a:ext>
              </a:extLst>
            </p:cNvPr>
            <p:cNvSpPr/>
            <p:nvPr/>
          </p:nvSpPr>
          <p:spPr>
            <a:xfrm>
              <a:off x="5312171" y="3015370"/>
              <a:ext cx="72000" cy="72000"/>
            </a:xfrm>
            <a:custGeom>
              <a:avLst/>
              <a:gdLst>
                <a:gd name="connsiteX0" fmla="*/ 85518 w 85562"/>
                <a:gd name="connsiteY0" fmla="*/ 24039 h 49403"/>
                <a:gd name="connsiteX1" fmla="*/ 43809 w 85562"/>
                <a:gd name="connsiteY1" fmla="*/ 49344 h 49403"/>
                <a:gd name="connsiteX2" fmla="*/ -19 w 85562"/>
                <a:gd name="connsiteY2" fmla="*/ 25262 h 49403"/>
                <a:gd name="connsiteX3" fmla="*/ 41691 w 85562"/>
                <a:gd name="connsiteY3" fmla="*/ -43 h 49403"/>
                <a:gd name="connsiteX4" fmla="*/ 43809 w 85562"/>
                <a:gd name="connsiteY4" fmla="*/ -43 h 49403"/>
                <a:gd name="connsiteX5" fmla="*/ 85518 w 85562"/>
                <a:gd name="connsiteY5" fmla="*/ 24039 h 49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562" h="49403">
                  <a:moveTo>
                    <a:pt x="85518" y="24039"/>
                  </a:moveTo>
                  <a:cubicBezTo>
                    <a:pt x="86096" y="37674"/>
                    <a:pt x="67422" y="49011"/>
                    <a:pt x="43809" y="49344"/>
                  </a:cubicBezTo>
                  <a:cubicBezTo>
                    <a:pt x="20195" y="49677"/>
                    <a:pt x="580" y="38896"/>
                    <a:pt x="-19" y="25262"/>
                  </a:cubicBezTo>
                  <a:cubicBezTo>
                    <a:pt x="-596" y="11628"/>
                    <a:pt x="18077" y="290"/>
                    <a:pt x="41691" y="-43"/>
                  </a:cubicBezTo>
                  <a:cubicBezTo>
                    <a:pt x="42397" y="-55"/>
                    <a:pt x="43103" y="-55"/>
                    <a:pt x="43809" y="-43"/>
                  </a:cubicBezTo>
                  <a:cubicBezTo>
                    <a:pt x="66845" y="-43"/>
                    <a:pt x="85518" y="10738"/>
                    <a:pt x="85518" y="24039"/>
                  </a:cubicBezTo>
                  <a:close/>
                </a:path>
              </a:pathLst>
            </a:custGeom>
            <a:grp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86" name="Freeform: Shape 343">
              <a:extLst>
                <a:ext uri="{FF2B5EF4-FFF2-40B4-BE49-F238E27FC236}">
                  <a16:creationId xmlns:a16="http://schemas.microsoft.com/office/drawing/2014/main" id="{0187422A-A5E6-112A-17F1-5D78EFCA172A}"/>
                </a:ext>
              </a:extLst>
            </p:cNvPr>
            <p:cNvSpPr/>
            <p:nvPr/>
          </p:nvSpPr>
          <p:spPr>
            <a:xfrm>
              <a:off x="5391090" y="3026198"/>
              <a:ext cx="72000" cy="72000"/>
            </a:xfrm>
            <a:custGeom>
              <a:avLst/>
              <a:gdLst>
                <a:gd name="connsiteX0" fmla="*/ 83387 w 83418"/>
                <a:gd name="connsiteY0" fmla="*/ 24030 h 48164"/>
                <a:gd name="connsiteX1" fmla="*/ 41678 w 83418"/>
                <a:gd name="connsiteY1" fmla="*/ 48112 h 48164"/>
                <a:gd name="connsiteX2" fmla="*/ -32 w 83418"/>
                <a:gd name="connsiteY2" fmla="*/ 24030 h 48164"/>
                <a:gd name="connsiteX3" fmla="*/ 41678 w 83418"/>
                <a:gd name="connsiteY3" fmla="*/ -52 h 48164"/>
                <a:gd name="connsiteX4" fmla="*/ 41892 w 83418"/>
                <a:gd name="connsiteY4" fmla="*/ -52 h 48164"/>
                <a:gd name="connsiteX5" fmla="*/ 83387 w 83418"/>
                <a:gd name="connsiteY5" fmla="*/ 23907 h 48164"/>
                <a:gd name="connsiteX6" fmla="*/ 83387 w 83418"/>
                <a:gd name="connsiteY6" fmla="*/ 24030 h 48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3418" h="48164">
                  <a:moveTo>
                    <a:pt x="83387" y="24030"/>
                  </a:moveTo>
                  <a:cubicBezTo>
                    <a:pt x="83387" y="37331"/>
                    <a:pt x="64715" y="48112"/>
                    <a:pt x="41678" y="48112"/>
                  </a:cubicBezTo>
                  <a:cubicBezTo>
                    <a:pt x="18641" y="48112"/>
                    <a:pt x="-32" y="37331"/>
                    <a:pt x="-32" y="24030"/>
                  </a:cubicBezTo>
                  <a:cubicBezTo>
                    <a:pt x="-32" y="10729"/>
                    <a:pt x="18641" y="-52"/>
                    <a:pt x="41678" y="-52"/>
                  </a:cubicBezTo>
                  <a:cubicBezTo>
                    <a:pt x="41742" y="-52"/>
                    <a:pt x="41828" y="-52"/>
                    <a:pt x="41892" y="-52"/>
                  </a:cubicBezTo>
                  <a:cubicBezTo>
                    <a:pt x="64800" y="-52"/>
                    <a:pt x="83387" y="10680"/>
                    <a:pt x="83387" y="23907"/>
                  </a:cubicBezTo>
                  <a:cubicBezTo>
                    <a:pt x="83387" y="23943"/>
                    <a:pt x="83387" y="23993"/>
                    <a:pt x="83387" y="24030"/>
                  </a:cubicBezTo>
                  <a:close/>
                </a:path>
              </a:pathLst>
            </a:custGeom>
            <a:grp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87" name="Freeform: Shape 344">
              <a:extLst>
                <a:ext uri="{FF2B5EF4-FFF2-40B4-BE49-F238E27FC236}">
                  <a16:creationId xmlns:a16="http://schemas.microsoft.com/office/drawing/2014/main" id="{E21DADC9-72E7-D163-B37D-701A98FBC796}"/>
                </a:ext>
              </a:extLst>
            </p:cNvPr>
            <p:cNvSpPr/>
            <p:nvPr/>
          </p:nvSpPr>
          <p:spPr>
            <a:xfrm>
              <a:off x="5455267" y="3061311"/>
              <a:ext cx="72000" cy="72000"/>
            </a:xfrm>
            <a:custGeom>
              <a:avLst/>
              <a:gdLst>
                <a:gd name="connsiteX0" fmla="*/ 85518 w 85563"/>
                <a:gd name="connsiteY0" fmla="*/ 24030 h 49395"/>
                <a:gd name="connsiteX1" fmla="*/ 43830 w 85563"/>
                <a:gd name="connsiteY1" fmla="*/ 49335 h 49395"/>
                <a:gd name="connsiteX2" fmla="*/ -18 w 85563"/>
                <a:gd name="connsiteY2" fmla="*/ 25265 h 49395"/>
                <a:gd name="connsiteX3" fmla="*/ 41691 w 85563"/>
                <a:gd name="connsiteY3" fmla="*/ -40 h 49395"/>
                <a:gd name="connsiteX4" fmla="*/ 42739 w 85563"/>
                <a:gd name="connsiteY4" fmla="*/ -52 h 49395"/>
                <a:gd name="connsiteX5" fmla="*/ 85518 w 85563"/>
                <a:gd name="connsiteY5" fmla="*/ 24030 h 49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563" h="49395">
                  <a:moveTo>
                    <a:pt x="85518" y="24030"/>
                  </a:moveTo>
                  <a:cubicBezTo>
                    <a:pt x="86116" y="37664"/>
                    <a:pt x="67444" y="49001"/>
                    <a:pt x="43830" y="49335"/>
                  </a:cubicBezTo>
                  <a:cubicBezTo>
                    <a:pt x="20194" y="49681"/>
                    <a:pt x="580" y="38899"/>
                    <a:pt x="-18" y="25265"/>
                  </a:cubicBezTo>
                  <a:cubicBezTo>
                    <a:pt x="-596" y="11631"/>
                    <a:pt x="18056" y="294"/>
                    <a:pt x="41691" y="-40"/>
                  </a:cubicBezTo>
                  <a:cubicBezTo>
                    <a:pt x="42033" y="-52"/>
                    <a:pt x="42397" y="-52"/>
                    <a:pt x="42739" y="-52"/>
                  </a:cubicBezTo>
                  <a:cubicBezTo>
                    <a:pt x="65946" y="-52"/>
                    <a:pt x="84940" y="10630"/>
                    <a:pt x="85518" y="24030"/>
                  </a:cubicBezTo>
                  <a:close/>
                </a:path>
              </a:pathLst>
            </a:custGeom>
            <a:grp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88" name="Freeform: Shape 345">
              <a:extLst>
                <a:ext uri="{FF2B5EF4-FFF2-40B4-BE49-F238E27FC236}">
                  <a16:creationId xmlns:a16="http://schemas.microsoft.com/office/drawing/2014/main" id="{EE5A86FD-92BB-5B72-4E01-13B8051A22FF}"/>
                </a:ext>
              </a:extLst>
            </p:cNvPr>
            <p:cNvSpPr/>
            <p:nvPr/>
          </p:nvSpPr>
          <p:spPr>
            <a:xfrm>
              <a:off x="5527776" y="3076425"/>
              <a:ext cx="72000" cy="72000"/>
            </a:xfrm>
            <a:custGeom>
              <a:avLst/>
              <a:gdLst>
                <a:gd name="connsiteX0" fmla="*/ 83380 w 83411"/>
                <a:gd name="connsiteY0" fmla="*/ 24647 h 48160"/>
                <a:gd name="connsiteX1" fmla="*/ 40622 w 83411"/>
                <a:gd name="connsiteY1" fmla="*/ 48100 h 48160"/>
                <a:gd name="connsiteX2" fmla="*/ -18 w 83411"/>
                <a:gd name="connsiteY2" fmla="*/ 23412 h 48160"/>
                <a:gd name="connsiteX3" fmla="*/ 41670 w 83411"/>
                <a:gd name="connsiteY3" fmla="*/ -52 h 48160"/>
                <a:gd name="connsiteX4" fmla="*/ 83380 w 83411"/>
                <a:gd name="connsiteY4" fmla="*/ 24647 h 481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411" h="48160">
                  <a:moveTo>
                    <a:pt x="83380" y="24647"/>
                  </a:moveTo>
                  <a:cubicBezTo>
                    <a:pt x="82781" y="37948"/>
                    <a:pt x="63637" y="48446"/>
                    <a:pt x="40622" y="48100"/>
                  </a:cubicBezTo>
                  <a:cubicBezTo>
                    <a:pt x="17585" y="47766"/>
                    <a:pt x="-596" y="36713"/>
                    <a:pt x="-18" y="23412"/>
                  </a:cubicBezTo>
                  <a:cubicBezTo>
                    <a:pt x="560" y="10359"/>
                    <a:pt x="19061" y="-52"/>
                    <a:pt x="41670" y="-52"/>
                  </a:cubicBezTo>
                  <a:cubicBezTo>
                    <a:pt x="64877" y="281"/>
                    <a:pt x="83380" y="11248"/>
                    <a:pt x="83380" y="24647"/>
                  </a:cubicBezTo>
                  <a:close/>
                </a:path>
              </a:pathLst>
            </a:custGeom>
            <a:grp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89" name="Freeform: Shape 346">
              <a:extLst>
                <a:ext uri="{FF2B5EF4-FFF2-40B4-BE49-F238E27FC236}">
                  <a16:creationId xmlns:a16="http://schemas.microsoft.com/office/drawing/2014/main" id="{2E240076-CE7D-6946-19BB-5FA30A7453DF}"/>
                </a:ext>
              </a:extLst>
            </p:cNvPr>
            <p:cNvSpPr/>
            <p:nvPr/>
          </p:nvSpPr>
          <p:spPr>
            <a:xfrm>
              <a:off x="5574398" y="3096427"/>
              <a:ext cx="72000" cy="72000"/>
            </a:xfrm>
            <a:custGeom>
              <a:avLst/>
              <a:gdLst>
                <a:gd name="connsiteX0" fmla="*/ 83387 w 83418"/>
                <a:gd name="connsiteY0" fmla="*/ 24030 h 48164"/>
                <a:gd name="connsiteX1" fmla="*/ 41678 w 83418"/>
                <a:gd name="connsiteY1" fmla="*/ 48112 h 48164"/>
                <a:gd name="connsiteX2" fmla="*/ -32 w 83418"/>
                <a:gd name="connsiteY2" fmla="*/ 24030 h 48164"/>
                <a:gd name="connsiteX3" fmla="*/ 41678 w 83418"/>
                <a:gd name="connsiteY3" fmla="*/ -52 h 48164"/>
                <a:gd name="connsiteX4" fmla="*/ 83387 w 83418"/>
                <a:gd name="connsiteY4" fmla="*/ 24030 h 481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418" h="48164">
                  <a:moveTo>
                    <a:pt x="83387" y="24030"/>
                  </a:moveTo>
                  <a:cubicBezTo>
                    <a:pt x="83387" y="37331"/>
                    <a:pt x="64714" y="48112"/>
                    <a:pt x="41678" y="48112"/>
                  </a:cubicBezTo>
                  <a:cubicBezTo>
                    <a:pt x="18641" y="48112"/>
                    <a:pt x="-32" y="37331"/>
                    <a:pt x="-32" y="24030"/>
                  </a:cubicBezTo>
                  <a:cubicBezTo>
                    <a:pt x="-32" y="10729"/>
                    <a:pt x="18641" y="-52"/>
                    <a:pt x="41678" y="-52"/>
                  </a:cubicBezTo>
                  <a:cubicBezTo>
                    <a:pt x="64479" y="269"/>
                    <a:pt x="82831" y="10865"/>
                    <a:pt x="83387" y="24030"/>
                  </a:cubicBezTo>
                  <a:close/>
                </a:path>
              </a:pathLst>
            </a:custGeom>
            <a:grp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90" name="Freeform: Shape 347">
              <a:extLst>
                <a:ext uri="{FF2B5EF4-FFF2-40B4-BE49-F238E27FC236}">
                  <a16:creationId xmlns:a16="http://schemas.microsoft.com/office/drawing/2014/main" id="{EB870140-499A-24C2-7116-2A992E5564FC}"/>
                </a:ext>
              </a:extLst>
            </p:cNvPr>
            <p:cNvSpPr/>
            <p:nvPr/>
          </p:nvSpPr>
          <p:spPr>
            <a:xfrm>
              <a:off x="5594298" y="3096425"/>
              <a:ext cx="72000" cy="72000"/>
            </a:xfrm>
            <a:custGeom>
              <a:avLst/>
              <a:gdLst>
                <a:gd name="connsiteX0" fmla="*/ 85518 w 85563"/>
                <a:gd name="connsiteY0" fmla="*/ 24030 h 49395"/>
                <a:gd name="connsiteX1" fmla="*/ 43830 w 85563"/>
                <a:gd name="connsiteY1" fmla="*/ 49335 h 49395"/>
                <a:gd name="connsiteX2" fmla="*/ -18 w 85563"/>
                <a:gd name="connsiteY2" fmla="*/ 25265 h 49395"/>
                <a:gd name="connsiteX3" fmla="*/ 41691 w 85563"/>
                <a:gd name="connsiteY3" fmla="*/ -40 h 49395"/>
                <a:gd name="connsiteX4" fmla="*/ 42739 w 85563"/>
                <a:gd name="connsiteY4" fmla="*/ -52 h 49395"/>
                <a:gd name="connsiteX5" fmla="*/ 85518 w 85563"/>
                <a:gd name="connsiteY5" fmla="*/ 24030 h 49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563" h="49395">
                  <a:moveTo>
                    <a:pt x="85518" y="24030"/>
                  </a:moveTo>
                  <a:cubicBezTo>
                    <a:pt x="86116" y="37664"/>
                    <a:pt x="67444" y="49001"/>
                    <a:pt x="43830" y="49335"/>
                  </a:cubicBezTo>
                  <a:cubicBezTo>
                    <a:pt x="20194" y="49681"/>
                    <a:pt x="580" y="38899"/>
                    <a:pt x="-18" y="25265"/>
                  </a:cubicBezTo>
                  <a:cubicBezTo>
                    <a:pt x="-596" y="11631"/>
                    <a:pt x="18056" y="294"/>
                    <a:pt x="41691" y="-40"/>
                  </a:cubicBezTo>
                  <a:cubicBezTo>
                    <a:pt x="42033" y="-52"/>
                    <a:pt x="42397" y="-52"/>
                    <a:pt x="42739" y="-52"/>
                  </a:cubicBezTo>
                  <a:cubicBezTo>
                    <a:pt x="65946" y="-52"/>
                    <a:pt x="84940" y="10630"/>
                    <a:pt x="85518" y="24030"/>
                  </a:cubicBezTo>
                  <a:close/>
                </a:path>
              </a:pathLst>
            </a:custGeom>
            <a:grp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91" name="Freeform: Shape 348">
              <a:extLst>
                <a:ext uri="{FF2B5EF4-FFF2-40B4-BE49-F238E27FC236}">
                  <a16:creationId xmlns:a16="http://schemas.microsoft.com/office/drawing/2014/main" id="{1EDCE845-8EC5-AB9F-A68A-A1E15F86D50D}"/>
                </a:ext>
              </a:extLst>
            </p:cNvPr>
            <p:cNvSpPr/>
            <p:nvPr/>
          </p:nvSpPr>
          <p:spPr>
            <a:xfrm>
              <a:off x="5644991" y="3107686"/>
              <a:ext cx="72000" cy="72000"/>
            </a:xfrm>
            <a:custGeom>
              <a:avLst/>
              <a:gdLst>
                <a:gd name="connsiteX0" fmla="*/ 85518 w 85563"/>
                <a:gd name="connsiteY0" fmla="*/ 24030 h 49395"/>
                <a:gd name="connsiteX1" fmla="*/ 43830 w 85563"/>
                <a:gd name="connsiteY1" fmla="*/ 49335 h 49395"/>
                <a:gd name="connsiteX2" fmla="*/ -18 w 85563"/>
                <a:gd name="connsiteY2" fmla="*/ 25265 h 49395"/>
                <a:gd name="connsiteX3" fmla="*/ 41691 w 85563"/>
                <a:gd name="connsiteY3" fmla="*/ -40 h 49395"/>
                <a:gd name="connsiteX4" fmla="*/ 42739 w 85563"/>
                <a:gd name="connsiteY4" fmla="*/ -52 h 49395"/>
                <a:gd name="connsiteX5" fmla="*/ 85518 w 85563"/>
                <a:gd name="connsiteY5" fmla="*/ 24030 h 49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563" h="49395">
                  <a:moveTo>
                    <a:pt x="85518" y="24030"/>
                  </a:moveTo>
                  <a:cubicBezTo>
                    <a:pt x="86116" y="37664"/>
                    <a:pt x="67444" y="49001"/>
                    <a:pt x="43830" y="49335"/>
                  </a:cubicBezTo>
                  <a:cubicBezTo>
                    <a:pt x="20194" y="49681"/>
                    <a:pt x="580" y="38899"/>
                    <a:pt x="-18" y="25265"/>
                  </a:cubicBezTo>
                  <a:cubicBezTo>
                    <a:pt x="-596" y="11631"/>
                    <a:pt x="18056" y="294"/>
                    <a:pt x="41691" y="-40"/>
                  </a:cubicBezTo>
                  <a:cubicBezTo>
                    <a:pt x="42033" y="-52"/>
                    <a:pt x="42397" y="-52"/>
                    <a:pt x="42739" y="-52"/>
                  </a:cubicBezTo>
                  <a:cubicBezTo>
                    <a:pt x="65946" y="-52"/>
                    <a:pt x="84940" y="10630"/>
                    <a:pt x="85518" y="24030"/>
                  </a:cubicBezTo>
                  <a:close/>
                </a:path>
              </a:pathLst>
            </a:custGeom>
            <a:grp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92" name="Freeform: Shape 349">
              <a:extLst>
                <a:ext uri="{FF2B5EF4-FFF2-40B4-BE49-F238E27FC236}">
                  <a16:creationId xmlns:a16="http://schemas.microsoft.com/office/drawing/2014/main" id="{E3BA4FD7-2667-EB96-2B62-945E0643184C}"/>
                </a:ext>
              </a:extLst>
            </p:cNvPr>
            <p:cNvSpPr/>
            <p:nvPr/>
          </p:nvSpPr>
          <p:spPr>
            <a:xfrm>
              <a:off x="5710007" y="3107677"/>
              <a:ext cx="72000" cy="72000"/>
            </a:xfrm>
            <a:custGeom>
              <a:avLst/>
              <a:gdLst>
                <a:gd name="connsiteX0" fmla="*/ 83387 w 83418"/>
                <a:gd name="connsiteY0" fmla="*/ 24038 h 48160"/>
                <a:gd name="connsiteX1" fmla="*/ 41657 w 83418"/>
                <a:gd name="connsiteY1" fmla="*/ 48108 h 48160"/>
                <a:gd name="connsiteX2" fmla="*/ -32 w 83418"/>
                <a:gd name="connsiteY2" fmla="*/ 24026 h 48160"/>
                <a:gd name="connsiteX3" fmla="*/ 40608 w 83418"/>
                <a:gd name="connsiteY3" fmla="*/ -44 h 48160"/>
                <a:gd name="connsiteX4" fmla="*/ 83366 w 83418"/>
                <a:gd name="connsiteY4" fmla="*/ 23408 h 48160"/>
                <a:gd name="connsiteX5" fmla="*/ 83387 w 83418"/>
                <a:gd name="connsiteY5" fmla="*/ 24038 h 48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418" h="48160">
                  <a:moveTo>
                    <a:pt x="83387" y="24038"/>
                  </a:moveTo>
                  <a:cubicBezTo>
                    <a:pt x="83387" y="37339"/>
                    <a:pt x="64693" y="48120"/>
                    <a:pt x="41657" y="48108"/>
                  </a:cubicBezTo>
                  <a:cubicBezTo>
                    <a:pt x="18620" y="48108"/>
                    <a:pt x="-32" y="37327"/>
                    <a:pt x="-32" y="24026"/>
                  </a:cubicBezTo>
                  <a:cubicBezTo>
                    <a:pt x="-32" y="10960"/>
                    <a:pt x="18000" y="289"/>
                    <a:pt x="40608" y="-44"/>
                  </a:cubicBezTo>
                  <a:cubicBezTo>
                    <a:pt x="63645" y="-390"/>
                    <a:pt x="82788" y="10120"/>
                    <a:pt x="83366" y="23408"/>
                  </a:cubicBezTo>
                  <a:cubicBezTo>
                    <a:pt x="83387" y="23618"/>
                    <a:pt x="83387" y="23828"/>
                    <a:pt x="83387" y="24038"/>
                  </a:cubicBezTo>
                  <a:close/>
                </a:path>
              </a:pathLst>
            </a:custGeom>
            <a:grp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93" name="Freeform: Shape 350">
              <a:extLst>
                <a:ext uri="{FF2B5EF4-FFF2-40B4-BE49-F238E27FC236}">
                  <a16:creationId xmlns:a16="http://schemas.microsoft.com/office/drawing/2014/main" id="{50FF9083-FB3F-0E32-B3F6-B11E1CF34653}"/>
                </a:ext>
              </a:extLst>
            </p:cNvPr>
            <p:cNvSpPr/>
            <p:nvPr/>
          </p:nvSpPr>
          <p:spPr>
            <a:xfrm>
              <a:off x="5868511" y="3193621"/>
              <a:ext cx="72000" cy="72000"/>
            </a:xfrm>
            <a:custGeom>
              <a:avLst/>
              <a:gdLst>
                <a:gd name="connsiteX0" fmla="*/ 83380 w 83432"/>
                <a:gd name="connsiteY0" fmla="*/ 24647 h 48160"/>
                <a:gd name="connsiteX1" fmla="*/ 40622 w 83432"/>
                <a:gd name="connsiteY1" fmla="*/ 48100 h 48160"/>
                <a:gd name="connsiteX2" fmla="*/ -18 w 83432"/>
                <a:gd name="connsiteY2" fmla="*/ 23412 h 48160"/>
                <a:gd name="connsiteX3" fmla="*/ 41670 w 83432"/>
                <a:gd name="connsiteY3" fmla="*/ -52 h 48160"/>
                <a:gd name="connsiteX4" fmla="*/ 83401 w 83432"/>
                <a:gd name="connsiteY4" fmla="*/ 24018 h 48160"/>
                <a:gd name="connsiteX5" fmla="*/ 83380 w 83432"/>
                <a:gd name="connsiteY5" fmla="*/ 24647 h 48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432" h="48160">
                  <a:moveTo>
                    <a:pt x="83380" y="24647"/>
                  </a:moveTo>
                  <a:cubicBezTo>
                    <a:pt x="82781" y="37948"/>
                    <a:pt x="63637" y="48446"/>
                    <a:pt x="40622" y="48100"/>
                  </a:cubicBezTo>
                  <a:cubicBezTo>
                    <a:pt x="17585" y="47766"/>
                    <a:pt x="-595" y="36713"/>
                    <a:pt x="-18" y="23412"/>
                  </a:cubicBezTo>
                  <a:cubicBezTo>
                    <a:pt x="560" y="10359"/>
                    <a:pt x="19061" y="-52"/>
                    <a:pt x="41670" y="-52"/>
                  </a:cubicBezTo>
                  <a:cubicBezTo>
                    <a:pt x="64706" y="-52"/>
                    <a:pt x="83380" y="10717"/>
                    <a:pt x="83401" y="24018"/>
                  </a:cubicBezTo>
                  <a:cubicBezTo>
                    <a:pt x="83401" y="24227"/>
                    <a:pt x="83380" y="24438"/>
                    <a:pt x="83380" y="24647"/>
                  </a:cubicBezTo>
                  <a:close/>
                </a:path>
              </a:pathLst>
            </a:custGeom>
            <a:grp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94" name="Freeform: Shape 351">
              <a:extLst>
                <a:ext uri="{FF2B5EF4-FFF2-40B4-BE49-F238E27FC236}">
                  <a16:creationId xmlns:a16="http://schemas.microsoft.com/office/drawing/2014/main" id="{41DB9696-750A-A26B-61C1-6EBB25A04490}"/>
                </a:ext>
              </a:extLst>
            </p:cNvPr>
            <p:cNvSpPr/>
            <p:nvPr/>
          </p:nvSpPr>
          <p:spPr>
            <a:xfrm>
              <a:off x="5904445" y="3193621"/>
              <a:ext cx="72000" cy="72000"/>
            </a:xfrm>
            <a:custGeom>
              <a:avLst/>
              <a:gdLst>
                <a:gd name="connsiteX0" fmla="*/ 83379 w 83432"/>
                <a:gd name="connsiteY0" fmla="*/ 24648 h 48160"/>
                <a:gd name="connsiteX1" fmla="*/ 40622 w 83432"/>
                <a:gd name="connsiteY1" fmla="*/ 48100 h 48160"/>
                <a:gd name="connsiteX2" fmla="*/ -18 w 83432"/>
                <a:gd name="connsiteY2" fmla="*/ 23413 h 48160"/>
                <a:gd name="connsiteX3" fmla="*/ 41883 w 83432"/>
                <a:gd name="connsiteY3" fmla="*/ -52 h 48160"/>
                <a:gd name="connsiteX4" fmla="*/ 83401 w 83432"/>
                <a:gd name="connsiteY4" fmla="*/ 23894 h 48160"/>
                <a:gd name="connsiteX5" fmla="*/ 83379 w 83432"/>
                <a:gd name="connsiteY5" fmla="*/ 24648 h 48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432" h="48160">
                  <a:moveTo>
                    <a:pt x="83379" y="24648"/>
                  </a:moveTo>
                  <a:cubicBezTo>
                    <a:pt x="82780" y="37949"/>
                    <a:pt x="63637" y="48446"/>
                    <a:pt x="40622" y="48100"/>
                  </a:cubicBezTo>
                  <a:cubicBezTo>
                    <a:pt x="17585" y="47767"/>
                    <a:pt x="-596" y="36713"/>
                    <a:pt x="-18" y="23413"/>
                  </a:cubicBezTo>
                  <a:cubicBezTo>
                    <a:pt x="580" y="10309"/>
                    <a:pt x="19189" y="-114"/>
                    <a:pt x="41883" y="-52"/>
                  </a:cubicBezTo>
                  <a:cubicBezTo>
                    <a:pt x="64792" y="-52"/>
                    <a:pt x="83379" y="10668"/>
                    <a:pt x="83401" y="23894"/>
                  </a:cubicBezTo>
                  <a:cubicBezTo>
                    <a:pt x="83401" y="24141"/>
                    <a:pt x="83401" y="24401"/>
                    <a:pt x="83379" y="24648"/>
                  </a:cubicBezTo>
                  <a:close/>
                </a:path>
              </a:pathLst>
            </a:custGeom>
            <a:grp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95" name="Freeform: Shape 352">
              <a:extLst>
                <a:ext uri="{FF2B5EF4-FFF2-40B4-BE49-F238E27FC236}">
                  <a16:creationId xmlns:a16="http://schemas.microsoft.com/office/drawing/2014/main" id="{D4DA7525-DEC1-4DC7-9855-FC7EB56EF384}"/>
                </a:ext>
              </a:extLst>
            </p:cNvPr>
            <p:cNvSpPr/>
            <p:nvPr/>
          </p:nvSpPr>
          <p:spPr>
            <a:xfrm>
              <a:off x="5992776" y="3249329"/>
              <a:ext cx="72000" cy="72000"/>
            </a:xfrm>
            <a:custGeom>
              <a:avLst/>
              <a:gdLst>
                <a:gd name="connsiteX0" fmla="*/ 83387 w 83418"/>
                <a:gd name="connsiteY0" fmla="*/ 24030 h 48164"/>
                <a:gd name="connsiteX1" fmla="*/ 41678 w 83418"/>
                <a:gd name="connsiteY1" fmla="*/ 48113 h 48164"/>
                <a:gd name="connsiteX2" fmla="*/ -32 w 83418"/>
                <a:gd name="connsiteY2" fmla="*/ 24030 h 48164"/>
                <a:gd name="connsiteX3" fmla="*/ 41678 w 83418"/>
                <a:gd name="connsiteY3" fmla="*/ -52 h 48164"/>
                <a:gd name="connsiteX4" fmla="*/ 83387 w 83418"/>
                <a:gd name="connsiteY4" fmla="*/ 23783 h 48164"/>
                <a:gd name="connsiteX5" fmla="*/ 83387 w 83418"/>
                <a:gd name="connsiteY5" fmla="*/ 24030 h 48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418" h="48164">
                  <a:moveTo>
                    <a:pt x="83387" y="24030"/>
                  </a:moveTo>
                  <a:cubicBezTo>
                    <a:pt x="83387" y="37331"/>
                    <a:pt x="64714" y="48113"/>
                    <a:pt x="41678" y="48113"/>
                  </a:cubicBezTo>
                  <a:cubicBezTo>
                    <a:pt x="18641" y="48113"/>
                    <a:pt x="-32" y="37331"/>
                    <a:pt x="-32" y="24030"/>
                  </a:cubicBezTo>
                  <a:cubicBezTo>
                    <a:pt x="-32" y="10730"/>
                    <a:pt x="18641" y="-52"/>
                    <a:pt x="41678" y="-52"/>
                  </a:cubicBezTo>
                  <a:cubicBezTo>
                    <a:pt x="64586" y="-126"/>
                    <a:pt x="83259" y="10557"/>
                    <a:pt x="83387" y="23783"/>
                  </a:cubicBezTo>
                  <a:cubicBezTo>
                    <a:pt x="83387" y="23870"/>
                    <a:pt x="83387" y="23944"/>
                    <a:pt x="83387" y="24030"/>
                  </a:cubicBezTo>
                  <a:close/>
                </a:path>
              </a:pathLst>
            </a:custGeom>
            <a:grp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96" name="Freeform: Shape 353">
              <a:extLst>
                <a:ext uri="{FF2B5EF4-FFF2-40B4-BE49-F238E27FC236}">
                  <a16:creationId xmlns:a16="http://schemas.microsoft.com/office/drawing/2014/main" id="{EBA31EE8-A19D-349A-F17E-197177ABB475}"/>
                </a:ext>
              </a:extLst>
            </p:cNvPr>
            <p:cNvSpPr/>
            <p:nvPr/>
          </p:nvSpPr>
          <p:spPr>
            <a:xfrm>
              <a:off x="6052452" y="3282074"/>
              <a:ext cx="72000" cy="72000"/>
            </a:xfrm>
            <a:custGeom>
              <a:avLst/>
              <a:gdLst>
                <a:gd name="connsiteX0" fmla="*/ 83388 w 83419"/>
                <a:gd name="connsiteY0" fmla="*/ 24030 h 48164"/>
                <a:gd name="connsiteX1" fmla="*/ 41678 w 83419"/>
                <a:gd name="connsiteY1" fmla="*/ 48112 h 48164"/>
                <a:gd name="connsiteX2" fmla="*/ -32 w 83419"/>
                <a:gd name="connsiteY2" fmla="*/ 24030 h 48164"/>
                <a:gd name="connsiteX3" fmla="*/ 41678 w 83419"/>
                <a:gd name="connsiteY3" fmla="*/ -52 h 48164"/>
                <a:gd name="connsiteX4" fmla="*/ 83388 w 83419"/>
                <a:gd name="connsiteY4" fmla="*/ 24030 h 481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419" h="48164">
                  <a:moveTo>
                    <a:pt x="83388" y="24030"/>
                  </a:moveTo>
                  <a:cubicBezTo>
                    <a:pt x="83388" y="37331"/>
                    <a:pt x="64715" y="48112"/>
                    <a:pt x="41678" y="48112"/>
                  </a:cubicBezTo>
                  <a:cubicBezTo>
                    <a:pt x="18642" y="48112"/>
                    <a:pt x="-32" y="37331"/>
                    <a:pt x="-32" y="24030"/>
                  </a:cubicBezTo>
                  <a:cubicBezTo>
                    <a:pt x="-32" y="10729"/>
                    <a:pt x="18642" y="-52"/>
                    <a:pt x="41678" y="-52"/>
                  </a:cubicBezTo>
                  <a:cubicBezTo>
                    <a:pt x="64715" y="-52"/>
                    <a:pt x="83388" y="10729"/>
                    <a:pt x="83388" y="24030"/>
                  </a:cubicBezTo>
                  <a:close/>
                </a:path>
              </a:pathLst>
            </a:custGeom>
            <a:grp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97" name="Freeform: Shape 354">
              <a:extLst>
                <a:ext uri="{FF2B5EF4-FFF2-40B4-BE49-F238E27FC236}">
                  <a16:creationId xmlns:a16="http://schemas.microsoft.com/office/drawing/2014/main" id="{4EA0EC0B-96D8-CF5C-B848-03D1D3C5D0D0}"/>
                </a:ext>
              </a:extLst>
            </p:cNvPr>
            <p:cNvSpPr/>
            <p:nvPr/>
          </p:nvSpPr>
          <p:spPr>
            <a:xfrm>
              <a:off x="6126896" y="3302372"/>
              <a:ext cx="72000" cy="72000"/>
            </a:xfrm>
            <a:custGeom>
              <a:avLst/>
              <a:gdLst>
                <a:gd name="connsiteX0" fmla="*/ 83379 w 83410"/>
                <a:gd name="connsiteY0" fmla="*/ 24647 h 48160"/>
                <a:gd name="connsiteX1" fmla="*/ 40622 w 83410"/>
                <a:gd name="connsiteY1" fmla="*/ 48100 h 48160"/>
                <a:gd name="connsiteX2" fmla="*/ -18 w 83410"/>
                <a:gd name="connsiteY2" fmla="*/ 23412 h 48160"/>
                <a:gd name="connsiteX3" fmla="*/ 41670 w 83410"/>
                <a:gd name="connsiteY3" fmla="*/ -52 h 48160"/>
                <a:gd name="connsiteX4" fmla="*/ 83379 w 83410"/>
                <a:gd name="connsiteY4" fmla="*/ 24647 h 481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410" h="48160">
                  <a:moveTo>
                    <a:pt x="83379" y="24647"/>
                  </a:moveTo>
                  <a:cubicBezTo>
                    <a:pt x="82781" y="37948"/>
                    <a:pt x="63637" y="48446"/>
                    <a:pt x="40622" y="48100"/>
                  </a:cubicBezTo>
                  <a:cubicBezTo>
                    <a:pt x="17585" y="47766"/>
                    <a:pt x="-596" y="36713"/>
                    <a:pt x="-18" y="23412"/>
                  </a:cubicBezTo>
                  <a:cubicBezTo>
                    <a:pt x="560" y="10359"/>
                    <a:pt x="19061" y="-52"/>
                    <a:pt x="41670" y="-52"/>
                  </a:cubicBezTo>
                  <a:cubicBezTo>
                    <a:pt x="64877" y="281"/>
                    <a:pt x="83379" y="11248"/>
                    <a:pt x="83379" y="24647"/>
                  </a:cubicBezTo>
                  <a:close/>
                </a:path>
              </a:pathLst>
            </a:custGeom>
            <a:grp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98" name="Freeform: Shape 355">
              <a:extLst>
                <a:ext uri="{FF2B5EF4-FFF2-40B4-BE49-F238E27FC236}">
                  <a16:creationId xmlns:a16="http://schemas.microsoft.com/office/drawing/2014/main" id="{7CEEFD94-3150-72BA-CCE9-058AB81BC554}"/>
                </a:ext>
              </a:extLst>
            </p:cNvPr>
            <p:cNvSpPr/>
            <p:nvPr/>
          </p:nvSpPr>
          <p:spPr>
            <a:xfrm>
              <a:off x="6145719" y="3313040"/>
              <a:ext cx="72000" cy="72000"/>
            </a:xfrm>
            <a:custGeom>
              <a:avLst/>
              <a:gdLst>
                <a:gd name="connsiteX0" fmla="*/ 83379 w 83432"/>
                <a:gd name="connsiteY0" fmla="*/ 24647 h 48160"/>
                <a:gd name="connsiteX1" fmla="*/ 40622 w 83432"/>
                <a:gd name="connsiteY1" fmla="*/ 48100 h 48160"/>
                <a:gd name="connsiteX2" fmla="*/ -18 w 83432"/>
                <a:gd name="connsiteY2" fmla="*/ 23412 h 48160"/>
                <a:gd name="connsiteX3" fmla="*/ 41669 w 83432"/>
                <a:gd name="connsiteY3" fmla="*/ -52 h 48160"/>
                <a:gd name="connsiteX4" fmla="*/ 83401 w 83432"/>
                <a:gd name="connsiteY4" fmla="*/ 24018 h 48160"/>
                <a:gd name="connsiteX5" fmla="*/ 83379 w 83432"/>
                <a:gd name="connsiteY5" fmla="*/ 24647 h 48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432" h="48160">
                  <a:moveTo>
                    <a:pt x="83379" y="24647"/>
                  </a:moveTo>
                  <a:cubicBezTo>
                    <a:pt x="82781" y="37948"/>
                    <a:pt x="63637" y="48446"/>
                    <a:pt x="40622" y="48100"/>
                  </a:cubicBezTo>
                  <a:cubicBezTo>
                    <a:pt x="17585" y="47766"/>
                    <a:pt x="-596" y="36713"/>
                    <a:pt x="-18" y="23412"/>
                  </a:cubicBezTo>
                  <a:cubicBezTo>
                    <a:pt x="559" y="10359"/>
                    <a:pt x="19061" y="-52"/>
                    <a:pt x="41669" y="-52"/>
                  </a:cubicBezTo>
                  <a:cubicBezTo>
                    <a:pt x="64706" y="-52"/>
                    <a:pt x="83379" y="10717"/>
                    <a:pt x="83401" y="24018"/>
                  </a:cubicBezTo>
                  <a:cubicBezTo>
                    <a:pt x="83401" y="24228"/>
                    <a:pt x="83379" y="24438"/>
                    <a:pt x="83379" y="24647"/>
                  </a:cubicBezTo>
                  <a:close/>
                </a:path>
              </a:pathLst>
            </a:custGeom>
            <a:grp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99" name="Freeform: Shape 356">
              <a:extLst>
                <a:ext uri="{FF2B5EF4-FFF2-40B4-BE49-F238E27FC236}">
                  <a16:creationId xmlns:a16="http://schemas.microsoft.com/office/drawing/2014/main" id="{6FC4A7E0-DB5A-5272-C05B-216A0A5347B0}"/>
                </a:ext>
              </a:extLst>
            </p:cNvPr>
            <p:cNvSpPr/>
            <p:nvPr/>
          </p:nvSpPr>
          <p:spPr>
            <a:xfrm>
              <a:off x="6198543" y="3345488"/>
              <a:ext cx="72000" cy="72000"/>
            </a:xfrm>
            <a:custGeom>
              <a:avLst/>
              <a:gdLst>
                <a:gd name="connsiteX0" fmla="*/ 83387 w 83418"/>
                <a:gd name="connsiteY0" fmla="*/ 24030 h 48164"/>
                <a:gd name="connsiteX1" fmla="*/ 41678 w 83418"/>
                <a:gd name="connsiteY1" fmla="*/ 48112 h 48164"/>
                <a:gd name="connsiteX2" fmla="*/ -32 w 83418"/>
                <a:gd name="connsiteY2" fmla="*/ 24030 h 48164"/>
                <a:gd name="connsiteX3" fmla="*/ 41678 w 83418"/>
                <a:gd name="connsiteY3" fmla="*/ -52 h 48164"/>
                <a:gd name="connsiteX4" fmla="*/ 83387 w 83418"/>
                <a:gd name="connsiteY4" fmla="*/ 24030 h 481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418" h="48164">
                  <a:moveTo>
                    <a:pt x="83387" y="24030"/>
                  </a:moveTo>
                  <a:cubicBezTo>
                    <a:pt x="83387" y="37331"/>
                    <a:pt x="64715" y="48112"/>
                    <a:pt x="41678" y="48112"/>
                  </a:cubicBezTo>
                  <a:cubicBezTo>
                    <a:pt x="18641" y="48112"/>
                    <a:pt x="-32" y="37331"/>
                    <a:pt x="-32" y="24030"/>
                  </a:cubicBezTo>
                  <a:cubicBezTo>
                    <a:pt x="-32" y="10729"/>
                    <a:pt x="18641" y="-52"/>
                    <a:pt x="41678" y="-52"/>
                  </a:cubicBezTo>
                  <a:cubicBezTo>
                    <a:pt x="64715" y="-52"/>
                    <a:pt x="83387" y="10729"/>
                    <a:pt x="83387" y="24030"/>
                  </a:cubicBezTo>
                  <a:close/>
                </a:path>
              </a:pathLst>
            </a:custGeom>
            <a:grp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100" name="Freeform: Shape 357">
              <a:extLst>
                <a:ext uri="{FF2B5EF4-FFF2-40B4-BE49-F238E27FC236}">
                  <a16:creationId xmlns:a16="http://schemas.microsoft.com/office/drawing/2014/main" id="{0BA08C94-9D4C-FEF6-9B03-674120F582D6}"/>
                </a:ext>
              </a:extLst>
            </p:cNvPr>
            <p:cNvSpPr/>
            <p:nvPr/>
          </p:nvSpPr>
          <p:spPr>
            <a:xfrm>
              <a:off x="6281320" y="3405641"/>
              <a:ext cx="72000" cy="72000"/>
            </a:xfrm>
            <a:custGeom>
              <a:avLst/>
              <a:gdLst>
                <a:gd name="connsiteX0" fmla="*/ 83387 w 83418"/>
                <a:gd name="connsiteY0" fmla="*/ 24030 h 48164"/>
                <a:gd name="connsiteX1" fmla="*/ 41678 w 83418"/>
                <a:gd name="connsiteY1" fmla="*/ 48112 h 48164"/>
                <a:gd name="connsiteX2" fmla="*/ -32 w 83418"/>
                <a:gd name="connsiteY2" fmla="*/ 24030 h 48164"/>
                <a:gd name="connsiteX3" fmla="*/ 41678 w 83418"/>
                <a:gd name="connsiteY3" fmla="*/ -52 h 48164"/>
                <a:gd name="connsiteX4" fmla="*/ 83387 w 83418"/>
                <a:gd name="connsiteY4" fmla="*/ 24030 h 481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418" h="48164">
                  <a:moveTo>
                    <a:pt x="83387" y="24030"/>
                  </a:moveTo>
                  <a:cubicBezTo>
                    <a:pt x="83387" y="37331"/>
                    <a:pt x="64715" y="48112"/>
                    <a:pt x="41678" y="48112"/>
                  </a:cubicBezTo>
                  <a:cubicBezTo>
                    <a:pt x="18641" y="48112"/>
                    <a:pt x="-32" y="37331"/>
                    <a:pt x="-32" y="24030"/>
                  </a:cubicBezTo>
                  <a:cubicBezTo>
                    <a:pt x="-32" y="10729"/>
                    <a:pt x="18641" y="-52"/>
                    <a:pt x="41678" y="-52"/>
                  </a:cubicBezTo>
                  <a:cubicBezTo>
                    <a:pt x="64715" y="-52"/>
                    <a:pt x="83387" y="10729"/>
                    <a:pt x="83387" y="24030"/>
                  </a:cubicBezTo>
                  <a:close/>
                </a:path>
              </a:pathLst>
            </a:custGeom>
            <a:grp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101" name="Freeform: Shape 358">
              <a:extLst>
                <a:ext uri="{FF2B5EF4-FFF2-40B4-BE49-F238E27FC236}">
                  <a16:creationId xmlns:a16="http://schemas.microsoft.com/office/drawing/2014/main" id="{96D18824-E7DA-FDDA-C98C-2FA64F400DC3}"/>
                </a:ext>
              </a:extLst>
            </p:cNvPr>
            <p:cNvSpPr/>
            <p:nvPr/>
          </p:nvSpPr>
          <p:spPr>
            <a:xfrm>
              <a:off x="6328804" y="3426532"/>
              <a:ext cx="72000" cy="72000"/>
            </a:xfrm>
            <a:custGeom>
              <a:avLst/>
              <a:gdLst>
                <a:gd name="connsiteX0" fmla="*/ 83387 w 83418"/>
                <a:gd name="connsiteY0" fmla="*/ 24030 h 48164"/>
                <a:gd name="connsiteX1" fmla="*/ 41678 w 83418"/>
                <a:gd name="connsiteY1" fmla="*/ 48112 h 48164"/>
                <a:gd name="connsiteX2" fmla="*/ -32 w 83418"/>
                <a:gd name="connsiteY2" fmla="*/ 24030 h 48164"/>
                <a:gd name="connsiteX3" fmla="*/ 41678 w 83418"/>
                <a:gd name="connsiteY3" fmla="*/ -52 h 48164"/>
                <a:gd name="connsiteX4" fmla="*/ 83387 w 83418"/>
                <a:gd name="connsiteY4" fmla="*/ 24030 h 481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418" h="48164">
                  <a:moveTo>
                    <a:pt x="83387" y="24030"/>
                  </a:moveTo>
                  <a:cubicBezTo>
                    <a:pt x="83387" y="37331"/>
                    <a:pt x="64715" y="48112"/>
                    <a:pt x="41678" y="48112"/>
                  </a:cubicBezTo>
                  <a:cubicBezTo>
                    <a:pt x="18641" y="48112"/>
                    <a:pt x="-32" y="37331"/>
                    <a:pt x="-32" y="24030"/>
                  </a:cubicBezTo>
                  <a:cubicBezTo>
                    <a:pt x="-32" y="10729"/>
                    <a:pt x="18641" y="-52"/>
                    <a:pt x="41678" y="-52"/>
                  </a:cubicBezTo>
                  <a:cubicBezTo>
                    <a:pt x="64479" y="269"/>
                    <a:pt x="82831" y="10865"/>
                    <a:pt x="83387" y="24030"/>
                  </a:cubicBezTo>
                  <a:close/>
                </a:path>
              </a:pathLst>
            </a:custGeom>
            <a:grp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102" name="Freeform: Shape 359">
              <a:extLst>
                <a:ext uri="{FF2B5EF4-FFF2-40B4-BE49-F238E27FC236}">
                  <a16:creationId xmlns:a16="http://schemas.microsoft.com/office/drawing/2014/main" id="{B43F7900-1951-9E3F-84BE-2553AC386545}"/>
                </a:ext>
              </a:extLst>
            </p:cNvPr>
            <p:cNvSpPr/>
            <p:nvPr/>
          </p:nvSpPr>
          <p:spPr>
            <a:xfrm>
              <a:off x="6340577" y="3426520"/>
              <a:ext cx="72000" cy="72000"/>
            </a:xfrm>
            <a:custGeom>
              <a:avLst/>
              <a:gdLst>
                <a:gd name="connsiteX0" fmla="*/ 85518 w 85562"/>
                <a:gd name="connsiteY0" fmla="*/ 24039 h 49403"/>
                <a:gd name="connsiteX1" fmla="*/ 43809 w 85562"/>
                <a:gd name="connsiteY1" fmla="*/ 49344 h 49403"/>
                <a:gd name="connsiteX2" fmla="*/ -18 w 85562"/>
                <a:gd name="connsiteY2" fmla="*/ 25262 h 49403"/>
                <a:gd name="connsiteX3" fmla="*/ 41691 w 85562"/>
                <a:gd name="connsiteY3" fmla="*/ -43 h 49403"/>
                <a:gd name="connsiteX4" fmla="*/ 43809 w 85562"/>
                <a:gd name="connsiteY4" fmla="*/ -43 h 49403"/>
                <a:gd name="connsiteX5" fmla="*/ 85518 w 85562"/>
                <a:gd name="connsiteY5" fmla="*/ 24039 h 49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562" h="49403">
                  <a:moveTo>
                    <a:pt x="85518" y="24039"/>
                  </a:moveTo>
                  <a:cubicBezTo>
                    <a:pt x="86096" y="37674"/>
                    <a:pt x="67423" y="49011"/>
                    <a:pt x="43809" y="49344"/>
                  </a:cubicBezTo>
                  <a:cubicBezTo>
                    <a:pt x="20195" y="49677"/>
                    <a:pt x="559" y="38896"/>
                    <a:pt x="-18" y="25262"/>
                  </a:cubicBezTo>
                  <a:cubicBezTo>
                    <a:pt x="-596" y="11628"/>
                    <a:pt x="18077" y="290"/>
                    <a:pt x="41691" y="-43"/>
                  </a:cubicBezTo>
                  <a:cubicBezTo>
                    <a:pt x="42397" y="-55"/>
                    <a:pt x="43102" y="-55"/>
                    <a:pt x="43809" y="-43"/>
                  </a:cubicBezTo>
                  <a:cubicBezTo>
                    <a:pt x="66610" y="278"/>
                    <a:pt x="84962" y="10874"/>
                    <a:pt x="85518" y="24039"/>
                  </a:cubicBezTo>
                  <a:close/>
                </a:path>
              </a:pathLst>
            </a:custGeom>
            <a:grp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103" name="Freeform: Shape 360">
              <a:extLst>
                <a:ext uri="{FF2B5EF4-FFF2-40B4-BE49-F238E27FC236}">
                  <a16:creationId xmlns:a16="http://schemas.microsoft.com/office/drawing/2014/main" id="{0C5DC554-EEA5-7DB3-3650-D77948107D47}"/>
                </a:ext>
              </a:extLst>
            </p:cNvPr>
            <p:cNvSpPr/>
            <p:nvPr/>
          </p:nvSpPr>
          <p:spPr>
            <a:xfrm>
              <a:off x="6407303" y="3490539"/>
              <a:ext cx="72000" cy="72000"/>
            </a:xfrm>
            <a:custGeom>
              <a:avLst/>
              <a:gdLst>
                <a:gd name="connsiteX0" fmla="*/ 83388 w 83419"/>
                <a:gd name="connsiteY0" fmla="*/ 24030 h 48164"/>
                <a:gd name="connsiteX1" fmla="*/ 41678 w 83419"/>
                <a:gd name="connsiteY1" fmla="*/ 48112 h 48164"/>
                <a:gd name="connsiteX2" fmla="*/ -32 w 83419"/>
                <a:gd name="connsiteY2" fmla="*/ 24030 h 48164"/>
                <a:gd name="connsiteX3" fmla="*/ 41678 w 83419"/>
                <a:gd name="connsiteY3" fmla="*/ -52 h 48164"/>
                <a:gd name="connsiteX4" fmla="*/ 83388 w 83419"/>
                <a:gd name="connsiteY4" fmla="*/ 24030 h 481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419" h="48164">
                  <a:moveTo>
                    <a:pt x="83388" y="24030"/>
                  </a:moveTo>
                  <a:cubicBezTo>
                    <a:pt x="83388" y="37331"/>
                    <a:pt x="64715" y="48112"/>
                    <a:pt x="41678" y="48112"/>
                  </a:cubicBezTo>
                  <a:cubicBezTo>
                    <a:pt x="18642" y="48112"/>
                    <a:pt x="-32" y="37331"/>
                    <a:pt x="-32" y="24030"/>
                  </a:cubicBezTo>
                  <a:cubicBezTo>
                    <a:pt x="-32" y="10729"/>
                    <a:pt x="18642" y="-52"/>
                    <a:pt x="41678" y="-52"/>
                  </a:cubicBezTo>
                  <a:cubicBezTo>
                    <a:pt x="64480" y="269"/>
                    <a:pt x="82832" y="10865"/>
                    <a:pt x="83388" y="24030"/>
                  </a:cubicBezTo>
                  <a:close/>
                </a:path>
              </a:pathLst>
            </a:custGeom>
            <a:grp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104" name="Freeform: Shape 361">
              <a:extLst>
                <a:ext uri="{FF2B5EF4-FFF2-40B4-BE49-F238E27FC236}">
                  <a16:creationId xmlns:a16="http://schemas.microsoft.com/office/drawing/2014/main" id="{A753BE43-4994-31B4-8981-425720C5E36D}"/>
                </a:ext>
              </a:extLst>
            </p:cNvPr>
            <p:cNvSpPr/>
            <p:nvPr/>
          </p:nvSpPr>
          <p:spPr>
            <a:xfrm>
              <a:off x="6449013" y="3502984"/>
              <a:ext cx="72000" cy="72000"/>
            </a:xfrm>
            <a:custGeom>
              <a:avLst/>
              <a:gdLst>
                <a:gd name="connsiteX0" fmla="*/ 83387 w 83418"/>
                <a:gd name="connsiteY0" fmla="*/ 24030 h 48164"/>
                <a:gd name="connsiteX1" fmla="*/ 41678 w 83418"/>
                <a:gd name="connsiteY1" fmla="*/ 48112 h 48164"/>
                <a:gd name="connsiteX2" fmla="*/ -32 w 83418"/>
                <a:gd name="connsiteY2" fmla="*/ 24030 h 48164"/>
                <a:gd name="connsiteX3" fmla="*/ 41678 w 83418"/>
                <a:gd name="connsiteY3" fmla="*/ -52 h 48164"/>
                <a:gd name="connsiteX4" fmla="*/ 83387 w 83418"/>
                <a:gd name="connsiteY4" fmla="*/ 24030 h 481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418" h="48164">
                  <a:moveTo>
                    <a:pt x="83387" y="24030"/>
                  </a:moveTo>
                  <a:cubicBezTo>
                    <a:pt x="83387" y="37331"/>
                    <a:pt x="64715" y="48112"/>
                    <a:pt x="41678" y="48112"/>
                  </a:cubicBezTo>
                  <a:cubicBezTo>
                    <a:pt x="18642" y="48112"/>
                    <a:pt x="-32" y="37331"/>
                    <a:pt x="-32" y="24030"/>
                  </a:cubicBezTo>
                  <a:cubicBezTo>
                    <a:pt x="-32" y="10729"/>
                    <a:pt x="18642" y="-52"/>
                    <a:pt x="41678" y="-52"/>
                  </a:cubicBezTo>
                  <a:cubicBezTo>
                    <a:pt x="64479" y="269"/>
                    <a:pt x="82831" y="10865"/>
                    <a:pt x="83387" y="24030"/>
                  </a:cubicBezTo>
                  <a:close/>
                </a:path>
              </a:pathLst>
            </a:custGeom>
            <a:grp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105" name="Freeform: Shape 362">
              <a:extLst>
                <a:ext uri="{FF2B5EF4-FFF2-40B4-BE49-F238E27FC236}">
                  <a16:creationId xmlns:a16="http://schemas.microsoft.com/office/drawing/2014/main" id="{272E2473-7226-270C-EF26-9FE0DC3C4D1B}"/>
                </a:ext>
              </a:extLst>
            </p:cNvPr>
            <p:cNvSpPr/>
            <p:nvPr/>
          </p:nvSpPr>
          <p:spPr>
            <a:xfrm>
              <a:off x="6471900" y="3502984"/>
              <a:ext cx="72000" cy="72000"/>
            </a:xfrm>
            <a:custGeom>
              <a:avLst/>
              <a:gdLst>
                <a:gd name="connsiteX0" fmla="*/ 83387 w 83418"/>
                <a:gd name="connsiteY0" fmla="*/ 24030 h 48164"/>
                <a:gd name="connsiteX1" fmla="*/ 41678 w 83418"/>
                <a:gd name="connsiteY1" fmla="*/ 48112 h 48164"/>
                <a:gd name="connsiteX2" fmla="*/ -32 w 83418"/>
                <a:gd name="connsiteY2" fmla="*/ 24030 h 48164"/>
                <a:gd name="connsiteX3" fmla="*/ 41678 w 83418"/>
                <a:gd name="connsiteY3" fmla="*/ -52 h 48164"/>
                <a:gd name="connsiteX4" fmla="*/ 83387 w 83418"/>
                <a:gd name="connsiteY4" fmla="*/ 24030 h 481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418" h="48164">
                  <a:moveTo>
                    <a:pt x="83387" y="24030"/>
                  </a:moveTo>
                  <a:cubicBezTo>
                    <a:pt x="83387" y="37331"/>
                    <a:pt x="64715" y="48112"/>
                    <a:pt x="41678" y="48112"/>
                  </a:cubicBezTo>
                  <a:cubicBezTo>
                    <a:pt x="18641" y="48112"/>
                    <a:pt x="-32" y="37331"/>
                    <a:pt x="-32" y="24030"/>
                  </a:cubicBezTo>
                  <a:cubicBezTo>
                    <a:pt x="-32" y="10729"/>
                    <a:pt x="18641" y="-52"/>
                    <a:pt x="41678" y="-52"/>
                  </a:cubicBezTo>
                  <a:cubicBezTo>
                    <a:pt x="64479" y="269"/>
                    <a:pt x="82831" y="10865"/>
                    <a:pt x="83387" y="24030"/>
                  </a:cubicBezTo>
                  <a:close/>
                </a:path>
              </a:pathLst>
            </a:custGeom>
            <a:grp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106" name="Freeform: Shape 363">
              <a:extLst>
                <a:ext uri="{FF2B5EF4-FFF2-40B4-BE49-F238E27FC236}">
                  <a16:creationId xmlns:a16="http://schemas.microsoft.com/office/drawing/2014/main" id="{FB20AA71-43F7-00E2-34AC-8EB60BC45E9C}"/>
                </a:ext>
              </a:extLst>
            </p:cNvPr>
            <p:cNvSpPr/>
            <p:nvPr/>
          </p:nvSpPr>
          <p:spPr>
            <a:xfrm>
              <a:off x="6546121" y="3513207"/>
              <a:ext cx="72000" cy="72000"/>
            </a:xfrm>
            <a:custGeom>
              <a:avLst/>
              <a:gdLst>
                <a:gd name="connsiteX0" fmla="*/ 83388 w 83419"/>
                <a:gd name="connsiteY0" fmla="*/ 23907 h 48164"/>
                <a:gd name="connsiteX1" fmla="*/ 41892 w 83419"/>
                <a:gd name="connsiteY1" fmla="*/ 48112 h 48164"/>
                <a:gd name="connsiteX2" fmla="*/ -31 w 83419"/>
                <a:gd name="connsiteY2" fmla="*/ 24154 h 48164"/>
                <a:gd name="connsiteX3" fmla="*/ 41465 w 83419"/>
                <a:gd name="connsiteY3" fmla="*/ -52 h 48164"/>
                <a:gd name="connsiteX4" fmla="*/ 41892 w 83419"/>
                <a:gd name="connsiteY4" fmla="*/ -52 h 48164"/>
                <a:gd name="connsiteX5" fmla="*/ 83388 w 83419"/>
                <a:gd name="connsiteY5" fmla="*/ 23907 h 48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419" h="48164">
                  <a:moveTo>
                    <a:pt x="83388" y="23907"/>
                  </a:moveTo>
                  <a:cubicBezTo>
                    <a:pt x="83516" y="37207"/>
                    <a:pt x="64928" y="48038"/>
                    <a:pt x="41892" y="48112"/>
                  </a:cubicBezTo>
                  <a:cubicBezTo>
                    <a:pt x="18856" y="48174"/>
                    <a:pt x="97" y="37454"/>
                    <a:pt x="-31" y="24154"/>
                  </a:cubicBezTo>
                  <a:cubicBezTo>
                    <a:pt x="-138" y="10853"/>
                    <a:pt x="18428" y="22"/>
                    <a:pt x="41465" y="-52"/>
                  </a:cubicBezTo>
                  <a:cubicBezTo>
                    <a:pt x="41614" y="-52"/>
                    <a:pt x="41743" y="-52"/>
                    <a:pt x="41892" y="-52"/>
                  </a:cubicBezTo>
                  <a:cubicBezTo>
                    <a:pt x="64801" y="-52"/>
                    <a:pt x="83388" y="10680"/>
                    <a:pt x="83388" y="23907"/>
                  </a:cubicBezTo>
                  <a:close/>
                </a:path>
              </a:pathLst>
            </a:custGeom>
            <a:grp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107" name="Freeform: Shape 364">
              <a:extLst>
                <a:ext uri="{FF2B5EF4-FFF2-40B4-BE49-F238E27FC236}">
                  <a16:creationId xmlns:a16="http://schemas.microsoft.com/office/drawing/2014/main" id="{C2346F84-39E1-F62F-B62D-DB82C55CDB04}"/>
                </a:ext>
              </a:extLst>
            </p:cNvPr>
            <p:cNvSpPr/>
            <p:nvPr/>
          </p:nvSpPr>
          <p:spPr>
            <a:xfrm>
              <a:off x="6600237" y="3566990"/>
              <a:ext cx="72000" cy="72000"/>
            </a:xfrm>
            <a:custGeom>
              <a:avLst/>
              <a:gdLst>
                <a:gd name="connsiteX0" fmla="*/ 83387 w 83418"/>
                <a:gd name="connsiteY0" fmla="*/ 24030 h 48164"/>
                <a:gd name="connsiteX1" fmla="*/ 41678 w 83418"/>
                <a:gd name="connsiteY1" fmla="*/ 48112 h 48164"/>
                <a:gd name="connsiteX2" fmla="*/ -32 w 83418"/>
                <a:gd name="connsiteY2" fmla="*/ 24030 h 48164"/>
                <a:gd name="connsiteX3" fmla="*/ 41678 w 83418"/>
                <a:gd name="connsiteY3" fmla="*/ -52 h 48164"/>
                <a:gd name="connsiteX4" fmla="*/ 83387 w 83418"/>
                <a:gd name="connsiteY4" fmla="*/ 24030 h 481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418" h="48164">
                  <a:moveTo>
                    <a:pt x="83387" y="24030"/>
                  </a:moveTo>
                  <a:cubicBezTo>
                    <a:pt x="83387" y="37331"/>
                    <a:pt x="64715" y="48112"/>
                    <a:pt x="41678" y="48112"/>
                  </a:cubicBezTo>
                  <a:cubicBezTo>
                    <a:pt x="18641" y="48112"/>
                    <a:pt x="-32" y="37331"/>
                    <a:pt x="-32" y="24030"/>
                  </a:cubicBezTo>
                  <a:cubicBezTo>
                    <a:pt x="-32" y="10729"/>
                    <a:pt x="18641" y="-52"/>
                    <a:pt x="41678" y="-52"/>
                  </a:cubicBezTo>
                  <a:cubicBezTo>
                    <a:pt x="64479" y="269"/>
                    <a:pt x="82831" y="10865"/>
                    <a:pt x="83387" y="24030"/>
                  </a:cubicBezTo>
                  <a:close/>
                </a:path>
              </a:pathLst>
            </a:custGeom>
            <a:grp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108" name="Freeform: Shape 365">
              <a:extLst>
                <a:ext uri="{FF2B5EF4-FFF2-40B4-BE49-F238E27FC236}">
                  <a16:creationId xmlns:a16="http://schemas.microsoft.com/office/drawing/2014/main" id="{E2C229F4-3AFE-19FB-7C30-18DFCF4F53DD}"/>
                </a:ext>
              </a:extLst>
            </p:cNvPr>
            <p:cNvSpPr/>
            <p:nvPr/>
          </p:nvSpPr>
          <p:spPr>
            <a:xfrm>
              <a:off x="6620985" y="3577508"/>
              <a:ext cx="72000" cy="72000"/>
            </a:xfrm>
            <a:custGeom>
              <a:avLst/>
              <a:gdLst>
                <a:gd name="connsiteX0" fmla="*/ 85526 w 85557"/>
                <a:gd name="connsiteY0" fmla="*/ 24647 h 49399"/>
                <a:gd name="connsiteX1" fmla="*/ 42747 w 85557"/>
                <a:gd name="connsiteY1" fmla="*/ 49347 h 49399"/>
                <a:gd name="connsiteX2" fmla="*/ -32 w 85557"/>
                <a:gd name="connsiteY2" fmla="*/ 24647 h 49399"/>
                <a:gd name="connsiteX3" fmla="*/ 42747 w 85557"/>
                <a:gd name="connsiteY3" fmla="*/ -52 h 49399"/>
                <a:gd name="connsiteX4" fmla="*/ 85526 w 85557"/>
                <a:gd name="connsiteY4" fmla="*/ 24647 h 493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557" h="49399">
                  <a:moveTo>
                    <a:pt x="85526" y="24647"/>
                  </a:moveTo>
                  <a:cubicBezTo>
                    <a:pt x="85526" y="38294"/>
                    <a:pt x="66382" y="49347"/>
                    <a:pt x="42747" y="49347"/>
                  </a:cubicBezTo>
                  <a:cubicBezTo>
                    <a:pt x="19112" y="49347"/>
                    <a:pt x="-32" y="38294"/>
                    <a:pt x="-32" y="24647"/>
                  </a:cubicBezTo>
                  <a:cubicBezTo>
                    <a:pt x="-32" y="11001"/>
                    <a:pt x="19112" y="-52"/>
                    <a:pt x="42747" y="-52"/>
                  </a:cubicBezTo>
                  <a:cubicBezTo>
                    <a:pt x="66382" y="-52"/>
                    <a:pt x="85526" y="11001"/>
                    <a:pt x="85526" y="24647"/>
                  </a:cubicBezTo>
                  <a:close/>
                </a:path>
              </a:pathLst>
            </a:custGeom>
            <a:grp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109" name="Freeform: Shape 366">
              <a:extLst>
                <a:ext uri="{FF2B5EF4-FFF2-40B4-BE49-F238E27FC236}">
                  <a16:creationId xmlns:a16="http://schemas.microsoft.com/office/drawing/2014/main" id="{F4EF10F8-7914-CB45-1DF6-8B0D5FC82470}"/>
                </a:ext>
              </a:extLst>
            </p:cNvPr>
            <p:cNvSpPr/>
            <p:nvPr/>
          </p:nvSpPr>
          <p:spPr>
            <a:xfrm>
              <a:off x="6670394" y="3594103"/>
              <a:ext cx="72000" cy="72000"/>
            </a:xfrm>
            <a:custGeom>
              <a:avLst/>
              <a:gdLst>
                <a:gd name="connsiteX0" fmla="*/ 83387 w 83418"/>
                <a:gd name="connsiteY0" fmla="*/ 24030 h 48164"/>
                <a:gd name="connsiteX1" fmla="*/ 41678 w 83418"/>
                <a:gd name="connsiteY1" fmla="*/ 48112 h 48164"/>
                <a:gd name="connsiteX2" fmla="*/ -32 w 83418"/>
                <a:gd name="connsiteY2" fmla="*/ 24030 h 48164"/>
                <a:gd name="connsiteX3" fmla="*/ 41678 w 83418"/>
                <a:gd name="connsiteY3" fmla="*/ -52 h 48164"/>
                <a:gd name="connsiteX4" fmla="*/ 83387 w 83418"/>
                <a:gd name="connsiteY4" fmla="*/ 24030 h 481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418" h="48164">
                  <a:moveTo>
                    <a:pt x="83387" y="24030"/>
                  </a:moveTo>
                  <a:cubicBezTo>
                    <a:pt x="83387" y="37331"/>
                    <a:pt x="64715" y="48112"/>
                    <a:pt x="41678" y="48112"/>
                  </a:cubicBezTo>
                  <a:cubicBezTo>
                    <a:pt x="18641" y="48112"/>
                    <a:pt x="-32" y="37331"/>
                    <a:pt x="-32" y="24030"/>
                  </a:cubicBezTo>
                  <a:cubicBezTo>
                    <a:pt x="-32" y="10729"/>
                    <a:pt x="18641" y="-52"/>
                    <a:pt x="41678" y="-52"/>
                  </a:cubicBezTo>
                  <a:cubicBezTo>
                    <a:pt x="64715" y="-52"/>
                    <a:pt x="83387" y="10729"/>
                    <a:pt x="83387" y="24030"/>
                  </a:cubicBezTo>
                  <a:close/>
                </a:path>
              </a:pathLst>
            </a:custGeom>
            <a:grp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110" name="Freeform: Shape 367">
              <a:extLst>
                <a:ext uri="{FF2B5EF4-FFF2-40B4-BE49-F238E27FC236}">
                  <a16:creationId xmlns:a16="http://schemas.microsoft.com/office/drawing/2014/main" id="{49D976E4-765F-B28A-FAF7-D94E00BA67DC}"/>
                </a:ext>
              </a:extLst>
            </p:cNvPr>
            <p:cNvSpPr/>
            <p:nvPr/>
          </p:nvSpPr>
          <p:spPr>
            <a:xfrm>
              <a:off x="6754669" y="3605364"/>
              <a:ext cx="72000" cy="72000"/>
            </a:xfrm>
            <a:custGeom>
              <a:avLst/>
              <a:gdLst>
                <a:gd name="connsiteX0" fmla="*/ 83387 w 83418"/>
                <a:gd name="connsiteY0" fmla="*/ 24030 h 48164"/>
                <a:gd name="connsiteX1" fmla="*/ 41678 w 83418"/>
                <a:gd name="connsiteY1" fmla="*/ 48112 h 48164"/>
                <a:gd name="connsiteX2" fmla="*/ -32 w 83418"/>
                <a:gd name="connsiteY2" fmla="*/ 24030 h 48164"/>
                <a:gd name="connsiteX3" fmla="*/ 41678 w 83418"/>
                <a:gd name="connsiteY3" fmla="*/ -52 h 48164"/>
                <a:gd name="connsiteX4" fmla="*/ 83387 w 83418"/>
                <a:gd name="connsiteY4" fmla="*/ 24030 h 481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418" h="48164">
                  <a:moveTo>
                    <a:pt x="83387" y="24030"/>
                  </a:moveTo>
                  <a:cubicBezTo>
                    <a:pt x="83387" y="37331"/>
                    <a:pt x="64715" y="48112"/>
                    <a:pt x="41678" y="48112"/>
                  </a:cubicBezTo>
                  <a:cubicBezTo>
                    <a:pt x="18641" y="48112"/>
                    <a:pt x="-32" y="37331"/>
                    <a:pt x="-32" y="24030"/>
                  </a:cubicBezTo>
                  <a:cubicBezTo>
                    <a:pt x="-32" y="10729"/>
                    <a:pt x="18641" y="-52"/>
                    <a:pt x="41678" y="-52"/>
                  </a:cubicBezTo>
                  <a:cubicBezTo>
                    <a:pt x="64715" y="-52"/>
                    <a:pt x="83387" y="10729"/>
                    <a:pt x="83387" y="24030"/>
                  </a:cubicBezTo>
                  <a:close/>
                </a:path>
              </a:pathLst>
            </a:custGeom>
            <a:grp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111" name="Freeform: Shape 368">
              <a:extLst>
                <a:ext uri="{FF2B5EF4-FFF2-40B4-BE49-F238E27FC236}">
                  <a16:creationId xmlns:a16="http://schemas.microsoft.com/office/drawing/2014/main" id="{A2C6CF97-F594-1391-765C-4EA3A930D757}"/>
                </a:ext>
              </a:extLst>
            </p:cNvPr>
            <p:cNvSpPr/>
            <p:nvPr/>
          </p:nvSpPr>
          <p:spPr>
            <a:xfrm>
              <a:off x="6834024" y="3664926"/>
              <a:ext cx="72000" cy="72000"/>
            </a:xfrm>
            <a:custGeom>
              <a:avLst/>
              <a:gdLst>
                <a:gd name="connsiteX0" fmla="*/ 83387 w 83418"/>
                <a:gd name="connsiteY0" fmla="*/ 24030 h 48164"/>
                <a:gd name="connsiteX1" fmla="*/ 41678 w 83418"/>
                <a:gd name="connsiteY1" fmla="*/ 48113 h 48164"/>
                <a:gd name="connsiteX2" fmla="*/ -32 w 83418"/>
                <a:gd name="connsiteY2" fmla="*/ 24030 h 48164"/>
                <a:gd name="connsiteX3" fmla="*/ 41678 w 83418"/>
                <a:gd name="connsiteY3" fmla="*/ -52 h 48164"/>
                <a:gd name="connsiteX4" fmla="*/ 83387 w 83418"/>
                <a:gd name="connsiteY4" fmla="*/ 24030 h 481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418" h="48164">
                  <a:moveTo>
                    <a:pt x="83387" y="24030"/>
                  </a:moveTo>
                  <a:cubicBezTo>
                    <a:pt x="83387" y="37331"/>
                    <a:pt x="64715" y="48113"/>
                    <a:pt x="41678" y="48113"/>
                  </a:cubicBezTo>
                  <a:cubicBezTo>
                    <a:pt x="18642" y="48113"/>
                    <a:pt x="-32" y="37331"/>
                    <a:pt x="-32" y="24030"/>
                  </a:cubicBezTo>
                  <a:cubicBezTo>
                    <a:pt x="-32" y="10729"/>
                    <a:pt x="18642" y="-52"/>
                    <a:pt x="41678" y="-52"/>
                  </a:cubicBezTo>
                  <a:cubicBezTo>
                    <a:pt x="64479" y="269"/>
                    <a:pt x="82831" y="10865"/>
                    <a:pt x="83387" y="24030"/>
                  </a:cubicBezTo>
                  <a:close/>
                </a:path>
              </a:pathLst>
            </a:custGeom>
            <a:grp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112" name="Freeform: Shape 369">
              <a:extLst>
                <a:ext uri="{FF2B5EF4-FFF2-40B4-BE49-F238E27FC236}">
                  <a16:creationId xmlns:a16="http://schemas.microsoft.com/office/drawing/2014/main" id="{51A65209-40EB-2FC3-1AFE-77FF3EB171CF}"/>
                </a:ext>
              </a:extLst>
            </p:cNvPr>
            <p:cNvSpPr/>
            <p:nvPr/>
          </p:nvSpPr>
          <p:spPr>
            <a:xfrm>
              <a:off x="6974148" y="3690991"/>
              <a:ext cx="72000" cy="72000"/>
            </a:xfrm>
            <a:custGeom>
              <a:avLst/>
              <a:gdLst>
                <a:gd name="connsiteX0" fmla="*/ 85503 w 85553"/>
                <a:gd name="connsiteY0" fmla="*/ 23916 h 49406"/>
                <a:gd name="connsiteX1" fmla="*/ 44008 w 85553"/>
                <a:gd name="connsiteY1" fmla="*/ 49344 h 49406"/>
                <a:gd name="connsiteX2" fmla="*/ -12 w 85553"/>
                <a:gd name="connsiteY2" fmla="*/ 25385 h 49406"/>
                <a:gd name="connsiteX3" fmla="*/ 41462 w 85553"/>
                <a:gd name="connsiteY3" fmla="*/ -43 h 49406"/>
                <a:gd name="connsiteX4" fmla="*/ 43794 w 85553"/>
                <a:gd name="connsiteY4" fmla="*/ -43 h 49406"/>
                <a:gd name="connsiteX5" fmla="*/ 85503 w 85553"/>
                <a:gd name="connsiteY5" fmla="*/ 23916 h 49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553" h="49406">
                  <a:moveTo>
                    <a:pt x="85503" y="23916"/>
                  </a:moveTo>
                  <a:cubicBezTo>
                    <a:pt x="86209" y="37550"/>
                    <a:pt x="67621" y="48937"/>
                    <a:pt x="44008" y="49344"/>
                  </a:cubicBezTo>
                  <a:cubicBezTo>
                    <a:pt x="20394" y="49739"/>
                    <a:pt x="694" y="39020"/>
                    <a:pt x="-12" y="25385"/>
                  </a:cubicBezTo>
                  <a:cubicBezTo>
                    <a:pt x="-718" y="11751"/>
                    <a:pt x="17848" y="364"/>
                    <a:pt x="41462" y="-43"/>
                  </a:cubicBezTo>
                  <a:cubicBezTo>
                    <a:pt x="42254" y="-55"/>
                    <a:pt x="43023" y="-55"/>
                    <a:pt x="43794" y="-43"/>
                  </a:cubicBezTo>
                  <a:cubicBezTo>
                    <a:pt x="66509" y="278"/>
                    <a:pt x="84819" y="10800"/>
                    <a:pt x="85503" y="23916"/>
                  </a:cubicBezTo>
                  <a:close/>
                </a:path>
              </a:pathLst>
            </a:custGeom>
            <a:grp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113" name="Freeform: Shape 370">
              <a:extLst>
                <a:ext uri="{FF2B5EF4-FFF2-40B4-BE49-F238E27FC236}">
                  <a16:creationId xmlns:a16="http://schemas.microsoft.com/office/drawing/2014/main" id="{8EEC1FCF-0757-E27B-BD26-470A55D84673}"/>
                </a:ext>
              </a:extLst>
            </p:cNvPr>
            <p:cNvSpPr/>
            <p:nvPr/>
          </p:nvSpPr>
          <p:spPr>
            <a:xfrm>
              <a:off x="7013062" y="3723005"/>
              <a:ext cx="72000" cy="72000"/>
            </a:xfrm>
            <a:custGeom>
              <a:avLst/>
              <a:gdLst>
                <a:gd name="connsiteX0" fmla="*/ 83379 w 83410"/>
                <a:gd name="connsiteY0" fmla="*/ 24647 h 48160"/>
                <a:gd name="connsiteX1" fmla="*/ 40622 w 83410"/>
                <a:gd name="connsiteY1" fmla="*/ 48100 h 48160"/>
                <a:gd name="connsiteX2" fmla="*/ -18 w 83410"/>
                <a:gd name="connsiteY2" fmla="*/ 23412 h 48160"/>
                <a:gd name="connsiteX3" fmla="*/ 41670 w 83410"/>
                <a:gd name="connsiteY3" fmla="*/ -52 h 48160"/>
                <a:gd name="connsiteX4" fmla="*/ 83379 w 83410"/>
                <a:gd name="connsiteY4" fmla="*/ 24647 h 481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410" h="48160">
                  <a:moveTo>
                    <a:pt x="83379" y="24647"/>
                  </a:moveTo>
                  <a:cubicBezTo>
                    <a:pt x="82781" y="37948"/>
                    <a:pt x="63637" y="48446"/>
                    <a:pt x="40622" y="48100"/>
                  </a:cubicBezTo>
                  <a:cubicBezTo>
                    <a:pt x="17585" y="47767"/>
                    <a:pt x="-596" y="36713"/>
                    <a:pt x="-18" y="23412"/>
                  </a:cubicBezTo>
                  <a:cubicBezTo>
                    <a:pt x="560" y="10359"/>
                    <a:pt x="19061" y="-52"/>
                    <a:pt x="41670" y="-52"/>
                  </a:cubicBezTo>
                  <a:cubicBezTo>
                    <a:pt x="64877" y="281"/>
                    <a:pt x="83379" y="11248"/>
                    <a:pt x="83379" y="24647"/>
                  </a:cubicBezTo>
                  <a:close/>
                </a:path>
              </a:pathLst>
            </a:custGeom>
            <a:grp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114" name="Freeform: Shape 371">
              <a:extLst>
                <a:ext uri="{FF2B5EF4-FFF2-40B4-BE49-F238E27FC236}">
                  <a16:creationId xmlns:a16="http://schemas.microsoft.com/office/drawing/2014/main" id="{A99C655F-213C-F779-52AC-885DA2653304}"/>
                </a:ext>
              </a:extLst>
            </p:cNvPr>
            <p:cNvSpPr/>
            <p:nvPr/>
          </p:nvSpPr>
          <p:spPr>
            <a:xfrm>
              <a:off x="7073380" y="3723005"/>
              <a:ext cx="72000" cy="72000"/>
            </a:xfrm>
            <a:custGeom>
              <a:avLst/>
              <a:gdLst>
                <a:gd name="connsiteX0" fmla="*/ 83379 w 83432"/>
                <a:gd name="connsiteY0" fmla="*/ 24648 h 48160"/>
                <a:gd name="connsiteX1" fmla="*/ 40622 w 83432"/>
                <a:gd name="connsiteY1" fmla="*/ 48100 h 48160"/>
                <a:gd name="connsiteX2" fmla="*/ -18 w 83432"/>
                <a:gd name="connsiteY2" fmla="*/ 23413 h 48160"/>
                <a:gd name="connsiteX3" fmla="*/ 41883 w 83432"/>
                <a:gd name="connsiteY3" fmla="*/ -52 h 48160"/>
                <a:gd name="connsiteX4" fmla="*/ 83401 w 83432"/>
                <a:gd name="connsiteY4" fmla="*/ 23894 h 48160"/>
                <a:gd name="connsiteX5" fmla="*/ 83379 w 83432"/>
                <a:gd name="connsiteY5" fmla="*/ 24648 h 48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432" h="48160">
                  <a:moveTo>
                    <a:pt x="83379" y="24648"/>
                  </a:moveTo>
                  <a:cubicBezTo>
                    <a:pt x="82781" y="37949"/>
                    <a:pt x="63637" y="48446"/>
                    <a:pt x="40622" y="48100"/>
                  </a:cubicBezTo>
                  <a:cubicBezTo>
                    <a:pt x="17585" y="47767"/>
                    <a:pt x="-596" y="36713"/>
                    <a:pt x="-18" y="23413"/>
                  </a:cubicBezTo>
                  <a:cubicBezTo>
                    <a:pt x="580" y="10309"/>
                    <a:pt x="19189" y="-114"/>
                    <a:pt x="41883" y="-52"/>
                  </a:cubicBezTo>
                  <a:cubicBezTo>
                    <a:pt x="64792" y="-64"/>
                    <a:pt x="83379" y="10668"/>
                    <a:pt x="83401" y="23894"/>
                  </a:cubicBezTo>
                  <a:cubicBezTo>
                    <a:pt x="83401" y="24141"/>
                    <a:pt x="83401" y="24401"/>
                    <a:pt x="83379" y="24648"/>
                  </a:cubicBezTo>
                  <a:close/>
                </a:path>
              </a:pathLst>
            </a:custGeom>
            <a:grp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115" name="Freeform: Shape 372">
              <a:extLst>
                <a:ext uri="{FF2B5EF4-FFF2-40B4-BE49-F238E27FC236}">
                  <a16:creationId xmlns:a16="http://schemas.microsoft.com/office/drawing/2014/main" id="{1B9D3917-6E52-03C3-E0EA-C94CEC6BB2C0}"/>
                </a:ext>
              </a:extLst>
            </p:cNvPr>
            <p:cNvSpPr/>
            <p:nvPr/>
          </p:nvSpPr>
          <p:spPr>
            <a:xfrm>
              <a:off x="7088994" y="3723005"/>
              <a:ext cx="72000" cy="72000"/>
            </a:xfrm>
            <a:custGeom>
              <a:avLst/>
              <a:gdLst>
                <a:gd name="connsiteX0" fmla="*/ 83380 w 83432"/>
                <a:gd name="connsiteY0" fmla="*/ 24647 h 48160"/>
                <a:gd name="connsiteX1" fmla="*/ 40622 w 83432"/>
                <a:gd name="connsiteY1" fmla="*/ 48100 h 48160"/>
                <a:gd name="connsiteX2" fmla="*/ -18 w 83432"/>
                <a:gd name="connsiteY2" fmla="*/ 23412 h 48160"/>
                <a:gd name="connsiteX3" fmla="*/ 41670 w 83432"/>
                <a:gd name="connsiteY3" fmla="*/ -52 h 48160"/>
                <a:gd name="connsiteX4" fmla="*/ 83401 w 83432"/>
                <a:gd name="connsiteY4" fmla="*/ 24018 h 48160"/>
                <a:gd name="connsiteX5" fmla="*/ 83380 w 83432"/>
                <a:gd name="connsiteY5" fmla="*/ 24647 h 48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432" h="48160">
                  <a:moveTo>
                    <a:pt x="83380" y="24647"/>
                  </a:moveTo>
                  <a:cubicBezTo>
                    <a:pt x="82781" y="37948"/>
                    <a:pt x="63637" y="48446"/>
                    <a:pt x="40622" y="48100"/>
                  </a:cubicBezTo>
                  <a:cubicBezTo>
                    <a:pt x="17585" y="47767"/>
                    <a:pt x="-595" y="36713"/>
                    <a:pt x="-18" y="23412"/>
                  </a:cubicBezTo>
                  <a:cubicBezTo>
                    <a:pt x="560" y="10359"/>
                    <a:pt x="19061" y="-52"/>
                    <a:pt x="41670" y="-52"/>
                  </a:cubicBezTo>
                  <a:cubicBezTo>
                    <a:pt x="64706" y="-52"/>
                    <a:pt x="83380" y="10717"/>
                    <a:pt x="83401" y="24018"/>
                  </a:cubicBezTo>
                  <a:cubicBezTo>
                    <a:pt x="83401" y="24228"/>
                    <a:pt x="83380" y="24438"/>
                    <a:pt x="83380" y="24647"/>
                  </a:cubicBezTo>
                  <a:close/>
                </a:path>
              </a:pathLst>
            </a:custGeom>
            <a:grp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116" name="Freeform: Shape 373">
              <a:extLst>
                <a:ext uri="{FF2B5EF4-FFF2-40B4-BE49-F238E27FC236}">
                  <a16:creationId xmlns:a16="http://schemas.microsoft.com/office/drawing/2014/main" id="{1847F911-DB81-7F93-5FD0-705B287C7AEA}"/>
                </a:ext>
              </a:extLst>
            </p:cNvPr>
            <p:cNvSpPr/>
            <p:nvPr/>
          </p:nvSpPr>
          <p:spPr>
            <a:xfrm>
              <a:off x="7139679" y="3752045"/>
              <a:ext cx="72000" cy="72000"/>
            </a:xfrm>
            <a:custGeom>
              <a:avLst/>
              <a:gdLst>
                <a:gd name="connsiteX0" fmla="*/ 83387 w 83418"/>
                <a:gd name="connsiteY0" fmla="*/ 24030 h 48164"/>
                <a:gd name="connsiteX1" fmla="*/ 41678 w 83418"/>
                <a:gd name="connsiteY1" fmla="*/ 48112 h 48164"/>
                <a:gd name="connsiteX2" fmla="*/ -32 w 83418"/>
                <a:gd name="connsiteY2" fmla="*/ 24030 h 48164"/>
                <a:gd name="connsiteX3" fmla="*/ 41678 w 83418"/>
                <a:gd name="connsiteY3" fmla="*/ -52 h 48164"/>
                <a:gd name="connsiteX4" fmla="*/ 83387 w 83418"/>
                <a:gd name="connsiteY4" fmla="*/ 24030 h 481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418" h="48164">
                  <a:moveTo>
                    <a:pt x="83387" y="24030"/>
                  </a:moveTo>
                  <a:cubicBezTo>
                    <a:pt x="83387" y="37331"/>
                    <a:pt x="64715" y="48112"/>
                    <a:pt x="41678" y="48112"/>
                  </a:cubicBezTo>
                  <a:cubicBezTo>
                    <a:pt x="18641" y="48112"/>
                    <a:pt x="-32" y="37331"/>
                    <a:pt x="-32" y="24030"/>
                  </a:cubicBezTo>
                  <a:cubicBezTo>
                    <a:pt x="-32" y="10729"/>
                    <a:pt x="18641" y="-52"/>
                    <a:pt x="41678" y="-52"/>
                  </a:cubicBezTo>
                  <a:cubicBezTo>
                    <a:pt x="64715" y="-52"/>
                    <a:pt x="83387" y="10729"/>
                    <a:pt x="83387" y="24030"/>
                  </a:cubicBezTo>
                  <a:close/>
                </a:path>
              </a:pathLst>
            </a:custGeom>
            <a:grp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117" name="Freeform: Shape 374">
              <a:extLst>
                <a:ext uri="{FF2B5EF4-FFF2-40B4-BE49-F238E27FC236}">
                  <a16:creationId xmlns:a16="http://schemas.microsoft.com/office/drawing/2014/main" id="{AEA96E51-D29E-97A6-1F2D-91DEBCE87C3E}"/>
                </a:ext>
              </a:extLst>
            </p:cNvPr>
            <p:cNvSpPr/>
            <p:nvPr/>
          </p:nvSpPr>
          <p:spPr>
            <a:xfrm>
              <a:off x="7169839" y="3767898"/>
              <a:ext cx="72000" cy="72000"/>
            </a:xfrm>
            <a:custGeom>
              <a:avLst/>
              <a:gdLst>
                <a:gd name="connsiteX0" fmla="*/ 83387 w 83418"/>
                <a:gd name="connsiteY0" fmla="*/ 24030 h 48164"/>
                <a:gd name="connsiteX1" fmla="*/ 41678 w 83418"/>
                <a:gd name="connsiteY1" fmla="*/ 48112 h 48164"/>
                <a:gd name="connsiteX2" fmla="*/ -32 w 83418"/>
                <a:gd name="connsiteY2" fmla="*/ 24030 h 48164"/>
                <a:gd name="connsiteX3" fmla="*/ 41678 w 83418"/>
                <a:gd name="connsiteY3" fmla="*/ -52 h 48164"/>
                <a:gd name="connsiteX4" fmla="*/ 41892 w 83418"/>
                <a:gd name="connsiteY4" fmla="*/ -52 h 48164"/>
                <a:gd name="connsiteX5" fmla="*/ 83387 w 83418"/>
                <a:gd name="connsiteY5" fmla="*/ 23907 h 48164"/>
                <a:gd name="connsiteX6" fmla="*/ 83387 w 83418"/>
                <a:gd name="connsiteY6" fmla="*/ 24030 h 48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3418" h="48164">
                  <a:moveTo>
                    <a:pt x="83387" y="24030"/>
                  </a:moveTo>
                  <a:cubicBezTo>
                    <a:pt x="83387" y="37331"/>
                    <a:pt x="64714" y="48112"/>
                    <a:pt x="41678" y="48112"/>
                  </a:cubicBezTo>
                  <a:cubicBezTo>
                    <a:pt x="18641" y="48112"/>
                    <a:pt x="-32" y="37331"/>
                    <a:pt x="-32" y="24030"/>
                  </a:cubicBezTo>
                  <a:cubicBezTo>
                    <a:pt x="-32" y="10729"/>
                    <a:pt x="18641" y="-52"/>
                    <a:pt x="41678" y="-52"/>
                  </a:cubicBezTo>
                  <a:cubicBezTo>
                    <a:pt x="41742" y="-52"/>
                    <a:pt x="41828" y="-52"/>
                    <a:pt x="41892" y="-52"/>
                  </a:cubicBezTo>
                  <a:cubicBezTo>
                    <a:pt x="64799" y="-52"/>
                    <a:pt x="83387" y="10680"/>
                    <a:pt x="83387" y="23907"/>
                  </a:cubicBezTo>
                  <a:cubicBezTo>
                    <a:pt x="83387" y="23943"/>
                    <a:pt x="83387" y="23993"/>
                    <a:pt x="83387" y="24030"/>
                  </a:cubicBezTo>
                  <a:close/>
                </a:path>
              </a:pathLst>
            </a:custGeom>
            <a:grp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118" name="Freeform: Shape 375">
              <a:extLst>
                <a:ext uri="{FF2B5EF4-FFF2-40B4-BE49-F238E27FC236}">
                  <a16:creationId xmlns:a16="http://schemas.microsoft.com/office/drawing/2014/main" id="{A9C63937-A1E6-F6F9-0465-800A121004A0}"/>
                </a:ext>
              </a:extLst>
            </p:cNvPr>
            <p:cNvSpPr/>
            <p:nvPr/>
          </p:nvSpPr>
          <p:spPr>
            <a:xfrm>
              <a:off x="7215620" y="3784196"/>
              <a:ext cx="72000" cy="72000"/>
            </a:xfrm>
            <a:custGeom>
              <a:avLst/>
              <a:gdLst>
                <a:gd name="connsiteX0" fmla="*/ 83379 w 83432"/>
                <a:gd name="connsiteY0" fmla="*/ 24648 h 48160"/>
                <a:gd name="connsiteX1" fmla="*/ 40622 w 83432"/>
                <a:gd name="connsiteY1" fmla="*/ 48100 h 48160"/>
                <a:gd name="connsiteX2" fmla="*/ -18 w 83432"/>
                <a:gd name="connsiteY2" fmla="*/ 23413 h 48160"/>
                <a:gd name="connsiteX3" fmla="*/ 41883 w 83432"/>
                <a:gd name="connsiteY3" fmla="*/ -52 h 48160"/>
                <a:gd name="connsiteX4" fmla="*/ 83401 w 83432"/>
                <a:gd name="connsiteY4" fmla="*/ 23894 h 48160"/>
                <a:gd name="connsiteX5" fmla="*/ 83379 w 83432"/>
                <a:gd name="connsiteY5" fmla="*/ 24648 h 48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432" h="48160">
                  <a:moveTo>
                    <a:pt x="83379" y="24648"/>
                  </a:moveTo>
                  <a:cubicBezTo>
                    <a:pt x="82781" y="37949"/>
                    <a:pt x="63637" y="48446"/>
                    <a:pt x="40622" y="48100"/>
                  </a:cubicBezTo>
                  <a:cubicBezTo>
                    <a:pt x="17585" y="47766"/>
                    <a:pt x="-596" y="36713"/>
                    <a:pt x="-18" y="23413"/>
                  </a:cubicBezTo>
                  <a:cubicBezTo>
                    <a:pt x="560" y="10309"/>
                    <a:pt x="19190" y="-114"/>
                    <a:pt x="41883" y="-52"/>
                  </a:cubicBezTo>
                  <a:cubicBezTo>
                    <a:pt x="64792" y="-64"/>
                    <a:pt x="83379" y="10667"/>
                    <a:pt x="83401" y="23894"/>
                  </a:cubicBezTo>
                  <a:cubicBezTo>
                    <a:pt x="83401" y="24141"/>
                    <a:pt x="83401" y="24401"/>
                    <a:pt x="83379" y="24648"/>
                  </a:cubicBezTo>
                  <a:close/>
                </a:path>
              </a:pathLst>
            </a:custGeom>
            <a:grp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119" name="Freeform: Shape 376">
              <a:extLst>
                <a:ext uri="{FF2B5EF4-FFF2-40B4-BE49-F238E27FC236}">
                  <a16:creationId xmlns:a16="http://schemas.microsoft.com/office/drawing/2014/main" id="{ACA31A99-B1E5-D3BB-0D43-46F033C1F00C}"/>
                </a:ext>
              </a:extLst>
            </p:cNvPr>
            <p:cNvSpPr/>
            <p:nvPr/>
          </p:nvSpPr>
          <p:spPr>
            <a:xfrm>
              <a:off x="7271233" y="3784196"/>
              <a:ext cx="72000" cy="72000"/>
            </a:xfrm>
            <a:custGeom>
              <a:avLst/>
              <a:gdLst>
                <a:gd name="connsiteX0" fmla="*/ 83379 w 83432"/>
                <a:gd name="connsiteY0" fmla="*/ 24647 h 48160"/>
                <a:gd name="connsiteX1" fmla="*/ 40622 w 83432"/>
                <a:gd name="connsiteY1" fmla="*/ 48100 h 48160"/>
                <a:gd name="connsiteX2" fmla="*/ -18 w 83432"/>
                <a:gd name="connsiteY2" fmla="*/ 23412 h 48160"/>
                <a:gd name="connsiteX3" fmla="*/ 41670 w 83432"/>
                <a:gd name="connsiteY3" fmla="*/ -52 h 48160"/>
                <a:gd name="connsiteX4" fmla="*/ 83401 w 83432"/>
                <a:gd name="connsiteY4" fmla="*/ 24018 h 48160"/>
                <a:gd name="connsiteX5" fmla="*/ 83379 w 83432"/>
                <a:gd name="connsiteY5" fmla="*/ 24647 h 48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432" h="48160">
                  <a:moveTo>
                    <a:pt x="83379" y="24647"/>
                  </a:moveTo>
                  <a:cubicBezTo>
                    <a:pt x="82781" y="37948"/>
                    <a:pt x="63637" y="48446"/>
                    <a:pt x="40622" y="48100"/>
                  </a:cubicBezTo>
                  <a:cubicBezTo>
                    <a:pt x="17585" y="47766"/>
                    <a:pt x="-596" y="36713"/>
                    <a:pt x="-18" y="23412"/>
                  </a:cubicBezTo>
                  <a:cubicBezTo>
                    <a:pt x="560" y="10359"/>
                    <a:pt x="19061" y="-52"/>
                    <a:pt x="41670" y="-52"/>
                  </a:cubicBezTo>
                  <a:cubicBezTo>
                    <a:pt x="64706" y="-52"/>
                    <a:pt x="83379" y="10717"/>
                    <a:pt x="83401" y="24018"/>
                  </a:cubicBezTo>
                  <a:cubicBezTo>
                    <a:pt x="83401" y="24228"/>
                    <a:pt x="83379" y="24438"/>
                    <a:pt x="83379" y="24647"/>
                  </a:cubicBezTo>
                  <a:close/>
                </a:path>
              </a:pathLst>
            </a:custGeom>
            <a:grp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120" name="Freeform: Shape 377">
              <a:extLst>
                <a:ext uri="{FF2B5EF4-FFF2-40B4-BE49-F238E27FC236}">
                  <a16:creationId xmlns:a16="http://schemas.microsoft.com/office/drawing/2014/main" id="{E124C896-9313-D76C-608D-F3A8B50F9EC8}"/>
                </a:ext>
              </a:extLst>
            </p:cNvPr>
            <p:cNvSpPr/>
            <p:nvPr/>
          </p:nvSpPr>
          <p:spPr>
            <a:xfrm>
              <a:off x="7287702" y="3784196"/>
              <a:ext cx="72000" cy="72000"/>
            </a:xfrm>
            <a:custGeom>
              <a:avLst/>
              <a:gdLst>
                <a:gd name="connsiteX0" fmla="*/ 83380 w 83411"/>
                <a:gd name="connsiteY0" fmla="*/ 24647 h 48160"/>
                <a:gd name="connsiteX1" fmla="*/ 40622 w 83411"/>
                <a:gd name="connsiteY1" fmla="*/ 48100 h 48160"/>
                <a:gd name="connsiteX2" fmla="*/ -18 w 83411"/>
                <a:gd name="connsiteY2" fmla="*/ 23412 h 48160"/>
                <a:gd name="connsiteX3" fmla="*/ 41670 w 83411"/>
                <a:gd name="connsiteY3" fmla="*/ -52 h 48160"/>
                <a:gd name="connsiteX4" fmla="*/ 83380 w 83411"/>
                <a:gd name="connsiteY4" fmla="*/ 24647 h 481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411" h="48160">
                  <a:moveTo>
                    <a:pt x="83380" y="24647"/>
                  </a:moveTo>
                  <a:cubicBezTo>
                    <a:pt x="82781" y="37948"/>
                    <a:pt x="63637" y="48446"/>
                    <a:pt x="40622" y="48100"/>
                  </a:cubicBezTo>
                  <a:cubicBezTo>
                    <a:pt x="17585" y="47766"/>
                    <a:pt x="-596" y="36713"/>
                    <a:pt x="-18" y="23412"/>
                  </a:cubicBezTo>
                  <a:cubicBezTo>
                    <a:pt x="560" y="10359"/>
                    <a:pt x="19061" y="-52"/>
                    <a:pt x="41670" y="-52"/>
                  </a:cubicBezTo>
                  <a:cubicBezTo>
                    <a:pt x="64877" y="281"/>
                    <a:pt x="83380" y="11248"/>
                    <a:pt x="83380" y="24647"/>
                  </a:cubicBezTo>
                  <a:close/>
                </a:path>
              </a:pathLst>
            </a:custGeom>
            <a:grp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121" name="Freeform: Shape 378">
              <a:extLst>
                <a:ext uri="{FF2B5EF4-FFF2-40B4-BE49-F238E27FC236}">
                  <a16:creationId xmlns:a16="http://schemas.microsoft.com/office/drawing/2014/main" id="{83B37E87-9FB4-5721-A79D-EFB8244DD8ED}"/>
                </a:ext>
              </a:extLst>
            </p:cNvPr>
            <p:cNvSpPr/>
            <p:nvPr/>
          </p:nvSpPr>
          <p:spPr>
            <a:xfrm>
              <a:off x="7368554" y="3784196"/>
              <a:ext cx="72000" cy="72000"/>
            </a:xfrm>
            <a:custGeom>
              <a:avLst/>
              <a:gdLst>
                <a:gd name="connsiteX0" fmla="*/ 83380 w 83432"/>
                <a:gd name="connsiteY0" fmla="*/ 24647 h 48160"/>
                <a:gd name="connsiteX1" fmla="*/ 40622 w 83432"/>
                <a:gd name="connsiteY1" fmla="*/ 48100 h 48160"/>
                <a:gd name="connsiteX2" fmla="*/ -18 w 83432"/>
                <a:gd name="connsiteY2" fmla="*/ 23412 h 48160"/>
                <a:gd name="connsiteX3" fmla="*/ 41670 w 83432"/>
                <a:gd name="connsiteY3" fmla="*/ -52 h 48160"/>
                <a:gd name="connsiteX4" fmla="*/ 83401 w 83432"/>
                <a:gd name="connsiteY4" fmla="*/ 24018 h 48160"/>
                <a:gd name="connsiteX5" fmla="*/ 83380 w 83432"/>
                <a:gd name="connsiteY5" fmla="*/ 24647 h 48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432" h="48160">
                  <a:moveTo>
                    <a:pt x="83380" y="24647"/>
                  </a:moveTo>
                  <a:cubicBezTo>
                    <a:pt x="82781" y="37948"/>
                    <a:pt x="63637" y="48446"/>
                    <a:pt x="40622" y="48100"/>
                  </a:cubicBezTo>
                  <a:cubicBezTo>
                    <a:pt x="17585" y="47766"/>
                    <a:pt x="-596" y="36713"/>
                    <a:pt x="-18" y="23412"/>
                  </a:cubicBezTo>
                  <a:cubicBezTo>
                    <a:pt x="560" y="10359"/>
                    <a:pt x="19061" y="-52"/>
                    <a:pt x="41670" y="-52"/>
                  </a:cubicBezTo>
                  <a:cubicBezTo>
                    <a:pt x="64706" y="-52"/>
                    <a:pt x="83380" y="10717"/>
                    <a:pt x="83401" y="24018"/>
                  </a:cubicBezTo>
                  <a:cubicBezTo>
                    <a:pt x="83401" y="24228"/>
                    <a:pt x="83380" y="24438"/>
                    <a:pt x="83380" y="24647"/>
                  </a:cubicBezTo>
                  <a:close/>
                </a:path>
              </a:pathLst>
            </a:custGeom>
            <a:grp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122" name="Freeform: Shape 379">
              <a:extLst>
                <a:ext uri="{FF2B5EF4-FFF2-40B4-BE49-F238E27FC236}">
                  <a16:creationId xmlns:a16="http://schemas.microsoft.com/office/drawing/2014/main" id="{C0E5BF83-19AC-EF34-D965-51F6AB190704}"/>
                </a:ext>
              </a:extLst>
            </p:cNvPr>
            <p:cNvSpPr/>
            <p:nvPr/>
          </p:nvSpPr>
          <p:spPr>
            <a:xfrm>
              <a:off x="7374964" y="3799605"/>
              <a:ext cx="72000" cy="72000"/>
            </a:xfrm>
            <a:custGeom>
              <a:avLst/>
              <a:gdLst>
                <a:gd name="connsiteX0" fmla="*/ 83387 w 83418"/>
                <a:gd name="connsiteY0" fmla="*/ 24030 h 48164"/>
                <a:gd name="connsiteX1" fmla="*/ 41678 w 83418"/>
                <a:gd name="connsiteY1" fmla="*/ 48112 h 48164"/>
                <a:gd name="connsiteX2" fmla="*/ -32 w 83418"/>
                <a:gd name="connsiteY2" fmla="*/ 24030 h 48164"/>
                <a:gd name="connsiteX3" fmla="*/ 41678 w 83418"/>
                <a:gd name="connsiteY3" fmla="*/ -52 h 48164"/>
                <a:gd name="connsiteX4" fmla="*/ 83387 w 83418"/>
                <a:gd name="connsiteY4" fmla="*/ 24030 h 481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418" h="48164">
                  <a:moveTo>
                    <a:pt x="83387" y="24030"/>
                  </a:moveTo>
                  <a:cubicBezTo>
                    <a:pt x="83387" y="37331"/>
                    <a:pt x="64715" y="48112"/>
                    <a:pt x="41678" y="48112"/>
                  </a:cubicBezTo>
                  <a:cubicBezTo>
                    <a:pt x="18641" y="48112"/>
                    <a:pt x="-32" y="37331"/>
                    <a:pt x="-32" y="24030"/>
                  </a:cubicBezTo>
                  <a:cubicBezTo>
                    <a:pt x="-32" y="10729"/>
                    <a:pt x="18641" y="-52"/>
                    <a:pt x="41678" y="-52"/>
                  </a:cubicBezTo>
                  <a:cubicBezTo>
                    <a:pt x="64479" y="268"/>
                    <a:pt x="82831" y="10865"/>
                    <a:pt x="83387" y="24030"/>
                  </a:cubicBezTo>
                  <a:close/>
                </a:path>
              </a:pathLst>
            </a:custGeom>
            <a:grp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123" name="Freeform: Shape 380">
              <a:extLst>
                <a:ext uri="{FF2B5EF4-FFF2-40B4-BE49-F238E27FC236}">
                  <a16:creationId xmlns:a16="http://schemas.microsoft.com/office/drawing/2014/main" id="{3452F52C-84C2-1D0E-488B-89CF04A8314C}"/>
                </a:ext>
              </a:extLst>
            </p:cNvPr>
            <p:cNvSpPr/>
            <p:nvPr/>
          </p:nvSpPr>
          <p:spPr>
            <a:xfrm>
              <a:off x="7420951" y="3799605"/>
              <a:ext cx="72000" cy="72000"/>
            </a:xfrm>
            <a:custGeom>
              <a:avLst/>
              <a:gdLst>
                <a:gd name="connsiteX0" fmla="*/ 83387 w 83418"/>
                <a:gd name="connsiteY0" fmla="*/ 24030 h 48164"/>
                <a:gd name="connsiteX1" fmla="*/ 41678 w 83418"/>
                <a:gd name="connsiteY1" fmla="*/ 48112 h 48164"/>
                <a:gd name="connsiteX2" fmla="*/ -32 w 83418"/>
                <a:gd name="connsiteY2" fmla="*/ 24030 h 48164"/>
                <a:gd name="connsiteX3" fmla="*/ 41678 w 83418"/>
                <a:gd name="connsiteY3" fmla="*/ -52 h 48164"/>
                <a:gd name="connsiteX4" fmla="*/ 83387 w 83418"/>
                <a:gd name="connsiteY4" fmla="*/ 24030 h 481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418" h="48164">
                  <a:moveTo>
                    <a:pt x="83387" y="24030"/>
                  </a:moveTo>
                  <a:cubicBezTo>
                    <a:pt x="83387" y="37331"/>
                    <a:pt x="64715" y="48112"/>
                    <a:pt x="41678" y="48112"/>
                  </a:cubicBezTo>
                  <a:cubicBezTo>
                    <a:pt x="18641" y="48112"/>
                    <a:pt x="-32" y="37331"/>
                    <a:pt x="-32" y="24030"/>
                  </a:cubicBezTo>
                  <a:cubicBezTo>
                    <a:pt x="-32" y="10729"/>
                    <a:pt x="18641" y="-52"/>
                    <a:pt x="41678" y="-52"/>
                  </a:cubicBezTo>
                  <a:cubicBezTo>
                    <a:pt x="64479" y="268"/>
                    <a:pt x="82831" y="10865"/>
                    <a:pt x="83387" y="24030"/>
                  </a:cubicBezTo>
                  <a:close/>
                </a:path>
              </a:pathLst>
            </a:custGeom>
            <a:grp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124" name="Freeform: Shape 381">
              <a:extLst>
                <a:ext uri="{FF2B5EF4-FFF2-40B4-BE49-F238E27FC236}">
                  <a16:creationId xmlns:a16="http://schemas.microsoft.com/office/drawing/2014/main" id="{85ACEB7C-A82D-A1C6-BC55-8D88DB3E225F}"/>
                </a:ext>
              </a:extLst>
            </p:cNvPr>
            <p:cNvSpPr/>
            <p:nvPr/>
          </p:nvSpPr>
          <p:spPr>
            <a:xfrm>
              <a:off x="7496028" y="3838117"/>
              <a:ext cx="72000" cy="72000"/>
            </a:xfrm>
            <a:custGeom>
              <a:avLst/>
              <a:gdLst>
                <a:gd name="connsiteX0" fmla="*/ 83387 w 83418"/>
                <a:gd name="connsiteY0" fmla="*/ 24038 h 48160"/>
                <a:gd name="connsiteX1" fmla="*/ 41657 w 83418"/>
                <a:gd name="connsiteY1" fmla="*/ 48108 h 48160"/>
                <a:gd name="connsiteX2" fmla="*/ -32 w 83418"/>
                <a:gd name="connsiteY2" fmla="*/ 24026 h 48160"/>
                <a:gd name="connsiteX3" fmla="*/ 40608 w 83418"/>
                <a:gd name="connsiteY3" fmla="*/ -44 h 48160"/>
                <a:gd name="connsiteX4" fmla="*/ 83366 w 83418"/>
                <a:gd name="connsiteY4" fmla="*/ 23409 h 48160"/>
                <a:gd name="connsiteX5" fmla="*/ 83387 w 83418"/>
                <a:gd name="connsiteY5" fmla="*/ 24038 h 48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418" h="48160">
                  <a:moveTo>
                    <a:pt x="83387" y="24038"/>
                  </a:moveTo>
                  <a:cubicBezTo>
                    <a:pt x="83387" y="37339"/>
                    <a:pt x="64693" y="48121"/>
                    <a:pt x="41657" y="48108"/>
                  </a:cubicBezTo>
                  <a:cubicBezTo>
                    <a:pt x="18620" y="48108"/>
                    <a:pt x="-32" y="37327"/>
                    <a:pt x="-32" y="24026"/>
                  </a:cubicBezTo>
                  <a:cubicBezTo>
                    <a:pt x="-32" y="10972"/>
                    <a:pt x="18000" y="290"/>
                    <a:pt x="40608" y="-44"/>
                  </a:cubicBezTo>
                  <a:cubicBezTo>
                    <a:pt x="63645" y="-390"/>
                    <a:pt x="82788" y="10120"/>
                    <a:pt x="83366" y="23409"/>
                  </a:cubicBezTo>
                  <a:cubicBezTo>
                    <a:pt x="83387" y="23619"/>
                    <a:pt x="83387" y="23828"/>
                    <a:pt x="83387" y="24038"/>
                  </a:cubicBezTo>
                  <a:close/>
                </a:path>
              </a:pathLst>
            </a:custGeom>
            <a:grp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125" name="Freeform: Shape 382">
              <a:extLst>
                <a:ext uri="{FF2B5EF4-FFF2-40B4-BE49-F238E27FC236}">
                  <a16:creationId xmlns:a16="http://schemas.microsoft.com/office/drawing/2014/main" id="{10FEEE2E-9E75-F9F2-C5FD-85B8774FBCE8}"/>
                </a:ext>
              </a:extLst>
            </p:cNvPr>
            <p:cNvSpPr/>
            <p:nvPr/>
          </p:nvSpPr>
          <p:spPr>
            <a:xfrm>
              <a:off x="7505867" y="3838127"/>
              <a:ext cx="72000" cy="72000"/>
            </a:xfrm>
            <a:custGeom>
              <a:avLst/>
              <a:gdLst>
                <a:gd name="connsiteX0" fmla="*/ 83387 w 83418"/>
                <a:gd name="connsiteY0" fmla="*/ 24030 h 48164"/>
                <a:gd name="connsiteX1" fmla="*/ 41678 w 83418"/>
                <a:gd name="connsiteY1" fmla="*/ 48113 h 48164"/>
                <a:gd name="connsiteX2" fmla="*/ -32 w 83418"/>
                <a:gd name="connsiteY2" fmla="*/ 24030 h 48164"/>
                <a:gd name="connsiteX3" fmla="*/ 41678 w 83418"/>
                <a:gd name="connsiteY3" fmla="*/ -52 h 48164"/>
                <a:gd name="connsiteX4" fmla="*/ 83387 w 83418"/>
                <a:gd name="connsiteY4" fmla="*/ 24030 h 481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418" h="48164">
                  <a:moveTo>
                    <a:pt x="83387" y="24030"/>
                  </a:moveTo>
                  <a:cubicBezTo>
                    <a:pt x="83387" y="37331"/>
                    <a:pt x="64715" y="48113"/>
                    <a:pt x="41678" y="48113"/>
                  </a:cubicBezTo>
                  <a:cubicBezTo>
                    <a:pt x="18641" y="48113"/>
                    <a:pt x="-32" y="37331"/>
                    <a:pt x="-32" y="24030"/>
                  </a:cubicBezTo>
                  <a:cubicBezTo>
                    <a:pt x="-32" y="10729"/>
                    <a:pt x="18641" y="-52"/>
                    <a:pt x="41678" y="-52"/>
                  </a:cubicBezTo>
                  <a:cubicBezTo>
                    <a:pt x="64715" y="-52"/>
                    <a:pt x="83387" y="10729"/>
                    <a:pt x="83387" y="24030"/>
                  </a:cubicBezTo>
                  <a:close/>
                </a:path>
              </a:pathLst>
            </a:custGeom>
            <a:grp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126" name="Freeform: Shape 383">
              <a:extLst>
                <a:ext uri="{FF2B5EF4-FFF2-40B4-BE49-F238E27FC236}">
                  <a16:creationId xmlns:a16="http://schemas.microsoft.com/office/drawing/2014/main" id="{BDB7DAD6-E24B-5833-EEB7-130B249F191B}"/>
                </a:ext>
              </a:extLst>
            </p:cNvPr>
            <p:cNvSpPr/>
            <p:nvPr/>
          </p:nvSpPr>
          <p:spPr>
            <a:xfrm>
              <a:off x="7578591" y="3875465"/>
              <a:ext cx="72000" cy="72000"/>
            </a:xfrm>
            <a:custGeom>
              <a:avLst/>
              <a:gdLst>
                <a:gd name="connsiteX0" fmla="*/ 83387 w 83418"/>
                <a:gd name="connsiteY0" fmla="*/ 24030 h 48164"/>
                <a:gd name="connsiteX1" fmla="*/ 41678 w 83418"/>
                <a:gd name="connsiteY1" fmla="*/ 48112 h 48164"/>
                <a:gd name="connsiteX2" fmla="*/ -32 w 83418"/>
                <a:gd name="connsiteY2" fmla="*/ 24030 h 48164"/>
                <a:gd name="connsiteX3" fmla="*/ 41678 w 83418"/>
                <a:gd name="connsiteY3" fmla="*/ -52 h 48164"/>
                <a:gd name="connsiteX4" fmla="*/ 83387 w 83418"/>
                <a:gd name="connsiteY4" fmla="*/ 24030 h 481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418" h="48164">
                  <a:moveTo>
                    <a:pt x="83387" y="24030"/>
                  </a:moveTo>
                  <a:cubicBezTo>
                    <a:pt x="83387" y="37331"/>
                    <a:pt x="64715" y="48112"/>
                    <a:pt x="41678" y="48112"/>
                  </a:cubicBezTo>
                  <a:cubicBezTo>
                    <a:pt x="18642" y="48112"/>
                    <a:pt x="-32" y="37331"/>
                    <a:pt x="-32" y="24030"/>
                  </a:cubicBezTo>
                  <a:cubicBezTo>
                    <a:pt x="-32" y="10729"/>
                    <a:pt x="18642" y="-52"/>
                    <a:pt x="41678" y="-52"/>
                  </a:cubicBezTo>
                  <a:cubicBezTo>
                    <a:pt x="64715" y="-52"/>
                    <a:pt x="83387" y="10729"/>
                    <a:pt x="83387" y="24030"/>
                  </a:cubicBezTo>
                  <a:close/>
                </a:path>
              </a:pathLst>
            </a:custGeom>
            <a:grp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127" name="Freeform: Shape 384">
              <a:extLst>
                <a:ext uri="{FF2B5EF4-FFF2-40B4-BE49-F238E27FC236}">
                  <a16:creationId xmlns:a16="http://schemas.microsoft.com/office/drawing/2014/main" id="{411A5BBD-947B-9931-647A-411BD12E485C}"/>
                </a:ext>
              </a:extLst>
            </p:cNvPr>
            <p:cNvSpPr/>
            <p:nvPr/>
          </p:nvSpPr>
          <p:spPr>
            <a:xfrm>
              <a:off x="7629284" y="3875465"/>
              <a:ext cx="72000" cy="72000"/>
            </a:xfrm>
            <a:custGeom>
              <a:avLst/>
              <a:gdLst>
                <a:gd name="connsiteX0" fmla="*/ 83388 w 83419"/>
                <a:gd name="connsiteY0" fmla="*/ 24030 h 48164"/>
                <a:gd name="connsiteX1" fmla="*/ 41678 w 83419"/>
                <a:gd name="connsiteY1" fmla="*/ 48112 h 48164"/>
                <a:gd name="connsiteX2" fmla="*/ -32 w 83419"/>
                <a:gd name="connsiteY2" fmla="*/ 24030 h 48164"/>
                <a:gd name="connsiteX3" fmla="*/ 41678 w 83419"/>
                <a:gd name="connsiteY3" fmla="*/ -52 h 48164"/>
                <a:gd name="connsiteX4" fmla="*/ 83388 w 83419"/>
                <a:gd name="connsiteY4" fmla="*/ 24030 h 481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419" h="48164">
                  <a:moveTo>
                    <a:pt x="83388" y="24030"/>
                  </a:moveTo>
                  <a:cubicBezTo>
                    <a:pt x="83388" y="37331"/>
                    <a:pt x="64715" y="48112"/>
                    <a:pt x="41678" y="48112"/>
                  </a:cubicBezTo>
                  <a:cubicBezTo>
                    <a:pt x="18642" y="48112"/>
                    <a:pt x="-32" y="37331"/>
                    <a:pt x="-32" y="24030"/>
                  </a:cubicBezTo>
                  <a:cubicBezTo>
                    <a:pt x="-32" y="10729"/>
                    <a:pt x="18642" y="-52"/>
                    <a:pt x="41678" y="-52"/>
                  </a:cubicBezTo>
                  <a:cubicBezTo>
                    <a:pt x="64715" y="-52"/>
                    <a:pt x="83388" y="10729"/>
                    <a:pt x="83388" y="24030"/>
                  </a:cubicBezTo>
                  <a:close/>
                </a:path>
              </a:pathLst>
            </a:custGeom>
            <a:grp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128" name="Freeform: Shape 385">
              <a:extLst>
                <a:ext uri="{FF2B5EF4-FFF2-40B4-BE49-F238E27FC236}">
                  <a16:creationId xmlns:a16="http://schemas.microsoft.com/office/drawing/2014/main" id="{FD542725-BAD1-F794-CC3E-53F94A43DD0B}"/>
                </a:ext>
              </a:extLst>
            </p:cNvPr>
            <p:cNvSpPr/>
            <p:nvPr/>
          </p:nvSpPr>
          <p:spPr>
            <a:xfrm>
              <a:off x="7686608" y="3875465"/>
              <a:ext cx="72000" cy="72000"/>
            </a:xfrm>
            <a:custGeom>
              <a:avLst/>
              <a:gdLst>
                <a:gd name="connsiteX0" fmla="*/ 83387 w 83418"/>
                <a:gd name="connsiteY0" fmla="*/ 24030 h 48164"/>
                <a:gd name="connsiteX1" fmla="*/ 41678 w 83418"/>
                <a:gd name="connsiteY1" fmla="*/ 48112 h 48164"/>
                <a:gd name="connsiteX2" fmla="*/ -32 w 83418"/>
                <a:gd name="connsiteY2" fmla="*/ 24030 h 48164"/>
                <a:gd name="connsiteX3" fmla="*/ 41678 w 83418"/>
                <a:gd name="connsiteY3" fmla="*/ -52 h 48164"/>
                <a:gd name="connsiteX4" fmla="*/ 83387 w 83418"/>
                <a:gd name="connsiteY4" fmla="*/ 24030 h 481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418" h="48164">
                  <a:moveTo>
                    <a:pt x="83387" y="24030"/>
                  </a:moveTo>
                  <a:cubicBezTo>
                    <a:pt x="83387" y="37331"/>
                    <a:pt x="64714" y="48112"/>
                    <a:pt x="41678" y="48112"/>
                  </a:cubicBezTo>
                  <a:cubicBezTo>
                    <a:pt x="18641" y="48112"/>
                    <a:pt x="-32" y="37331"/>
                    <a:pt x="-32" y="24030"/>
                  </a:cubicBezTo>
                  <a:cubicBezTo>
                    <a:pt x="-32" y="10729"/>
                    <a:pt x="18641" y="-52"/>
                    <a:pt x="41678" y="-52"/>
                  </a:cubicBezTo>
                  <a:cubicBezTo>
                    <a:pt x="64479" y="269"/>
                    <a:pt x="82831" y="10865"/>
                    <a:pt x="83387" y="24030"/>
                  </a:cubicBezTo>
                  <a:close/>
                </a:path>
              </a:pathLst>
            </a:custGeom>
            <a:grp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129" name="Freeform: Shape 386">
              <a:extLst>
                <a:ext uri="{FF2B5EF4-FFF2-40B4-BE49-F238E27FC236}">
                  <a16:creationId xmlns:a16="http://schemas.microsoft.com/office/drawing/2014/main" id="{81C33B13-A250-E988-D4D5-B9DD5C4FA9B8}"/>
                </a:ext>
              </a:extLst>
            </p:cNvPr>
            <p:cNvSpPr/>
            <p:nvPr/>
          </p:nvSpPr>
          <p:spPr>
            <a:xfrm>
              <a:off x="7699656" y="3895317"/>
              <a:ext cx="72000" cy="72000"/>
            </a:xfrm>
            <a:custGeom>
              <a:avLst/>
              <a:gdLst>
                <a:gd name="connsiteX0" fmla="*/ 83387 w 83418"/>
                <a:gd name="connsiteY0" fmla="*/ 24030 h 48164"/>
                <a:gd name="connsiteX1" fmla="*/ 41678 w 83418"/>
                <a:gd name="connsiteY1" fmla="*/ 48112 h 48164"/>
                <a:gd name="connsiteX2" fmla="*/ -32 w 83418"/>
                <a:gd name="connsiteY2" fmla="*/ 24030 h 48164"/>
                <a:gd name="connsiteX3" fmla="*/ 41678 w 83418"/>
                <a:gd name="connsiteY3" fmla="*/ -52 h 48164"/>
                <a:gd name="connsiteX4" fmla="*/ 83387 w 83418"/>
                <a:gd name="connsiteY4" fmla="*/ 24030 h 481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418" h="48164">
                  <a:moveTo>
                    <a:pt x="83387" y="24030"/>
                  </a:moveTo>
                  <a:cubicBezTo>
                    <a:pt x="83387" y="37331"/>
                    <a:pt x="64715" y="48112"/>
                    <a:pt x="41678" y="48112"/>
                  </a:cubicBezTo>
                  <a:cubicBezTo>
                    <a:pt x="18642" y="48112"/>
                    <a:pt x="-32" y="37331"/>
                    <a:pt x="-32" y="24030"/>
                  </a:cubicBezTo>
                  <a:cubicBezTo>
                    <a:pt x="-32" y="10729"/>
                    <a:pt x="18642" y="-52"/>
                    <a:pt x="41678" y="-52"/>
                  </a:cubicBezTo>
                  <a:cubicBezTo>
                    <a:pt x="64715" y="-52"/>
                    <a:pt x="83387" y="10729"/>
                    <a:pt x="83387" y="24030"/>
                  </a:cubicBezTo>
                  <a:close/>
                </a:path>
              </a:pathLst>
            </a:custGeom>
            <a:grp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130" name="Freeform: Shape 387">
              <a:extLst>
                <a:ext uri="{FF2B5EF4-FFF2-40B4-BE49-F238E27FC236}">
                  <a16:creationId xmlns:a16="http://schemas.microsoft.com/office/drawing/2014/main" id="{20C2C0F5-C8CB-CD1F-B069-327BF989E984}"/>
                </a:ext>
              </a:extLst>
            </p:cNvPr>
            <p:cNvSpPr/>
            <p:nvPr/>
          </p:nvSpPr>
          <p:spPr>
            <a:xfrm>
              <a:off x="7750349" y="3895317"/>
              <a:ext cx="72000" cy="72000"/>
            </a:xfrm>
            <a:custGeom>
              <a:avLst/>
              <a:gdLst>
                <a:gd name="connsiteX0" fmla="*/ 83387 w 83418"/>
                <a:gd name="connsiteY0" fmla="*/ 24030 h 48164"/>
                <a:gd name="connsiteX1" fmla="*/ 41678 w 83418"/>
                <a:gd name="connsiteY1" fmla="*/ 48112 h 48164"/>
                <a:gd name="connsiteX2" fmla="*/ -32 w 83418"/>
                <a:gd name="connsiteY2" fmla="*/ 24030 h 48164"/>
                <a:gd name="connsiteX3" fmla="*/ 41678 w 83418"/>
                <a:gd name="connsiteY3" fmla="*/ -52 h 48164"/>
                <a:gd name="connsiteX4" fmla="*/ 83387 w 83418"/>
                <a:gd name="connsiteY4" fmla="*/ 24030 h 481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418" h="48164">
                  <a:moveTo>
                    <a:pt x="83387" y="24030"/>
                  </a:moveTo>
                  <a:cubicBezTo>
                    <a:pt x="83387" y="37331"/>
                    <a:pt x="64715" y="48112"/>
                    <a:pt x="41678" y="48112"/>
                  </a:cubicBezTo>
                  <a:cubicBezTo>
                    <a:pt x="18642" y="48112"/>
                    <a:pt x="-32" y="37331"/>
                    <a:pt x="-32" y="24030"/>
                  </a:cubicBezTo>
                  <a:cubicBezTo>
                    <a:pt x="-32" y="10729"/>
                    <a:pt x="18642" y="-52"/>
                    <a:pt x="41678" y="-52"/>
                  </a:cubicBezTo>
                  <a:cubicBezTo>
                    <a:pt x="64715" y="-52"/>
                    <a:pt x="83387" y="10729"/>
                    <a:pt x="83387" y="24030"/>
                  </a:cubicBezTo>
                  <a:close/>
                </a:path>
              </a:pathLst>
            </a:custGeom>
            <a:grp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131" name="Freeform: Shape 388">
              <a:extLst>
                <a:ext uri="{FF2B5EF4-FFF2-40B4-BE49-F238E27FC236}">
                  <a16:creationId xmlns:a16="http://schemas.microsoft.com/office/drawing/2014/main" id="{B9184432-7239-ADE2-0827-51552C7FC7E7}"/>
                </a:ext>
              </a:extLst>
            </p:cNvPr>
            <p:cNvSpPr/>
            <p:nvPr/>
          </p:nvSpPr>
          <p:spPr>
            <a:xfrm>
              <a:off x="7816023" y="3945682"/>
              <a:ext cx="72000" cy="72000"/>
            </a:xfrm>
            <a:custGeom>
              <a:avLst/>
              <a:gdLst>
                <a:gd name="connsiteX0" fmla="*/ 85518 w 85563"/>
                <a:gd name="connsiteY0" fmla="*/ 24038 h 49403"/>
                <a:gd name="connsiteX1" fmla="*/ 43830 w 85563"/>
                <a:gd name="connsiteY1" fmla="*/ 49343 h 49403"/>
                <a:gd name="connsiteX2" fmla="*/ -18 w 85563"/>
                <a:gd name="connsiteY2" fmla="*/ 25273 h 49403"/>
                <a:gd name="connsiteX3" fmla="*/ 41691 w 85563"/>
                <a:gd name="connsiteY3" fmla="*/ -32 h 49403"/>
                <a:gd name="connsiteX4" fmla="*/ 42739 w 85563"/>
                <a:gd name="connsiteY4" fmla="*/ -44 h 49403"/>
                <a:gd name="connsiteX5" fmla="*/ 85496 w 85563"/>
                <a:gd name="connsiteY5" fmla="*/ 23408 h 49403"/>
                <a:gd name="connsiteX6" fmla="*/ 85518 w 85563"/>
                <a:gd name="connsiteY6" fmla="*/ 24038 h 49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63" h="49403">
                  <a:moveTo>
                    <a:pt x="85518" y="24038"/>
                  </a:moveTo>
                  <a:cubicBezTo>
                    <a:pt x="86116" y="37672"/>
                    <a:pt x="67444" y="49010"/>
                    <a:pt x="43830" y="49343"/>
                  </a:cubicBezTo>
                  <a:cubicBezTo>
                    <a:pt x="20194" y="49689"/>
                    <a:pt x="580" y="38907"/>
                    <a:pt x="-18" y="25273"/>
                  </a:cubicBezTo>
                  <a:cubicBezTo>
                    <a:pt x="-596" y="11639"/>
                    <a:pt x="18056" y="302"/>
                    <a:pt x="41691" y="-32"/>
                  </a:cubicBezTo>
                  <a:cubicBezTo>
                    <a:pt x="42033" y="-44"/>
                    <a:pt x="42397" y="-44"/>
                    <a:pt x="42739" y="-44"/>
                  </a:cubicBezTo>
                  <a:cubicBezTo>
                    <a:pt x="65775" y="-390"/>
                    <a:pt x="84919" y="10120"/>
                    <a:pt x="85496" y="23408"/>
                  </a:cubicBezTo>
                  <a:cubicBezTo>
                    <a:pt x="85518" y="23618"/>
                    <a:pt x="85518" y="23829"/>
                    <a:pt x="85518" y="24038"/>
                  </a:cubicBezTo>
                  <a:close/>
                </a:path>
              </a:pathLst>
            </a:custGeom>
            <a:grp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132" name="Freeform: Shape 389">
              <a:extLst>
                <a:ext uri="{FF2B5EF4-FFF2-40B4-BE49-F238E27FC236}">
                  <a16:creationId xmlns:a16="http://schemas.microsoft.com/office/drawing/2014/main" id="{54C12A34-1A78-DA7F-52E4-81C6ED090424}"/>
                </a:ext>
              </a:extLst>
            </p:cNvPr>
            <p:cNvSpPr/>
            <p:nvPr/>
          </p:nvSpPr>
          <p:spPr>
            <a:xfrm>
              <a:off x="7890878" y="3945693"/>
              <a:ext cx="72000" cy="72000"/>
            </a:xfrm>
            <a:custGeom>
              <a:avLst/>
              <a:gdLst>
                <a:gd name="connsiteX0" fmla="*/ 83387 w 83418"/>
                <a:gd name="connsiteY0" fmla="*/ 24030 h 48164"/>
                <a:gd name="connsiteX1" fmla="*/ 41678 w 83418"/>
                <a:gd name="connsiteY1" fmla="*/ 48112 h 48164"/>
                <a:gd name="connsiteX2" fmla="*/ -32 w 83418"/>
                <a:gd name="connsiteY2" fmla="*/ 24030 h 48164"/>
                <a:gd name="connsiteX3" fmla="*/ 41678 w 83418"/>
                <a:gd name="connsiteY3" fmla="*/ -52 h 48164"/>
                <a:gd name="connsiteX4" fmla="*/ 83387 w 83418"/>
                <a:gd name="connsiteY4" fmla="*/ 24030 h 481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418" h="48164">
                  <a:moveTo>
                    <a:pt x="83387" y="24030"/>
                  </a:moveTo>
                  <a:cubicBezTo>
                    <a:pt x="83387" y="37331"/>
                    <a:pt x="64715" y="48112"/>
                    <a:pt x="41678" y="48112"/>
                  </a:cubicBezTo>
                  <a:cubicBezTo>
                    <a:pt x="18641" y="48112"/>
                    <a:pt x="-32" y="37331"/>
                    <a:pt x="-32" y="24030"/>
                  </a:cubicBezTo>
                  <a:cubicBezTo>
                    <a:pt x="-32" y="10729"/>
                    <a:pt x="18641" y="-52"/>
                    <a:pt x="41678" y="-52"/>
                  </a:cubicBezTo>
                  <a:cubicBezTo>
                    <a:pt x="64715" y="-52"/>
                    <a:pt x="83387" y="10729"/>
                    <a:pt x="83387" y="24030"/>
                  </a:cubicBezTo>
                  <a:close/>
                </a:path>
              </a:pathLst>
            </a:custGeom>
            <a:grp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133" name="Freeform: Shape 390">
              <a:extLst>
                <a:ext uri="{FF2B5EF4-FFF2-40B4-BE49-F238E27FC236}">
                  <a16:creationId xmlns:a16="http://schemas.microsoft.com/office/drawing/2014/main" id="{FBC0C06A-6358-8FD6-E825-80DB6F9D2356}"/>
                </a:ext>
              </a:extLst>
            </p:cNvPr>
            <p:cNvSpPr/>
            <p:nvPr/>
          </p:nvSpPr>
          <p:spPr>
            <a:xfrm>
              <a:off x="7968521" y="3945693"/>
              <a:ext cx="72000" cy="72000"/>
            </a:xfrm>
            <a:custGeom>
              <a:avLst/>
              <a:gdLst>
                <a:gd name="connsiteX0" fmla="*/ 83387 w 83418"/>
                <a:gd name="connsiteY0" fmla="*/ 24030 h 48164"/>
                <a:gd name="connsiteX1" fmla="*/ 41678 w 83418"/>
                <a:gd name="connsiteY1" fmla="*/ 48112 h 48164"/>
                <a:gd name="connsiteX2" fmla="*/ -32 w 83418"/>
                <a:gd name="connsiteY2" fmla="*/ 24030 h 48164"/>
                <a:gd name="connsiteX3" fmla="*/ 41678 w 83418"/>
                <a:gd name="connsiteY3" fmla="*/ -52 h 48164"/>
                <a:gd name="connsiteX4" fmla="*/ 83387 w 83418"/>
                <a:gd name="connsiteY4" fmla="*/ 24030 h 481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418" h="48164">
                  <a:moveTo>
                    <a:pt x="83387" y="24030"/>
                  </a:moveTo>
                  <a:cubicBezTo>
                    <a:pt x="83387" y="37331"/>
                    <a:pt x="64715" y="48112"/>
                    <a:pt x="41678" y="48112"/>
                  </a:cubicBezTo>
                  <a:cubicBezTo>
                    <a:pt x="18641" y="48112"/>
                    <a:pt x="-32" y="37331"/>
                    <a:pt x="-32" y="24030"/>
                  </a:cubicBezTo>
                  <a:cubicBezTo>
                    <a:pt x="-32" y="10729"/>
                    <a:pt x="18641" y="-52"/>
                    <a:pt x="41678" y="-52"/>
                  </a:cubicBezTo>
                  <a:cubicBezTo>
                    <a:pt x="64715" y="-52"/>
                    <a:pt x="83387" y="10729"/>
                    <a:pt x="83387" y="24030"/>
                  </a:cubicBezTo>
                  <a:close/>
                </a:path>
              </a:pathLst>
            </a:custGeom>
            <a:grp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134" name="Freeform: Shape 391">
              <a:extLst>
                <a:ext uri="{FF2B5EF4-FFF2-40B4-BE49-F238E27FC236}">
                  <a16:creationId xmlns:a16="http://schemas.microsoft.com/office/drawing/2014/main" id="{7EB81BC5-74B1-C21B-0A25-2FD0B453CA65}"/>
                </a:ext>
              </a:extLst>
            </p:cNvPr>
            <p:cNvSpPr/>
            <p:nvPr/>
          </p:nvSpPr>
          <p:spPr>
            <a:xfrm>
              <a:off x="8014295" y="3974584"/>
              <a:ext cx="72000" cy="72000"/>
            </a:xfrm>
            <a:custGeom>
              <a:avLst/>
              <a:gdLst>
                <a:gd name="connsiteX0" fmla="*/ 83388 w 83419"/>
                <a:gd name="connsiteY0" fmla="*/ 24030 h 48164"/>
                <a:gd name="connsiteX1" fmla="*/ 41678 w 83419"/>
                <a:gd name="connsiteY1" fmla="*/ 48112 h 48164"/>
                <a:gd name="connsiteX2" fmla="*/ -32 w 83419"/>
                <a:gd name="connsiteY2" fmla="*/ 24030 h 48164"/>
                <a:gd name="connsiteX3" fmla="*/ 41678 w 83419"/>
                <a:gd name="connsiteY3" fmla="*/ -52 h 48164"/>
                <a:gd name="connsiteX4" fmla="*/ 83388 w 83419"/>
                <a:gd name="connsiteY4" fmla="*/ 24030 h 481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419" h="48164">
                  <a:moveTo>
                    <a:pt x="83388" y="24030"/>
                  </a:moveTo>
                  <a:cubicBezTo>
                    <a:pt x="83388" y="37331"/>
                    <a:pt x="64715" y="48112"/>
                    <a:pt x="41678" y="48112"/>
                  </a:cubicBezTo>
                  <a:cubicBezTo>
                    <a:pt x="18642" y="48112"/>
                    <a:pt x="-32" y="37331"/>
                    <a:pt x="-32" y="24030"/>
                  </a:cubicBezTo>
                  <a:cubicBezTo>
                    <a:pt x="-32" y="10729"/>
                    <a:pt x="18642" y="-52"/>
                    <a:pt x="41678" y="-52"/>
                  </a:cubicBezTo>
                  <a:cubicBezTo>
                    <a:pt x="64715" y="-52"/>
                    <a:pt x="83388" y="10729"/>
                    <a:pt x="83388" y="24030"/>
                  </a:cubicBezTo>
                  <a:close/>
                </a:path>
              </a:pathLst>
            </a:custGeom>
            <a:grp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135" name="Freeform: Shape 392">
              <a:extLst>
                <a:ext uri="{FF2B5EF4-FFF2-40B4-BE49-F238E27FC236}">
                  <a16:creationId xmlns:a16="http://schemas.microsoft.com/office/drawing/2014/main" id="{E0D11375-30BD-0C84-11CD-3CFEC5DE8BE3}"/>
                </a:ext>
              </a:extLst>
            </p:cNvPr>
            <p:cNvSpPr/>
            <p:nvPr/>
          </p:nvSpPr>
          <p:spPr>
            <a:xfrm>
              <a:off x="8083810" y="4027923"/>
              <a:ext cx="72000" cy="72000"/>
            </a:xfrm>
            <a:custGeom>
              <a:avLst/>
              <a:gdLst>
                <a:gd name="connsiteX0" fmla="*/ 83388 w 83419"/>
                <a:gd name="connsiteY0" fmla="*/ 24030 h 48164"/>
                <a:gd name="connsiteX1" fmla="*/ 41678 w 83419"/>
                <a:gd name="connsiteY1" fmla="*/ 48113 h 48164"/>
                <a:gd name="connsiteX2" fmla="*/ -32 w 83419"/>
                <a:gd name="connsiteY2" fmla="*/ 24030 h 48164"/>
                <a:gd name="connsiteX3" fmla="*/ 41678 w 83419"/>
                <a:gd name="connsiteY3" fmla="*/ -52 h 48164"/>
                <a:gd name="connsiteX4" fmla="*/ 83388 w 83419"/>
                <a:gd name="connsiteY4" fmla="*/ 24030 h 481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419" h="48164">
                  <a:moveTo>
                    <a:pt x="83388" y="24030"/>
                  </a:moveTo>
                  <a:cubicBezTo>
                    <a:pt x="83388" y="37331"/>
                    <a:pt x="64715" y="48113"/>
                    <a:pt x="41678" y="48113"/>
                  </a:cubicBezTo>
                  <a:cubicBezTo>
                    <a:pt x="18642" y="48113"/>
                    <a:pt x="-32" y="37331"/>
                    <a:pt x="-32" y="24030"/>
                  </a:cubicBezTo>
                  <a:cubicBezTo>
                    <a:pt x="-32" y="10729"/>
                    <a:pt x="18642" y="-52"/>
                    <a:pt x="41678" y="-52"/>
                  </a:cubicBezTo>
                  <a:cubicBezTo>
                    <a:pt x="64715" y="-52"/>
                    <a:pt x="83388" y="10729"/>
                    <a:pt x="83388" y="24030"/>
                  </a:cubicBezTo>
                  <a:close/>
                </a:path>
              </a:pathLst>
            </a:custGeom>
            <a:grp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136" name="Freeform: Shape 393">
              <a:extLst>
                <a:ext uri="{FF2B5EF4-FFF2-40B4-BE49-F238E27FC236}">
                  <a16:creationId xmlns:a16="http://schemas.microsoft.com/office/drawing/2014/main" id="{E51517D7-9515-8E68-BE31-DE90A75C7CBE}"/>
                </a:ext>
              </a:extLst>
            </p:cNvPr>
            <p:cNvSpPr/>
            <p:nvPr/>
          </p:nvSpPr>
          <p:spPr>
            <a:xfrm>
              <a:off x="8191614" y="4059482"/>
              <a:ext cx="72000" cy="72000"/>
            </a:xfrm>
            <a:custGeom>
              <a:avLst/>
              <a:gdLst>
                <a:gd name="connsiteX0" fmla="*/ 83387 w 83418"/>
                <a:gd name="connsiteY0" fmla="*/ 24030 h 48164"/>
                <a:gd name="connsiteX1" fmla="*/ 41678 w 83418"/>
                <a:gd name="connsiteY1" fmla="*/ 48112 h 48164"/>
                <a:gd name="connsiteX2" fmla="*/ -32 w 83418"/>
                <a:gd name="connsiteY2" fmla="*/ 24030 h 48164"/>
                <a:gd name="connsiteX3" fmla="*/ 41678 w 83418"/>
                <a:gd name="connsiteY3" fmla="*/ -52 h 48164"/>
                <a:gd name="connsiteX4" fmla="*/ 41892 w 83418"/>
                <a:gd name="connsiteY4" fmla="*/ -52 h 48164"/>
                <a:gd name="connsiteX5" fmla="*/ 83387 w 83418"/>
                <a:gd name="connsiteY5" fmla="*/ 23907 h 48164"/>
                <a:gd name="connsiteX6" fmla="*/ 83387 w 83418"/>
                <a:gd name="connsiteY6" fmla="*/ 24030 h 48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3418" h="48164">
                  <a:moveTo>
                    <a:pt x="83387" y="24030"/>
                  </a:moveTo>
                  <a:cubicBezTo>
                    <a:pt x="83387" y="37331"/>
                    <a:pt x="64715" y="48112"/>
                    <a:pt x="41678" y="48112"/>
                  </a:cubicBezTo>
                  <a:cubicBezTo>
                    <a:pt x="18642" y="48112"/>
                    <a:pt x="-32" y="37331"/>
                    <a:pt x="-32" y="24030"/>
                  </a:cubicBezTo>
                  <a:cubicBezTo>
                    <a:pt x="-32" y="10729"/>
                    <a:pt x="18642" y="-52"/>
                    <a:pt x="41678" y="-52"/>
                  </a:cubicBezTo>
                  <a:cubicBezTo>
                    <a:pt x="41742" y="-52"/>
                    <a:pt x="41828" y="-52"/>
                    <a:pt x="41892" y="-52"/>
                  </a:cubicBezTo>
                  <a:cubicBezTo>
                    <a:pt x="64800" y="-52"/>
                    <a:pt x="83387" y="10680"/>
                    <a:pt x="83387" y="23907"/>
                  </a:cubicBezTo>
                  <a:cubicBezTo>
                    <a:pt x="83387" y="23943"/>
                    <a:pt x="83387" y="23993"/>
                    <a:pt x="83387" y="24030"/>
                  </a:cubicBezTo>
                  <a:close/>
                </a:path>
              </a:pathLst>
            </a:custGeom>
            <a:grp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137" name="Freeform: Shape 394">
              <a:extLst>
                <a:ext uri="{FF2B5EF4-FFF2-40B4-BE49-F238E27FC236}">
                  <a16:creationId xmlns:a16="http://schemas.microsoft.com/office/drawing/2014/main" id="{E48F4F0B-7051-79D0-4CF0-96553CDFE9C2}"/>
                </a:ext>
              </a:extLst>
            </p:cNvPr>
            <p:cNvSpPr/>
            <p:nvPr/>
          </p:nvSpPr>
          <p:spPr>
            <a:xfrm>
              <a:off x="8254935" y="4059470"/>
              <a:ext cx="72000" cy="72000"/>
            </a:xfrm>
            <a:custGeom>
              <a:avLst/>
              <a:gdLst>
                <a:gd name="connsiteX0" fmla="*/ 85518 w 85562"/>
                <a:gd name="connsiteY0" fmla="*/ 24039 h 49403"/>
                <a:gd name="connsiteX1" fmla="*/ 43809 w 85562"/>
                <a:gd name="connsiteY1" fmla="*/ 49344 h 49403"/>
                <a:gd name="connsiteX2" fmla="*/ -18 w 85562"/>
                <a:gd name="connsiteY2" fmla="*/ 25262 h 49403"/>
                <a:gd name="connsiteX3" fmla="*/ 41691 w 85562"/>
                <a:gd name="connsiteY3" fmla="*/ -43 h 49403"/>
                <a:gd name="connsiteX4" fmla="*/ 43809 w 85562"/>
                <a:gd name="connsiteY4" fmla="*/ -43 h 49403"/>
                <a:gd name="connsiteX5" fmla="*/ 85518 w 85562"/>
                <a:gd name="connsiteY5" fmla="*/ 24039 h 49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562" h="49403">
                  <a:moveTo>
                    <a:pt x="85518" y="24039"/>
                  </a:moveTo>
                  <a:cubicBezTo>
                    <a:pt x="86096" y="37674"/>
                    <a:pt x="67423" y="49011"/>
                    <a:pt x="43809" y="49344"/>
                  </a:cubicBezTo>
                  <a:cubicBezTo>
                    <a:pt x="20195" y="49678"/>
                    <a:pt x="559" y="38896"/>
                    <a:pt x="-18" y="25262"/>
                  </a:cubicBezTo>
                  <a:cubicBezTo>
                    <a:pt x="-596" y="11628"/>
                    <a:pt x="18077" y="291"/>
                    <a:pt x="41691" y="-43"/>
                  </a:cubicBezTo>
                  <a:cubicBezTo>
                    <a:pt x="42397" y="-55"/>
                    <a:pt x="43102" y="-55"/>
                    <a:pt x="43809" y="-43"/>
                  </a:cubicBezTo>
                  <a:cubicBezTo>
                    <a:pt x="66845" y="-43"/>
                    <a:pt x="85518" y="10739"/>
                    <a:pt x="85518" y="24039"/>
                  </a:cubicBezTo>
                  <a:close/>
                </a:path>
              </a:pathLst>
            </a:custGeom>
            <a:grp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138" name="Freeform: Shape 395">
              <a:extLst>
                <a:ext uri="{FF2B5EF4-FFF2-40B4-BE49-F238E27FC236}">
                  <a16:creationId xmlns:a16="http://schemas.microsoft.com/office/drawing/2014/main" id="{9C60002F-DEFB-504C-EF18-F2EC32068D27}"/>
                </a:ext>
              </a:extLst>
            </p:cNvPr>
            <p:cNvSpPr/>
            <p:nvPr/>
          </p:nvSpPr>
          <p:spPr>
            <a:xfrm>
              <a:off x="8433956" y="4086431"/>
              <a:ext cx="72000" cy="72000"/>
            </a:xfrm>
            <a:custGeom>
              <a:avLst/>
              <a:gdLst>
                <a:gd name="connsiteX0" fmla="*/ 85526 w 85557"/>
                <a:gd name="connsiteY0" fmla="*/ 24660 h 49399"/>
                <a:gd name="connsiteX1" fmla="*/ 42727 w 85557"/>
                <a:gd name="connsiteY1" fmla="*/ 49347 h 49399"/>
                <a:gd name="connsiteX2" fmla="*/ -32 w 85557"/>
                <a:gd name="connsiteY2" fmla="*/ 24647 h 49399"/>
                <a:gd name="connsiteX3" fmla="*/ 42769 w 85557"/>
                <a:gd name="connsiteY3" fmla="*/ -52 h 49399"/>
                <a:gd name="connsiteX4" fmla="*/ 43817 w 85557"/>
                <a:gd name="connsiteY4" fmla="*/ -40 h 49399"/>
                <a:gd name="connsiteX5" fmla="*/ 85526 w 85557"/>
                <a:gd name="connsiteY5" fmla="*/ 24660 h 49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557" h="49399">
                  <a:moveTo>
                    <a:pt x="85526" y="24660"/>
                  </a:moveTo>
                  <a:cubicBezTo>
                    <a:pt x="85526" y="38307"/>
                    <a:pt x="66361" y="49360"/>
                    <a:pt x="42727" y="49347"/>
                  </a:cubicBezTo>
                  <a:cubicBezTo>
                    <a:pt x="19112" y="49347"/>
                    <a:pt x="-32" y="38282"/>
                    <a:pt x="-32" y="24647"/>
                  </a:cubicBezTo>
                  <a:cubicBezTo>
                    <a:pt x="-32" y="11001"/>
                    <a:pt x="19134" y="-52"/>
                    <a:pt x="42769" y="-52"/>
                  </a:cubicBezTo>
                  <a:cubicBezTo>
                    <a:pt x="43112" y="-52"/>
                    <a:pt x="43475" y="-40"/>
                    <a:pt x="43817" y="-40"/>
                  </a:cubicBezTo>
                  <a:cubicBezTo>
                    <a:pt x="67025" y="294"/>
                    <a:pt x="85526" y="11260"/>
                    <a:pt x="85526" y="24660"/>
                  </a:cubicBezTo>
                  <a:close/>
                </a:path>
              </a:pathLst>
            </a:custGeom>
            <a:grp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139" name="Freeform: Shape 396">
              <a:extLst>
                <a:ext uri="{FF2B5EF4-FFF2-40B4-BE49-F238E27FC236}">
                  <a16:creationId xmlns:a16="http://schemas.microsoft.com/office/drawing/2014/main" id="{A7099816-695E-B9E5-9431-5752856B7F0C}"/>
                </a:ext>
              </a:extLst>
            </p:cNvPr>
            <p:cNvSpPr/>
            <p:nvPr/>
          </p:nvSpPr>
          <p:spPr>
            <a:xfrm>
              <a:off x="8444445" y="4086447"/>
              <a:ext cx="72000" cy="72000"/>
            </a:xfrm>
            <a:custGeom>
              <a:avLst/>
              <a:gdLst>
                <a:gd name="connsiteX0" fmla="*/ 83379 w 83410"/>
                <a:gd name="connsiteY0" fmla="*/ 24647 h 48160"/>
                <a:gd name="connsiteX1" fmla="*/ 40622 w 83410"/>
                <a:gd name="connsiteY1" fmla="*/ 48100 h 48160"/>
                <a:gd name="connsiteX2" fmla="*/ -18 w 83410"/>
                <a:gd name="connsiteY2" fmla="*/ 23412 h 48160"/>
                <a:gd name="connsiteX3" fmla="*/ 41669 w 83410"/>
                <a:gd name="connsiteY3" fmla="*/ -52 h 48160"/>
                <a:gd name="connsiteX4" fmla="*/ 83379 w 83410"/>
                <a:gd name="connsiteY4" fmla="*/ 24647 h 481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410" h="48160">
                  <a:moveTo>
                    <a:pt x="83379" y="24647"/>
                  </a:moveTo>
                  <a:cubicBezTo>
                    <a:pt x="82780" y="37948"/>
                    <a:pt x="63637" y="48446"/>
                    <a:pt x="40622" y="48100"/>
                  </a:cubicBezTo>
                  <a:cubicBezTo>
                    <a:pt x="17585" y="47767"/>
                    <a:pt x="-596" y="36713"/>
                    <a:pt x="-18" y="23412"/>
                  </a:cubicBezTo>
                  <a:cubicBezTo>
                    <a:pt x="559" y="10359"/>
                    <a:pt x="19061" y="-52"/>
                    <a:pt x="41669" y="-52"/>
                  </a:cubicBezTo>
                  <a:cubicBezTo>
                    <a:pt x="64877" y="281"/>
                    <a:pt x="83379" y="11248"/>
                    <a:pt x="83379" y="24647"/>
                  </a:cubicBezTo>
                  <a:close/>
                </a:path>
              </a:pathLst>
            </a:custGeom>
            <a:grp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140" name="Freeform: Shape 397">
              <a:extLst>
                <a:ext uri="{FF2B5EF4-FFF2-40B4-BE49-F238E27FC236}">
                  <a16:creationId xmlns:a16="http://schemas.microsoft.com/office/drawing/2014/main" id="{8017B0E9-9AE4-CE94-46BF-12F5949C7F68}"/>
                </a:ext>
              </a:extLst>
            </p:cNvPr>
            <p:cNvSpPr/>
            <p:nvPr/>
          </p:nvSpPr>
          <p:spPr>
            <a:xfrm>
              <a:off x="8490852" y="4125265"/>
              <a:ext cx="72000" cy="72000"/>
            </a:xfrm>
            <a:custGeom>
              <a:avLst/>
              <a:gdLst>
                <a:gd name="connsiteX0" fmla="*/ 83388 w 83419"/>
                <a:gd name="connsiteY0" fmla="*/ 24030 h 48164"/>
                <a:gd name="connsiteX1" fmla="*/ 41678 w 83419"/>
                <a:gd name="connsiteY1" fmla="*/ 48112 h 48164"/>
                <a:gd name="connsiteX2" fmla="*/ -32 w 83419"/>
                <a:gd name="connsiteY2" fmla="*/ 24030 h 48164"/>
                <a:gd name="connsiteX3" fmla="*/ 41678 w 83419"/>
                <a:gd name="connsiteY3" fmla="*/ -52 h 48164"/>
                <a:gd name="connsiteX4" fmla="*/ 83388 w 83419"/>
                <a:gd name="connsiteY4" fmla="*/ 24030 h 481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419" h="48164">
                  <a:moveTo>
                    <a:pt x="83388" y="24030"/>
                  </a:moveTo>
                  <a:cubicBezTo>
                    <a:pt x="83388" y="37331"/>
                    <a:pt x="64715" y="48112"/>
                    <a:pt x="41678" y="48112"/>
                  </a:cubicBezTo>
                  <a:cubicBezTo>
                    <a:pt x="18642" y="48112"/>
                    <a:pt x="-32" y="37331"/>
                    <a:pt x="-32" y="24030"/>
                  </a:cubicBezTo>
                  <a:cubicBezTo>
                    <a:pt x="-32" y="10729"/>
                    <a:pt x="18642" y="-52"/>
                    <a:pt x="41678" y="-52"/>
                  </a:cubicBezTo>
                  <a:cubicBezTo>
                    <a:pt x="64480" y="269"/>
                    <a:pt x="82832" y="10865"/>
                    <a:pt x="83388" y="24030"/>
                  </a:cubicBezTo>
                  <a:close/>
                </a:path>
              </a:pathLst>
            </a:custGeom>
            <a:grp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141" name="Freeform: Shape 398">
              <a:extLst>
                <a:ext uri="{FF2B5EF4-FFF2-40B4-BE49-F238E27FC236}">
                  <a16:creationId xmlns:a16="http://schemas.microsoft.com/office/drawing/2014/main" id="{8BF97561-71C0-4D31-EE76-32CFF6377E10}"/>
                </a:ext>
              </a:extLst>
            </p:cNvPr>
            <p:cNvSpPr/>
            <p:nvPr/>
          </p:nvSpPr>
          <p:spPr>
            <a:xfrm>
              <a:off x="8503480" y="4162590"/>
              <a:ext cx="72000" cy="72000"/>
            </a:xfrm>
            <a:custGeom>
              <a:avLst/>
              <a:gdLst>
                <a:gd name="connsiteX0" fmla="*/ 85518 w 85562"/>
                <a:gd name="connsiteY0" fmla="*/ 24039 h 49403"/>
                <a:gd name="connsiteX1" fmla="*/ 43809 w 85562"/>
                <a:gd name="connsiteY1" fmla="*/ 49344 h 49403"/>
                <a:gd name="connsiteX2" fmla="*/ -19 w 85562"/>
                <a:gd name="connsiteY2" fmla="*/ 25262 h 49403"/>
                <a:gd name="connsiteX3" fmla="*/ 41691 w 85562"/>
                <a:gd name="connsiteY3" fmla="*/ -43 h 49403"/>
                <a:gd name="connsiteX4" fmla="*/ 43809 w 85562"/>
                <a:gd name="connsiteY4" fmla="*/ -43 h 49403"/>
                <a:gd name="connsiteX5" fmla="*/ 85518 w 85562"/>
                <a:gd name="connsiteY5" fmla="*/ 24039 h 49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562" h="49403">
                  <a:moveTo>
                    <a:pt x="85518" y="24039"/>
                  </a:moveTo>
                  <a:cubicBezTo>
                    <a:pt x="86096" y="37673"/>
                    <a:pt x="67423" y="49011"/>
                    <a:pt x="43809" y="49344"/>
                  </a:cubicBezTo>
                  <a:cubicBezTo>
                    <a:pt x="20195" y="49677"/>
                    <a:pt x="559" y="38896"/>
                    <a:pt x="-19" y="25262"/>
                  </a:cubicBezTo>
                  <a:cubicBezTo>
                    <a:pt x="-596" y="11627"/>
                    <a:pt x="18077" y="290"/>
                    <a:pt x="41691" y="-43"/>
                  </a:cubicBezTo>
                  <a:cubicBezTo>
                    <a:pt x="42397" y="-55"/>
                    <a:pt x="43103" y="-55"/>
                    <a:pt x="43809" y="-43"/>
                  </a:cubicBezTo>
                  <a:cubicBezTo>
                    <a:pt x="66845" y="-43"/>
                    <a:pt x="85518" y="10738"/>
                    <a:pt x="85518" y="24039"/>
                  </a:cubicBezTo>
                  <a:close/>
                </a:path>
              </a:pathLst>
            </a:custGeom>
            <a:grp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142" name="Freeform: Shape 399">
              <a:extLst>
                <a:ext uri="{FF2B5EF4-FFF2-40B4-BE49-F238E27FC236}">
                  <a16:creationId xmlns:a16="http://schemas.microsoft.com/office/drawing/2014/main" id="{EC5BC362-8294-CF8D-39EE-43D62D56CCB6}"/>
                </a:ext>
              </a:extLst>
            </p:cNvPr>
            <p:cNvSpPr/>
            <p:nvPr/>
          </p:nvSpPr>
          <p:spPr>
            <a:xfrm>
              <a:off x="8584110" y="4162602"/>
              <a:ext cx="72000" cy="72000"/>
            </a:xfrm>
            <a:custGeom>
              <a:avLst/>
              <a:gdLst>
                <a:gd name="connsiteX0" fmla="*/ 83387 w 83418"/>
                <a:gd name="connsiteY0" fmla="*/ 24030 h 48164"/>
                <a:gd name="connsiteX1" fmla="*/ 41678 w 83418"/>
                <a:gd name="connsiteY1" fmla="*/ 48112 h 48164"/>
                <a:gd name="connsiteX2" fmla="*/ -32 w 83418"/>
                <a:gd name="connsiteY2" fmla="*/ 24030 h 48164"/>
                <a:gd name="connsiteX3" fmla="*/ 41678 w 83418"/>
                <a:gd name="connsiteY3" fmla="*/ -52 h 48164"/>
                <a:gd name="connsiteX4" fmla="*/ 83387 w 83418"/>
                <a:gd name="connsiteY4" fmla="*/ 24030 h 481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418" h="48164">
                  <a:moveTo>
                    <a:pt x="83387" y="24030"/>
                  </a:moveTo>
                  <a:cubicBezTo>
                    <a:pt x="83387" y="37331"/>
                    <a:pt x="64715" y="48112"/>
                    <a:pt x="41678" y="48112"/>
                  </a:cubicBezTo>
                  <a:cubicBezTo>
                    <a:pt x="18641" y="48112"/>
                    <a:pt x="-32" y="37331"/>
                    <a:pt x="-32" y="24030"/>
                  </a:cubicBezTo>
                  <a:cubicBezTo>
                    <a:pt x="-32" y="10729"/>
                    <a:pt x="18641" y="-52"/>
                    <a:pt x="41678" y="-52"/>
                  </a:cubicBezTo>
                  <a:cubicBezTo>
                    <a:pt x="64715" y="-52"/>
                    <a:pt x="83387" y="10729"/>
                    <a:pt x="83387" y="24030"/>
                  </a:cubicBezTo>
                  <a:close/>
                </a:path>
              </a:pathLst>
            </a:custGeom>
            <a:grp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143" name="Freeform: Shape 400">
              <a:extLst>
                <a:ext uri="{FF2B5EF4-FFF2-40B4-BE49-F238E27FC236}">
                  <a16:creationId xmlns:a16="http://schemas.microsoft.com/office/drawing/2014/main" id="{41B1E052-CBD5-617E-2BB0-B51EDF091618}"/>
                </a:ext>
              </a:extLst>
            </p:cNvPr>
            <p:cNvSpPr/>
            <p:nvPr/>
          </p:nvSpPr>
          <p:spPr>
            <a:xfrm>
              <a:off x="8864526" y="4249278"/>
              <a:ext cx="72000" cy="72000"/>
            </a:xfrm>
            <a:custGeom>
              <a:avLst/>
              <a:gdLst>
                <a:gd name="connsiteX0" fmla="*/ 83388 w 83419"/>
                <a:gd name="connsiteY0" fmla="*/ 24030 h 48164"/>
                <a:gd name="connsiteX1" fmla="*/ 41678 w 83419"/>
                <a:gd name="connsiteY1" fmla="*/ 48113 h 48164"/>
                <a:gd name="connsiteX2" fmla="*/ -32 w 83419"/>
                <a:gd name="connsiteY2" fmla="*/ 24030 h 48164"/>
                <a:gd name="connsiteX3" fmla="*/ 41678 w 83419"/>
                <a:gd name="connsiteY3" fmla="*/ -52 h 48164"/>
                <a:gd name="connsiteX4" fmla="*/ 83388 w 83419"/>
                <a:gd name="connsiteY4" fmla="*/ 24030 h 481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419" h="48164">
                  <a:moveTo>
                    <a:pt x="83388" y="24030"/>
                  </a:moveTo>
                  <a:cubicBezTo>
                    <a:pt x="83388" y="37331"/>
                    <a:pt x="64715" y="48113"/>
                    <a:pt x="41678" y="48113"/>
                  </a:cubicBezTo>
                  <a:cubicBezTo>
                    <a:pt x="18642" y="48113"/>
                    <a:pt x="-32" y="37331"/>
                    <a:pt x="-32" y="24030"/>
                  </a:cubicBezTo>
                  <a:cubicBezTo>
                    <a:pt x="-32" y="10729"/>
                    <a:pt x="18642" y="-52"/>
                    <a:pt x="41678" y="-52"/>
                  </a:cubicBezTo>
                  <a:cubicBezTo>
                    <a:pt x="64480" y="269"/>
                    <a:pt x="82832" y="10865"/>
                    <a:pt x="83388" y="24030"/>
                  </a:cubicBezTo>
                  <a:close/>
                </a:path>
              </a:pathLst>
            </a:custGeom>
            <a:grp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144" name="Freeform: Shape 401">
              <a:extLst>
                <a:ext uri="{FF2B5EF4-FFF2-40B4-BE49-F238E27FC236}">
                  <a16:creationId xmlns:a16="http://schemas.microsoft.com/office/drawing/2014/main" id="{93F8B7EE-E378-7A4A-3D05-1A30FA461053}"/>
                </a:ext>
              </a:extLst>
            </p:cNvPr>
            <p:cNvSpPr/>
            <p:nvPr/>
          </p:nvSpPr>
          <p:spPr>
            <a:xfrm>
              <a:off x="8944523" y="4249278"/>
              <a:ext cx="72000" cy="72000"/>
            </a:xfrm>
            <a:custGeom>
              <a:avLst/>
              <a:gdLst>
                <a:gd name="connsiteX0" fmla="*/ 83387 w 83418"/>
                <a:gd name="connsiteY0" fmla="*/ 24030 h 48164"/>
                <a:gd name="connsiteX1" fmla="*/ 41678 w 83418"/>
                <a:gd name="connsiteY1" fmla="*/ 48113 h 48164"/>
                <a:gd name="connsiteX2" fmla="*/ -32 w 83418"/>
                <a:gd name="connsiteY2" fmla="*/ 24030 h 48164"/>
                <a:gd name="connsiteX3" fmla="*/ 41678 w 83418"/>
                <a:gd name="connsiteY3" fmla="*/ -52 h 48164"/>
                <a:gd name="connsiteX4" fmla="*/ 83387 w 83418"/>
                <a:gd name="connsiteY4" fmla="*/ 24030 h 481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418" h="48164">
                  <a:moveTo>
                    <a:pt x="83387" y="24030"/>
                  </a:moveTo>
                  <a:cubicBezTo>
                    <a:pt x="83387" y="37331"/>
                    <a:pt x="64714" y="48113"/>
                    <a:pt x="41678" y="48113"/>
                  </a:cubicBezTo>
                  <a:cubicBezTo>
                    <a:pt x="18641" y="48113"/>
                    <a:pt x="-32" y="37331"/>
                    <a:pt x="-32" y="24030"/>
                  </a:cubicBezTo>
                  <a:cubicBezTo>
                    <a:pt x="-32" y="10729"/>
                    <a:pt x="18641" y="-52"/>
                    <a:pt x="41678" y="-52"/>
                  </a:cubicBezTo>
                  <a:cubicBezTo>
                    <a:pt x="64479" y="269"/>
                    <a:pt x="82831" y="10865"/>
                    <a:pt x="83387" y="24030"/>
                  </a:cubicBezTo>
                  <a:close/>
                </a:path>
              </a:pathLst>
            </a:custGeom>
            <a:grp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145" name="Freeform: Shape 402">
              <a:extLst>
                <a:ext uri="{FF2B5EF4-FFF2-40B4-BE49-F238E27FC236}">
                  <a16:creationId xmlns:a16="http://schemas.microsoft.com/office/drawing/2014/main" id="{5A68AD56-5283-452D-F891-8EB32D6670C0}"/>
                </a:ext>
              </a:extLst>
            </p:cNvPr>
            <p:cNvSpPr/>
            <p:nvPr/>
          </p:nvSpPr>
          <p:spPr>
            <a:xfrm>
              <a:off x="9114569" y="4249278"/>
              <a:ext cx="72000" cy="72000"/>
            </a:xfrm>
            <a:custGeom>
              <a:avLst/>
              <a:gdLst>
                <a:gd name="connsiteX0" fmla="*/ 83387 w 83418"/>
                <a:gd name="connsiteY0" fmla="*/ 24030 h 48164"/>
                <a:gd name="connsiteX1" fmla="*/ 41678 w 83418"/>
                <a:gd name="connsiteY1" fmla="*/ 48113 h 48164"/>
                <a:gd name="connsiteX2" fmla="*/ -32 w 83418"/>
                <a:gd name="connsiteY2" fmla="*/ 24030 h 48164"/>
                <a:gd name="connsiteX3" fmla="*/ 41678 w 83418"/>
                <a:gd name="connsiteY3" fmla="*/ -52 h 48164"/>
                <a:gd name="connsiteX4" fmla="*/ 83387 w 83418"/>
                <a:gd name="connsiteY4" fmla="*/ 24030 h 481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418" h="48164">
                  <a:moveTo>
                    <a:pt x="83387" y="24030"/>
                  </a:moveTo>
                  <a:cubicBezTo>
                    <a:pt x="83387" y="37331"/>
                    <a:pt x="64715" y="48113"/>
                    <a:pt x="41678" y="48113"/>
                  </a:cubicBezTo>
                  <a:cubicBezTo>
                    <a:pt x="18642" y="48113"/>
                    <a:pt x="-32" y="37331"/>
                    <a:pt x="-32" y="24030"/>
                  </a:cubicBezTo>
                  <a:cubicBezTo>
                    <a:pt x="-32" y="10729"/>
                    <a:pt x="18642" y="-52"/>
                    <a:pt x="41678" y="-52"/>
                  </a:cubicBezTo>
                  <a:cubicBezTo>
                    <a:pt x="64480" y="269"/>
                    <a:pt x="82831" y="10865"/>
                    <a:pt x="83387" y="24030"/>
                  </a:cubicBezTo>
                  <a:close/>
                </a:path>
              </a:pathLst>
            </a:custGeom>
            <a:grp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146" name="Freeform: Shape 403">
              <a:extLst>
                <a:ext uri="{FF2B5EF4-FFF2-40B4-BE49-F238E27FC236}">
                  <a16:creationId xmlns:a16="http://schemas.microsoft.com/office/drawing/2014/main" id="{DA081EA2-C89D-C09F-19F6-C15E6483229D}"/>
                </a:ext>
              </a:extLst>
            </p:cNvPr>
            <p:cNvSpPr/>
            <p:nvPr/>
          </p:nvSpPr>
          <p:spPr>
            <a:xfrm>
              <a:off x="9333598" y="4314321"/>
              <a:ext cx="72000" cy="72000"/>
            </a:xfrm>
            <a:custGeom>
              <a:avLst/>
              <a:gdLst>
                <a:gd name="connsiteX0" fmla="*/ 83387 w 83418"/>
                <a:gd name="connsiteY0" fmla="*/ 24030 h 48164"/>
                <a:gd name="connsiteX1" fmla="*/ 41678 w 83418"/>
                <a:gd name="connsiteY1" fmla="*/ 48112 h 48164"/>
                <a:gd name="connsiteX2" fmla="*/ -32 w 83418"/>
                <a:gd name="connsiteY2" fmla="*/ 24030 h 48164"/>
                <a:gd name="connsiteX3" fmla="*/ 41678 w 83418"/>
                <a:gd name="connsiteY3" fmla="*/ -52 h 48164"/>
                <a:gd name="connsiteX4" fmla="*/ 83387 w 83418"/>
                <a:gd name="connsiteY4" fmla="*/ 24030 h 481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418" h="48164">
                  <a:moveTo>
                    <a:pt x="83387" y="24030"/>
                  </a:moveTo>
                  <a:cubicBezTo>
                    <a:pt x="83387" y="37331"/>
                    <a:pt x="64714" y="48112"/>
                    <a:pt x="41678" y="48112"/>
                  </a:cubicBezTo>
                  <a:cubicBezTo>
                    <a:pt x="18641" y="48112"/>
                    <a:pt x="-32" y="37331"/>
                    <a:pt x="-32" y="24030"/>
                  </a:cubicBezTo>
                  <a:cubicBezTo>
                    <a:pt x="-32" y="10729"/>
                    <a:pt x="18641" y="-52"/>
                    <a:pt x="41678" y="-52"/>
                  </a:cubicBezTo>
                  <a:cubicBezTo>
                    <a:pt x="64714" y="-52"/>
                    <a:pt x="83387" y="10729"/>
                    <a:pt x="83387" y="24030"/>
                  </a:cubicBezTo>
                  <a:close/>
                </a:path>
              </a:pathLst>
            </a:custGeom>
            <a:grp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147" name="Freeform: Shape 404">
              <a:extLst>
                <a:ext uri="{FF2B5EF4-FFF2-40B4-BE49-F238E27FC236}">
                  <a16:creationId xmlns:a16="http://schemas.microsoft.com/office/drawing/2014/main" id="{BCD71518-7B65-1211-952F-C49E6A9686C8}"/>
                </a:ext>
              </a:extLst>
            </p:cNvPr>
            <p:cNvSpPr/>
            <p:nvPr/>
          </p:nvSpPr>
          <p:spPr>
            <a:xfrm>
              <a:off x="9800316" y="4389143"/>
              <a:ext cx="72000" cy="72000"/>
            </a:xfrm>
            <a:custGeom>
              <a:avLst/>
              <a:gdLst>
                <a:gd name="connsiteX0" fmla="*/ 83388 w 83419"/>
                <a:gd name="connsiteY0" fmla="*/ 24030 h 48164"/>
                <a:gd name="connsiteX1" fmla="*/ 41678 w 83419"/>
                <a:gd name="connsiteY1" fmla="*/ 48112 h 48164"/>
                <a:gd name="connsiteX2" fmla="*/ -32 w 83419"/>
                <a:gd name="connsiteY2" fmla="*/ 24030 h 48164"/>
                <a:gd name="connsiteX3" fmla="*/ 41678 w 83419"/>
                <a:gd name="connsiteY3" fmla="*/ -52 h 48164"/>
                <a:gd name="connsiteX4" fmla="*/ 41892 w 83419"/>
                <a:gd name="connsiteY4" fmla="*/ -52 h 48164"/>
                <a:gd name="connsiteX5" fmla="*/ 83388 w 83419"/>
                <a:gd name="connsiteY5" fmla="*/ 23907 h 48164"/>
                <a:gd name="connsiteX6" fmla="*/ 83388 w 83419"/>
                <a:gd name="connsiteY6" fmla="*/ 24030 h 48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3419" h="48164">
                  <a:moveTo>
                    <a:pt x="83388" y="24030"/>
                  </a:moveTo>
                  <a:cubicBezTo>
                    <a:pt x="83388" y="37331"/>
                    <a:pt x="64715" y="48112"/>
                    <a:pt x="41678" y="48112"/>
                  </a:cubicBezTo>
                  <a:cubicBezTo>
                    <a:pt x="18642" y="48112"/>
                    <a:pt x="-32" y="37331"/>
                    <a:pt x="-32" y="24030"/>
                  </a:cubicBezTo>
                  <a:cubicBezTo>
                    <a:pt x="-32" y="10729"/>
                    <a:pt x="18642" y="-52"/>
                    <a:pt x="41678" y="-52"/>
                  </a:cubicBezTo>
                  <a:cubicBezTo>
                    <a:pt x="41742" y="-52"/>
                    <a:pt x="41828" y="-52"/>
                    <a:pt x="41892" y="-52"/>
                  </a:cubicBezTo>
                  <a:cubicBezTo>
                    <a:pt x="64800" y="-52"/>
                    <a:pt x="83388" y="10680"/>
                    <a:pt x="83388" y="23907"/>
                  </a:cubicBezTo>
                  <a:cubicBezTo>
                    <a:pt x="83388" y="23943"/>
                    <a:pt x="83388" y="23993"/>
                    <a:pt x="83388" y="24030"/>
                  </a:cubicBezTo>
                  <a:close/>
                </a:path>
              </a:pathLst>
            </a:custGeom>
            <a:grp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148" name="Freeform: Shape 405">
              <a:extLst>
                <a:ext uri="{FF2B5EF4-FFF2-40B4-BE49-F238E27FC236}">
                  <a16:creationId xmlns:a16="http://schemas.microsoft.com/office/drawing/2014/main" id="{DE2931CC-8142-F0FA-64A9-11D170D76E04}"/>
                </a:ext>
              </a:extLst>
            </p:cNvPr>
            <p:cNvSpPr/>
            <p:nvPr/>
          </p:nvSpPr>
          <p:spPr>
            <a:xfrm>
              <a:off x="10066187" y="4389143"/>
              <a:ext cx="72000" cy="72000"/>
            </a:xfrm>
            <a:custGeom>
              <a:avLst/>
              <a:gdLst>
                <a:gd name="connsiteX0" fmla="*/ 83387 w 83418"/>
                <a:gd name="connsiteY0" fmla="*/ 24030 h 48164"/>
                <a:gd name="connsiteX1" fmla="*/ 41678 w 83418"/>
                <a:gd name="connsiteY1" fmla="*/ 48112 h 48164"/>
                <a:gd name="connsiteX2" fmla="*/ -32 w 83418"/>
                <a:gd name="connsiteY2" fmla="*/ 24030 h 48164"/>
                <a:gd name="connsiteX3" fmla="*/ 41678 w 83418"/>
                <a:gd name="connsiteY3" fmla="*/ -52 h 48164"/>
                <a:gd name="connsiteX4" fmla="*/ 83387 w 83418"/>
                <a:gd name="connsiteY4" fmla="*/ 24030 h 481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418" h="48164">
                  <a:moveTo>
                    <a:pt x="83387" y="24030"/>
                  </a:moveTo>
                  <a:cubicBezTo>
                    <a:pt x="83387" y="37331"/>
                    <a:pt x="64714" y="48112"/>
                    <a:pt x="41678" y="48112"/>
                  </a:cubicBezTo>
                  <a:cubicBezTo>
                    <a:pt x="18641" y="48112"/>
                    <a:pt x="-32" y="37331"/>
                    <a:pt x="-32" y="24030"/>
                  </a:cubicBezTo>
                  <a:cubicBezTo>
                    <a:pt x="-32" y="10729"/>
                    <a:pt x="18641" y="-52"/>
                    <a:pt x="41678" y="-52"/>
                  </a:cubicBezTo>
                  <a:cubicBezTo>
                    <a:pt x="64479" y="269"/>
                    <a:pt x="82831" y="10865"/>
                    <a:pt x="83387" y="24030"/>
                  </a:cubicBezTo>
                  <a:close/>
                </a:path>
              </a:pathLst>
            </a:custGeom>
            <a:grp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149" name="Freeform: Shape 406">
              <a:extLst>
                <a:ext uri="{FF2B5EF4-FFF2-40B4-BE49-F238E27FC236}">
                  <a16:creationId xmlns:a16="http://schemas.microsoft.com/office/drawing/2014/main" id="{7B9DE872-8ADE-7626-4B72-209934321EF3}"/>
                </a:ext>
              </a:extLst>
            </p:cNvPr>
            <p:cNvSpPr/>
            <p:nvPr/>
          </p:nvSpPr>
          <p:spPr>
            <a:xfrm>
              <a:off x="10278585" y="4535230"/>
              <a:ext cx="72000" cy="72000"/>
            </a:xfrm>
            <a:custGeom>
              <a:avLst/>
              <a:gdLst>
                <a:gd name="connsiteX0" fmla="*/ 83387 w 83418"/>
                <a:gd name="connsiteY0" fmla="*/ 24030 h 48164"/>
                <a:gd name="connsiteX1" fmla="*/ 41678 w 83418"/>
                <a:gd name="connsiteY1" fmla="*/ 48113 h 48164"/>
                <a:gd name="connsiteX2" fmla="*/ -32 w 83418"/>
                <a:gd name="connsiteY2" fmla="*/ 24030 h 48164"/>
                <a:gd name="connsiteX3" fmla="*/ 41678 w 83418"/>
                <a:gd name="connsiteY3" fmla="*/ -52 h 48164"/>
                <a:gd name="connsiteX4" fmla="*/ 83387 w 83418"/>
                <a:gd name="connsiteY4" fmla="*/ 23783 h 48164"/>
                <a:gd name="connsiteX5" fmla="*/ 83387 w 83418"/>
                <a:gd name="connsiteY5" fmla="*/ 24030 h 48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418" h="48164">
                  <a:moveTo>
                    <a:pt x="83387" y="24030"/>
                  </a:moveTo>
                  <a:cubicBezTo>
                    <a:pt x="83387" y="37331"/>
                    <a:pt x="64715" y="48113"/>
                    <a:pt x="41678" y="48113"/>
                  </a:cubicBezTo>
                  <a:cubicBezTo>
                    <a:pt x="18641" y="48113"/>
                    <a:pt x="-32" y="37331"/>
                    <a:pt x="-32" y="24030"/>
                  </a:cubicBezTo>
                  <a:cubicBezTo>
                    <a:pt x="-32" y="10729"/>
                    <a:pt x="18641" y="-52"/>
                    <a:pt x="41678" y="-52"/>
                  </a:cubicBezTo>
                  <a:cubicBezTo>
                    <a:pt x="64586" y="-126"/>
                    <a:pt x="83259" y="10544"/>
                    <a:pt x="83387" y="23783"/>
                  </a:cubicBezTo>
                  <a:cubicBezTo>
                    <a:pt x="83387" y="23870"/>
                    <a:pt x="83387" y="23944"/>
                    <a:pt x="83387" y="24030"/>
                  </a:cubicBezTo>
                  <a:close/>
                </a:path>
              </a:pathLst>
            </a:custGeom>
            <a:grp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150" name="Freeform: Shape 407">
              <a:extLst>
                <a:ext uri="{FF2B5EF4-FFF2-40B4-BE49-F238E27FC236}">
                  <a16:creationId xmlns:a16="http://schemas.microsoft.com/office/drawing/2014/main" id="{3498F5F8-2306-1EE9-8466-E979ACD6A687}"/>
                </a:ext>
              </a:extLst>
            </p:cNvPr>
            <p:cNvSpPr/>
            <p:nvPr/>
          </p:nvSpPr>
          <p:spPr>
            <a:xfrm>
              <a:off x="2783499" y="1831408"/>
              <a:ext cx="72000" cy="72000"/>
            </a:xfrm>
            <a:custGeom>
              <a:avLst/>
              <a:gdLst>
                <a:gd name="connsiteX0" fmla="*/ 83387 w 83418"/>
                <a:gd name="connsiteY0" fmla="*/ 24038 h 48160"/>
                <a:gd name="connsiteX1" fmla="*/ 41657 w 83418"/>
                <a:gd name="connsiteY1" fmla="*/ 48108 h 48160"/>
                <a:gd name="connsiteX2" fmla="*/ -32 w 83418"/>
                <a:gd name="connsiteY2" fmla="*/ 24026 h 48160"/>
                <a:gd name="connsiteX3" fmla="*/ 40608 w 83418"/>
                <a:gd name="connsiteY3" fmla="*/ -44 h 48160"/>
                <a:gd name="connsiteX4" fmla="*/ 83366 w 83418"/>
                <a:gd name="connsiteY4" fmla="*/ 23408 h 48160"/>
                <a:gd name="connsiteX5" fmla="*/ 83387 w 83418"/>
                <a:gd name="connsiteY5" fmla="*/ 24038 h 48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418" h="48160">
                  <a:moveTo>
                    <a:pt x="83387" y="24038"/>
                  </a:moveTo>
                  <a:cubicBezTo>
                    <a:pt x="83387" y="37339"/>
                    <a:pt x="64693" y="48120"/>
                    <a:pt x="41657" y="48108"/>
                  </a:cubicBezTo>
                  <a:cubicBezTo>
                    <a:pt x="18620" y="48108"/>
                    <a:pt x="-32" y="37327"/>
                    <a:pt x="-32" y="24026"/>
                  </a:cubicBezTo>
                  <a:cubicBezTo>
                    <a:pt x="-32" y="10960"/>
                    <a:pt x="18000" y="289"/>
                    <a:pt x="40608" y="-44"/>
                  </a:cubicBezTo>
                  <a:cubicBezTo>
                    <a:pt x="63645" y="-390"/>
                    <a:pt x="82788" y="10120"/>
                    <a:pt x="83366" y="23408"/>
                  </a:cubicBezTo>
                  <a:cubicBezTo>
                    <a:pt x="83387" y="23618"/>
                    <a:pt x="83387" y="23828"/>
                    <a:pt x="83387" y="24038"/>
                  </a:cubicBezTo>
                  <a:close/>
                </a:path>
              </a:pathLst>
            </a:custGeom>
            <a:grp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151" name="Freeform: Shape 408">
              <a:extLst>
                <a:ext uri="{FF2B5EF4-FFF2-40B4-BE49-F238E27FC236}">
                  <a16:creationId xmlns:a16="http://schemas.microsoft.com/office/drawing/2014/main" id="{AAD533DF-3292-3C88-B01A-902E6A12876B}"/>
                </a:ext>
              </a:extLst>
            </p:cNvPr>
            <p:cNvSpPr/>
            <p:nvPr/>
          </p:nvSpPr>
          <p:spPr>
            <a:xfrm>
              <a:off x="2840395" y="1831408"/>
              <a:ext cx="72000" cy="72000"/>
            </a:xfrm>
            <a:custGeom>
              <a:avLst/>
              <a:gdLst>
                <a:gd name="connsiteX0" fmla="*/ 83387 w 83418"/>
                <a:gd name="connsiteY0" fmla="*/ 24038 h 48160"/>
                <a:gd name="connsiteX1" fmla="*/ 41656 w 83418"/>
                <a:gd name="connsiteY1" fmla="*/ 48108 h 48160"/>
                <a:gd name="connsiteX2" fmla="*/ -32 w 83418"/>
                <a:gd name="connsiteY2" fmla="*/ 24026 h 48160"/>
                <a:gd name="connsiteX3" fmla="*/ 40608 w 83418"/>
                <a:gd name="connsiteY3" fmla="*/ -44 h 48160"/>
                <a:gd name="connsiteX4" fmla="*/ 83366 w 83418"/>
                <a:gd name="connsiteY4" fmla="*/ 23408 h 48160"/>
                <a:gd name="connsiteX5" fmla="*/ 83387 w 83418"/>
                <a:gd name="connsiteY5" fmla="*/ 24038 h 48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418" h="48160">
                  <a:moveTo>
                    <a:pt x="83387" y="24038"/>
                  </a:moveTo>
                  <a:cubicBezTo>
                    <a:pt x="83387" y="37339"/>
                    <a:pt x="64693" y="48120"/>
                    <a:pt x="41656" y="48108"/>
                  </a:cubicBezTo>
                  <a:cubicBezTo>
                    <a:pt x="18620" y="48108"/>
                    <a:pt x="-32" y="37327"/>
                    <a:pt x="-32" y="24026"/>
                  </a:cubicBezTo>
                  <a:cubicBezTo>
                    <a:pt x="-32" y="10960"/>
                    <a:pt x="18000" y="289"/>
                    <a:pt x="40608" y="-44"/>
                  </a:cubicBezTo>
                  <a:cubicBezTo>
                    <a:pt x="63645" y="-390"/>
                    <a:pt x="82788" y="10120"/>
                    <a:pt x="83366" y="23408"/>
                  </a:cubicBezTo>
                  <a:cubicBezTo>
                    <a:pt x="83387" y="23618"/>
                    <a:pt x="83387" y="23828"/>
                    <a:pt x="83387" y="24038"/>
                  </a:cubicBezTo>
                  <a:close/>
                </a:path>
              </a:pathLst>
            </a:custGeom>
            <a:grp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grpSp>
      <p:grpSp>
        <p:nvGrpSpPr>
          <p:cNvPr id="152" name="Group 409">
            <a:extLst>
              <a:ext uri="{FF2B5EF4-FFF2-40B4-BE49-F238E27FC236}">
                <a16:creationId xmlns:a16="http://schemas.microsoft.com/office/drawing/2014/main" id="{E5875162-4865-7E3D-2EF8-884844060E4D}"/>
              </a:ext>
            </a:extLst>
          </p:cNvPr>
          <p:cNvGrpSpPr/>
          <p:nvPr/>
        </p:nvGrpSpPr>
        <p:grpSpPr>
          <a:xfrm>
            <a:off x="2514334" y="2125188"/>
            <a:ext cx="8094207" cy="2214141"/>
            <a:chOff x="2605454" y="1825458"/>
            <a:chExt cx="8094207" cy="2214141"/>
          </a:xfrm>
        </p:grpSpPr>
        <p:sp>
          <p:nvSpPr>
            <p:cNvPr id="153" name="Freeform: Shape 410">
              <a:extLst>
                <a:ext uri="{FF2B5EF4-FFF2-40B4-BE49-F238E27FC236}">
                  <a16:creationId xmlns:a16="http://schemas.microsoft.com/office/drawing/2014/main" id="{1137D8F9-4952-9FA8-6477-59A21A2765C9}"/>
                </a:ext>
              </a:extLst>
            </p:cNvPr>
            <p:cNvSpPr/>
            <p:nvPr/>
          </p:nvSpPr>
          <p:spPr>
            <a:xfrm>
              <a:off x="2605454" y="1833655"/>
              <a:ext cx="8066826" cy="2167762"/>
            </a:xfrm>
            <a:custGeom>
              <a:avLst/>
              <a:gdLst>
                <a:gd name="connsiteX0" fmla="*/ 0 w 8066826"/>
                <a:gd name="connsiteY0" fmla="*/ 0 h 1806910"/>
                <a:gd name="connsiteX1" fmla="*/ 42779 w 8066826"/>
                <a:gd name="connsiteY1" fmla="*/ 0 h 1806910"/>
                <a:gd name="connsiteX2" fmla="*/ 42779 w 8066826"/>
                <a:gd name="connsiteY2" fmla="*/ 8398 h 1806910"/>
                <a:gd name="connsiteX3" fmla="*/ 82991 w 8066826"/>
                <a:gd name="connsiteY3" fmla="*/ 8398 h 1806910"/>
                <a:gd name="connsiteX4" fmla="*/ 82991 w 8066826"/>
                <a:gd name="connsiteY4" fmla="*/ 17784 h 1806910"/>
                <a:gd name="connsiteX5" fmla="*/ 164485 w 8066826"/>
                <a:gd name="connsiteY5" fmla="*/ 17784 h 1806910"/>
                <a:gd name="connsiteX6" fmla="*/ 164485 w 8066826"/>
                <a:gd name="connsiteY6" fmla="*/ 24700 h 1806910"/>
                <a:gd name="connsiteX7" fmla="*/ 239776 w 8066826"/>
                <a:gd name="connsiteY7" fmla="*/ 24700 h 1806910"/>
                <a:gd name="connsiteX8" fmla="*/ 239776 w 8066826"/>
                <a:gd name="connsiteY8" fmla="*/ 32233 h 1806910"/>
                <a:gd name="connsiteX9" fmla="*/ 262021 w 8066826"/>
                <a:gd name="connsiteY9" fmla="*/ 32233 h 1806910"/>
                <a:gd name="connsiteX10" fmla="*/ 262021 w 8066826"/>
                <a:gd name="connsiteY10" fmla="*/ 50511 h 1806910"/>
                <a:gd name="connsiteX11" fmla="*/ 292822 w 8066826"/>
                <a:gd name="connsiteY11" fmla="*/ 50511 h 1806910"/>
                <a:gd name="connsiteX12" fmla="*/ 292822 w 8066826"/>
                <a:gd name="connsiteY12" fmla="*/ 62367 h 1806910"/>
                <a:gd name="connsiteX13" fmla="*/ 345226 w 8066826"/>
                <a:gd name="connsiteY13" fmla="*/ 62367 h 1806910"/>
                <a:gd name="connsiteX14" fmla="*/ 345226 w 8066826"/>
                <a:gd name="connsiteY14" fmla="*/ 69777 h 1806910"/>
                <a:gd name="connsiteX15" fmla="*/ 397416 w 8066826"/>
                <a:gd name="connsiteY15" fmla="*/ 69777 h 1806910"/>
                <a:gd name="connsiteX16" fmla="*/ 397416 w 8066826"/>
                <a:gd name="connsiteY16" fmla="*/ 76693 h 1806910"/>
                <a:gd name="connsiteX17" fmla="*/ 411106 w 8066826"/>
                <a:gd name="connsiteY17" fmla="*/ 76693 h 1806910"/>
                <a:gd name="connsiteX18" fmla="*/ 411106 w 8066826"/>
                <a:gd name="connsiteY18" fmla="*/ 87561 h 1806910"/>
                <a:gd name="connsiteX19" fmla="*/ 498375 w 8066826"/>
                <a:gd name="connsiteY19" fmla="*/ 87561 h 1806910"/>
                <a:gd name="connsiteX20" fmla="*/ 498375 w 8066826"/>
                <a:gd name="connsiteY20" fmla="*/ 107814 h 1806910"/>
                <a:gd name="connsiteX21" fmla="*/ 595269 w 8066826"/>
                <a:gd name="connsiteY21" fmla="*/ 107814 h 1806910"/>
                <a:gd name="connsiteX22" fmla="*/ 595269 w 8066826"/>
                <a:gd name="connsiteY22" fmla="*/ 122634 h 1806910"/>
                <a:gd name="connsiteX23" fmla="*/ 602114 w 8066826"/>
                <a:gd name="connsiteY23" fmla="*/ 122634 h 1806910"/>
                <a:gd name="connsiteX24" fmla="*/ 602114 w 8066826"/>
                <a:gd name="connsiteY24" fmla="*/ 140048 h 1806910"/>
                <a:gd name="connsiteX25" fmla="*/ 612381 w 8066826"/>
                <a:gd name="connsiteY25" fmla="*/ 140048 h 1806910"/>
                <a:gd name="connsiteX26" fmla="*/ 612381 w 8066826"/>
                <a:gd name="connsiteY26" fmla="*/ 148939 h 1806910"/>
                <a:gd name="connsiteX27" fmla="*/ 634626 w 8066826"/>
                <a:gd name="connsiteY27" fmla="*/ 148939 h 1806910"/>
                <a:gd name="connsiteX28" fmla="*/ 634626 w 8066826"/>
                <a:gd name="connsiteY28" fmla="*/ 162277 h 1806910"/>
                <a:gd name="connsiteX29" fmla="*/ 641470 w 8066826"/>
                <a:gd name="connsiteY29" fmla="*/ 162277 h 1806910"/>
                <a:gd name="connsiteX30" fmla="*/ 641470 w 8066826"/>
                <a:gd name="connsiteY30" fmla="*/ 171663 h 1806910"/>
                <a:gd name="connsiteX31" fmla="*/ 649171 w 8066826"/>
                <a:gd name="connsiteY31" fmla="*/ 171663 h 1806910"/>
                <a:gd name="connsiteX32" fmla="*/ 649171 w 8066826"/>
                <a:gd name="connsiteY32" fmla="*/ 184013 h 1806910"/>
                <a:gd name="connsiteX33" fmla="*/ 679971 w 8066826"/>
                <a:gd name="connsiteY33" fmla="*/ 184013 h 1806910"/>
                <a:gd name="connsiteX34" fmla="*/ 679971 w 8066826"/>
                <a:gd name="connsiteY34" fmla="*/ 189941 h 1806910"/>
                <a:gd name="connsiteX35" fmla="*/ 752909 w 8066826"/>
                <a:gd name="connsiteY35" fmla="*/ 189941 h 1806910"/>
                <a:gd name="connsiteX36" fmla="*/ 752909 w 8066826"/>
                <a:gd name="connsiteY36" fmla="*/ 198339 h 1806910"/>
                <a:gd name="connsiteX37" fmla="*/ 784566 w 8066826"/>
                <a:gd name="connsiteY37" fmla="*/ 198339 h 1806910"/>
                <a:gd name="connsiteX38" fmla="*/ 784566 w 8066826"/>
                <a:gd name="connsiteY38" fmla="*/ 206243 h 1806910"/>
                <a:gd name="connsiteX39" fmla="*/ 842745 w 8066826"/>
                <a:gd name="connsiteY39" fmla="*/ 206243 h 1806910"/>
                <a:gd name="connsiteX40" fmla="*/ 842745 w 8066826"/>
                <a:gd name="connsiteY40" fmla="*/ 211677 h 1806910"/>
                <a:gd name="connsiteX41" fmla="*/ 901138 w 8066826"/>
                <a:gd name="connsiteY41" fmla="*/ 211677 h 1806910"/>
                <a:gd name="connsiteX42" fmla="*/ 901138 w 8066826"/>
                <a:gd name="connsiteY42" fmla="*/ 220075 h 1806910"/>
                <a:gd name="connsiteX43" fmla="*/ 923384 w 8066826"/>
                <a:gd name="connsiteY43" fmla="*/ 220075 h 1806910"/>
                <a:gd name="connsiteX44" fmla="*/ 923384 w 8066826"/>
                <a:gd name="connsiteY44" fmla="*/ 234030 h 1806910"/>
                <a:gd name="connsiteX45" fmla="*/ 962740 w 8066826"/>
                <a:gd name="connsiteY45" fmla="*/ 234030 h 1806910"/>
                <a:gd name="connsiteX46" fmla="*/ 962740 w 8066826"/>
                <a:gd name="connsiteY46" fmla="*/ 246380 h 1806910"/>
                <a:gd name="connsiteX47" fmla="*/ 986696 w 8066826"/>
                <a:gd name="connsiteY47" fmla="*/ 246380 h 1806910"/>
                <a:gd name="connsiteX48" fmla="*/ 986696 w 8066826"/>
                <a:gd name="connsiteY48" fmla="*/ 260212 h 1806910"/>
                <a:gd name="connsiteX49" fmla="*/ 993541 w 8066826"/>
                <a:gd name="connsiteY49" fmla="*/ 260212 h 1806910"/>
                <a:gd name="connsiteX50" fmla="*/ 993541 w 8066826"/>
                <a:gd name="connsiteY50" fmla="*/ 273056 h 1806910"/>
                <a:gd name="connsiteX51" fmla="*/ 1021775 w 8066826"/>
                <a:gd name="connsiteY51" fmla="*/ 273056 h 1806910"/>
                <a:gd name="connsiteX52" fmla="*/ 1021775 w 8066826"/>
                <a:gd name="connsiteY52" fmla="*/ 281948 h 1806910"/>
                <a:gd name="connsiteX53" fmla="*/ 1058779 w 8066826"/>
                <a:gd name="connsiteY53" fmla="*/ 281948 h 1806910"/>
                <a:gd name="connsiteX54" fmla="*/ 1058779 w 8066826"/>
                <a:gd name="connsiteY54" fmla="*/ 296273 h 1806910"/>
                <a:gd name="connsiteX55" fmla="*/ 1103269 w 8066826"/>
                <a:gd name="connsiteY55" fmla="*/ 296273 h 1806910"/>
                <a:gd name="connsiteX56" fmla="*/ 1103269 w 8066826"/>
                <a:gd name="connsiteY56" fmla="*/ 306647 h 1806910"/>
                <a:gd name="connsiteX57" fmla="*/ 1140059 w 8066826"/>
                <a:gd name="connsiteY57" fmla="*/ 306647 h 1806910"/>
                <a:gd name="connsiteX58" fmla="*/ 1140059 w 8066826"/>
                <a:gd name="connsiteY58" fmla="*/ 310105 h 1806910"/>
                <a:gd name="connsiteX59" fmla="*/ 1183694 w 8066826"/>
                <a:gd name="connsiteY59" fmla="*/ 310105 h 1806910"/>
                <a:gd name="connsiteX60" fmla="*/ 1183694 w 8066826"/>
                <a:gd name="connsiteY60" fmla="*/ 322949 h 1806910"/>
                <a:gd name="connsiteX61" fmla="*/ 1213639 w 8066826"/>
                <a:gd name="connsiteY61" fmla="*/ 322949 h 1806910"/>
                <a:gd name="connsiteX62" fmla="*/ 1213639 w 8066826"/>
                <a:gd name="connsiteY62" fmla="*/ 341351 h 1806910"/>
                <a:gd name="connsiteX63" fmla="*/ 1230109 w 8066826"/>
                <a:gd name="connsiteY63" fmla="*/ 341351 h 1806910"/>
                <a:gd name="connsiteX64" fmla="*/ 1230109 w 8066826"/>
                <a:gd name="connsiteY64" fmla="*/ 356170 h 1806910"/>
                <a:gd name="connsiteX65" fmla="*/ 1308822 w 8066826"/>
                <a:gd name="connsiteY65" fmla="*/ 356170 h 1806910"/>
                <a:gd name="connsiteX66" fmla="*/ 1308822 w 8066826"/>
                <a:gd name="connsiteY66" fmla="*/ 361110 h 1806910"/>
                <a:gd name="connsiteX67" fmla="*/ 1338767 w 8066826"/>
                <a:gd name="connsiteY67" fmla="*/ 361110 h 1806910"/>
                <a:gd name="connsiteX68" fmla="*/ 1338767 w 8066826"/>
                <a:gd name="connsiteY68" fmla="*/ 374448 h 1806910"/>
                <a:gd name="connsiteX69" fmla="*/ 1356734 w 8066826"/>
                <a:gd name="connsiteY69" fmla="*/ 374448 h 1806910"/>
                <a:gd name="connsiteX70" fmla="*/ 1356734 w 8066826"/>
                <a:gd name="connsiteY70" fmla="*/ 390256 h 1806910"/>
                <a:gd name="connsiteX71" fmla="*/ 1370424 w 8066826"/>
                <a:gd name="connsiteY71" fmla="*/ 390256 h 1806910"/>
                <a:gd name="connsiteX72" fmla="*/ 1370424 w 8066826"/>
                <a:gd name="connsiteY72" fmla="*/ 396678 h 1806910"/>
                <a:gd name="connsiteX73" fmla="*/ 1385824 w 8066826"/>
                <a:gd name="connsiteY73" fmla="*/ 396678 h 1806910"/>
                <a:gd name="connsiteX74" fmla="*/ 1385824 w 8066826"/>
                <a:gd name="connsiteY74" fmla="*/ 409522 h 1806910"/>
                <a:gd name="connsiteX75" fmla="*/ 1426036 w 8066826"/>
                <a:gd name="connsiteY75" fmla="*/ 409522 h 1806910"/>
                <a:gd name="connsiteX76" fmla="*/ 1426036 w 8066826"/>
                <a:gd name="connsiteY76" fmla="*/ 417920 h 1806910"/>
                <a:gd name="connsiteX77" fmla="*/ 1460473 w 8066826"/>
                <a:gd name="connsiteY77" fmla="*/ 417920 h 1806910"/>
                <a:gd name="connsiteX78" fmla="*/ 1460473 w 8066826"/>
                <a:gd name="connsiteY78" fmla="*/ 431258 h 1806910"/>
                <a:gd name="connsiteX79" fmla="*/ 1494696 w 8066826"/>
                <a:gd name="connsiteY79" fmla="*/ 431258 h 1806910"/>
                <a:gd name="connsiteX80" fmla="*/ 1494696 w 8066826"/>
                <a:gd name="connsiteY80" fmla="*/ 440150 h 1806910"/>
                <a:gd name="connsiteX81" fmla="*/ 1535764 w 8066826"/>
                <a:gd name="connsiteY81" fmla="*/ 440150 h 1806910"/>
                <a:gd name="connsiteX82" fmla="*/ 1535764 w 8066826"/>
                <a:gd name="connsiteY82" fmla="*/ 445584 h 1806910"/>
                <a:gd name="connsiteX83" fmla="*/ 1550309 w 8066826"/>
                <a:gd name="connsiteY83" fmla="*/ 445584 h 1806910"/>
                <a:gd name="connsiteX84" fmla="*/ 1550309 w 8066826"/>
                <a:gd name="connsiteY84" fmla="*/ 454599 h 1806910"/>
                <a:gd name="connsiteX85" fmla="*/ 1636081 w 8066826"/>
                <a:gd name="connsiteY85" fmla="*/ 454599 h 1806910"/>
                <a:gd name="connsiteX86" fmla="*/ 1636081 w 8066826"/>
                <a:gd name="connsiteY86" fmla="*/ 459045 h 1806910"/>
                <a:gd name="connsiteX87" fmla="*/ 1662604 w 8066826"/>
                <a:gd name="connsiteY87" fmla="*/ 459045 h 1806910"/>
                <a:gd name="connsiteX88" fmla="*/ 1662604 w 8066826"/>
                <a:gd name="connsiteY88" fmla="*/ 472383 h 1806910"/>
                <a:gd name="connsiteX89" fmla="*/ 1687415 w 8066826"/>
                <a:gd name="connsiteY89" fmla="*/ 472383 h 1806910"/>
                <a:gd name="connsiteX90" fmla="*/ 1687415 w 8066826"/>
                <a:gd name="connsiteY90" fmla="*/ 481275 h 1806910"/>
                <a:gd name="connsiteX91" fmla="*/ 1707094 w 8066826"/>
                <a:gd name="connsiteY91" fmla="*/ 481275 h 1806910"/>
                <a:gd name="connsiteX92" fmla="*/ 1707094 w 8066826"/>
                <a:gd name="connsiteY92" fmla="*/ 490167 h 1806910"/>
                <a:gd name="connsiteX93" fmla="*/ 1740462 w 8066826"/>
                <a:gd name="connsiteY93" fmla="*/ 490167 h 1806910"/>
                <a:gd name="connsiteX94" fmla="*/ 1740462 w 8066826"/>
                <a:gd name="connsiteY94" fmla="*/ 494613 h 1806910"/>
                <a:gd name="connsiteX95" fmla="*/ 1768696 w 8066826"/>
                <a:gd name="connsiteY95" fmla="*/ 494613 h 1806910"/>
                <a:gd name="connsiteX96" fmla="*/ 1768696 w 8066826"/>
                <a:gd name="connsiteY96" fmla="*/ 503998 h 1806910"/>
                <a:gd name="connsiteX97" fmla="*/ 1794363 w 8066826"/>
                <a:gd name="connsiteY97" fmla="*/ 503998 h 1806910"/>
                <a:gd name="connsiteX98" fmla="*/ 1794363 w 8066826"/>
                <a:gd name="connsiteY98" fmla="*/ 510050 h 1806910"/>
                <a:gd name="connsiteX99" fmla="*/ 1816394 w 8066826"/>
                <a:gd name="connsiteY99" fmla="*/ 510050 h 1806910"/>
                <a:gd name="connsiteX100" fmla="*/ 1816394 w 8066826"/>
                <a:gd name="connsiteY100" fmla="*/ 517336 h 1806910"/>
                <a:gd name="connsiteX101" fmla="*/ 1831581 w 8066826"/>
                <a:gd name="connsiteY101" fmla="*/ 517336 h 1806910"/>
                <a:gd name="connsiteX102" fmla="*/ 1831581 w 8066826"/>
                <a:gd name="connsiteY102" fmla="*/ 526969 h 1806910"/>
                <a:gd name="connsiteX103" fmla="*/ 1847195 w 8066826"/>
                <a:gd name="connsiteY103" fmla="*/ 526969 h 1806910"/>
                <a:gd name="connsiteX104" fmla="*/ 1847195 w 8066826"/>
                <a:gd name="connsiteY104" fmla="*/ 542406 h 1806910"/>
                <a:gd name="connsiteX105" fmla="*/ 1864734 w 8066826"/>
                <a:gd name="connsiteY105" fmla="*/ 542406 h 1806910"/>
                <a:gd name="connsiteX106" fmla="*/ 1864734 w 8066826"/>
                <a:gd name="connsiteY106" fmla="*/ 546482 h 1806910"/>
                <a:gd name="connsiteX107" fmla="*/ 1883985 w 8066826"/>
                <a:gd name="connsiteY107" fmla="*/ 546482 h 1806910"/>
                <a:gd name="connsiteX108" fmla="*/ 1883985 w 8066826"/>
                <a:gd name="connsiteY108" fmla="*/ 558708 h 1806910"/>
                <a:gd name="connsiteX109" fmla="*/ 1905160 w 8066826"/>
                <a:gd name="connsiteY109" fmla="*/ 558708 h 1806910"/>
                <a:gd name="connsiteX110" fmla="*/ 1905160 w 8066826"/>
                <a:gd name="connsiteY110" fmla="*/ 564760 h 1806910"/>
                <a:gd name="connsiteX111" fmla="*/ 1931256 w 8066826"/>
                <a:gd name="connsiteY111" fmla="*/ 564760 h 1806910"/>
                <a:gd name="connsiteX112" fmla="*/ 1931256 w 8066826"/>
                <a:gd name="connsiteY112" fmla="*/ 576369 h 1806910"/>
                <a:gd name="connsiteX113" fmla="*/ 1952003 w 8066826"/>
                <a:gd name="connsiteY113" fmla="*/ 576369 h 1806910"/>
                <a:gd name="connsiteX114" fmla="*/ 1952003 w 8066826"/>
                <a:gd name="connsiteY114" fmla="*/ 579827 h 1806910"/>
                <a:gd name="connsiteX115" fmla="*/ 1971682 w 8066826"/>
                <a:gd name="connsiteY115" fmla="*/ 579827 h 1806910"/>
                <a:gd name="connsiteX116" fmla="*/ 1971682 w 8066826"/>
                <a:gd name="connsiteY116" fmla="*/ 591806 h 1806910"/>
                <a:gd name="connsiteX117" fmla="*/ 2001413 w 8066826"/>
                <a:gd name="connsiteY117" fmla="*/ 591806 h 1806910"/>
                <a:gd name="connsiteX118" fmla="*/ 2001413 w 8066826"/>
                <a:gd name="connsiteY118" fmla="*/ 600821 h 1806910"/>
                <a:gd name="connsiteX119" fmla="*/ 2022589 w 8066826"/>
                <a:gd name="connsiteY119" fmla="*/ 600821 h 1806910"/>
                <a:gd name="connsiteX120" fmla="*/ 2022589 w 8066826"/>
                <a:gd name="connsiteY120" fmla="*/ 608355 h 1806910"/>
                <a:gd name="connsiteX121" fmla="*/ 2064298 w 8066826"/>
                <a:gd name="connsiteY121" fmla="*/ 608355 h 1806910"/>
                <a:gd name="connsiteX122" fmla="*/ 2064298 w 8066826"/>
                <a:gd name="connsiteY122" fmla="*/ 617988 h 1806910"/>
                <a:gd name="connsiteX123" fmla="*/ 2105580 w 8066826"/>
                <a:gd name="connsiteY123" fmla="*/ 617988 h 1806910"/>
                <a:gd name="connsiteX124" fmla="*/ 2105580 w 8066826"/>
                <a:gd name="connsiteY124" fmla="*/ 627250 h 1806910"/>
                <a:gd name="connsiteX125" fmla="*/ 2138306 w 8066826"/>
                <a:gd name="connsiteY125" fmla="*/ 627250 h 1806910"/>
                <a:gd name="connsiteX126" fmla="*/ 2138306 w 8066826"/>
                <a:gd name="connsiteY126" fmla="*/ 630214 h 1806910"/>
                <a:gd name="connsiteX127" fmla="*/ 2160551 w 8066826"/>
                <a:gd name="connsiteY127" fmla="*/ 630214 h 1806910"/>
                <a:gd name="connsiteX128" fmla="*/ 2160551 w 8066826"/>
                <a:gd name="connsiteY128" fmla="*/ 643552 h 1806910"/>
                <a:gd name="connsiteX129" fmla="*/ 2197768 w 8066826"/>
                <a:gd name="connsiteY129" fmla="*/ 643552 h 1806910"/>
                <a:gd name="connsiteX130" fmla="*/ 2197768 w 8066826"/>
                <a:gd name="connsiteY130" fmla="*/ 657260 h 1806910"/>
                <a:gd name="connsiteX131" fmla="*/ 2269851 w 8066826"/>
                <a:gd name="connsiteY131" fmla="*/ 657260 h 1806910"/>
                <a:gd name="connsiteX132" fmla="*/ 2269851 w 8066826"/>
                <a:gd name="connsiteY132" fmla="*/ 675291 h 1806910"/>
                <a:gd name="connsiteX133" fmla="*/ 2305144 w 8066826"/>
                <a:gd name="connsiteY133" fmla="*/ 675291 h 1806910"/>
                <a:gd name="connsiteX134" fmla="*/ 2305144 w 8066826"/>
                <a:gd name="connsiteY134" fmla="*/ 692704 h 1806910"/>
                <a:gd name="connsiteX135" fmla="*/ 2373590 w 8066826"/>
                <a:gd name="connsiteY135" fmla="*/ 692704 h 1806910"/>
                <a:gd name="connsiteX136" fmla="*/ 2373590 w 8066826"/>
                <a:gd name="connsiteY136" fmla="*/ 705548 h 1806910"/>
                <a:gd name="connsiteX137" fmla="*/ 2481393 w 8066826"/>
                <a:gd name="connsiteY137" fmla="*/ 705548 h 1806910"/>
                <a:gd name="connsiteX138" fmla="*/ 2481393 w 8066826"/>
                <a:gd name="connsiteY138" fmla="*/ 720121 h 1806910"/>
                <a:gd name="connsiteX139" fmla="*/ 2555615 w 8066826"/>
                <a:gd name="connsiteY139" fmla="*/ 720121 h 1806910"/>
                <a:gd name="connsiteX140" fmla="*/ 2555615 w 8066826"/>
                <a:gd name="connsiteY140" fmla="*/ 728519 h 1806910"/>
                <a:gd name="connsiteX141" fmla="*/ 2579143 w 8066826"/>
                <a:gd name="connsiteY141" fmla="*/ 728519 h 1806910"/>
                <a:gd name="connsiteX142" fmla="*/ 2579143 w 8066826"/>
                <a:gd name="connsiteY142" fmla="*/ 763716 h 1806910"/>
                <a:gd name="connsiteX143" fmla="*/ 2608447 w 8066826"/>
                <a:gd name="connsiteY143" fmla="*/ 763716 h 1806910"/>
                <a:gd name="connsiteX144" fmla="*/ 2608447 w 8066826"/>
                <a:gd name="connsiteY144" fmla="*/ 774461 h 1806910"/>
                <a:gd name="connsiteX145" fmla="*/ 2638605 w 8066826"/>
                <a:gd name="connsiteY145" fmla="*/ 774461 h 1806910"/>
                <a:gd name="connsiteX146" fmla="*/ 2638605 w 8066826"/>
                <a:gd name="connsiteY146" fmla="*/ 789281 h 1806910"/>
                <a:gd name="connsiteX147" fmla="*/ 2664915 w 8066826"/>
                <a:gd name="connsiteY147" fmla="*/ 789281 h 1806910"/>
                <a:gd name="connsiteX148" fmla="*/ 2664915 w 8066826"/>
                <a:gd name="connsiteY148" fmla="*/ 806447 h 1806910"/>
                <a:gd name="connsiteX149" fmla="*/ 2685021 w 8066826"/>
                <a:gd name="connsiteY149" fmla="*/ 806447 h 1806910"/>
                <a:gd name="connsiteX150" fmla="*/ 2685021 w 8066826"/>
                <a:gd name="connsiteY150" fmla="*/ 824478 h 1806910"/>
                <a:gd name="connsiteX151" fmla="*/ 2705768 w 8066826"/>
                <a:gd name="connsiteY151" fmla="*/ 824478 h 1806910"/>
                <a:gd name="connsiteX152" fmla="*/ 2705768 w 8066826"/>
                <a:gd name="connsiteY152" fmla="*/ 842014 h 1806910"/>
                <a:gd name="connsiteX153" fmla="*/ 2742986 w 8066826"/>
                <a:gd name="connsiteY153" fmla="*/ 842014 h 1806910"/>
                <a:gd name="connsiteX154" fmla="*/ 2742986 w 8066826"/>
                <a:gd name="connsiteY154" fmla="*/ 857946 h 1806910"/>
                <a:gd name="connsiteX155" fmla="*/ 2781701 w 8066826"/>
                <a:gd name="connsiteY155" fmla="*/ 857946 h 1806910"/>
                <a:gd name="connsiteX156" fmla="*/ 2781701 w 8066826"/>
                <a:gd name="connsiteY156" fmla="*/ 869678 h 1806910"/>
                <a:gd name="connsiteX157" fmla="*/ 2817421 w 8066826"/>
                <a:gd name="connsiteY157" fmla="*/ 869678 h 1806910"/>
                <a:gd name="connsiteX158" fmla="*/ 2817421 w 8066826"/>
                <a:gd name="connsiteY158" fmla="*/ 880422 h 1806910"/>
                <a:gd name="connsiteX159" fmla="*/ 2840094 w 8066826"/>
                <a:gd name="connsiteY159" fmla="*/ 880422 h 1806910"/>
                <a:gd name="connsiteX160" fmla="*/ 2840094 w 8066826"/>
                <a:gd name="connsiteY160" fmla="*/ 891167 h 1806910"/>
                <a:gd name="connsiteX161" fmla="*/ 2854853 w 8066826"/>
                <a:gd name="connsiteY161" fmla="*/ 891167 h 1806910"/>
                <a:gd name="connsiteX162" fmla="*/ 2854853 w 8066826"/>
                <a:gd name="connsiteY162" fmla="*/ 901664 h 1806910"/>
                <a:gd name="connsiteX163" fmla="*/ 2883087 w 8066826"/>
                <a:gd name="connsiteY163" fmla="*/ 901664 h 1806910"/>
                <a:gd name="connsiteX164" fmla="*/ 2883087 w 8066826"/>
                <a:gd name="connsiteY164" fmla="*/ 920189 h 1806910"/>
                <a:gd name="connsiteX165" fmla="*/ 2909182 w 8066826"/>
                <a:gd name="connsiteY165" fmla="*/ 920189 h 1806910"/>
                <a:gd name="connsiteX166" fmla="*/ 2909182 w 8066826"/>
                <a:gd name="connsiteY166" fmla="*/ 932416 h 1806910"/>
                <a:gd name="connsiteX167" fmla="*/ 2932497 w 8066826"/>
                <a:gd name="connsiteY167" fmla="*/ 932416 h 1806910"/>
                <a:gd name="connsiteX168" fmla="*/ 2932497 w 8066826"/>
                <a:gd name="connsiteY168" fmla="*/ 940567 h 1806910"/>
                <a:gd name="connsiteX169" fmla="*/ 3009499 w 8066826"/>
                <a:gd name="connsiteY169" fmla="*/ 940567 h 1806910"/>
                <a:gd name="connsiteX170" fmla="*/ 3009499 w 8066826"/>
                <a:gd name="connsiteY170" fmla="*/ 956251 h 1806910"/>
                <a:gd name="connsiteX171" fmla="*/ 3028536 w 8066826"/>
                <a:gd name="connsiteY171" fmla="*/ 956251 h 1806910"/>
                <a:gd name="connsiteX172" fmla="*/ 3028536 w 8066826"/>
                <a:gd name="connsiteY172" fmla="*/ 970824 h 1806910"/>
                <a:gd name="connsiteX173" fmla="*/ 3051209 w 8066826"/>
                <a:gd name="connsiteY173" fmla="*/ 970824 h 1806910"/>
                <a:gd name="connsiteX174" fmla="*/ 3051209 w 8066826"/>
                <a:gd name="connsiteY174" fmla="*/ 987125 h 1806910"/>
                <a:gd name="connsiteX175" fmla="*/ 3069389 w 8066826"/>
                <a:gd name="connsiteY175" fmla="*/ 987125 h 1806910"/>
                <a:gd name="connsiteX176" fmla="*/ 3069389 w 8066826"/>
                <a:gd name="connsiteY176" fmla="*/ 996758 h 1806910"/>
                <a:gd name="connsiteX177" fmla="*/ 3117302 w 8066826"/>
                <a:gd name="connsiteY177" fmla="*/ 996758 h 1806910"/>
                <a:gd name="connsiteX178" fmla="*/ 3117302 w 8066826"/>
                <a:gd name="connsiteY178" fmla="*/ 1010714 h 1806910"/>
                <a:gd name="connsiteX179" fmla="*/ 3160081 w 8066826"/>
                <a:gd name="connsiteY179" fmla="*/ 1010714 h 1806910"/>
                <a:gd name="connsiteX180" fmla="*/ 3160081 w 8066826"/>
                <a:gd name="connsiteY180" fmla="*/ 1017630 h 1806910"/>
                <a:gd name="connsiteX181" fmla="*/ 3199865 w 8066826"/>
                <a:gd name="connsiteY181" fmla="*/ 1017630 h 1806910"/>
                <a:gd name="connsiteX182" fmla="*/ 3199865 w 8066826"/>
                <a:gd name="connsiteY182" fmla="*/ 1025287 h 1806910"/>
                <a:gd name="connsiteX183" fmla="*/ 3231094 w 8066826"/>
                <a:gd name="connsiteY183" fmla="*/ 1025287 h 1806910"/>
                <a:gd name="connsiteX184" fmla="*/ 3231094 w 8066826"/>
                <a:gd name="connsiteY184" fmla="*/ 1038871 h 1806910"/>
                <a:gd name="connsiteX185" fmla="*/ 3278578 w 8066826"/>
                <a:gd name="connsiteY185" fmla="*/ 1038871 h 1806910"/>
                <a:gd name="connsiteX186" fmla="*/ 3278578 w 8066826"/>
                <a:gd name="connsiteY186" fmla="*/ 1052827 h 1806910"/>
                <a:gd name="connsiteX187" fmla="*/ 3300610 w 8066826"/>
                <a:gd name="connsiteY187" fmla="*/ 1052827 h 1806910"/>
                <a:gd name="connsiteX188" fmla="*/ 3300610 w 8066826"/>
                <a:gd name="connsiteY188" fmla="*/ 1077650 h 1806910"/>
                <a:gd name="connsiteX189" fmla="*/ 3404349 w 8066826"/>
                <a:gd name="connsiteY189" fmla="*/ 1077650 h 1806910"/>
                <a:gd name="connsiteX190" fmla="*/ 3404349 w 8066826"/>
                <a:gd name="connsiteY190" fmla="*/ 1084937 h 1806910"/>
                <a:gd name="connsiteX191" fmla="*/ 3453758 w 8066826"/>
                <a:gd name="connsiteY191" fmla="*/ 1084937 h 1806910"/>
                <a:gd name="connsiteX192" fmla="*/ 3453758 w 8066826"/>
                <a:gd name="connsiteY192" fmla="*/ 1091852 h 1806910"/>
                <a:gd name="connsiteX193" fmla="*/ 3501243 w 8066826"/>
                <a:gd name="connsiteY193" fmla="*/ 1091852 h 1806910"/>
                <a:gd name="connsiteX194" fmla="*/ 3541028 w 8066826"/>
                <a:gd name="connsiteY194" fmla="*/ 1091852 h 1806910"/>
                <a:gd name="connsiteX195" fmla="*/ 3541028 w 8066826"/>
                <a:gd name="connsiteY195" fmla="*/ 1102967 h 1806910"/>
                <a:gd name="connsiteX196" fmla="*/ 3626586 w 8066826"/>
                <a:gd name="connsiteY196" fmla="*/ 1102967 h 1806910"/>
                <a:gd name="connsiteX197" fmla="*/ 3626586 w 8066826"/>
                <a:gd name="connsiteY197" fmla="*/ 1112477 h 1806910"/>
                <a:gd name="connsiteX198" fmla="*/ 3656317 w 8066826"/>
                <a:gd name="connsiteY198" fmla="*/ 1112477 h 1806910"/>
                <a:gd name="connsiteX199" fmla="*/ 3656317 w 8066826"/>
                <a:gd name="connsiteY199" fmla="*/ 1124086 h 1806910"/>
                <a:gd name="connsiteX200" fmla="*/ 3673000 w 8066826"/>
                <a:gd name="connsiteY200" fmla="*/ 1124086 h 1806910"/>
                <a:gd name="connsiteX201" fmla="*/ 3673000 w 8066826"/>
                <a:gd name="connsiteY201" fmla="*/ 1137177 h 1806910"/>
                <a:gd name="connsiteX202" fmla="*/ 3708293 w 8066826"/>
                <a:gd name="connsiteY202" fmla="*/ 1137177 h 1806910"/>
                <a:gd name="connsiteX203" fmla="*/ 3708293 w 8066826"/>
                <a:gd name="connsiteY203" fmla="*/ 1155578 h 1806910"/>
                <a:gd name="connsiteX204" fmla="*/ 3744441 w 8066826"/>
                <a:gd name="connsiteY204" fmla="*/ 1155578 h 1806910"/>
                <a:gd name="connsiteX205" fmla="*/ 3744441 w 8066826"/>
                <a:gd name="connsiteY205" fmla="*/ 1184106 h 1806910"/>
                <a:gd name="connsiteX206" fmla="*/ 3757703 w 8066826"/>
                <a:gd name="connsiteY206" fmla="*/ 1184106 h 1806910"/>
                <a:gd name="connsiteX207" fmla="*/ 3757703 w 8066826"/>
                <a:gd name="connsiteY207" fmla="*/ 1208559 h 1806910"/>
                <a:gd name="connsiteX208" fmla="*/ 3821229 w 8066826"/>
                <a:gd name="connsiteY208" fmla="*/ 1208559 h 1806910"/>
                <a:gd name="connsiteX209" fmla="*/ 3821229 w 8066826"/>
                <a:gd name="connsiteY209" fmla="*/ 1215228 h 1806910"/>
                <a:gd name="connsiteX210" fmla="*/ 3914274 w 8066826"/>
                <a:gd name="connsiteY210" fmla="*/ 1215228 h 1806910"/>
                <a:gd name="connsiteX211" fmla="*/ 3914274 w 8066826"/>
                <a:gd name="connsiteY211" fmla="*/ 1230048 h 1806910"/>
                <a:gd name="connsiteX212" fmla="*/ 3938444 w 8066826"/>
                <a:gd name="connsiteY212" fmla="*/ 1230048 h 1806910"/>
                <a:gd name="connsiteX213" fmla="*/ 3938444 w 8066826"/>
                <a:gd name="connsiteY213" fmla="*/ 1262651 h 1806910"/>
                <a:gd name="connsiteX214" fmla="*/ 3981864 w 8066826"/>
                <a:gd name="connsiteY214" fmla="*/ 1262651 h 1806910"/>
                <a:gd name="connsiteX215" fmla="*/ 3981864 w 8066826"/>
                <a:gd name="connsiteY215" fmla="*/ 1277965 h 1806910"/>
                <a:gd name="connsiteX216" fmla="*/ 4006462 w 8066826"/>
                <a:gd name="connsiteY216" fmla="*/ 1277965 h 1806910"/>
                <a:gd name="connsiteX217" fmla="*/ 4006462 w 8066826"/>
                <a:gd name="connsiteY217" fmla="*/ 1285622 h 1806910"/>
                <a:gd name="connsiteX218" fmla="*/ 4025713 w 8066826"/>
                <a:gd name="connsiteY218" fmla="*/ 1285622 h 1806910"/>
                <a:gd name="connsiteX219" fmla="*/ 4025713 w 8066826"/>
                <a:gd name="connsiteY219" fmla="*/ 1303406 h 1806910"/>
                <a:gd name="connsiteX220" fmla="*/ 4068492 w 8066826"/>
                <a:gd name="connsiteY220" fmla="*/ 1303406 h 1806910"/>
                <a:gd name="connsiteX221" fmla="*/ 4068492 w 8066826"/>
                <a:gd name="connsiteY221" fmla="*/ 1319584 h 1806910"/>
                <a:gd name="connsiteX222" fmla="*/ 4122821 w 8066826"/>
                <a:gd name="connsiteY222" fmla="*/ 1319584 h 1806910"/>
                <a:gd name="connsiteX223" fmla="*/ 4122821 w 8066826"/>
                <a:gd name="connsiteY223" fmla="*/ 1333293 h 1806910"/>
                <a:gd name="connsiteX224" fmla="*/ 4142500 w 8066826"/>
                <a:gd name="connsiteY224" fmla="*/ 1333293 h 1806910"/>
                <a:gd name="connsiteX225" fmla="*/ 4142500 w 8066826"/>
                <a:gd name="connsiteY225" fmla="*/ 1341443 h 1806910"/>
                <a:gd name="connsiteX226" fmla="*/ 4191909 w 8066826"/>
                <a:gd name="connsiteY226" fmla="*/ 1341443 h 1806910"/>
                <a:gd name="connsiteX227" fmla="*/ 4191909 w 8066826"/>
                <a:gd name="connsiteY227" fmla="*/ 1356881 h 1806910"/>
                <a:gd name="connsiteX228" fmla="*/ 4326877 w 8066826"/>
                <a:gd name="connsiteY228" fmla="*/ 1356881 h 1806910"/>
                <a:gd name="connsiteX229" fmla="*/ 4326877 w 8066826"/>
                <a:gd name="connsiteY229" fmla="*/ 1381580 h 1806910"/>
                <a:gd name="connsiteX230" fmla="*/ 4366233 w 8066826"/>
                <a:gd name="connsiteY230" fmla="*/ 1381580 h 1806910"/>
                <a:gd name="connsiteX231" fmla="*/ 4366233 w 8066826"/>
                <a:gd name="connsiteY231" fmla="*/ 1402822 h 1806910"/>
                <a:gd name="connsiteX232" fmla="*/ 4450294 w 8066826"/>
                <a:gd name="connsiteY232" fmla="*/ 1402822 h 1806910"/>
                <a:gd name="connsiteX233" fmla="*/ 4450294 w 8066826"/>
                <a:gd name="connsiteY233" fmla="*/ 1410356 h 1806910"/>
                <a:gd name="connsiteX234" fmla="*/ 4523018 w 8066826"/>
                <a:gd name="connsiteY234" fmla="*/ 1410356 h 1806910"/>
                <a:gd name="connsiteX235" fmla="*/ 4523018 w 8066826"/>
                <a:gd name="connsiteY235" fmla="*/ 1416778 h 1806910"/>
                <a:gd name="connsiteX236" fmla="*/ 4584406 w 8066826"/>
                <a:gd name="connsiteY236" fmla="*/ 1416778 h 1806910"/>
                <a:gd name="connsiteX237" fmla="*/ 4584406 w 8066826"/>
                <a:gd name="connsiteY237" fmla="*/ 1425546 h 1806910"/>
                <a:gd name="connsiteX238" fmla="*/ 4666542 w 8066826"/>
                <a:gd name="connsiteY238" fmla="*/ 1425546 h 1806910"/>
                <a:gd name="connsiteX239" fmla="*/ 4666542 w 8066826"/>
                <a:gd name="connsiteY239" fmla="*/ 1439501 h 1806910"/>
                <a:gd name="connsiteX240" fmla="*/ 4764292 w 8066826"/>
                <a:gd name="connsiteY240" fmla="*/ 1439501 h 1806910"/>
                <a:gd name="connsiteX241" fmla="*/ 4764292 w 8066826"/>
                <a:gd name="connsiteY241" fmla="*/ 1451357 h 1806910"/>
                <a:gd name="connsiteX242" fmla="*/ 4779906 w 8066826"/>
                <a:gd name="connsiteY242" fmla="*/ 1451357 h 1806910"/>
                <a:gd name="connsiteX243" fmla="*/ 4779906 w 8066826"/>
                <a:gd name="connsiteY243" fmla="*/ 1466301 h 1806910"/>
                <a:gd name="connsiteX244" fmla="*/ 4840866 w 8066826"/>
                <a:gd name="connsiteY244" fmla="*/ 1466301 h 1806910"/>
                <a:gd name="connsiteX245" fmla="*/ 4840866 w 8066826"/>
                <a:gd name="connsiteY245" fmla="*/ 1483714 h 1806910"/>
                <a:gd name="connsiteX246" fmla="*/ 4872523 w 8066826"/>
                <a:gd name="connsiteY246" fmla="*/ 1483714 h 1806910"/>
                <a:gd name="connsiteX247" fmla="*/ 4872523 w 8066826"/>
                <a:gd name="connsiteY247" fmla="*/ 1501127 h 1806910"/>
                <a:gd name="connsiteX248" fmla="*/ 4893270 w 8066826"/>
                <a:gd name="connsiteY248" fmla="*/ 1501127 h 1806910"/>
                <a:gd name="connsiteX249" fmla="*/ 4893270 w 8066826"/>
                <a:gd name="connsiteY249" fmla="*/ 1515700 h 1806910"/>
                <a:gd name="connsiteX250" fmla="*/ 4918937 w 8066826"/>
                <a:gd name="connsiteY250" fmla="*/ 1515700 h 1806910"/>
                <a:gd name="connsiteX251" fmla="*/ 4918937 w 8066826"/>
                <a:gd name="connsiteY251" fmla="*/ 1527062 h 1806910"/>
                <a:gd name="connsiteX252" fmla="*/ 4963855 w 8066826"/>
                <a:gd name="connsiteY252" fmla="*/ 1527062 h 1806910"/>
                <a:gd name="connsiteX253" fmla="*/ 4963855 w 8066826"/>
                <a:gd name="connsiteY253" fmla="*/ 1535830 h 1806910"/>
                <a:gd name="connsiteX254" fmla="*/ 5025671 w 8066826"/>
                <a:gd name="connsiteY254" fmla="*/ 1535830 h 1806910"/>
                <a:gd name="connsiteX255" fmla="*/ 5025671 w 8066826"/>
                <a:gd name="connsiteY255" fmla="*/ 1545093 h 1806910"/>
                <a:gd name="connsiteX256" fmla="*/ 5157216 w 8066826"/>
                <a:gd name="connsiteY256" fmla="*/ 1545093 h 1806910"/>
                <a:gd name="connsiteX257" fmla="*/ 5157216 w 8066826"/>
                <a:gd name="connsiteY257" fmla="*/ 1553244 h 1806910"/>
                <a:gd name="connsiteX258" fmla="*/ 5300312 w 8066826"/>
                <a:gd name="connsiteY258" fmla="*/ 1553244 h 1806910"/>
                <a:gd name="connsiteX259" fmla="*/ 5300312 w 8066826"/>
                <a:gd name="connsiteY259" fmla="*/ 1560777 h 1806910"/>
                <a:gd name="connsiteX260" fmla="*/ 5356780 w 8066826"/>
                <a:gd name="connsiteY260" fmla="*/ 1560777 h 1806910"/>
                <a:gd name="connsiteX261" fmla="*/ 5356780 w 8066826"/>
                <a:gd name="connsiteY261" fmla="*/ 1576461 h 1806910"/>
                <a:gd name="connsiteX262" fmla="*/ 5388008 w 8066826"/>
                <a:gd name="connsiteY262" fmla="*/ 1576461 h 1806910"/>
                <a:gd name="connsiteX263" fmla="*/ 5388008 w 8066826"/>
                <a:gd name="connsiteY263" fmla="*/ 1595110 h 1806910"/>
                <a:gd name="connsiteX264" fmla="*/ 5562333 w 8066826"/>
                <a:gd name="connsiteY264" fmla="*/ 1595110 h 1806910"/>
                <a:gd name="connsiteX265" fmla="*/ 5562333 w 8066826"/>
                <a:gd name="connsiteY265" fmla="*/ 1632036 h 1806910"/>
                <a:gd name="connsiteX266" fmla="*/ 5608106 w 8066826"/>
                <a:gd name="connsiteY266" fmla="*/ 1632036 h 1806910"/>
                <a:gd name="connsiteX267" fmla="*/ 5608106 w 8066826"/>
                <a:gd name="connsiteY267" fmla="*/ 1650067 h 1806910"/>
                <a:gd name="connsiteX268" fmla="*/ 5647891 w 8066826"/>
                <a:gd name="connsiteY268" fmla="*/ 1650067 h 1806910"/>
                <a:gd name="connsiteX269" fmla="*/ 5647891 w 8066826"/>
                <a:gd name="connsiteY269" fmla="*/ 1670691 h 1806910"/>
                <a:gd name="connsiteX270" fmla="*/ 5760186 w 8066826"/>
                <a:gd name="connsiteY270" fmla="*/ 1670691 h 1806910"/>
                <a:gd name="connsiteX271" fmla="*/ 5943707 w 8066826"/>
                <a:gd name="connsiteY271" fmla="*/ 1670691 h 1806910"/>
                <a:gd name="connsiteX272" fmla="*/ 5943707 w 8066826"/>
                <a:gd name="connsiteY272" fmla="*/ 1696008 h 1806910"/>
                <a:gd name="connsiteX273" fmla="*/ 5972369 w 8066826"/>
                <a:gd name="connsiteY273" fmla="*/ 1696008 h 1806910"/>
                <a:gd name="connsiteX274" fmla="*/ 5972369 w 8066826"/>
                <a:gd name="connsiteY274" fmla="*/ 1717868 h 1806910"/>
                <a:gd name="connsiteX275" fmla="*/ 5999534 w 8066826"/>
                <a:gd name="connsiteY275" fmla="*/ 1717868 h 1806910"/>
                <a:gd name="connsiteX276" fmla="*/ 5999534 w 8066826"/>
                <a:gd name="connsiteY276" fmla="*/ 1722808 h 1806910"/>
                <a:gd name="connsiteX277" fmla="*/ 6468177 w 8066826"/>
                <a:gd name="connsiteY277" fmla="*/ 1722808 h 1806910"/>
                <a:gd name="connsiteX278" fmla="*/ 6468177 w 8066826"/>
                <a:gd name="connsiteY278" fmla="*/ 1757758 h 1806910"/>
                <a:gd name="connsiteX279" fmla="*/ 6618759 w 8066826"/>
                <a:gd name="connsiteY279" fmla="*/ 1757758 h 1806910"/>
                <a:gd name="connsiteX280" fmla="*/ 6762496 w 8066826"/>
                <a:gd name="connsiteY280" fmla="*/ 1757758 h 1806910"/>
                <a:gd name="connsiteX281" fmla="*/ 6762496 w 8066826"/>
                <a:gd name="connsiteY281" fmla="*/ 1806910 h 1806910"/>
                <a:gd name="connsiteX282" fmla="*/ 7039490 w 8066826"/>
                <a:gd name="connsiteY282" fmla="*/ 1806910 h 1806910"/>
                <a:gd name="connsiteX283" fmla="*/ 7454660 w 8066826"/>
                <a:gd name="connsiteY283" fmla="*/ 1806910 h 1806910"/>
                <a:gd name="connsiteX284" fmla="*/ 7776999 w 8066826"/>
                <a:gd name="connsiteY284" fmla="*/ 1806910 h 1806910"/>
                <a:gd name="connsiteX285" fmla="*/ 8066827 w 8066826"/>
                <a:gd name="connsiteY285" fmla="*/ 1806910 h 180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Lst>
              <a:rect l="l" t="t" r="r" b="b"/>
              <a:pathLst>
                <a:path w="8066826" h="1806910">
                  <a:moveTo>
                    <a:pt x="0" y="0"/>
                  </a:moveTo>
                  <a:lnTo>
                    <a:pt x="42779" y="0"/>
                  </a:lnTo>
                  <a:lnTo>
                    <a:pt x="42779" y="8398"/>
                  </a:lnTo>
                  <a:lnTo>
                    <a:pt x="82991" y="8398"/>
                  </a:lnTo>
                  <a:lnTo>
                    <a:pt x="82991" y="17784"/>
                  </a:lnTo>
                  <a:lnTo>
                    <a:pt x="164485" y="17784"/>
                  </a:lnTo>
                  <a:lnTo>
                    <a:pt x="164485" y="24700"/>
                  </a:lnTo>
                  <a:lnTo>
                    <a:pt x="239776" y="24700"/>
                  </a:lnTo>
                  <a:lnTo>
                    <a:pt x="239776" y="32233"/>
                  </a:lnTo>
                  <a:lnTo>
                    <a:pt x="262021" y="32233"/>
                  </a:lnTo>
                  <a:lnTo>
                    <a:pt x="262021" y="50511"/>
                  </a:lnTo>
                  <a:lnTo>
                    <a:pt x="292822" y="50511"/>
                  </a:lnTo>
                  <a:lnTo>
                    <a:pt x="292822" y="62367"/>
                  </a:lnTo>
                  <a:lnTo>
                    <a:pt x="345226" y="62367"/>
                  </a:lnTo>
                  <a:lnTo>
                    <a:pt x="345226" y="69777"/>
                  </a:lnTo>
                  <a:lnTo>
                    <a:pt x="397416" y="69777"/>
                  </a:lnTo>
                  <a:lnTo>
                    <a:pt x="397416" y="76693"/>
                  </a:lnTo>
                  <a:lnTo>
                    <a:pt x="411106" y="76693"/>
                  </a:lnTo>
                  <a:lnTo>
                    <a:pt x="411106" y="87561"/>
                  </a:lnTo>
                  <a:lnTo>
                    <a:pt x="498375" y="87561"/>
                  </a:lnTo>
                  <a:lnTo>
                    <a:pt x="498375" y="107814"/>
                  </a:lnTo>
                  <a:lnTo>
                    <a:pt x="595269" y="107814"/>
                  </a:lnTo>
                  <a:lnTo>
                    <a:pt x="595269" y="122634"/>
                  </a:lnTo>
                  <a:lnTo>
                    <a:pt x="602114" y="122634"/>
                  </a:lnTo>
                  <a:lnTo>
                    <a:pt x="602114" y="140048"/>
                  </a:lnTo>
                  <a:lnTo>
                    <a:pt x="612381" y="140048"/>
                  </a:lnTo>
                  <a:lnTo>
                    <a:pt x="612381" y="148939"/>
                  </a:lnTo>
                  <a:lnTo>
                    <a:pt x="634626" y="148939"/>
                  </a:lnTo>
                  <a:lnTo>
                    <a:pt x="634626" y="162277"/>
                  </a:lnTo>
                  <a:lnTo>
                    <a:pt x="641470" y="162277"/>
                  </a:lnTo>
                  <a:lnTo>
                    <a:pt x="641470" y="171663"/>
                  </a:lnTo>
                  <a:lnTo>
                    <a:pt x="649171" y="171663"/>
                  </a:lnTo>
                  <a:lnTo>
                    <a:pt x="649171" y="184013"/>
                  </a:lnTo>
                  <a:lnTo>
                    <a:pt x="679971" y="184013"/>
                  </a:lnTo>
                  <a:lnTo>
                    <a:pt x="679971" y="189941"/>
                  </a:lnTo>
                  <a:lnTo>
                    <a:pt x="752909" y="189941"/>
                  </a:lnTo>
                  <a:lnTo>
                    <a:pt x="752909" y="198339"/>
                  </a:lnTo>
                  <a:lnTo>
                    <a:pt x="784566" y="198339"/>
                  </a:lnTo>
                  <a:lnTo>
                    <a:pt x="784566" y="206243"/>
                  </a:lnTo>
                  <a:lnTo>
                    <a:pt x="842745" y="206243"/>
                  </a:lnTo>
                  <a:lnTo>
                    <a:pt x="842745" y="211677"/>
                  </a:lnTo>
                  <a:lnTo>
                    <a:pt x="901138" y="211677"/>
                  </a:lnTo>
                  <a:lnTo>
                    <a:pt x="901138" y="220075"/>
                  </a:lnTo>
                  <a:lnTo>
                    <a:pt x="923384" y="220075"/>
                  </a:lnTo>
                  <a:lnTo>
                    <a:pt x="923384" y="234030"/>
                  </a:lnTo>
                  <a:lnTo>
                    <a:pt x="962740" y="234030"/>
                  </a:lnTo>
                  <a:lnTo>
                    <a:pt x="962740" y="246380"/>
                  </a:lnTo>
                  <a:lnTo>
                    <a:pt x="986696" y="246380"/>
                  </a:lnTo>
                  <a:lnTo>
                    <a:pt x="986696" y="260212"/>
                  </a:lnTo>
                  <a:lnTo>
                    <a:pt x="993541" y="260212"/>
                  </a:lnTo>
                  <a:lnTo>
                    <a:pt x="993541" y="273056"/>
                  </a:lnTo>
                  <a:lnTo>
                    <a:pt x="1021775" y="273056"/>
                  </a:lnTo>
                  <a:lnTo>
                    <a:pt x="1021775" y="281948"/>
                  </a:lnTo>
                  <a:lnTo>
                    <a:pt x="1058779" y="281948"/>
                  </a:lnTo>
                  <a:lnTo>
                    <a:pt x="1058779" y="296273"/>
                  </a:lnTo>
                  <a:lnTo>
                    <a:pt x="1103269" y="296273"/>
                  </a:lnTo>
                  <a:lnTo>
                    <a:pt x="1103269" y="306647"/>
                  </a:lnTo>
                  <a:lnTo>
                    <a:pt x="1140059" y="306647"/>
                  </a:lnTo>
                  <a:lnTo>
                    <a:pt x="1140059" y="310105"/>
                  </a:lnTo>
                  <a:lnTo>
                    <a:pt x="1183694" y="310105"/>
                  </a:lnTo>
                  <a:lnTo>
                    <a:pt x="1183694" y="322949"/>
                  </a:lnTo>
                  <a:lnTo>
                    <a:pt x="1213639" y="322949"/>
                  </a:lnTo>
                  <a:lnTo>
                    <a:pt x="1213639" y="341351"/>
                  </a:lnTo>
                  <a:lnTo>
                    <a:pt x="1230109" y="341351"/>
                  </a:lnTo>
                  <a:lnTo>
                    <a:pt x="1230109" y="356170"/>
                  </a:lnTo>
                  <a:lnTo>
                    <a:pt x="1308822" y="356170"/>
                  </a:lnTo>
                  <a:lnTo>
                    <a:pt x="1308822" y="361110"/>
                  </a:lnTo>
                  <a:lnTo>
                    <a:pt x="1338767" y="361110"/>
                  </a:lnTo>
                  <a:lnTo>
                    <a:pt x="1338767" y="374448"/>
                  </a:lnTo>
                  <a:lnTo>
                    <a:pt x="1356734" y="374448"/>
                  </a:lnTo>
                  <a:lnTo>
                    <a:pt x="1356734" y="390256"/>
                  </a:lnTo>
                  <a:lnTo>
                    <a:pt x="1370424" y="390256"/>
                  </a:lnTo>
                  <a:lnTo>
                    <a:pt x="1370424" y="396678"/>
                  </a:lnTo>
                  <a:lnTo>
                    <a:pt x="1385824" y="396678"/>
                  </a:lnTo>
                  <a:lnTo>
                    <a:pt x="1385824" y="409522"/>
                  </a:lnTo>
                  <a:lnTo>
                    <a:pt x="1426036" y="409522"/>
                  </a:lnTo>
                  <a:lnTo>
                    <a:pt x="1426036" y="417920"/>
                  </a:lnTo>
                  <a:lnTo>
                    <a:pt x="1460473" y="417920"/>
                  </a:lnTo>
                  <a:lnTo>
                    <a:pt x="1460473" y="431258"/>
                  </a:lnTo>
                  <a:lnTo>
                    <a:pt x="1494696" y="431258"/>
                  </a:lnTo>
                  <a:lnTo>
                    <a:pt x="1494696" y="440150"/>
                  </a:lnTo>
                  <a:lnTo>
                    <a:pt x="1535764" y="440150"/>
                  </a:lnTo>
                  <a:lnTo>
                    <a:pt x="1535764" y="445584"/>
                  </a:lnTo>
                  <a:lnTo>
                    <a:pt x="1550309" y="445584"/>
                  </a:lnTo>
                  <a:lnTo>
                    <a:pt x="1550309" y="454599"/>
                  </a:lnTo>
                  <a:lnTo>
                    <a:pt x="1636081" y="454599"/>
                  </a:lnTo>
                  <a:lnTo>
                    <a:pt x="1636081" y="459045"/>
                  </a:lnTo>
                  <a:lnTo>
                    <a:pt x="1662604" y="459045"/>
                  </a:lnTo>
                  <a:lnTo>
                    <a:pt x="1662604" y="472383"/>
                  </a:lnTo>
                  <a:lnTo>
                    <a:pt x="1687415" y="472383"/>
                  </a:lnTo>
                  <a:lnTo>
                    <a:pt x="1687415" y="481275"/>
                  </a:lnTo>
                  <a:lnTo>
                    <a:pt x="1707094" y="481275"/>
                  </a:lnTo>
                  <a:lnTo>
                    <a:pt x="1707094" y="490167"/>
                  </a:lnTo>
                  <a:lnTo>
                    <a:pt x="1740462" y="490167"/>
                  </a:lnTo>
                  <a:lnTo>
                    <a:pt x="1740462" y="494613"/>
                  </a:lnTo>
                  <a:lnTo>
                    <a:pt x="1768696" y="494613"/>
                  </a:lnTo>
                  <a:lnTo>
                    <a:pt x="1768696" y="503998"/>
                  </a:lnTo>
                  <a:lnTo>
                    <a:pt x="1794363" y="503998"/>
                  </a:lnTo>
                  <a:lnTo>
                    <a:pt x="1794363" y="510050"/>
                  </a:lnTo>
                  <a:lnTo>
                    <a:pt x="1816394" y="510050"/>
                  </a:lnTo>
                  <a:lnTo>
                    <a:pt x="1816394" y="517336"/>
                  </a:lnTo>
                  <a:lnTo>
                    <a:pt x="1831581" y="517336"/>
                  </a:lnTo>
                  <a:lnTo>
                    <a:pt x="1831581" y="526969"/>
                  </a:lnTo>
                  <a:lnTo>
                    <a:pt x="1847195" y="526969"/>
                  </a:lnTo>
                  <a:lnTo>
                    <a:pt x="1847195" y="542406"/>
                  </a:lnTo>
                  <a:lnTo>
                    <a:pt x="1864734" y="542406"/>
                  </a:lnTo>
                  <a:lnTo>
                    <a:pt x="1864734" y="546482"/>
                  </a:lnTo>
                  <a:lnTo>
                    <a:pt x="1883985" y="546482"/>
                  </a:lnTo>
                  <a:lnTo>
                    <a:pt x="1883985" y="558708"/>
                  </a:lnTo>
                  <a:lnTo>
                    <a:pt x="1905160" y="558708"/>
                  </a:lnTo>
                  <a:lnTo>
                    <a:pt x="1905160" y="564760"/>
                  </a:lnTo>
                  <a:lnTo>
                    <a:pt x="1931256" y="564760"/>
                  </a:lnTo>
                  <a:lnTo>
                    <a:pt x="1931256" y="576369"/>
                  </a:lnTo>
                  <a:lnTo>
                    <a:pt x="1952003" y="576369"/>
                  </a:lnTo>
                  <a:lnTo>
                    <a:pt x="1952003" y="579827"/>
                  </a:lnTo>
                  <a:lnTo>
                    <a:pt x="1971682" y="579827"/>
                  </a:lnTo>
                  <a:lnTo>
                    <a:pt x="1971682" y="591806"/>
                  </a:lnTo>
                  <a:lnTo>
                    <a:pt x="2001413" y="591806"/>
                  </a:lnTo>
                  <a:lnTo>
                    <a:pt x="2001413" y="600821"/>
                  </a:lnTo>
                  <a:lnTo>
                    <a:pt x="2022589" y="600821"/>
                  </a:lnTo>
                  <a:lnTo>
                    <a:pt x="2022589" y="608355"/>
                  </a:lnTo>
                  <a:lnTo>
                    <a:pt x="2064298" y="608355"/>
                  </a:lnTo>
                  <a:lnTo>
                    <a:pt x="2064298" y="617988"/>
                  </a:lnTo>
                  <a:lnTo>
                    <a:pt x="2105580" y="617988"/>
                  </a:lnTo>
                  <a:lnTo>
                    <a:pt x="2105580" y="627250"/>
                  </a:lnTo>
                  <a:lnTo>
                    <a:pt x="2138306" y="627250"/>
                  </a:lnTo>
                  <a:lnTo>
                    <a:pt x="2138306" y="630214"/>
                  </a:lnTo>
                  <a:lnTo>
                    <a:pt x="2160551" y="630214"/>
                  </a:lnTo>
                  <a:lnTo>
                    <a:pt x="2160551" y="643552"/>
                  </a:lnTo>
                  <a:lnTo>
                    <a:pt x="2197768" y="643552"/>
                  </a:lnTo>
                  <a:lnTo>
                    <a:pt x="2197768" y="657260"/>
                  </a:lnTo>
                  <a:lnTo>
                    <a:pt x="2269851" y="657260"/>
                  </a:lnTo>
                  <a:lnTo>
                    <a:pt x="2269851" y="675291"/>
                  </a:lnTo>
                  <a:lnTo>
                    <a:pt x="2305144" y="675291"/>
                  </a:lnTo>
                  <a:lnTo>
                    <a:pt x="2305144" y="692704"/>
                  </a:lnTo>
                  <a:lnTo>
                    <a:pt x="2373590" y="692704"/>
                  </a:lnTo>
                  <a:lnTo>
                    <a:pt x="2373590" y="705548"/>
                  </a:lnTo>
                  <a:lnTo>
                    <a:pt x="2481393" y="705548"/>
                  </a:lnTo>
                  <a:lnTo>
                    <a:pt x="2481393" y="720121"/>
                  </a:lnTo>
                  <a:lnTo>
                    <a:pt x="2555615" y="720121"/>
                  </a:lnTo>
                  <a:lnTo>
                    <a:pt x="2555615" y="728519"/>
                  </a:lnTo>
                  <a:lnTo>
                    <a:pt x="2579143" y="728519"/>
                  </a:lnTo>
                  <a:lnTo>
                    <a:pt x="2579143" y="763716"/>
                  </a:lnTo>
                  <a:lnTo>
                    <a:pt x="2608447" y="763716"/>
                  </a:lnTo>
                  <a:lnTo>
                    <a:pt x="2608447" y="774461"/>
                  </a:lnTo>
                  <a:lnTo>
                    <a:pt x="2638605" y="774461"/>
                  </a:lnTo>
                  <a:lnTo>
                    <a:pt x="2638605" y="789281"/>
                  </a:lnTo>
                  <a:lnTo>
                    <a:pt x="2664915" y="789281"/>
                  </a:lnTo>
                  <a:lnTo>
                    <a:pt x="2664915" y="806447"/>
                  </a:lnTo>
                  <a:lnTo>
                    <a:pt x="2685021" y="806447"/>
                  </a:lnTo>
                  <a:lnTo>
                    <a:pt x="2685021" y="824478"/>
                  </a:lnTo>
                  <a:lnTo>
                    <a:pt x="2705768" y="824478"/>
                  </a:lnTo>
                  <a:lnTo>
                    <a:pt x="2705768" y="842014"/>
                  </a:lnTo>
                  <a:lnTo>
                    <a:pt x="2742986" y="842014"/>
                  </a:lnTo>
                  <a:lnTo>
                    <a:pt x="2742986" y="857946"/>
                  </a:lnTo>
                  <a:lnTo>
                    <a:pt x="2781701" y="857946"/>
                  </a:lnTo>
                  <a:lnTo>
                    <a:pt x="2781701" y="869678"/>
                  </a:lnTo>
                  <a:lnTo>
                    <a:pt x="2817421" y="869678"/>
                  </a:lnTo>
                  <a:lnTo>
                    <a:pt x="2817421" y="880422"/>
                  </a:lnTo>
                  <a:lnTo>
                    <a:pt x="2840094" y="880422"/>
                  </a:lnTo>
                  <a:lnTo>
                    <a:pt x="2840094" y="891167"/>
                  </a:lnTo>
                  <a:lnTo>
                    <a:pt x="2854853" y="891167"/>
                  </a:lnTo>
                  <a:lnTo>
                    <a:pt x="2854853" y="901664"/>
                  </a:lnTo>
                  <a:lnTo>
                    <a:pt x="2883087" y="901664"/>
                  </a:lnTo>
                  <a:lnTo>
                    <a:pt x="2883087" y="920189"/>
                  </a:lnTo>
                  <a:lnTo>
                    <a:pt x="2909182" y="920189"/>
                  </a:lnTo>
                  <a:lnTo>
                    <a:pt x="2909182" y="932416"/>
                  </a:lnTo>
                  <a:lnTo>
                    <a:pt x="2932497" y="932416"/>
                  </a:lnTo>
                  <a:lnTo>
                    <a:pt x="2932497" y="940567"/>
                  </a:lnTo>
                  <a:lnTo>
                    <a:pt x="3009499" y="940567"/>
                  </a:lnTo>
                  <a:lnTo>
                    <a:pt x="3009499" y="956251"/>
                  </a:lnTo>
                  <a:lnTo>
                    <a:pt x="3028536" y="956251"/>
                  </a:lnTo>
                  <a:lnTo>
                    <a:pt x="3028536" y="970824"/>
                  </a:lnTo>
                  <a:lnTo>
                    <a:pt x="3051209" y="970824"/>
                  </a:lnTo>
                  <a:lnTo>
                    <a:pt x="3051209" y="987125"/>
                  </a:lnTo>
                  <a:lnTo>
                    <a:pt x="3069389" y="987125"/>
                  </a:lnTo>
                  <a:lnTo>
                    <a:pt x="3069389" y="996758"/>
                  </a:lnTo>
                  <a:lnTo>
                    <a:pt x="3117302" y="996758"/>
                  </a:lnTo>
                  <a:lnTo>
                    <a:pt x="3117302" y="1010714"/>
                  </a:lnTo>
                  <a:lnTo>
                    <a:pt x="3160081" y="1010714"/>
                  </a:lnTo>
                  <a:lnTo>
                    <a:pt x="3160081" y="1017630"/>
                  </a:lnTo>
                  <a:lnTo>
                    <a:pt x="3199865" y="1017630"/>
                  </a:lnTo>
                  <a:lnTo>
                    <a:pt x="3199865" y="1025287"/>
                  </a:lnTo>
                  <a:lnTo>
                    <a:pt x="3231094" y="1025287"/>
                  </a:lnTo>
                  <a:lnTo>
                    <a:pt x="3231094" y="1038871"/>
                  </a:lnTo>
                  <a:lnTo>
                    <a:pt x="3278578" y="1038871"/>
                  </a:lnTo>
                  <a:lnTo>
                    <a:pt x="3278578" y="1052827"/>
                  </a:lnTo>
                  <a:lnTo>
                    <a:pt x="3300610" y="1052827"/>
                  </a:lnTo>
                  <a:lnTo>
                    <a:pt x="3300610" y="1077650"/>
                  </a:lnTo>
                  <a:lnTo>
                    <a:pt x="3404349" y="1077650"/>
                  </a:lnTo>
                  <a:lnTo>
                    <a:pt x="3404349" y="1084937"/>
                  </a:lnTo>
                  <a:lnTo>
                    <a:pt x="3453758" y="1084937"/>
                  </a:lnTo>
                  <a:lnTo>
                    <a:pt x="3453758" y="1091852"/>
                  </a:lnTo>
                  <a:lnTo>
                    <a:pt x="3501243" y="1091852"/>
                  </a:lnTo>
                  <a:lnTo>
                    <a:pt x="3541028" y="1091852"/>
                  </a:lnTo>
                  <a:lnTo>
                    <a:pt x="3541028" y="1102967"/>
                  </a:lnTo>
                  <a:lnTo>
                    <a:pt x="3626586" y="1102967"/>
                  </a:lnTo>
                  <a:lnTo>
                    <a:pt x="3626586" y="1112477"/>
                  </a:lnTo>
                  <a:lnTo>
                    <a:pt x="3656317" y="1112477"/>
                  </a:lnTo>
                  <a:lnTo>
                    <a:pt x="3656317" y="1124086"/>
                  </a:lnTo>
                  <a:lnTo>
                    <a:pt x="3673000" y="1124086"/>
                  </a:lnTo>
                  <a:lnTo>
                    <a:pt x="3673000" y="1137177"/>
                  </a:lnTo>
                  <a:lnTo>
                    <a:pt x="3708293" y="1137177"/>
                  </a:lnTo>
                  <a:lnTo>
                    <a:pt x="3708293" y="1155578"/>
                  </a:lnTo>
                  <a:lnTo>
                    <a:pt x="3744441" y="1155578"/>
                  </a:lnTo>
                  <a:lnTo>
                    <a:pt x="3744441" y="1184106"/>
                  </a:lnTo>
                  <a:lnTo>
                    <a:pt x="3757703" y="1184106"/>
                  </a:lnTo>
                  <a:lnTo>
                    <a:pt x="3757703" y="1208559"/>
                  </a:lnTo>
                  <a:lnTo>
                    <a:pt x="3821229" y="1208559"/>
                  </a:lnTo>
                  <a:lnTo>
                    <a:pt x="3821229" y="1215228"/>
                  </a:lnTo>
                  <a:lnTo>
                    <a:pt x="3914274" y="1215228"/>
                  </a:lnTo>
                  <a:lnTo>
                    <a:pt x="3914274" y="1230048"/>
                  </a:lnTo>
                  <a:lnTo>
                    <a:pt x="3938444" y="1230048"/>
                  </a:lnTo>
                  <a:lnTo>
                    <a:pt x="3938444" y="1262651"/>
                  </a:lnTo>
                  <a:lnTo>
                    <a:pt x="3981864" y="1262651"/>
                  </a:lnTo>
                  <a:lnTo>
                    <a:pt x="3981864" y="1277965"/>
                  </a:lnTo>
                  <a:lnTo>
                    <a:pt x="4006462" y="1277965"/>
                  </a:lnTo>
                  <a:lnTo>
                    <a:pt x="4006462" y="1285622"/>
                  </a:lnTo>
                  <a:lnTo>
                    <a:pt x="4025713" y="1285622"/>
                  </a:lnTo>
                  <a:lnTo>
                    <a:pt x="4025713" y="1303406"/>
                  </a:lnTo>
                  <a:lnTo>
                    <a:pt x="4068492" y="1303406"/>
                  </a:lnTo>
                  <a:lnTo>
                    <a:pt x="4068492" y="1319584"/>
                  </a:lnTo>
                  <a:lnTo>
                    <a:pt x="4122821" y="1319584"/>
                  </a:lnTo>
                  <a:lnTo>
                    <a:pt x="4122821" y="1333293"/>
                  </a:lnTo>
                  <a:lnTo>
                    <a:pt x="4142500" y="1333293"/>
                  </a:lnTo>
                  <a:lnTo>
                    <a:pt x="4142500" y="1341443"/>
                  </a:lnTo>
                  <a:lnTo>
                    <a:pt x="4191909" y="1341443"/>
                  </a:lnTo>
                  <a:lnTo>
                    <a:pt x="4191909" y="1356881"/>
                  </a:lnTo>
                  <a:lnTo>
                    <a:pt x="4326877" y="1356881"/>
                  </a:lnTo>
                  <a:lnTo>
                    <a:pt x="4326877" y="1381580"/>
                  </a:lnTo>
                  <a:lnTo>
                    <a:pt x="4366233" y="1381580"/>
                  </a:lnTo>
                  <a:lnTo>
                    <a:pt x="4366233" y="1402822"/>
                  </a:lnTo>
                  <a:lnTo>
                    <a:pt x="4450294" y="1402822"/>
                  </a:lnTo>
                  <a:lnTo>
                    <a:pt x="4450294" y="1410356"/>
                  </a:lnTo>
                  <a:lnTo>
                    <a:pt x="4523018" y="1410356"/>
                  </a:lnTo>
                  <a:lnTo>
                    <a:pt x="4523018" y="1416778"/>
                  </a:lnTo>
                  <a:lnTo>
                    <a:pt x="4584406" y="1416778"/>
                  </a:lnTo>
                  <a:lnTo>
                    <a:pt x="4584406" y="1425546"/>
                  </a:lnTo>
                  <a:lnTo>
                    <a:pt x="4666542" y="1425546"/>
                  </a:lnTo>
                  <a:lnTo>
                    <a:pt x="4666542" y="1439501"/>
                  </a:lnTo>
                  <a:lnTo>
                    <a:pt x="4764292" y="1439501"/>
                  </a:lnTo>
                  <a:lnTo>
                    <a:pt x="4764292" y="1451357"/>
                  </a:lnTo>
                  <a:lnTo>
                    <a:pt x="4779906" y="1451357"/>
                  </a:lnTo>
                  <a:lnTo>
                    <a:pt x="4779906" y="1466301"/>
                  </a:lnTo>
                  <a:lnTo>
                    <a:pt x="4840866" y="1466301"/>
                  </a:lnTo>
                  <a:lnTo>
                    <a:pt x="4840866" y="1483714"/>
                  </a:lnTo>
                  <a:lnTo>
                    <a:pt x="4872523" y="1483714"/>
                  </a:lnTo>
                  <a:lnTo>
                    <a:pt x="4872523" y="1501127"/>
                  </a:lnTo>
                  <a:lnTo>
                    <a:pt x="4893270" y="1501127"/>
                  </a:lnTo>
                  <a:lnTo>
                    <a:pt x="4893270" y="1515700"/>
                  </a:lnTo>
                  <a:lnTo>
                    <a:pt x="4918937" y="1515700"/>
                  </a:lnTo>
                  <a:lnTo>
                    <a:pt x="4918937" y="1527062"/>
                  </a:lnTo>
                  <a:lnTo>
                    <a:pt x="4963855" y="1527062"/>
                  </a:lnTo>
                  <a:lnTo>
                    <a:pt x="4963855" y="1535830"/>
                  </a:lnTo>
                  <a:lnTo>
                    <a:pt x="5025671" y="1535830"/>
                  </a:lnTo>
                  <a:lnTo>
                    <a:pt x="5025671" y="1545093"/>
                  </a:lnTo>
                  <a:lnTo>
                    <a:pt x="5157216" y="1545093"/>
                  </a:lnTo>
                  <a:lnTo>
                    <a:pt x="5157216" y="1553244"/>
                  </a:lnTo>
                  <a:lnTo>
                    <a:pt x="5300312" y="1553244"/>
                  </a:lnTo>
                  <a:lnTo>
                    <a:pt x="5300312" y="1560777"/>
                  </a:lnTo>
                  <a:lnTo>
                    <a:pt x="5356780" y="1560777"/>
                  </a:lnTo>
                  <a:lnTo>
                    <a:pt x="5356780" y="1576461"/>
                  </a:lnTo>
                  <a:lnTo>
                    <a:pt x="5388008" y="1576461"/>
                  </a:lnTo>
                  <a:lnTo>
                    <a:pt x="5388008" y="1595110"/>
                  </a:lnTo>
                  <a:lnTo>
                    <a:pt x="5562333" y="1595110"/>
                  </a:lnTo>
                  <a:lnTo>
                    <a:pt x="5562333" y="1632036"/>
                  </a:lnTo>
                  <a:lnTo>
                    <a:pt x="5608106" y="1632036"/>
                  </a:lnTo>
                  <a:lnTo>
                    <a:pt x="5608106" y="1650067"/>
                  </a:lnTo>
                  <a:lnTo>
                    <a:pt x="5647891" y="1650067"/>
                  </a:lnTo>
                  <a:lnTo>
                    <a:pt x="5647891" y="1670691"/>
                  </a:lnTo>
                  <a:lnTo>
                    <a:pt x="5760186" y="1670691"/>
                  </a:lnTo>
                  <a:lnTo>
                    <a:pt x="5943707" y="1670691"/>
                  </a:lnTo>
                  <a:lnTo>
                    <a:pt x="5943707" y="1696008"/>
                  </a:lnTo>
                  <a:lnTo>
                    <a:pt x="5972369" y="1696008"/>
                  </a:lnTo>
                  <a:lnTo>
                    <a:pt x="5972369" y="1717868"/>
                  </a:lnTo>
                  <a:lnTo>
                    <a:pt x="5999534" y="1717868"/>
                  </a:lnTo>
                  <a:lnTo>
                    <a:pt x="5999534" y="1722808"/>
                  </a:lnTo>
                  <a:lnTo>
                    <a:pt x="6468177" y="1722808"/>
                  </a:lnTo>
                  <a:lnTo>
                    <a:pt x="6468177" y="1757758"/>
                  </a:lnTo>
                  <a:lnTo>
                    <a:pt x="6618759" y="1757758"/>
                  </a:lnTo>
                  <a:lnTo>
                    <a:pt x="6762496" y="1757758"/>
                  </a:lnTo>
                  <a:lnTo>
                    <a:pt x="6762496" y="1806910"/>
                  </a:lnTo>
                  <a:lnTo>
                    <a:pt x="7039490" y="1806910"/>
                  </a:lnTo>
                  <a:lnTo>
                    <a:pt x="7454660" y="1806910"/>
                  </a:lnTo>
                  <a:lnTo>
                    <a:pt x="7776999" y="1806910"/>
                  </a:lnTo>
                  <a:lnTo>
                    <a:pt x="8066827" y="1806910"/>
                  </a:lnTo>
                </a:path>
              </a:pathLst>
            </a:custGeom>
            <a:noFill/>
            <a:ln w="28575" cap="flat">
              <a:solidFill>
                <a:srgbClr val="830051"/>
              </a:solid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154" name="Freeform: Shape 411">
              <a:extLst>
                <a:ext uri="{FF2B5EF4-FFF2-40B4-BE49-F238E27FC236}">
                  <a16:creationId xmlns:a16="http://schemas.microsoft.com/office/drawing/2014/main" id="{9C330E3A-2933-4ACA-A305-BEF9B4282FBE}"/>
                </a:ext>
              </a:extLst>
            </p:cNvPr>
            <p:cNvSpPr/>
            <p:nvPr/>
          </p:nvSpPr>
          <p:spPr>
            <a:xfrm>
              <a:off x="2696039" y="1825458"/>
              <a:ext cx="72000" cy="72000"/>
            </a:xfrm>
            <a:custGeom>
              <a:avLst/>
              <a:gdLst>
                <a:gd name="connsiteX0" fmla="*/ 85503 w 85554"/>
                <a:gd name="connsiteY0" fmla="*/ 23916 h 49407"/>
                <a:gd name="connsiteX1" fmla="*/ 44008 w 85554"/>
                <a:gd name="connsiteY1" fmla="*/ 49344 h 49407"/>
                <a:gd name="connsiteX2" fmla="*/ -12 w 85554"/>
                <a:gd name="connsiteY2" fmla="*/ 25385 h 49407"/>
                <a:gd name="connsiteX3" fmla="*/ 41462 w 85554"/>
                <a:gd name="connsiteY3" fmla="*/ -43 h 49407"/>
                <a:gd name="connsiteX4" fmla="*/ 43793 w 85554"/>
                <a:gd name="connsiteY4" fmla="*/ -43 h 49407"/>
                <a:gd name="connsiteX5" fmla="*/ 85503 w 85554"/>
                <a:gd name="connsiteY5" fmla="*/ 23916 h 49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554" h="49407">
                  <a:moveTo>
                    <a:pt x="85503" y="23916"/>
                  </a:moveTo>
                  <a:cubicBezTo>
                    <a:pt x="86209" y="37550"/>
                    <a:pt x="67622" y="48937"/>
                    <a:pt x="44008" y="49344"/>
                  </a:cubicBezTo>
                  <a:cubicBezTo>
                    <a:pt x="20394" y="49739"/>
                    <a:pt x="694" y="39020"/>
                    <a:pt x="-12" y="25385"/>
                  </a:cubicBezTo>
                  <a:cubicBezTo>
                    <a:pt x="-718" y="11751"/>
                    <a:pt x="17848" y="365"/>
                    <a:pt x="41462" y="-43"/>
                  </a:cubicBezTo>
                  <a:cubicBezTo>
                    <a:pt x="42254" y="-55"/>
                    <a:pt x="43024" y="-55"/>
                    <a:pt x="43793" y="-43"/>
                  </a:cubicBezTo>
                  <a:cubicBezTo>
                    <a:pt x="66745" y="-43"/>
                    <a:pt x="85396" y="10664"/>
                    <a:pt x="85503" y="23916"/>
                  </a:cubicBezTo>
                  <a:close/>
                </a:path>
              </a:pathLst>
            </a:custGeom>
            <a:solidFill>
              <a:srgbClr val="830051"/>
            </a:solid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155" name="Freeform: Shape 412">
              <a:extLst>
                <a:ext uri="{FF2B5EF4-FFF2-40B4-BE49-F238E27FC236}">
                  <a16:creationId xmlns:a16="http://schemas.microsoft.com/office/drawing/2014/main" id="{9C3FA6B6-B7E7-469E-308F-3349DEC69844}"/>
                </a:ext>
              </a:extLst>
            </p:cNvPr>
            <p:cNvSpPr/>
            <p:nvPr/>
          </p:nvSpPr>
          <p:spPr>
            <a:xfrm>
              <a:off x="3079536" y="1927394"/>
              <a:ext cx="72000" cy="72000"/>
            </a:xfrm>
            <a:custGeom>
              <a:avLst/>
              <a:gdLst>
                <a:gd name="connsiteX0" fmla="*/ 83380 w 83427"/>
                <a:gd name="connsiteY0" fmla="*/ 24656 h 48168"/>
                <a:gd name="connsiteX1" fmla="*/ 40601 w 83427"/>
                <a:gd name="connsiteY1" fmla="*/ 48108 h 48168"/>
                <a:gd name="connsiteX2" fmla="*/ -17 w 83427"/>
                <a:gd name="connsiteY2" fmla="*/ 23408 h 48168"/>
                <a:gd name="connsiteX3" fmla="*/ 40601 w 83427"/>
                <a:gd name="connsiteY3" fmla="*/ -44 h 48168"/>
                <a:gd name="connsiteX4" fmla="*/ 83380 w 83427"/>
                <a:gd name="connsiteY4" fmla="*/ 23408 h 48168"/>
                <a:gd name="connsiteX5" fmla="*/ 83380 w 83427"/>
                <a:gd name="connsiteY5" fmla="*/ 24656 h 4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427" h="48168">
                  <a:moveTo>
                    <a:pt x="83380" y="24656"/>
                  </a:moveTo>
                  <a:cubicBezTo>
                    <a:pt x="82781" y="37957"/>
                    <a:pt x="63638" y="48454"/>
                    <a:pt x="40601" y="48108"/>
                  </a:cubicBezTo>
                  <a:cubicBezTo>
                    <a:pt x="17565" y="47762"/>
                    <a:pt x="-616" y="36697"/>
                    <a:pt x="-17" y="23408"/>
                  </a:cubicBezTo>
                  <a:cubicBezTo>
                    <a:pt x="560" y="10589"/>
                    <a:pt x="18421" y="289"/>
                    <a:pt x="40601" y="-44"/>
                  </a:cubicBezTo>
                  <a:cubicBezTo>
                    <a:pt x="63638" y="-390"/>
                    <a:pt x="82781" y="10108"/>
                    <a:pt x="83380" y="23408"/>
                  </a:cubicBezTo>
                  <a:cubicBezTo>
                    <a:pt x="83402" y="23816"/>
                    <a:pt x="83402" y="24236"/>
                    <a:pt x="83380" y="24656"/>
                  </a:cubicBezTo>
                  <a:close/>
                </a:path>
              </a:pathLst>
            </a:custGeom>
            <a:solidFill>
              <a:srgbClr val="830051"/>
            </a:solid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156" name="Freeform: Shape 413">
              <a:extLst>
                <a:ext uri="{FF2B5EF4-FFF2-40B4-BE49-F238E27FC236}">
                  <a16:creationId xmlns:a16="http://schemas.microsoft.com/office/drawing/2014/main" id="{E54B8E4D-F6FD-8783-2105-522E34945AAC}"/>
                </a:ext>
              </a:extLst>
            </p:cNvPr>
            <p:cNvSpPr/>
            <p:nvPr/>
          </p:nvSpPr>
          <p:spPr>
            <a:xfrm>
              <a:off x="4905557" y="2642426"/>
              <a:ext cx="72000" cy="72000"/>
            </a:xfrm>
            <a:custGeom>
              <a:avLst/>
              <a:gdLst>
                <a:gd name="connsiteX0" fmla="*/ 85518 w 85563"/>
                <a:gd name="connsiteY0" fmla="*/ 24038 h 49403"/>
                <a:gd name="connsiteX1" fmla="*/ 43830 w 85563"/>
                <a:gd name="connsiteY1" fmla="*/ 49343 h 49403"/>
                <a:gd name="connsiteX2" fmla="*/ -18 w 85563"/>
                <a:gd name="connsiteY2" fmla="*/ 25273 h 49403"/>
                <a:gd name="connsiteX3" fmla="*/ 41691 w 85563"/>
                <a:gd name="connsiteY3" fmla="*/ -32 h 49403"/>
                <a:gd name="connsiteX4" fmla="*/ 42739 w 85563"/>
                <a:gd name="connsiteY4" fmla="*/ -44 h 49403"/>
                <a:gd name="connsiteX5" fmla="*/ 85497 w 85563"/>
                <a:gd name="connsiteY5" fmla="*/ 23408 h 49403"/>
                <a:gd name="connsiteX6" fmla="*/ 85518 w 85563"/>
                <a:gd name="connsiteY6" fmla="*/ 24038 h 49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63" h="49403">
                  <a:moveTo>
                    <a:pt x="85518" y="24038"/>
                  </a:moveTo>
                  <a:cubicBezTo>
                    <a:pt x="86117" y="37673"/>
                    <a:pt x="67444" y="49010"/>
                    <a:pt x="43830" y="49343"/>
                  </a:cubicBezTo>
                  <a:cubicBezTo>
                    <a:pt x="20194" y="49689"/>
                    <a:pt x="580" y="38908"/>
                    <a:pt x="-18" y="25273"/>
                  </a:cubicBezTo>
                  <a:cubicBezTo>
                    <a:pt x="-596" y="11639"/>
                    <a:pt x="18056" y="302"/>
                    <a:pt x="41691" y="-32"/>
                  </a:cubicBezTo>
                  <a:cubicBezTo>
                    <a:pt x="42033" y="-44"/>
                    <a:pt x="42397" y="-44"/>
                    <a:pt x="42739" y="-44"/>
                  </a:cubicBezTo>
                  <a:cubicBezTo>
                    <a:pt x="65776" y="-390"/>
                    <a:pt x="84919" y="10120"/>
                    <a:pt x="85497" y="23408"/>
                  </a:cubicBezTo>
                  <a:cubicBezTo>
                    <a:pt x="85518" y="23618"/>
                    <a:pt x="85518" y="23828"/>
                    <a:pt x="85518" y="24038"/>
                  </a:cubicBezTo>
                  <a:close/>
                </a:path>
              </a:pathLst>
            </a:custGeom>
            <a:solidFill>
              <a:srgbClr val="830051"/>
            </a:solid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157" name="Freeform: Shape 414">
              <a:extLst>
                <a:ext uri="{FF2B5EF4-FFF2-40B4-BE49-F238E27FC236}">
                  <a16:creationId xmlns:a16="http://schemas.microsoft.com/office/drawing/2014/main" id="{889E940B-14A4-5599-9ECC-455C86DA2A1C}"/>
                </a:ext>
              </a:extLst>
            </p:cNvPr>
            <p:cNvSpPr/>
            <p:nvPr/>
          </p:nvSpPr>
          <p:spPr>
            <a:xfrm>
              <a:off x="4955172" y="2644199"/>
              <a:ext cx="72000" cy="72000"/>
            </a:xfrm>
            <a:custGeom>
              <a:avLst/>
              <a:gdLst>
                <a:gd name="connsiteX0" fmla="*/ 83387 w 83418"/>
                <a:gd name="connsiteY0" fmla="*/ 24042 h 48163"/>
                <a:gd name="connsiteX1" fmla="*/ 41657 w 83418"/>
                <a:gd name="connsiteY1" fmla="*/ 48112 h 48163"/>
                <a:gd name="connsiteX2" fmla="*/ -32 w 83418"/>
                <a:gd name="connsiteY2" fmla="*/ 24029 h 48163"/>
                <a:gd name="connsiteX3" fmla="*/ 40608 w 83418"/>
                <a:gd name="connsiteY3" fmla="*/ -41 h 48163"/>
                <a:gd name="connsiteX4" fmla="*/ 83366 w 83418"/>
                <a:gd name="connsiteY4" fmla="*/ 23165 h 48163"/>
                <a:gd name="connsiteX5" fmla="*/ 83387 w 83418"/>
                <a:gd name="connsiteY5" fmla="*/ 24042 h 48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418" h="48163">
                  <a:moveTo>
                    <a:pt x="83387" y="24042"/>
                  </a:moveTo>
                  <a:cubicBezTo>
                    <a:pt x="83387" y="37342"/>
                    <a:pt x="64693" y="48124"/>
                    <a:pt x="41657" y="48112"/>
                  </a:cubicBezTo>
                  <a:cubicBezTo>
                    <a:pt x="18620" y="48112"/>
                    <a:pt x="-32" y="37330"/>
                    <a:pt x="-32" y="24029"/>
                  </a:cubicBezTo>
                  <a:cubicBezTo>
                    <a:pt x="-32" y="10963"/>
                    <a:pt x="18000" y="293"/>
                    <a:pt x="40608" y="-41"/>
                  </a:cubicBezTo>
                  <a:cubicBezTo>
                    <a:pt x="63516" y="-448"/>
                    <a:pt x="82660" y="9938"/>
                    <a:pt x="83366" y="23165"/>
                  </a:cubicBezTo>
                  <a:cubicBezTo>
                    <a:pt x="83387" y="23461"/>
                    <a:pt x="83387" y="23745"/>
                    <a:pt x="83387" y="24042"/>
                  </a:cubicBezTo>
                  <a:close/>
                </a:path>
              </a:pathLst>
            </a:custGeom>
            <a:solidFill>
              <a:srgbClr val="830051"/>
            </a:solid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158" name="Freeform: Shape 415">
              <a:extLst>
                <a:ext uri="{FF2B5EF4-FFF2-40B4-BE49-F238E27FC236}">
                  <a16:creationId xmlns:a16="http://schemas.microsoft.com/office/drawing/2014/main" id="{CD69F019-8D8C-6C18-ED8D-33A34300160D}"/>
                </a:ext>
              </a:extLst>
            </p:cNvPr>
            <p:cNvSpPr/>
            <p:nvPr/>
          </p:nvSpPr>
          <p:spPr>
            <a:xfrm>
              <a:off x="4977203" y="2652510"/>
              <a:ext cx="72000" cy="72000"/>
            </a:xfrm>
            <a:custGeom>
              <a:avLst/>
              <a:gdLst>
                <a:gd name="connsiteX0" fmla="*/ 85526 w 85557"/>
                <a:gd name="connsiteY0" fmla="*/ 24647 h 49399"/>
                <a:gd name="connsiteX1" fmla="*/ 42747 w 85557"/>
                <a:gd name="connsiteY1" fmla="*/ 49347 h 49399"/>
                <a:gd name="connsiteX2" fmla="*/ -32 w 85557"/>
                <a:gd name="connsiteY2" fmla="*/ 24647 h 49399"/>
                <a:gd name="connsiteX3" fmla="*/ 42747 w 85557"/>
                <a:gd name="connsiteY3" fmla="*/ -52 h 49399"/>
                <a:gd name="connsiteX4" fmla="*/ 85526 w 85557"/>
                <a:gd name="connsiteY4" fmla="*/ 24647 h 493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557" h="49399">
                  <a:moveTo>
                    <a:pt x="85526" y="24647"/>
                  </a:moveTo>
                  <a:cubicBezTo>
                    <a:pt x="85526" y="38294"/>
                    <a:pt x="66383" y="49347"/>
                    <a:pt x="42747" y="49347"/>
                  </a:cubicBezTo>
                  <a:cubicBezTo>
                    <a:pt x="19112" y="49347"/>
                    <a:pt x="-32" y="38294"/>
                    <a:pt x="-32" y="24647"/>
                  </a:cubicBezTo>
                  <a:cubicBezTo>
                    <a:pt x="-32" y="11001"/>
                    <a:pt x="19112" y="-52"/>
                    <a:pt x="42747" y="-52"/>
                  </a:cubicBezTo>
                  <a:cubicBezTo>
                    <a:pt x="66383" y="-52"/>
                    <a:pt x="85526" y="11001"/>
                    <a:pt x="85526" y="24647"/>
                  </a:cubicBezTo>
                  <a:close/>
                </a:path>
              </a:pathLst>
            </a:custGeom>
            <a:solidFill>
              <a:srgbClr val="830051"/>
            </a:solid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159" name="Freeform: Shape 416">
              <a:extLst>
                <a:ext uri="{FF2B5EF4-FFF2-40B4-BE49-F238E27FC236}">
                  <a16:creationId xmlns:a16="http://schemas.microsoft.com/office/drawing/2014/main" id="{15B8B9B3-94F0-07D3-1A9F-4AF7A896A8E2}"/>
                </a:ext>
              </a:extLst>
            </p:cNvPr>
            <p:cNvSpPr/>
            <p:nvPr/>
          </p:nvSpPr>
          <p:spPr>
            <a:xfrm>
              <a:off x="5024695" y="2657548"/>
              <a:ext cx="72000" cy="72000"/>
            </a:xfrm>
            <a:custGeom>
              <a:avLst/>
              <a:gdLst>
                <a:gd name="connsiteX0" fmla="*/ 83380 w 83411"/>
                <a:gd name="connsiteY0" fmla="*/ 24647 h 48160"/>
                <a:gd name="connsiteX1" fmla="*/ 40601 w 83411"/>
                <a:gd name="connsiteY1" fmla="*/ 48100 h 48160"/>
                <a:gd name="connsiteX2" fmla="*/ -17 w 83411"/>
                <a:gd name="connsiteY2" fmla="*/ 23400 h 48160"/>
                <a:gd name="connsiteX3" fmla="*/ 40601 w 83411"/>
                <a:gd name="connsiteY3" fmla="*/ -52 h 48160"/>
                <a:gd name="connsiteX4" fmla="*/ 83380 w 83411"/>
                <a:gd name="connsiteY4" fmla="*/ 24647 h 481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411" h="48160">
                  <a:moveTo>
                    <a:pt x="83380" y="24647"/>
                  </a:moveTo>
                  <a:cubicBezTo>
                    <a:pt x="82782" y="37948"/>
                    <a:pt x="63638" y="48446"/>
                    <a:pt x="40601" y="48100"/>
                  </a:cubicBezTo>
                  <a:cubicBezTo>
                    <a:pt x="17565" y="47754"/>
                    <a:pt x="-616" y="36688"/>
                    <a:pt x="-17" y="23400"/>
                  </a:cubicBezTo>
                  <a:cubicBezTo>
                    <a:pt x="561" y="10581"/>
                    <a:pt x="18421" y="281"/>
                    <a:pt x="40601" y="-52"/>
                  </a:cubicBezTo>
                  <a:cubicBezTo>
                    <a:pt x="64237" y="-52"/>
                    <a:pt x="83380" y="11001"/>
                    <a:pt x="83380" y="24647"/>
                  </a:cubicBezTo>
                  <a:close/>
                </a:path>
              </a:pathLst>
            </a:custGeom>
            <a:solidFill>
              <a:srgbClr val="830051"/>
            </a:solid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160" name="Freeform: Shape 417">
              <a:extLst>
                <a:ext uri="{FF2B5EF4-FFF2-40B4-BE49-F238E27FC236}">
                  <a16:creationId xmlns:a16="http://schemas.microsoft.com/office/drawing/2014/main" id="{A51BB363-8A39-221A-758E-AF50B29A1824}"/>
                </a:ext>
              </a:extLst>
            </p:cNvPr>
            <p:cNvSpPr/>
            <p:nvPr/>
          </p:nvSpPr>
          <p:spPr>
            <a:xfrm>
              <a:off x="5095282" y="2670724"/>
              <a:ext cx="72000" cy="72000"/>
            </a:xfrm>
            <a:custGeom>
              <a:avLst/>
              <a:gdLst>
                <a:gd name="connsiteX0" fmla="*/ 85518 w 85563"/>
                <a:gd name="connsiteY0" fmla="*/ 24038 h 49403"/>
                <a:gd name="connsiteX1" fmla="*/ 43830 w 85563"/>
                <a:gd name="connsiteY1" fmla="*/ 49343 h 49403"/>
                <a:gd name="connsiteX2" fmla="*/ -18 w 85563"/>
                <a:gd name="connsiteY2" fmla="*/ 25273 h 49403"/>
                <a:gd name="connsiteX3" fmla="*/ 41691 w 85563"/>
                <a:gd name="connsiteY3" fmla="*/ -32 h 49403"/>
                <a:gd name="connsiteX4" fmla="*/ 42739 w 85563"/>
                <a:gd name="connsiteY4" fmla="*/ -44 h 49403"/>
                <a:gd name="connsiteX5" fmla="*/ 85497 w 85563"/>
                <a:gd name="connsiteY5" fmla="*/ 23408 h 49403"/>
                <a:gd name="connsiteX6" fmla="*/ 85518 w 85563"/>
                <a:gd name="connsiteY6" fmla="*/ 24038 h 49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63" h="49403">
                  <a:moveTo>
                    <a:pt x="85518" y="24038"/>
                  </a:moveTo>
                  <a:cubicBezTo>
                    <a:pt x="86117" y="37673"/>
                    <a:pt x="67444" y="49010"/>
                    <a:pt x="43830" y="49343"/>
                  </a:cubicBezTo>
                  <a:cubicBezTo>
                    <a:pt x="20195" y="49689"/>
                    <a:pt x="580" y="38907"/>
                    <a:pt x="-18" y="25273"/>
                  </a:cubicBezTo>
                  <a:cubicBezTo>
                    <a:pt x="-596" y="11639"/>
                    <a:pt x="18056" y="302"/>
                    <a:pt x="41691" y="-32"/>
                  </a:cubicBezTo>
                  <a:cubicBezTo>
                    <a:pt x="42033" y="-44"/>
                    <a:pt x="42397" y="-44"/>
                    <a:pt x="42739" y="-44"/>
                  </a:cubicBezTo>
                  <a:cubicBezTo>
                    <a:pt x="65776" y="-390"/>
                    <a:pt x="84919" y="10120"/>
                    <a:pt x="85497" y="23408"/>
                  </a:cubicBezTo>
                  <a:cubicBezTo>
                    <a:pt x="85518" y="23618"/>
                    <a:pt x="85518" y="23828"/>
                    <a:pt x="85518" y="24038"/>
                  </a:cubicBezTo>
                  <a:close/>
                </a:path>
              </a:pathLst>
            </a:custGeom>
            <a:solidFill>
              <a:srgbClr val="830051"/>
            </a:solid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161" name="Freeform: Shape 418">
              <a:extLst>
                <a:ext uri="{FF2B5EF4-FFF2-40B4-BE49-F238E27FC236}">
                  <a16:creationId xmlns:a16="http://schemas.microsoft.com/office/drawing/2014/main" id="{D9D928ED-8154-50AE-D0D1-180D41CB8432}"/>
                </a:ext>
              </a:extLst>
            </p:cNvPr>
            <p:cNvSpPr/>
            <p:nvPr/>
          </p:nvSpPr>
          <p:spPr>
            <a:xfrm>
              <a:off x="5117090" y="2670734"/>
              <a:ext cx="72000" cy="72000"/>
            </a:xfrm>
            <a:custGeom>
              <a:avLst/>
              <a:gdLst>
                <a:gd name="connsiteX0" fmla="*/ 83388 w 83419"/>
                <a:gd name="connsiteY0" fmla="*/ 24030 h 48164"/>
                <a:gd name="connsiteX1" fmla="*/ 41678 w 83419"/>
                <a:gd name="connsiteY1" fmla="*/ 48112 h 48164"/>
                <a:gd name="connsiteX2" fmla="*/ -32 w 83419"/>
                <a:gd name="connsiteY2" fmla="*/ 24030 h 48164"/>
                <a:gd name="connsiteX3" fmla="*/ 41678 w 83419"/>
                <a:gd name="connsiteY3" fmla="*/ -52 h 48164"/>
                <a:gd name="connsiteX4" fmla="*/ 83388 w 83419"/>
                <a:gd name="connsiteY4" fmla="*/ 24030 h 481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419" h="48164">
                  <a:moveTo>
                    <a:pt x="83388" y="24030"/>
                  </a:moveTo>
                  <a:cubicBezTo>
                    <a:pt x="83388" y="37331"/>
                    <a:pt x="64715" y="48112"/>
                    <a:pt x="41678" y="48112"/>
                  </a:cubicBezTo>
                  <a:cubicBezTo>
                    <a:pt x="18641" y="48112"/>
                    <a:pt x="-32" y="37331"/>
                    <a:pt x="-32" y="24030"/>
                  </a:cubicBezTo>
                  <a:cubicBezTo>
                    <a:pt x="-32" y="10729"/>
                    <a:pt x="18641" y="-52"/>
                    <a:pt x="41678" y="-52"/>
                  </a:cubicBezTo>
                  <a:cubicBezTo>
                    <a:pt x="64479" y="269"/>
                    <a:pt x="82831" y="10865"/>
                    <a:pt x="83388" y="24030"/>
                  </a:cubicBezTo>
                  <a:close/>
                </a:path>
              </a:pathLst>
            </a:custGeom>
            <a:solidFill>
              <a:srgbClr val="830051"/>
            </a:solid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162" name="Freeform: Shape 419">
              <a:extLst>
                <a:ext uri="{FF2B5EF4-FFF2-40B4-BE49-F238E27FC236}">
                  <a16:creationId xmlns:a16="http://schemas.microsoft.com/office/drawing/2014/main" id="{FC40180F-62E5-6F38-E757-890323C8FF97}"/>
                </a:ext>
              </a:extLst>
            </p:cNvPr>
            <p:cNvSpPr/>
            <p:nvPr/>
          </p:nvSpPr>
          <p:spPr>
            <a:xfrm>
              <a:off x="5174201" y="2723777"/>
              <a:ext cx="72000" cy="72000"/>
            </a:xfrm>
            <a:custGeom>
              <a:avLst/>
              <a:gdLst>
                <a:gd name="connsiteX0" fmla="*/ 83387 w 83418"/>
                <a:gd name="connsiteY0" fmla="*/ 24030 h 48152"/>
                <a:gd name="connsiteX1" fmla="*/ 41656 w 83418"/>
                <a:gd name="connsiteY1" fmla="*/ 48100 h 48152"/>
                <a:gd name="connsiteX2" fmla="*/ -32 w 83418"/>
                <a:gd name="connsiteY2" fmla="*/ 24018 h 48152"/>
                <a:gd name="connsiteX3" fmla="*/ 40608 w 83418"/>
                <a:gd name="connsiteY3" fmla="*/ -52 h 48152"/>
                <a:gd name="connsiteX4" fmla="*/ 83387 w 83418"/>
                <a:gd name="connsiteY4" fmla="*/ 24030 h 48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418" h="48152">
                  <a:moveTo>
                    <a:pt x="83387" y="24030"/>
                  </a:moveTo>
                  <a:cubicBezTo>
                    <a:pt x="83387" y="37331"/>
                    <a:pt x="64693" y="48112"/>
                    <a:pt x="41656" y="48100"/>
                  </a:cubicBezTo>
                  <a:cubicBezTo>
                    <a:pt x="18620" y="48100"/>
                    <a:pt x="-32" y="37318"/>
                    <a:pt x="-32" y="24018"/>
                  </a:cubicBezTo>
                  <a:cubicBezTo>
                    <a:pt x="-32" y="10951"/>
                    <a:pt x="18000" y="281"/>
                    <a:pt x="40608" y="-52"/>
                  </a:cubicBezTo>
                  <a:cubicBezTo>
                    <a:pt x="63816" y="-52"/>
                    <a:pt x="82810" y="10630"/>
                    <a:pt x="83387" y="24030"/>
                  </a:cubicBezTo>
                  <a:close/>
                </a:path>
              </a:pathLst>
            </a:custGeom>
            <a:solidFill>
              <a:srgbClr val="830051"/>
            </a:solid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163" name="Freeform: Shape 420">
              <a:extLst>
                <a:ext uri="{FF2B5EF4-FFF2-40B4-BE49-F238E27FC236}">
                  <a16:creationId xmlns:a16="http://schemas.microsoft.com/office/drawing/2014/main" id="{1D03D427-F462-530D-D9DD-04DAA7EA9EF6}"/>
                </a:ext>
              </a:extLst>
            </p:cNvPr>
            <p:cNvSpPr/>
            <p:nvPr/>
          </p:nvSpPr>
          <p:spPr>
            <a:xfrm>
              <a:off x="5190670" y="2723777"/>
              <a:ext cx="72000" cy="72000"/>
            </a:xfrm>
            <a:custGeom>
              <a:avLst/>
              <a:gdLst>
                <a:gd name="connsiteX0" fmla="*/ 83388 w 83419"/>
                <a:gd name="connsiteY0" fmla="*/ 24030 h 48164"/>
                <a:gd name="connsiteX1" fmla="*/ 41678 w 83419"/>
                <a:gd name="connsiteY1" fmla="*/ 48112 h 48164"/>
                <a:gd name="connsiteX2" fmla="*/ -32 w 83419"/>
                <a:gd name="connsiteY2" fmla="*/ 24030 h 48164"/>
                <a:gd name="connsiteX3" fmla="*/ 41678 w 83419"/>
                <a:gd name="connsiteY3" fmla="*/ -52 h 48164"/>
                <a:gd name="connsiteX4" fmla="*/ 83388 w 83419"/>
                <a:gd name="connsiteY4" fmla="*/ 24030 h 481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419" h="48164">
                  <a:moveTo>
                    <a:pt x="83388" y="24030"/>
                  </a:moveTo>
                  <a:cubicBezTo>
                    <a:pt x="83388" y="37331"/>
                    <a:pt x="64715" y="48112"/>
                    <a:pt x="41678" y="48112"/>
                  </a:cubicBezTo>
                  <a:cubicBezTo>
                    <a:pt x="18641" y="48112"/>
                    <a:pt x="-32" y="37331"/>
                    <a:pt x="-32" y="24030"/>
                  </a:cubicBezTo>
                  <a:cubicBezTo>
                    <a:pt x="-32" y="10729"/>
                    <a:pt x="18641" y="-52"/>
                    <a:pt x="41678" y="-52"/>
                  </a:cubicBezTo>
                  <a:cubicBezTo>
                    <a:pt x="64479" y="269"/>
                    <a:pt x="82831" y="10865"/>
                    <a:pt x="83388" y="24030"/>
                  </a:cubicBezTo>
                  <a:close/>
                </a:path>
              </a:pathLst>
            </a:custGeom>
            <a:solidFill>
              <a:srgbClr val="830051"/>
            </a:solid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164" name="Freeform: Shape 421">
              <a:extLst>
                <a:ext uri="{FF2B5EF4-FFF2-40B4-BE49-F238E27FC236}">
                  <a16:creationId xmlns:a16="http://schemas.microsoft.com/office/drawing/2014/main" id="{0C4C5DBD-1705-C6C6-DC5E-144930DA188F}"/>
                </a:ext>
              </a:extLst>
            </p:cNvPr>
            <p:cNvSpPr/>
            <p:nvPr/>
          </p:nvSpPr>
          <p:spPr>
            <a:xfrm>
              <a:off x="5214627" y="2752654"/>
              <a:ext cx="72000" cy="72000"/>
            </a:xfrm>
            <a:custGeom>
              <a:avLst/>
              <a:gdLst>
                <a:gd name="connsiteX0" fmla="*/ 85526 w 85579"/>
                <a:gd name="connsiteY0" fmla="*/ 24660 h 49399"/>
                <a:gd name="connsiteX1" fmla="*/ 42726 w 85579"/>
                <a:gd name="connsiteY1" fmla="*/ 49347 h 49399"/>
                <a:gd name="connsiteX2" fmla="*/ -32 w 85579"/>
                <a:gd name="connsiteY2" fmla="*/ 24647 h 49399"/>
                <a:gd name="connsiteX3" fmla="*/ 42769 w 85579"/>
                <a:gd name="connsiteY3" fmla="*/ -52 h 49399"/>
                <a:gd name="connsiteX4" fmla="*/ 43817 w 85579"/>
                <a:gd name="connsiteY4" fmla="*/ -40 h 49399"/>
                <a:gd name="connsiteX5" fmla="*/ 85548 w 85579"/>
                <a:gd name="connsiteY5" fmla="*/ 24030 h 49399"/>
                <a:gd name="connsiteX6" fmla="*/ 85526 w 85579"/>
                <a:gd name="connsiteY6" fmla="*/ 24660 h 49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79" h="49399">
                  <a:moveTo>
                    <a:pt x="85526" y="24660"/>
                  </a:moveTo>
                  <a:cubicBezTo>
                    <a:pt x="85526" y="38306"/>
                    <a:pt x="66361" y="49360"/>
                    <a:pt x="42726" y="49347"/>
                  </a:cubicBezTo>
                  <a:cubicBezTo>
                    <a:pt x="19112" y="49347"/>
                    <a:pt x="-32" y="38282"/>
                    <a:pt x="-32" y="24647"/>
                  </a:cubicBezTo>
                  <a:cubicBezTo>
                    <a:pt x="-32" y="11001"/>
                    <a:pt x="19133" y="-52"/>
                    <a:pt x="42769" y="-52"/>
                  </a:cubicBezTo>
                  <a:cubicBezTo>
                    <a:pt x="43111" y="-52"/>
                    <a:pt x="43475" y="-40"/>
                    <a:pt x="43817" y="-40"/>
                  </a:cubicBezTo>
                  <a:cubicBezTo>
                    <a:pt x="66853" y="-40"/>
                    <a:pt x="85526" y="10729"/>
                    <a:pt x="85548" y="24030"/>
                  </a:cubicBezTo>
                  <a:cubicBezTo>
                    <a:pt x="85548" y="24240"/>
                    <a:pt x="85526" y="24450"/>
                    <a:pt x="85526" y="24660"/>
                  </a:cubicBezTo>
                  <a:close/>
                </a:path>
              </a:pathLst>
            </a:custGeom>
            <a:solidFill>
              <a:srgbClr val="830051"/>
            </a:solid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165" name="Freeform: Shape 422">
              <a:extLst>
                <a:ext uri="{FF2B5EF4-FFF2-40B4-BE49-F238E27FC236}">
                  <a16:creationId xmlns:a16="http://schemas.microsoft.com/office/drawing/2014/main" id="{47C6554E-A718-41B4-91FA-7038C33DB333}"/>
                </a:ext>
              </a:extLst>
            </p:cNvPr>
            <p:cNvSpPr/>
            <p:nvPr/>
          </p:nvSpPr>
          <p:spPr>
            <a:xfrm>
              <a:off x="5238369" y="2752668"/>
              <a:ext cx="72000" cy="72000"/>
            </a:xfrm>
            <a:custGeom>
              <a:avLst/>
              <a:gdLst>
                <a:gd name="connsiteX0" fmla="*/ 85526 w 85557"/>
                <a:gd name="connsiteY0" fmla="*/ 24647 h 49399"/>
                <a:gd name="connsiteX1" fmla="*/ 42747 w 85557"/>
                <a:gd name="connsiteY1" fmla="*/ 49347 h 49399"/>
                <a:gd name="connsiteX2" fmla="*/ -32 w 85557"/>
                <a:gd name="connsiteY2" fmla="*/ 24647 h 49399"/>
                <a:gd name="connsiteX3" fmla="*/ 42747 w 85557"/>
                <a:gd name="connsiteY3" fmla="*/ -52 h 49399"/>
                <a:gd name="connsiteX4" fmla="*/ 85526 w 85557"/>
                <a:gd name="connsiteY4" fmla="*/ 24647 h 493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557" h="49399">
                  <a:moveTo>
                    <a:pt x="85526" y="24647"/>
                  </a:moveTo>
                  <a:cubicBezTo>
                    <a:pt x="85526" y="38294"/>
                    <a:pt x="66383" y="49347"/>
                    <a:pt x="42747" y="49347"/>
                  </a:cubicBezTo>
                  <a:cubicBezTo>
                    <a:pt x="19112" y="49347"/>
                    <a:pt x="-32" y="38294"/>
                    <a:pt x="-32" y="24647"/>
                  </a:cubicBezTo>
                  <a:cubicBezTo>
                    <a:pt x="-32" y="11001"/>
                    <a:pt x="19112" y="-52"/>
                    <a:pt x="42747" y="-52"/>
                  </a:cubicBezTo>
                  <a:cubicBezTo>
                    <a:pt x="66383" y="-52"/>
                    <a:pt x="85526" y="11001"/>
                    <a:pt x="85526" y="24647"/>
                  </a:cubicBezTo>
                  <a:close/>
                </a:path>
              </a:pathLst>
            </a:custGeom>
            <a:solidFill>
              <a:srgbClr val="830051"/>
            </a:solid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166" name="Freeform: Shape 423">
              <a:extLst>
                <a:ext uri="{FF2B5EF4-FFF2-40B4-BE49-F238E27FC236}">
                  <a16:creationId xmlns:a16="http://schemas.microsoft.com/office/drawing/2014/main" id="{D09EFEEB-2E5C-7E27-B9AA-7F7E90029815}"/>
                </a:ext>
              </a:extLst>
            </p:cNvPr>
            <p:cNvSpPr/>
            <p:nvPr/>
          </p:nvSpPr>
          <p:spPr>
            <a:xfrm>
              <a:off x="5254411" y="2789116"/>
              <a:ext cx="72000" cy="72000"/>
            </a:xfrm>
            <a:custGeom>
              <a:avLst/>
              <a:gdLst>
                <a:gd name="connsiteX0" fmla="*/ 83387 w 83418"/>
                <a:gd name="connsiteY0" fmla="*/ 24030 h 48152"/>
                <a:gd name="connsiteX1" fmla="*/ 41656 w 83418"/>
                <a:gd name="connsiteY1" fmla="*/ 48100 h 48152"/>
                <a:gd name="connsiteX2" fmla="*/ -32 w 83418"/>
                <a:gd name="connsiteY2" fmla="*/ 24018 h 48152"/>
                <a:gd name="connsiteX3" fmla="*/ 40608 w 83418"/>
                <a:gd name="connsiteY3" fmla="*/ -52 h 48152"/>
                <a:gd name="connsiteX4" fmla="*/ 83387 w 83418"/>
                <a:gd name="connsiteY4" fmla="*/ 24030 h 48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418" h="48152">
                  <a:moveTo>
                    <a:pt x="83387" y="24030"/>
                  </a:moveTo>
                  <a:cubicBezTo>
                    <a:pt x="83387" y="37331"/>
                    <a:pt x="64693" y="48112"/>
                    <a:pt x="41656" y="48100"/>
                  </a:cubicBezTo>
                  <a:cubicBezTo>
                    <a:pt x="18620" y="48100"/>
                    <a:pt x="-32" y="37318"/>
                    <a:pt x="-32" y="24018"/>
                  </a:cubicBezTo>
                  <a:cubicBezTo>
                    <a:pt x="-32" y="10951"/>
                    <a:pt x="18000" y="281"/>
                    <a:pt x="40608" y="-52"/>
                  </a:cubicBezTo>
                  <a:cubicBezTo>
                    <a:pt x="63816" y="-52"/>
                    <a:pt x="82810" y="10630"/>
                    <a:pt x="83387" y="24030"/>
                  </a:cubicBezTo>
                  <a:close/>
                </a:path>
              </a:pathLst>
            </a:custGeom>
            <a:solidFill>
              <a:srgbClr val="830051"/>
            </a:solid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167" name="Freeform: Shape 424">
              <a:extLst>
                <a:ext uri="{FF2B5EF4-FFF2-40B4-BE49-F238E27FC236}">
                  <a16:creationId xmlns:a16="http://schemas.microsoft.com/office/drawing/2014/main" id="{5DD8CA85-9A26-D700-B7FC-CB44657CDD06}"/>
                </a:ext>
              </a:extLst>
            </p:cNvPr>
            <p:cNvSpPr/>
            <p:nvPr/>
          </p:nvSpPr>
          <p:spPr>
            <a:xfrm>
              <a:off x="5282858" y="2806747"/>
              <a:ext cx="72000" cy="72000"/>
            </a:xfrm>
            <a:custGeom>
              <a:avLst/>
              <a:gdLst>
                <a:gd name="connsiteX0" fmla="*/ 83388 w 83420"/>
                <a:gd name="connsiteY0" fmla="*/ 23907 h 48164"/>
                <a:gd name="connsiteX1" fmla="*/ 41892 w 83420"/>
                <a:gd name="connsiteY1" fmla="*/ 48112 h 48164"/>
                <a:gd name="connsiteX2" fmla="*/ -31 w 83420"/>
                <a:gd name="connsiteY2" fmla="*/ 24154 h 48164"/>
                <a:gd name="connsiteX3" fmla="*/ 41465 w 83420"/>
                <a:gd name="connsiteY3" fmla="*/ -52 h 48164"/>
                <a:gd name="connsiteX4" fmla="*/ 41679 w 83420"/>
                <a:gd name="connsiteY4" fmla="*/ -52 h 48164"/>
                <a:gd name="connsiteX5" fmla="*/ 83388 w 83420"/>
                <a:gd name="connsiteY5" fmla="*/ 23907 h 48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420" h="48164">
                  <a:moveTo>
                    <a:pt x="83388" y="23907"/>
                  </a:moveTo>
                  <a:cubicBezTo>
                    <a:pt x="83516" y="37207"/>
                    <a:pt x="64929" y="48038"/>
                    <a:pt x="41892" y="48112"/>
                  </a:cubicBezTo>
                  <a:cubicBezTo>
                    <a:pt x="18856" y="48174"/>
                    <a:pt x="98" y="37454"/>
                    <a:pt x="-31" y="24154"/>
                  </a:cubicBezTo>
                  <a:cubicBezTo>
                    <a:pt x="-138" y="10853"/>
                    <a:pt x="18428" y="22"/>
                    <a:pt x="41465" y="-52"/>
                  </a:cubicBezTo>
                  <a:cubicBezTo>
                    <a:pt x="41529" y="-52"/>
                    <a:pt x="41614" y="-52"/>
                    <a:pt x="41679" y="-52"/>
                  </a:cubicBezTo>
                  <a:cubicBezTo>
                    <a:pt x="64630" y="-52"/>
                    <a:pt x="83281" y="10655"/>
                    <a:pt x="83388" y="23907"/>
                  </a:cubicBezTo>
                  <a:close/>
                </a:path>
              </a:pathLst>
            </a:custGeom>
            <a:solidFill>
              <a:srgbClr val="830051"/>
            </a:solid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168" name="Freeform: Shape 425">
              <a:extLst>
                <a:ext uri="{FF2B5EF4-FFF2-40B4-BE49-F238E27FC236}">
                  <a16:creationId xmlns:a16="http://schemas.microsoft.com/office/drawing/2014/main" id="{7AB89BF8-AAE3-88E5-34F0-2B63C2E9C0E8}"/>
                </a:ext>
              </a:extLst>
            </p:cNvPr>
            <p:cNvSpPr/>
            <p:nvPr/>
          </p:nvSpPr>
          <p:spPr>
            <a:xfrm>
              <a:off x="5306608" y="2820675"/>
              <a:ext cx="72000" cy="72000"/>
            </a:xfrm>
            <a:custGeom>
              <a:avLst/>
              <a:gdLst>
                <a:gd name="connsiteX0" fmla="*/ 83380 w 83411"/>
                <a:gd name="connsiteY0" fmla="*/ 24647 h 48160"/>
                <a:gd name="connsiteX1" fmla="*/ 40601 w 83411"/>
                <a:gd name="connsiteY1" fmla="*/ 48100 h 48160"/>
                <a:gd name="connsiteX2" fmla="*/ -17 w 83411"/>
                <a:gd name="connsiteY2" fmla="*/ 23400 h 48160"/>
                <a:gd name="connsiteX3" fmla="*/ 40601 w 83411"/>
                <a:gd name="connsiteY3" fmla="*/ -52 h 48160"/>
                <a:gd name="connsiteX4" fmla="*/ 83380 w 83411"/>
                <a:gd name="connsiteY4" fmla="*/ 24647 h 481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411" h="48160">
                  <a:moveTo>
                    <a:pt x="83380" y="24647"/>
                  </a:moveTo>
                  <a:cubicBezTo>
                    <a:pt x="82782" y="37948"/>
                    <a:pt x="63638" y="48446"/>
                    <a:pt x="40601" y="48100"/>
                  </a:cubicBezTo>
                  <a:cubicBezTo>
                    <a:pt x="17565" y="47754"/>
                    <a:pt x="-616" y="36689"/>
                    <a:pt x="-17" y="23400"/>
                  </a:cubicBezTo>
                  <a:cubicBezTo>
                    <a:pt x="560" y="10581"/>
                    <a:pt x="18421" y="281"/>
                    <a:pt x="40601" y="-52"/>
                  </a:cubicBezTo>
                  <a:cubicBezTo>
                    <a:pt x="64237" y="-52"/>
                    <a:pt x="83380" y="11001"/>
                    <a:pt x="83380" y="24647"/>
                  </a:cubicBezTo>
                  <a:close/>
                </a:path>
              </a:pathLst>
            </a:custGeom>
            <a:solidFill>
              <a:srgbClr val="830051"/>
            </a:solid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169" name="Freeform: Shape 426">
              <a:extLst>
                <a:ext uri="{FF2B5EF4-FFF2-40B4-BE49-F238E27FC236}">
                  <a16:creationId xmlns:a16="http://schemas.microsoft.com/office/drawing/2014/main" id="{53F6E0FD-6763-4E65-84A7-CBBCF902AC68}"/>
                </a:ext>
              </a:extLst>
            </p:cNvPr>
            <p:cNvSpPr/>
            <p:nvPr/>
          </p:nvSpPr>
          <p:spPr>
            <a:xfrm>
              <a:off x="5328640" y="2830305"/>
              <a:ext cx="72000" cy="72000"/>
            </a:xfrm>
            <a:custGeom>
              <a:avLst/>
              <a:gdLst>
                <a:gd name="connsiteX0" fmla="*/ 83380 w 83411"/>
                <a:gd name="connsiteY0" fmla="*/ 24647 h 48160"/>
                <a:gd name="connsiteX1" fmla="*/ 40601 w 83411"/>
                <a:gd name="connsiteY1" fmla="*/ 48100 h 48160"/>
                <a:gd name="connsiteX2" fmla="*/ -17 w 83411"/>
                <a:gd name="connsiteY2" fmla="*/ 23400 h 48160"/>
                <a:gd name="connsiteX3" fmla="*/ 40601 w 83411"/>
                <a:gd name="connsiteY3" fmla="*/ -52 h 48160"/>
                <a:gd name="connsiteX4" fmla="*/ 83380 w 83411"/>
                <a:gd name="connsiteY4" fmla="*/ 24647 h 481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411" h="48160">
                  <a:moveTo>
                    <a:pt x="83380" y="24647"/>
                  </a:moveTo>
                  <a:cubicBezTo>
                    <a:pt x="82782" y="37948"/>
                    <a:pt x="63638" y="48446"/>
                    <a:pt x="40601" y="48100"/>
                  </a:cubicBezTo>
                  <a:cubicBezTo>
                    <a:pt x="17565" y="47754"/>
                    <a:pt x="-616" y="36688"/>
                    <a:pt x="-17" y="23400"/>
                  </a:cubicBezTo>
                  <a:cubicBezTo>
                    <a:pt x="560" y="10581"/>
                    <a:pt x="18421" y="281"/>
                    <a:pt x="40601" y="-52"/>
                  </a:cubicBezTo>
                  <a:cubicBezTo>
                    <a:pt x="64237" y="-52"/>
                    <a:pt x="83380" y="11001"/>
                    <a:pt x="83380" y="24647"/>
                  </a:cubicBezTo>
                  <a:close/>
                </a:path>
              </a:pathLst>
            </a:custGeom>
            <a:solidFill>
              <a:srgbClr val="830051"/>
            </a:solid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170" name="Freeform: Shape 427">
              <a:extLst>
                <a:ext uri="{FF2B5EF4-FFF2-40B4-BE49-F238E27FC236}">
                  <a16:creationId xmlns:a16="http://schemas.microsoft.com/office/drawing/2014/main" id="{44498134-18A9-90DA-99AC-64F301421833}"/>
                </a:ext>
              </a:extLst>
            </p:cNvPr>
            <p:cNvSpPr/>
            <p:nvPr/>
          </p:nvSpPr>
          <p:spPr>
            <a:xfrm>
              <a:off x="5383612" y="2842297"/>
              <a:ext cx="72000" cy="72000"/>
            </a:xfrm>
            <a:custGeom>
              <a:avLst/>
              <a:gdLst>
                <a:gd name="connsiteX0" fmla="*/ 85518 w 85563"/>
                <a:gd name="connsiteY0" fmla="*/ 24038 h 49403"/>
                <a:gd name="connsiteX1" fmla="*/ 43830 w 85563"/>
                <a:gd name="connsiteY1" fmla="*/ 49343 h 49403"/>
                <a:gd name="connsiteX2" fmla="*/ -18 w 85563"/>
                <a:gd name="connsiteY2" fmla="*/ 25273 h 49403"/>
                <a:gd name="connsiteX3" fmla="*/ 41691 w 85563"/>
                <a:gd name="connsiteY3" fmla="*/ -32 h 49403"/>
                <a:gd name="connsiteX4" fmla="*/ 42739 w 85563"/>
                <a:gd name="connsiteY4" fmla="*/ -44 h 49403"/>
                <a:gd name="connsiteX5" fmla="*/ 85496 w 85563"/>
                <a:gd name="connsiteY5" fmla="*/ 23408 h 49403"/>
                <a:gd name="connsiteX6" fmla="*/ 85518 w 85563"/>
                <a:gd name="connsiteY6" fmla="*/ 24038 h 49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63" h="49403">
                  <a:moveTo>
                    <a:pt x="85518" y="24038"/>
                  </a:moveTo>
                  <a:cubicBezTo>
                    <a:pt x="86117" y="37673"/>
                    <a:pt x="67444" y="49010"/>
                    <a:pt x="43830" y="49343"/>
                  </a:cubicBezTo>
                  <a:cubicBezTo>
                    <a:pt x="20194" y="49689"/>
                    <a:pt x="580" y="38907"/>
                    <a:pt x="-18" y="25273"/>
                  </a:cubicBezTo>
                  <a:cubicBezTo>
                    <a:pt x="-596" y="11639"/>
                    <a:pt x="18055" y="302"/>
                    <a:pt x="41691" y="-32"/>
                  </a:cubicBezTo>
                  <a:cubicBezTo>
                    <a:pt x="42033" y="-44"/>
                    <a:pt x="42397" y="-44"/>
                    <a:pt x="42739" y="-44"/>
                  </a:cubicBezTo>
                  <a:cubicBezTo>
                    <a:pt x="65775" y="-390"/>
                    <a:pt x="84919" y="10120"/>
                    <a:pt x="85496" y="23408"/>
                  </a:cubicBezTo>
                  <a:cubicBezTo>
                    <a:pt x="85518" y="23618"/>
                    <a:pt x="85518" y="23828"/>
                    <a:pt x="85518" y="24038"/>
                  </a:cubicBezTo>
                  <a:close/>
                </a:path>
              </a:pathLst>
            </a:custGeom>
            <a:solidFill>
              <a:srgbClr val="830051"/>
            </a:solid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171" name="Freeform: Shape 428">
              <a:extLst>
                <a:ext uri="{FF2B5EF4-FFF2-40B4-BE49-F238E27FC236}">
                  <a16:creationId xmlns:a16="http://schemas.microsoft.com/office/drawing/2014/main" id="{E331E370-D13D-DCD5-8282-966A69E5EB58}"/>
                </a:ext>
              </a:extLst>
            </p:cNvPr>
            <p:cNvSpPr/>
            <p:nvPr/>
          </p:nvSpPr>
          <p:spPr>
            <a:xfrm>
              <a:off x="5420187" y="2878457"/>
              <a:ext cx="72000" cy="72000"/>
            </a:xfrm>
            <a:custGeom>
              <a:avLst/>
              <a:gdLst>
                <a:gd name="connsiteX0" fmla="*/ 83379 w 83432"/>
                <a:gd name="connsiteY0" fmla="*/ 24648 h 48160"/>
                <a:gd name="connsiteX1" fmla="*/ 40622 w 83432"/>
                <a:gd name="connsiteY1" fmla="*/ 48100 h 48160"/>
                <a:gd name="connsiteX2" fmla="*/ -18 w 83432"/>
                <a:gd name="connsiteY2" fmla="*/ 23413 h 48160"/>
                <a:gd name="connsiteX3" fmla="*/ 41670 w 83432"/>
                <a:gd name="connsiteY3" fmla="*/ -52 h 48160"/>
                <a:gd name="connsiteX4" fmla="*/ 83401 w 83432"/>
                <a:gd name="connsiteY4" fmla="*/ 23771 h 48160"/>
                <a:gd name="connsiteX5" fmla="*/ 83379 w 83432"/>
                <a:gd name="connsiteY5" fmla="*/ 24648 h 48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432" h="48160">
                  <a:moveTo>
                    <a:pt x="83379" y="24648"/>
                  </a:moveTo>
                  <a:cubicBezTo>
                    <a:pt x="82781" y="37949"/>
                    <a:pt x="63637" y="48446"/>
                    <a:pt x="40622" y="48100"/>
                  </a:cubicBezTo>
                  <a:cubicBezTo>
                    <a:pt x="17585" y="47767"/>
                    <a:pt x="-596" y="36714"/>
                    <a:pt x="-18" y="23413"/>
                  </a:cubicBezTo>
                  <a:cubicBezTo>
                    <a:pt x="560" y="10359"/>
                    <a:pt x="19061" y="-52"/>
                    <a:pt x="41670" y="-52"/>
                  </a:cubicBezTo>
                  <a:cubicBezTo>
                    <a:pt x="64578" y="-126"/>
                    <a:pt x="83273" y="10544"/>
                    <a:pt x="83401" y="23771"/>
                  </a:cubicBezTo>
                  <a:cubicBezTo>
                    <a:pt x="83401" y="24067"/>
                    <a:pt x="83401" y="24351"/>
                    <a:pt x="83379" y="24648"/>
                  </a:cubicBezTo>
                  <a:close/>
                </a:path>
              </a:pathLst>
            </a:custGeom>
            <a:solidFill>
              <a:srgbClr val="830051"/>
            </a:solid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172" name="Freeform: Shape 429">
              <a:extLst>
                <a:ext uri="{FF2B5EF4-FFF2-40B4-BE49-F238E27FC236}">
                  <a16:creationId xmlns:a16="http://schemas.microsoft.com/office/drawing/2014/main" id="{092CC125-1D0A-AE90-E66A-AA19B7693A52}"/>
                </a:ext>
              </a:extLst>
            </p:cNvPr>
            <p:cNvSpPr/>
            <p:nvPr/>
          </p:nvSpPr>
          <p:spPr>
            <a:xfrm>
              <a:off x="5441783" y="2878443"/>
              <a:ext cx="72000" cy="72000"/>
            </a:xfrm>
            <a:custGeom>
              <a:avLst/>
              <a:gdLst>
                <a:gd name="connsiteX0" fmla="*/ 85526 w 85574"/>
                <a:gd name="connsiteY0" fmla="*/ 24660 h 49411"/>
                <a:gd name="connsiteX1" fmla="*/ 42747 w 85574"/>
                <a:gd name="connsiteY1" fmla="*/ 49360 h 49411"/>
                <a:gd name="connsiteX2" fmla="*/ -32 w 85574"/>
                <a:gd name="connsiteY2" fmla="*/ 24660 h 49411"/>
                <a:gd name="connsiteX3" fmla="*/ 42747 w 85574"/>
                <a:gd name="connsiteY3" fmla="*/ -40 h 49411"/>
                <a:gd name="connsiteX4" fmla="*/ 85526 w 85574"/>
                <a:gd name="connsiteY4" fmla="*/ 23153 h 49411"/>
                <a:gd name="connsiteX5" fmla="*/ 85526 w 85574"/>
                <a:gd name="connsiteY5" fmla="*/ 24660 h 49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574" h="49411">
                  <a:moveTo>
                    <a:pt x="85526" y="24660"/>
                  </a:moveTo>
                  <a:cubicBezTo>
                    <a:pt x="85526" y="38306"/>
                    <a:pt x="66383" y="49360"/>
                    <a:pt x="42747" y="49360"/>
                  </a:cubicBezTo>
                  <a:cubicBezTo>
                    <a:pt x="19112" y="49360"/>
                    <a:pt x="-32" y="38306"/>
                    <a:pt x="-32" y="24660"/>
                  </a:cubicBezTo>
                  <a:cubicBezTo>
                    <a:pt x="-32" y="11013"/>
                    <a:pt x="19112" y="-40"/>
                    <a:pt x="42747" y="-40"/>
                  </a:cubicBezTo>
                  <a:cubicBezTo>
                    <a:pt x="65655" y="-460"/>
                    <a:pt x="84799" y="9926"/>
                    <a:pt x="85526" y="23153"/>
                  </a:cubicBezTo>
                  <a:cubicBezTo>
                    <a:pt x="85548" y="23659"/>
                    <a:pt x="85548" y="24153"/>
                    <a:pt x="85526" y="24660"/>
                  </a:cubicBezTo>
                  <a:close/>
                </a:path>
              </a:pathLst>
            </a:custGeom>
            <a:solidFill>
              <a:srgbClr val="830051"/>
            </a:solid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173" name="Freeform: Shape 430">
              <a:extLst>
                <a:ext uri="{FF2B5EF4-FFF2-40B4-BE49-F238E27FC236}">
                  <a16:creationId xmlns:a16="http://schemas.microsoft.com/office/drawing/2014/main" id="{58FB845D-DD3A-A433-060D-121911D76627}"/>
                </a:ext>
              </a:extLst>
            </p:cNvPr>
            <p:cNvSpPr/>
            <p:nvPr/>
          </p:nvSpPr>
          <p:spPr>
            <a:xfrm>
              <a:off x="5461461" y="2913118"/>
              <a:ext cx="72000" cy="72000"/>
            </a:xfrm>
            <a:custGeom>
              <a:avLst/>
              <a:gdLst>
                <a:gd name="connsiteX0" fmla="*/ 83387 w 83418"/>
                <a:gd name="connsiteY0" fmla="*/ 24038 h 48160"/>
                <a:gd name="connsiteX1" fmla="*/ 41656 w 83418"/>
                <a:gd name="connsiteY1" fmla="*/ 48108 h 48160"/>
                <a:gd name="connsiteX2" fmla="*/ -32 w 83418"/>
                <a:gd name="connsiteY2" fmla="*/ 24026 h 48160"/>
                <a:gd name="connsiteX3" fmla="*/ 40608 w 83418"/>
                <a:gd name="connsiteY3" fmla="*/ -44 h 48160"/>
                <a:gd name="connsiteX4" fmla="*/ 83366 w 83418"/>
                <a:gd name="connsiteY4" fmla="*/ 23408 h 48160"/>
                <a:gd name="connsiteX5" fmla="*/ 83387 w 83418"/>
                <a:gd name="connsiteY5" fmla="*/ 24038 h 48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418" h="48160">
                  <a:moveTo>
                    <a:pt x="83387" y="24038"/>
                  </a:moveTo>
                  <a:cubicBezTo>
                    <a:pt x="83387" y="37339"/>
                    <a:pt x="64692" y="48120"/>
                    <a:pt x="41656" y="48108"/>
                  </a:cubicBezTo>
                  <a:cubicBezTo>
                    <a:pt x="18620" y="48108"/>
                    <a:pt x="-32" y="37327"/>
                    <a:pt x="-32" y="24026"/>
                  </a:cubicBezTo>
                  <a:cubicBezTo>
                    <a:pt x="-32" y="10960"/>
                    <a:pt x="18000" y="289"/>
                    <a:pt x="40608" y="-44"/>
                  </a:cubicBezTo>
                  <a:cubicBezTo>
                    <a:pt x="63645" y="-390"/>
                    <a:pt x="82788" y="10120"/>
                    <a:pt x="83366" y="23408"/>
                  </a:cubicBezTo>
                  <a:cubicBezTo>
                    <a:pt x="83387" y="23618"/>
                    <a:pt x="83387" y="23828"/>
                    <a:pt x="83387" y="24038"/>
                  </a:cubicBezTo>
                  <a:close/>
                </a:path>
              </a:pathLst>
            </a:custGeom>
            <a:solidFill>
              <a:srgbClr val="830051"/>
            </a:solid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174" name="Freeform: Shape 431">
              <a:extLst>
                <a:ext uri="{FF2B5EF4-FFF2-40B4-BE49-F238E27FC236}">
                  <a16:creationId xmlns:a16="http://schemas.microsoft.com/office/drawing/2014/main" id="{ADB1F246-BB04-F148-31E0-964AD892411A}"/>
                </a:ext>
              </a:extLst>
            </p:cNvPr>
            <p:cNvSpPr/>
            <p:nvPr/>
          </p:nvSpPr>
          <p:spPr>
            <a:xfrm>
              <a:off x="5531832" y="2938167"/>
              <a:ext cx="72000" cy="72000"/>
            </a:xfrm>
            <a:custGeom>
              <a:avLst/>
              <a:gdLst>
                <a:gd name="connsiteX0" fmla="*/ 83387 w 83418"/>
                <a:gd name="connsiteY0" fmla="*/ 24030 h 48164"/>
                <a:gd name="connsiteX1" fmla="*/ 41678 w 83418"/>
                <a:gd name="connsiteY1" fmla="*/ 48113 h 48164"/>
                <a:gd name="connsiteX2" fmla="*/ -32 w 83418"/>
                <a:gd name="connsiteY2" fmla="*/ 24030 h 48164"/>
                <a:gd name="connsiteX3" fmla="*/ 41678 w 83418"/>
                <a:gd name="connsiteY3" fmla="*/ -52 h 48164"/>
                <a:gd name="connsiteX4" fmla="*/ 83387 w 83418"/>
                <a:gd name="connsiteY4" fmla="*/ 23783 h 48164"/>
                <a:gd name="connsiteX5" fmla="*/ 83387 w 83418"/>
                <a:gd name="connsiteY5" fmla="*/ 24030 h 48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418" h="48164">
                  <a:moveTo>
                    <a:pt x="83387" y="24030"/>
                  </a:moveTo>
                  <a:cubicBezTo>
                    <a:pt x="83387" y="37331"/>
                    <a:pt x="64715" y="48113"/>
                    <a:pt x="41678" y="48113"/>
                  </a:cubicBezTo>
                  <a:cubicBezTo>
                    <a:pt x="18642" y="48113"/>
                    <a:pt x="-32" y="37331"/>
                    <a:pt x="-32" y="24030"/>
                  </a:cubicBezTo>
                  <a:cubicBezTo>
                    <a:pt x="-32" y="10730"/>
                    <a:pt x="18642" y="-52"/>
                    <a:pt x="41678" y="-52"/>
                  </a:cubicBezTo>
                  <a:cubicBezTo>
                    <a:pt x="64586" y="-126"/>
                    <a:pt x="83259" y="10557"/>
                    <a:pt x="83387" y="23783"/>
                  </a:cubicBezTo>
                  <a:cubicBezTo>
                    <a:pt x="83387" y="23870"/>
                    <a:pt x="83387" y="23944"/>
                    <a:pt x="83387" y="24030"/>
                  </a:cubicBezTo>
                  <a:close/>
                </a:path>
              </a:pathLst>
            </a:custGeom>
            <a:solidFill>
              <a:srgbClr val="830051"/>
            </a:solid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175" name="Freeform: Shape 432">
              <a:extLst>
                <a:ext uri="{FF2B5EF4-FFF2-40B4-BE49-F238E27FC236}">
                  <a16:creationId xmlns:a16="http://schemas.microsoft.com/office/drawing/2014/main" id="{AD157FB1-49E3-165C-4B69-737623096335}"/>
                </a:ext>
              </a:extLst>
            </p:cNvPr>
            <p:cNvSpPr/>
            <p:nvPr/>
          </p:nvSpPr>
          <p:spPr>
            <a:xfrm>
              <a:off x="5567767" y="2938167"/>
              <a:ext cx="72000" cy="72000"/>
            </a:xfrm>
            <a:custGeom>
              <a:avLst/>
              <a:gdLst>
                <a:gd name="connsiteX0" fmla="*/ 83388 w 83419"/>
                <a:gd name="connsiteY0" fmla="*/ 24030 h 48164"/>
                <a:gd name="connsiteX1" fmla="*/ 41678 w 83419"/>
                <a:gd name="connsiteY1" fmla="*/ 48113 h 48164"/>
                <a:gd name="connsiteX2" fmla="*/ -32 w 83419"/>
                <a:gd name="connsiteY2" fmla="*/ 24030 h 48164"/>
                <a:gd name="connsiteX3" fmla="*/ 41678 w 83419"/>
                <a:gd name="connsiteY3" fmla="*/ -52 h 48164"/>
                <a:gd name="connsiteX4" fmla="*/ 83388 w 83419"/>
                <a:gd name="connsiteY4" fmla="*/ 23783 h 48164"/>
                <a:gd name="connsiteX5" fmla="*/ 83388 w 83419"/>
                <a:gd name="connsiteY5" fmla="*/ 24030 h 48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419" h="48164">
                  <a:moveTo>
                    <a:pt x="83388" y="24030"/>
                  </a:moveTo>
                  <a:cubicBezTo>
                    <a:pt x="83388" y="37331"/>
                    <a:pt x="64715" y="48113"/>
                    <a:pt x="41678" y="48113"/>
                  </a:cubicBezTo>
                  <a:cubicBezTo>
                    <a:pt x="18642" y="48113"/>
                    <a:pt x="-32" y="37331"/>
                    <a:pt x="-32" y="24030"/>
                  </a:cubicBezTo>
                  <a:cubicBezTo>
                    <a:pt x="-32" y="10730"/>
                    <a:pt x="18642" y="-52"/>
                    <a:pt x="41678" y="-52"/>
                  </a:cubicBezTo>
                  <a:cubicBezTo>
                    <a:pt x="64587" y="-126"/>
                    <a:pt x="83259" y="10557"/>
                    <a:pt x="83388" y="23783"/>
                  </a:cubicBezTo>
                  <a:cubicBezTo>
                    <a:pt x="83388" y="23870"/>
                    <a:pt x="83388" y="23944"/>
                    <a:pt x="83388" y="24030"/>
                  </a:cubicBezTo>
                  <a:close/>
                </a:path>
              </a:pathLst>
            </a:custGeom>
            <a:solidFill>
              <a:srgbClr val="830051"/>
            </a:solid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176" name="Freeform: Shape 433">
              <a:extLst>
                <a:ext uri="{FF2B5EF4-FFF2-40B4-BE49-F238E27FC236}">
                  <a16:creationId xmlns:a16="http://schemas.microsoft.com/office/drawing/2014/main" id="{93F42009-2BC9-7F39-586A-BB2E29AB2663}"/>
                </a:ext>
              </a:extLst>
            </p:cNvPr>
            <p:cNvSpPr/>
            <p:nvPr/>
          </p:nvSpPr>
          <p:spPr>
            <a:xfrm>
              <a:off x="5592365" y="2956243"/>
              <a:ext cx="72000" cy="72000"/>
            </a:xfrm>
            <a:custGeom>
              <a:avLst/>
              <a:gdLst>
                <a:gd name="connsiteX0" fmla="*/ 83387 w 83418"/>
                <a:gd name="connsiteY0" fmla="*/ 24030 h 48152"/>
                <a:gd name="connsiteX1" fmla="*/ 41657 w 83418"/>
                <a:gd name="connsiteY1" fmla="*/ 48100 h 48152"/>
                <a:gd name="connsiteX2" fmla="*/ -32 w 83418"/>
                <a:gd name="connsiteY2" fmla="*/ 24018 h 48152"/>
                <a:gd name="connsiteX3" fmla="*/ 40608 w 83418"/>
                <a:gd name="connsiteY3" fmla="*/ -52 h 48152"/>
                <a:gd name="connsiteX4" fmla="*/ 83387 w 83418"/>
                <a:gd name="connsiteY4" fmla="*/ 24030 h 48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418" h="48152">
                  <a:moveTo>
                    <a:pt x="83387" y="24030"/>
                  </a:moveTo>
                  <a:cubicBezTo>
                    <a:pt x="83387" y="37331"/>
                    <a:pt x="64693" y="48112"/>
                    <a:pt x="41657" y="48100"/>
                  </a:cubicBezTo>
                  <a:cubicBezTo>
                    <a:pt x="18620" y="48100"/>
                    <a:pt x="-32" y="37318"/>
                    <a:pt x="-32" y="24018"/>
                  </a:cubicBezTo>
                  <a:cubicBezTo>
                    <a:pt x="-32" y="10951"/>
                    <a:pt x="18000" y="281"/>
                    <a:pt x="40608" y="-52"/>
                  </a:cubicBezTo>
                  <a:cubicBezTo>
                    <a:pt x="63816" y="-52"/>
                    <a:pt x="82810" y="10630"/>
                    <a:pt x="83387" y="24030"/>
                  </a:cubicBezTo>
                  <a:close/>
                </a:path>
              </a:pathLst>
            </a:custGeom>
            <a:solidFill>
              <a:srgbClr val="830051"/>
            </a:solid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177" name="Freeform: Shape 434">
              <a:extLst>
                <a:ext uri="{FF2B5EF4-FFF2-40B4-BE49-F238E27FC236}">
                  <a16:creationId xmlns:a16="http://schemas.microsoft.com/office/drawing/2014/main" id="{C2CC8651-D2DC-3B03-90A2-1F2428231408}"/>
                </a:ext>
              </a:extLst>
            </p:cNvPr>
            <p:cNvSpPr/>
            <p:nvPr/>
          </p:nvSpPr>
          <p:spPr>
            <a:xfrm>
              <a:off x="5629368" y="2992824"/>
              <a:ext cx="72000" cy="72000"/>
            </a:xfrm>
            <a:custGeom>
              <a:avLst/>
              <a:gdLst>
                <a:gd name="connsiteX0" fmla="*/ 85526 w 85579"/>
                <a:gd name="connsiteY0" fmla="*/ 24660 h 49399"/>
                <a:gd name="connsiteX1" fmla="*/ 42727 w 85579"/>
                <a:gd name="connsiteY1" fmla="*/ 49347 h 49399"/>
                <a:gd name="connsiteX2" fmla="*/ -32 w 85579"/>
                <a:gd name="connsiteY2" fmla="*/ 24647 h 49399"/>
                <a:gd name="connsiteX3" fmla="*/ 42769 w 85579"/>
                <a:gd name="connsiteY3" fmla="*/ -52 h 49399"/>
                <a:gd name="connsiteX4" fmla="*/ 43817 w 85579"/>
                <a:gd name="connsiteY4" fmla="*/ -40 h 49399"/>
                <a:gd name="connsiteX5" fmla="*/ 85548 w 85579"/>
                <a:gd name="connsiteY5" fmla="*/ 24030 h 49399"/>
                <a:gd name="connsiteX6" fmla="*/ 85526 w 85579"/>
                <a:gd name="connsiteY6" fmla="*/ 24660 h 49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79" h="49399">
                  <a:moveTo>
                    <a:pt x="85526" y="24660"/>
                  </a:moveTo>
                  <a:cubicBezTo>
                    <a:pt x="85526" y="38306"/>
                    <a:pt x="66361" y="49360"/>
                    <a:pt x="42727" y="49347"/>
                  </a:cubicBezTo>
                  <a:cubicBezTo>
                    <a:pt x="19112" y="49347"/>
                    <a:pt x="-32" y="38282"/>
                    <a:pt x="-32" y="24647"/>
                  </a:cubicBezTo>
                  <a:cubicBezTo>
                    <a:pt x="-32" y="11001"/>
                    <a:pt x="19133" y="-52"/>
                    <a:pt x="42769" y="-52"/>
                  </a:cubicBezTo>
                  <a:cubicBezTo>
                    <a:pt x="43111" y="-52"/>
                    <a:pt x="43475" y="-40"/>
                    <a:pt x="43817" y="-40"/>
                  </a:cubicBezTo>
                  <a:cubicBezTo>
                    <a:pt x="66854" y="-40"/>
                    <a:pt x="85526" y="10729"/>
                    <a:pt x="85548" y="24030"/>
                  </a:cubicBezTo>
                  <a:cubicBezTo>
                    <a:pt x="85548" y="24240"/>
                    <a:pt x="85526" y="24450"/>
                    <a:pt x="85526" y="24660"/>
                  </a:cubicBezTo>
                  <a:close/>
                </a:path>
              </a:pathLst>
            </a:custGeom>
            <a:solidFill>
              <a:srgbClr val="830051"/>
            </a:solid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178" name="Freeform: Shape 435">
              <a:extLst>
                <a:ext uri="{FF2B5EF4-FFF2-40B4-BE49-F238E27FC236}">
                  <a16:creationId xmlns:a16="http://schemas.microsoft.com/office/drawing/2014/main" id="{623C1F53-FC74-9106-6F7E-A60EC2E0BD3C}"/>
                </a:ext>
              </a:extLst>
            </p:cNvPr>
            <p:cNvSpPr/>
            <p:nvPr/>
          </p:nvSpPr>
          <p:spPr>
            <a:xfrm>
              <a:off x="5661666" y="3004528"/>
              <a:ext cx="72000" cy="72000"/>
            </a:xfrm>
            <a:custGeom>
              <a:avLst/>
              <a:gdLst>
                <a:gd name="connsiteX0" fmla="*/ 83388 w 83419"/>
                <a:gd name="connsiteY0" fmla="*/ 23919 h 48165"/>
                <a:gd name="connsiteX1" fmla="*/ 41871 w 83419"/>
                <a:gd name="connsiteY1" fmla="*/ 48112 h 48165"/>
                <a:gd name="connsiteX2" fmla="*/ -31 w 83419"/>
                <a:gd name="connsiteY2" fmla="*/ 24154 h 48165"/>
                <a:gd name="connsiteX3" fmla="*/ 41486 w 83419"/>
                <a:gd name="connsiteY3" fmla="*/ -52 h 48165"/>
                <a:gd name="connsiteX4" fmla="*/ 42748 w 83419"/>
                <a:gd name="connsiteY4" fmla="*/ -40 h 48165"/>
                <a:gd name="connsiteX5" fmla="*/ 83388 w 83419"/>
                <a:gd name="connsiteY5" fmla="*/ 23919 h 48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419" h="48165">
                  <a:moveTo>
                    <a:pt x="83388" y="23919"/>
                  </a:moveTo>
                  <a:cubicBezTo>
                    <a:pt x="83495" y="37220"/>
                    <a:pt x="64908" y="48051"/>
                    <a:pt x="41871" y="48112"/>
                  </a:cubicBezTo>
                  <a:cubicBezTo>
                    <a:pt x="18834" y="48186"/>
                    <a:pt x="76" y="37454"/>
                    <a:pt x="-31" y="24154"/>
                  </a:cubicBezTo>
                  <a:cubicBezTo>
                    <a:pt x="-138" y="10853"/>
                    <a:pt x="18450" y="22"/>
                    <a:pt x="41486" y="-52"/>
                  </a:cubicBezTo>
                  <a:cubicBezTo>
                    <a:pt x="41892" y="-52"/>
                    <a:pt x="42320" y="-52"/>
                    <a:pt x="42748" y="-40"/>
                  </a:cubicBezTo>
                  <a:cubicBezTo>
                    <a:pt x="65057" y="602"/>
                    <a:pt x="82746" y="11038"/>
                    <a:pt x="83388" y="23919"/>
                  </a:cubicBezTo>
                  <a:close/>
                </a:path>
              </a:pathLst>
            </a:custGeom>
            <a:solidFill>
              <a:srgbClr val="830051"/>
            </a:solid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179" name="Freeform: Shape 436">
              <a:extLst>
                <a:ext uri="{FF2B5EF4-FFF2-40B4-BE49-F238E27FC236}">
                  <a16:creationId xmlns:a16="http://schemas.microsoft.com/office/drawing/2014/main" id="{A831A389-2C1F-3272-5F12-04CC90EAAFA6}"/>
                </a:ext>
              </a:extLst>
            </p:cNvPr>
            <p:cNvSpPr/>
            <p:nvPr/>
          </p:nvSpPr>
          <p:spPr>
            <a:xfrm>
              <a:off x="5722650" y="3014619"/>
              <a:ext cx="72000" cy="72000"/>
            </a:xfrm>
            <a:custGeom>
              <a:avLst/>
              <a:gdLst>
                <a:gd name="connsiteX0" fmla="*/ 85503 w 85554"/>
                <a:gd name="connsiteY0" fmla="*/ 23907 h 49398"/>
                <a:gd name="connsiteX1" fmla="*/ 44029 w 85554"/>
                <a:gd name="connsiteY1" fmla="*/ 49335 h 49398"/>
                <a:gd name="connsiteX2" fmla="*/ -12 w 85554"/>
                <a:gd name="connsiteY2" fmla="*/ 25389 h 49398"/>
                <a:gd name="connsiteX3" fmla="*/ 41462 w 85554"/>
                <a:gd name="connsiteY3" fmla="*/ -40 h 49398"/>
                <a:gd name="connsiteX4" fmla="*/ 42724 w 85554"/>
                <a:gd name="connsiteY4" fmla="*/ -52 h 49398"/>
                <a:gd name="connsiteX5" fmla="*/ 85503 w 85554"/>
                <a:gd name="connsiteY5" fmla="*/ 23907 h 49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554" h="49398">
                  <a:moveTo>
                    <a:pt x="85503" y="23907"/>
                  </a:moveTo>
                  <a:cubicBezTo>
                    <a:pt x="86209" y="37541"/>
                    <a:pt x="67643" y="48927"/>
                    <a:pt x="44029" y="49335"/>
                  </a:cubicBezTo>
                  <a:cubicBezTo>
                    <a:pt x="20415" y="49743"/>
                    <a:pt x="694" y="39023"/>
                    <a:pt x="-12" y="25389"/>
                  </a:cubicBezTo>
                  <a:cubicBezTo>
                    <a:pt x="-718" y="11754"/>
                    <a:pt x="17849" y="368"/>
                    <a:pt x="41462" y="-40"/>
                  </a:cubicBezTo>
                  <a:cubicBezTo>
                    <a:pt x="41890" y="-52"/>
                    <a:pt x="42296" y="-52"/>
                    <a:pt x="42724" y="-52"/>
                  </a:cubicBezTo>
                  <a:cubicBezTo>
                    <a:pt x="65868" y="-52"/>
                    <a:pt x="84819" y="10556"/>
                    <a:pt x="85503" y="23907"/>
                  </a:cubicBezTo>
                  <a:close/>
                </a:path>
              </a:pathLst>
            </a:custGeom>
            <a:solidFill>
              <a:srgbClr val="830051"/>
            </a:solid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180" name="Freeform: Shape 437">
              <a:extLst>
                <a:ext uri="{FF2B5EF4-FFF2-40B4-BE49-F238E27FC236}">
                  <a16:creationId xmlns:a16="http://schemas.microsoft.com/office/drawing/2014/main" id="{376AF3CA-587F-C497-C571-CA43F0942C17}"/>
                </a:ext>
              </a:extLst>
            </p:cNvPr>
            <p:cNvSpPr/>
            <p:nvPr/>
          </p:nvSpPr>
          <p:spPr>
            <a:xfrm>
              <a:off x="5798346" y="3037733"/>
              <a:ext cx="72000" cy="72000"/>
            </a:xfrm>
            <a:custGeom>
              <a:avLst/>
              <a:gdLst>
                <a:gd name="connsiteX0" fmla="*/ 83387 w 83418"/>
                <a:gd name="connsiteY0" fmla="*/ 24030 h 48152"/>
                <a:gd name="connsiteX1" fmla="*/ 41656 w 83418"/>
                <a:gd name="connsiteY1" fmla="*/ 48100 h 48152"/>
                <a:gd name="connsiteX2" fmla="*/ -32 w 83418"/>
                <a:gd name="connsiteY2" fmla="*/ 24018 h 48152"/>
                <a:gd name="connsiteX3" fmla="*/ 40608 w 83418"/>
                <a:gd name="connsiteY3" fmla="*/ -52 h 48152"/>
                <a:gd name="connsiteX4" fmla="*/ 83387 w 83418"/>
                <a:gd name="connsiteY4" fmla="*/ 24030 h 48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418" h="48152">
                  <a:moveTo>
                    <a:pt x="83387" y="24030"/>
                  </a:moveTo>
                  <a:cubicBezTo>
                    <a:pt x="83387" y="37331"/>
                    <a:pt x="64692" y="48112"/>
                    <a:pt x="41656" y="48100"/>
                  </a:cubicBezTo>
                  <a:cubicBezTo>
                    <a:pt x="18620" y="48100"/>
                    <a:pt x="-32" y="37318"/>
                    <a:pt x="-32" y="24018"/>
                  </a:cubicBezTo>
                  <a:cubicBezTo>
                    <a:pt x="-32" y="10951"/>
                    <a:pt x="18000" y="281"/>
                    <a:pt x="40608" y="-52"/>
                  </a:cubicBezTo>
                  <a:cubicBezTo>
                    <a:pt x="63816" y="-52"/>
                    <a:pt x="82810" y="10630"/>
                    <a:pt x="83387" y="24030"/>
                  </a:cubicBezTo>
                  <a:close/>
                </a:path>
              </a:pathLst>
            </a:custGeom>
            <a:solidFill>
              <a:srgbClr val="830051"/>
            </a:solid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181" name="Freeform: Shape 438">
              <a:extLst>
                <a:ext uri="{FF2B5EF4-FFF2-40B4-BE49-F238E27FC236}">
                  <a16:creationId xmlns:a16="http://schemas.microsoft.com/office/drawing/2014/main" id="{3580C7DC-7CED-AAD0-4E71-A98B58FAFC41}"/>
                </a:ext>
              </a:extLst>
            </p:cNvPr>
            <p:cNvSpPr/>
            <p:nvPr/>
          </p:nvSpPr>
          <p:spPr>
            <a:xfrm>
              <a:off x="5844127" y="3061883"/>
              <a:ext cx="72000" cy="72000"/>
            </a:xfrm>
            <a:custGeom>
              <a:avLst/>
              <a:gdLst>
                <a:gd name="connsiteX0" fmla="*/ 83379 w 83410"/>
                <a:gd name="connsiteY0" fmla="*/ 24647 h 48160"/>
                <a:gd name="connsiteX1" fmla="*/ 40622 w 83410"/>
                <a:gd name="connsiteY1" fmla="*/ 48100 h 48160"/>
                <a:gd name="connsiteX2" fmla="*/ -18 w 83410"/>
                <a:gd name="connsiteY2" fmla="*/ 23413 h 48160"/>
                <a:gd name="connsiteX3" fmla="*/ 41670 w 83410"/>
                <a:gd name="connsiteY3" fmla="*/ -52 h 48160"/>
                <a:gd name="connsiteX4" fmla="*/ 83379 w 83410"/>
                <a:gd name="connsiteY4" fmla="*/ 24647 h 481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410" h="48160">
                  <a:moveTo>
                    <a:pt x="83379" y="24647"/>
                  </a:moveTo>
                  <a:cubicBezTo>
                    <a:pt x="82781" y="37948"/>
                    <a:pt x="63637" y="48446"/>
                    <a:pt x="40622" y="48100"/>
                  </a:cubicBezTo>
                  <a:cubicBezTo>
                    <a:pt x="17585" y="47767"/>
                    <a:pt x="-596" y="36713"/>
                    <a:pt x="-18" y="23413"/>
                  </a:cubicBezTo>
                  <a:cubicBezTo>
                    <a:pt x="560" y="10359"/>
                    <a:pt x="19061" y="-52"/>
                    <a:pt x="41670" y="-52"/>
                  </a:cubicBezTo>
                  <a:cubicBezTo>
                    <a:pt x="64877" y="281"/>
                    <a:pt x="83379" y="11248"/>
                    <a:pt x="83379" y="24647"/>
                  </a:cubicBezTo>
                  <a:close/>
                </a:path>
              </a:pathLst>
            </a:custGeom>
            <a:solidFill>
              <a:srgbClr val="830051"/>
            </a:solid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182" name="Freeform: Shape 439">
              <a:extLst>
                <a:ext uri="{FF2B5EF4-FFF2-40B4-BE49-F238E27FC236}">
                  <a16:creationId xmlns:a16="http://schemas.microsoft.com/office/drawing/2014/main" id="{3EB0C7C3-3227-3230-2451-C53E08593C71}"/>
                </a:ext>
              </a:extLst>
            </p:cNvPr>
            <p:cNvSpPr/>
            <p:nvPr/>
          </p:nvSpPr>
          <p:spPr>
            <a:xfrm>
              <a:off x="5877709" y="3081737"/>
              <a:ext cx="72000" cy="72000"/>
            </a:xfrm>
            <a:custGeom>
              <a:avLst/>
              <a:gdLst>
                <a:gd name="connsiteX0" fmla="*/ 83379 w 83410"/>
                <a:gd name="connsiteY0" fmla="*/ 24647 h 48160"/>
                <a:gd name="connsiteX1" fmla="*/ 40622 w 83410"/>
                <a:gd name="connsiteY1" fmla="*/ 48100 h 48160"/>
                <a:gd name="connsiteX2" fmla="*/ -18 w 83410"/>
                <a:gd name="connsiteY2" fmla="*/ 23412 h 48160"/>
                <a:gd name="connsiteX3" fmla="*/ 41669 w 83410"/>
                <a:gd name="connsiteY3" fmla="*/ -52 h 48160"/>
                <a:gd name="connsiteX4" fmla="*/ 83379 w 83410"/>
                <a:gd name="connsiteY4" fmla="*/ 24647 h 481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410" h="48160">
                  <a:moveTo>
                    <a:pt x="83379" y="24647"/>
                  </a:moveTo>
                  <a:cubicBezTo>
                    <a:pt x="82780" y="37948"/>
                    <a:pt x="63637" y="48446"/>
                    <a:pt x="40622" y="48100"/>
                  </a:cubicBezTo>
                  <a:cubicBezTo>
                    <a:pt x="17585" y="47766"/>
                    <a:pt x="-596" y="36713"/>
                    <a:pt x="-18" y="23412"/>
                  </a:cubicBezTo>
                  <a:cubicBezTo>
                    <a:pt x="559" y="10359"/>
                    <a:pt x="19061" y="-52"/>
                    <a:pt x="41669" y="-52"/>
                  </a:cubicBezTo>
                  <a:cubicBezTo>
                    <a:pt x="64877" y="281"/>
                    <a:pt x="83379" y="11248"/>
                    <a:pt x="83379" y="24647"/>
                  </a:cubicBezTo>
                  <a:close/>
                </a:path>
              </a:pathLst>
            </a:custGeom>
            <a:solidFill>
              <a:srgbClr val="830051"/>
            </a:solid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183" name="Freeform: Shape 440">
              <a:extLst>
                <a:ext uri="{FF2B5EF4-FFF2-40B4-BE49-F238E27FC236}">
                  <a16:creationId xmlns:a16="http://schemas.microsoft.com/office/drawing/2014/main" id="{3C83D058-3DB9-90A3-678A-DAD4521E1B4A}"/>
                </a:ext>
              </a:extLst>
            </p:cNvPr>
            <p:cNvSpPr/>
            <p:nvPr/>
          </p:nvSpPr>
          <p:spPr>
            <a:xfrm>
              <a:off x="5978017" y="3091516"/>
              <a:ext cx="72000" cy="72000"/>
            </a:xfrm>
            <a:custGeom>
              <a:avLst/>
              <a:gdLst>
                <a:gd name="connsiteX0" fmla="*/ 83387 w 83418"/>
                <a:gd name="connsiteY0" fmla="*/ 24030 h 48164"/>
                <a:gd name="connsiteX1" fmla="*/ 41678 w 83418"/>
                <a:gd name="connsiteY1" fmla="*/ 48112 h 48164"/>
                <a:gd name="connsiteX2" fmla="*/ -32 w 83418"/>
                <a:gd name="connsiteY2" fmla="*/ 24030 h 48164"/>
                <a:gd name="connsiteX3" fmla="*/ 41678 w 83418"/>
                <a:gd name="connsiteY3" fmla="*/ -52 h 48164"/>
                <a:gd name="connsiteX4" fmla="*/ 41892 w 83418"/>
                <a:gd name="connsiteY4" fmla="*/ -52 h 48164"/>
                <a:gd name="connsiteX5" fmla="*/ 83387 w 83418"/>
                <a:gd name="connsiteY5" fmla="*/ 23907 h 48164"/>
                <a:gd name="connsiteX6" fmla="*/ 83387 w 83418"/>
                <a:gd name="connsiteY6" fmla="*/ 24030 h 48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3418" h="48164">
                  <a:moveTo>
                    <a:pt x="83387" y="24030"/>
                  </a:moveTo>
                  <a:cubicBezTo>
                    <a:pt x="83387" y="37331"/>
                    <a:pt x="64714" y="48112"/>
                    <a:pt x="41678" y="48112"/>
                  </a:cubicBezTo>
                  <a:cubicBezTo>
                    <a:pt x="18641" y="48112"/>
                    <a:pt x="-32" y="37331"/>
                    <a:pt x="-32" y="24030"/>
                  </a:cubicBezTo>
                  <a:cubicBezTo>
                    <a:pt x="-32" y="10729"/>
                    <a:pt x="18641" y="-52"/>
                    <a:pt x="41678" y="-52"/>
                  </a:cubicBezTo>
                  <a:cubicBezTo>
                    <a:pt x="41742" y="-52"/>
                    <a:pt x="41828" y="-52"/>
                    <a:pt x="41892" y="-52"/>
                  </a:cubicBezTo>
                  <a:cubicBezTo>
                    <a:pt x="64800" y="-52"/>
                    <a:pt x="83387" y="10680"/>
                    <a:pt x="83387" y="23907"/>
                  </a:cubicBezTo>
                  <a:cubicBezTo>
                    <a:pt x="83387" y="23944"/>
                    <a:pt x="83387" y="23993"/>
                    <a:pt x="83387" y="24030"/>
                  </a:cubicBezTo>
                  <a:close/>
                </a:path>
              </a:pathLst>
            </a:custGeom>
            <a:solidFill>
              <a:srgbClr val="830051"/>
            </a:solid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184" name="Freeform: Shape 441">
              <a:extLst>
                <a:ext uri="{FF2B5EF4-FFF2-40B4-BE49-F238E27FC236}">
                  <a16:creationId xmlns:a16="http://schemas.microsoft.com/office/drawing/2014/main" id="{4D9D9309-D2CB-6F5B-930D-375A4A0D1BD1}"/>
                </a:ext>
              </a:extLst>
            </p:cNvPr>
            <p:cNvSpPr/>
            <p:nvPr/>
          </p:nvSpPr>
          <p:spPr>
            <a:xfrm>
              <a:off x="5994487" y="3101146"/>
              <a:ext cx="72000" cy="72000"/>
            </a:xfrm>
            <a:custGeom>
              <a:avLst/>
              <a:gdLst>
                <a:gd name="connsiteX0" fmla="*/ 83387 w 83418"/>
                <a:gd name="connsiteY0" fmla="*/ 24030 h 48164"/>
                <a:gd name="connsiteX1" fmla="*/ 41678 w 83418"/>
                <a:gd name="connsiteY1" fmla="*/ 48112 h 48164"/>
                <a:gd name="connsiteX2" fmla="*/ -32 w 83418"/>
                <a:gd name="connsiteY2" fmla="*/ 24030 h 48164"/>
                <a:gd name="connsiteX3" fmla="*/ 41678 w 83418"/>
                <a:gd name="connsiteY3" fmla="*/ -52 h 48164"/>
                <a:gd name="connsiteX4" fmla="*/ 83387 w 83418"/>
                <a:gd name="connsiteY4" fmla="*/ 24030 h 481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418" h="48164">
                  <a:moveTo>
                    <a:pt x="83387" y="24030"/>
                  </a:moveTo>
                  <a:cubicBezTo>
                    <a:pt x="83387" y="37331"/>
                    <a:pt x="64715" y="48112"/>
                    <a:pt x="41678" y="48112"/>
                  </a:cubicBezTo>
                  <a:cubicBezTo>
                    <a:pt x="18642" y="48112"/>
                    <a:pt x="-32" y="37331"/>
                    <a:pt x="-32" y="24030"/>
                  </a:cubicBezTo>
                  <a:cubicBezTo>
                    <a:pt x="-32" y="10729"/>
                    <a:pt x="18642" y="-52"/>
                    <a:pt x="41678" y="-52"/>
                  </a:cubicBezTo>
                  <a:cubicBezTo>
                    <a:pt x="64715" y="-52"/>
                    <a:pt x="83387" y="10729"/>
                    <a:pt x="83387" y="24030"/>
                  </a:cubicBezTo>
                  <a:close/>
                </a:path>
              </a:pathLst>
            </a:custGeom>
            <a:solidFill>
              <a:srgbClr val="830051"/>
            </a:solid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185" name="Freeform: Shape 442">
              <a:extLst>
                <a:ext uri="{FF2B5EF4-FFF2-40B4-BE49-F238E27FC236}">
                  <a16:creationId xmlns:a16="http://schemas.microsoft.com/office/drawing/2014/main" id="{90F7B952-BDE2-85AC-E4AC-2526826C214C}"/>
                </a:ext>
              </a:extLst>
            </p:cNvPr>
            <p:cNvSpPr/>
            <p:nvPr/>
          </p:nvSpPr>
          <p:spPr>
            <a:xfrm>
              <a:off x="6047540" y="3112259"/>
              <a:ext cx="72000" cy="72000"/>
            </a:xfrm>
            <a:custGeom>
              <a:avLst/>
              <a:gdLst>
                <a:gd name="connsiteX0" fmla="*/ 83380 w 83432"/>
                <a:gd name="connsiteY0" fmla="*/ 24647 h 48160"/>
                <a:gd name="connsiteX1" fmla="*/ 40622 w 83432"/>
                <a:gd name="connsiteY1" fmla="*/ 48100 h 48160"/>
                <a:gd name="connsiteX2" fmla="*/ -18 w 83432"/>
                <a:gd name="connsiteY2" fmla="*/ 23412 h 48160"/>
                <a:gd name="connsiteX3" fmla="*/ 41670 w 83432"/>
                <a:gd name="connsiteY3" fmla="*/ -52 h 48160"/>
                <a:gd name="connsiteX4" fmla="*/ 83401 w 83432"/>
                <a:gd name="connsiteY4" fmla="*/ 24018 h 48160"/>
                <a:gd name="connsiteX5" fmla="*/ 83380 w 83432"/>
                <a:gd name="connsiteY5" fmla="*/ 24647 h 48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432" h="48160">
                  <a:moveTo>
                    <a:pt x="83380" y="24647"/>
                  </a:moveTo>
                  <a:cubicBezTo>
                    <a:pt x="82781" y="37948"/>
                    <a:pt x="63637" y="48446"/>
                    <a:pt x="40622" y="48100"/>
                  </a:cubicBezTo>
                  <a:cubicBezTo>
                    <a:pt x="17586" y="47766"/>
                    <a:pt x="-595" y="36713"/>
                    <a:pt x="-18" y="23412"/>
                  </a:cubicBezTo>
                  <a:cubicBezTo>
                    <a:pt x="560" y="10359"/>
                    <a:pt x="19062" y="-52"/>
                    <a:pt x="41670" y="-52"/>
                  </a:cubicBezTo>
                  <a:cubicBezTo>
                    <a:pt x="64706" y="-52"/>
                    <a:pt x="83380" y="10717"/>
                    <a:pt x="83401" y="24018"/>
                  </a:cubicBezTo>
                  <a:cubicBezTo>
                    <a:pt x="83401" y="24227"/>
                    <a:pt x="83380" y="24438"/>
                    <a:pt x="83380" y="24647"/>
                  </a:cubicBezTo>
                  <a:close/>
                </a:path>
              </a:pathLst>
            </a:custGeom>
            <a:solidFill>
              <a:srgbClr val="830051"/>
            </a:solid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186" name="Freeform: Shape 443">
              <a:extLst>
                <a:ext uri="{FF2B5EF4-FFF2-40B4-BE49-F238E27FC236}">
                  <a16:creationId xmlns:a16="http://schemas.microsoft.com/office/drawing/2014/main" id="{4237D41A-34C7-AA28-9F2C-243DA17185BC}"/>
                </a:ext>
              </a:extLst>
            </p:cNvPr>
            <p:cNvSpPr/>
            <p:nvPr/>
          </p:nvSpPr>
          <p:spPr>
            <a:xfrm>
              <a:off x="6111281" y="3124259"/>
              <a:ext cx="72000" cy="72000"/>
            </a:xfrm>
            <a:custGeom>
              <a:avLst/>
              <a:gdLst>
                <a:gd name="connsiteX0" fmla="*/ 83380 w 83411"/>
                <a:gd name="connsiteY0" fmla="*/ 24647 h 48160"/>
                <a:gd name="connsiteX1" fmla="*/ 40622 w 83411"/>
                <a:gd name="connsiteY1" fmla="*/ 48100 h 48160"/>
                <a:gd name="connsiteX2" fmla="*/ -18 w 83411"/>
                <a:gd name="connsiteY2" fmla="*/ 23412 h 48160"/>
                <a:gd name="connsiteX3" fmla="*/ 41670 w 83411"/>
                <a:gd name="connsiteY3" fmla="*/ -52 h 48160"/>
                <a:gd name="connsiteX4" fmla="*/ 83380 w 83411"/>
                <a:gd name="connsiteY4" fmla="*/ 24647 h 481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411" h="48160">
                  <a:moveTo>
                    <a:pt x="83380" y="24647"/>
                  </a:moveTo>
                  <a:cubicBezTo>
                    <a:pt x="82781" y="37948"/>
                    <a:pt x="63637" y="48446"/>
                    <a:pt x="40622" y="48100"/>
                  </a:cubicBezTo>
                  <a:cubicBezTo>
                    <a:pt x="17585" y="47766"/>
                    <a:pt x="-596" y="36713"/>
                    <a:pt x="-18" y="23412"/>
                  </a:cubicBezTo>
                  <a:cubicBezTo>
                    <a:pt x="560" y="10359"/>
                    <a:pt x="19061" y="-52"/>
                    <a:pt x="41670" y="-52"/>
                  </a:cubicBezTo>
                  <a:cubicBezTo>
                    <a:pt x="64877" y="281"/>
                    <a:pt x="83380" y="11248"/>
                    <a:pt x="83380" y="24647"/>
                  </a:cubicBezTo>
                  <a:close/>
                </a:path>
              </a:pathLst>
            </a:custGeom>
            <a:solidFill>
              <a:srgbClr val="830051"/>
            </a:solid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187" name="Freeform: Shape 444">
              <a:extLst>
                <a:ext uri="{FF2B5EF4-FFF2-40B4-BE49-F238E27FC236}">
                  <a16:creationId xmlns:a16="http://schemas.microsoft.com/office/drawing/2014/main" id="{71421866-A4B1-339F-AF21-43DD37E5CFD7}"/>
                </a:ext>
              </a:extLst>
            </p:cNvPr>
            <p:cNvSpPr/>
            <p:nvPr/>
          </p:nvSpPr>
          <p:spPr>
            <a:xfrm>
              <a:off x="6184861" y="3124259"/>
              <a:ext cx="72000" cy="72000"/>
            </a:xfrm>
            <a:custGeom>
              <a:avLst/>
              <a:gdLst>
                <a:gd name="connsiteX0" fmla="*/ 83379 w 83410"/>
                <a:gd name="connsiteY0" fmla="*/ 24647 h 48160"/>
                <a:gd name="connsiteX1" fmla="*/ 40622 w 83410"/>
                <a:gd name="connsiteY1" fmla="*/ 48100 h 48160"/>
                <a:gd name="connsiteX2" fmla="*/ -18 w 83410"/>
                <a:gd name="connsiteY2" fmla="*/ 23412 h 48160"/>
                <a:gd name="connsiteX3" fmla="*/ 41670 w 83410"/>
                <a:gd name="connsiteY3" fmla="*/ -52 h 48160"/>
                <a:gd name="connsiteX4" fmla="*/ 83379 w 83410"/>
                <a:gd name="connsiteY4" fmla="*/ 24647 h 481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410" h="48160">
                  <a:moveTo>
                    <a:pt x="83379" y="24647"/>
                  </a:moveTo>
                  <a:cubicBezTo>
                    <a:pt x="82781" y="37948"/>
                    <a:pt x="63637" y="48446"/>
                    <a:pt x="40622" y="48100"/>
                  </a:cubicBezTo>
                  <a:cubicBezTo>
                    <a:pt x="17585" y="47766"/>
                    <a:pt x="-596" y="36713"/>
                    <a:pt x="-18" y="23412"/>
                  </a:cubicBezTo>
                  <a:cubicBezTo>
                    <a:pt x="560" y="10359"/>
                    <a:pt x="19061" y="-52"/>
                    <a:pt x="41670" y="-52"/>
                  </a:cubicBezTo>
                  <a:cubicBezTo>
                    <a:pt x="64877" y="281"/>
                    <a:pt x="83379" y="11248"/>
                    <a:pt x="83379" y="24647"/>
                  </a:cubicBezTo>
                  <a:close/>
                </a:path>
              </a:pathLst>
            </a:custGeom>
            <a:solidFill>
              <a:srgbClr val="830051"/>
            </a:solid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188" name="Freeform: Shape 445">
              <a:extLst>
                <a:ext uri="{FF2B5EF4-FFF2-40B4-BE49-F238E27FC236}">
                  <a16:creationId xmlns:a16="http://schemas.microsoft.com/office/drawing/2014/main" id="{0C68973E-8B20-787C-AA4A-920568E49F19}"/>
                </a:ext>
              </a:extLst>
            </p:cNvPr>
            <p:cNvSpPr/>
            <p:nvPr/>
          </p:nvSpPr>
          <p:spPr>
            <a:xfrm>
              <a:off x="6206457" y="3134917"/>
              <a:ext cx="72000" cy="72000"/>
            </a:xfrm>
            <a:custGeom>
              <a:avLst/>
              <a:gdLst>
                <a:gd name="connsiteX0" fmla="*/ 85526 w 85574"/>
                <a:gd name="connsiteY0" fmla="*/ 24656 h 49407"/>
                <a:gd name="connsiteX1" fmla="*/ 42747 w 85574"/>
                <a:gd name="connsiteY1" fmla="*/ 49356 h 49407"/>
                <a:gd name="connsiteX2" fmla="*/ -32 w 85574"/>
                <a:gd name="connsiteY2" fmla="*/ 24656 h 49407"/>
                <a:gd name="connsiteX3" fmla="*/ 42747 w 85574"/>
                <a:gd name="connsiteY3" fmla="*/ -44 h 49407"/>
                <a:gd name="connsiteX4" fmla="*/ 85526 w 85574"/>
                <a:gd name="connsiteY4" fmla="*/ 23408 h 49407"/>
                <a:gd name="connsiteX5" fmla="*/ 85526 w 85574"/>
                <a:gd name="connsiteY5" fmla="*/ 24656 h 49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574" h="49407">
                  <a:moveTo>
                    <a:pt x="85526" y="24656"/>
                  </a:moveTo>
                  <a:cubicBezTo>
                    <a:pt x="85526" y="38302"/>
                    <a:pt x="66383" y="49356"/>
                    <a:pt x="42747" y="49356"/>
                  </a:cubicBezTo>
                  <a:cubicBezTo>
                    <a:pt x="19112" y="49356"/>
                    <a:pt x="-32" y="38302"/>
                    <a:pt x="-32" y="24656"/>
                  </a:cubicBezTo>
                  <a:cubicBezTo>
                    <a:pt x="-32" y="11009"/>
                    <a:pt x="19112" y="-44"/>
                    <a:pt x="42747" y="-44"/>
                  </a:cubicBezTo>
                  <a:cubicBezTo>
                    <a:pt x="65784" y="-390"/>
                    <a:pt x="84927" y="10108"/>
                    <a:pt x="85526" y="23408"/>
                  </a:cubicBezTo>
                  <a:cubicBezTo>
                    <a:pt x="85548" y="23816"/>
                    <a:pt x="85548" y="24236"/>
                    <a:pt x="85526" y="24656"/>
                  </a:cubicBezTo>
                  <a:close/>
                </a:path>
              </a:pathLst>
            </a:custGeom>
            <a:solidFill>
              <a:srgbClr val="830051"/>
            </a:solid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189" name="Freeform: Shape 446">
              <a:extLst>
                <a:ext uri="{FF2B5EF4-FFF2-40B4-BE49-F238E27FC236}">
                  <a16:creationId xmlns:a16="http://schemas.microsoft.com/office/drawing/2014/main" id="{0D19571B-AB2F-E340-8466-9C047D4A3B38}"/>
                </a:ext>
              </a:extLst>
            </p:cNvPr>
            <p:cNvSpPr/>
            <p:nvPr/>
          </p:nvSpPr>
          <p:spPr>
            <a:xfrm>
              <a:off x="6263804" y="3173141"/>
              <a:ext cx="72000" cy="72000"/>
            </a:xfrm>
            <a:custGeom>
              <a:avLst/>
              <a:gdLst>
                <a:gd name="connsiteX0" fmla="*/ 85503 w 85553"/>
                <a:gd name="connsiteY0" fmla="*/ 23916 h 49406"/>
                <a:gd name="connsiteX1" fmla="*/ 44007 w 85553"/>
                <a:gd name="connsiteY1" fmla="*/ 49344 h 49406"/>
                <a:gd name="connsiteX2" fmla="*/ -12 w 85553"/>
                <a:gd name="connsiteY2" fmla="*/ 25385 h 49406"/>
                <a:gd name="connsiteX3" fmla="*/ 41462 w 85553"/>
                <a:gd name="connsiteY3" fmla="*/ -43 h 49406"/>
                <a:gd name="connsiteX4" fmla="*/ 43794 w 85553"/>
                <a:gd name="connsiteY4" fmla="*/ -43 h 49406"/>
                <a:gd name="connsiteX5" fmla="*/ 85503 w 85553"/>
                <a:gd name="connsiteY5" fmla="*/ 23916 h 49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553" h="49406">
                  <a:moveTo>
                    <a:pt x="85503" y="23916"/>
                  </a:moveTo>
                  <a:cubicBezTo>
                    <a:pt x="86209" y="37550"/>
                    <a:pt x="67621" y="48937"/>
                    <a:pt x="44007" y="49344"/>
                  </a:cubicBezTo>
                  <a:cubicBezTo>
                    <a:pt x="20393" y="49739"/>
                    <a:pt x="694" y="39020"/>
                    <a:pt x="-12" y="25385"/>
                  </a:cubicBezTo>
                  <a:cubicBezTo>
                    <a:pt x="-718" y="11751"/>
                    <a:pt x="17848" y="364"/>
                    <a:pt x="41462" y="-43"/>
                  </a:cubicBezTo>
                  <a:cubicBezTo>
                    <a:pt x="42253" y="-55"/>
                    <a:pt x="43023" y="-55"/>
                    <a:pt x="43794" y="-43"/>
                  </a:cubicBezTo>
                  <a:cubicBezTo>
                    <a:pt x="66509" y="278"/>
                    <a:pt x="84819" y="10800"/>
                    <a:pt x="85503" y="23916"/>
                  </a:cubicBezTo>
                  <a:close/>
                </a:path>
              </a:pathLst>
            </a:custGeom>
            <a:solidFill>
              <a:srgbClr val="830051"/>
            </a:solid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190" name="Freeform: Shape 447">
              <a:extLst>
                <a:ext uri="{FF2B5EF4-FFF2-40B4-BE49-F238E27FC236}">
                  <a16:creationId xmlns:a16="http://schemas.microsoft.com/office/drawing/2014/main" id="{BBD25B97-EE1F-7705-01AD-99B025CAD1C0}"/>
                </a:ext>
              </a:extLst>
            </p:cNvPr>
            <p:cNvSpPr/>
            <p:nvPr/>
          </p:nvSpPr>
          <p:spPr>
            <a:xfrm>
              <a:off x="6348269" y="3243233"/>
              <a:ext cx="72000" cy="72000"/>
            </a:xfrm>
            <a:custGeom>
              <a:avLst/>
              <a:gdLst>
                <a:gd name="connsiteX0" fmla="*/ 83387 w 83418"/>
                <a:gd name="connsiteY0" fmla="*/ 24030 h 48164"/>
                <a:gd name="connsiteX1" fmla="*/ 41678 w 83418"/>
                <a:gd name="connsiteY1" fmla="*/ 48112 h 48164"/>
                <a:gd name="connsiteX2" fmla="*/ -32 w 83418"/>
                <a:gd name="connsiteY2" fmla="*/ 24030 h 48164"/>
                <a:gd name="connsiteX3" fmla="*/ 41678 w 83418"/>
                <a:gd name="connsiteY3" fmla="*/ -52 h 48164"/>
                <a:gd name="connsiteX4" fmla="*/ 41892 w 83418"/>
                <a:gd name="connsiteY4" fmla="*/ -52 h 48164"/>
                <a:gd name="connsiteX5" fmla="*/ 83387 w 83418"/>
                <a:gd name="connsiteY5" fmla="*/ 23907 h 48164"/>
                <a:gd name="connsiteX6" fmla="*/ 83387 w 83418"/>
                <a:gd name="connsiteY6" fmla="*/ 24030 h 48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3418" h="48164">
                  <a:moveTo>
                    <a:pt x="83387" y="24030"/>
                  </a:moveTo>
                  <a:cubicBezTo>
                    <a:pt x="83387" y="37331"/>
                    <a:pt x="64715" y="48112"/>
                    <a:pt x="41678" y="48112"/>
                  </a:cubicBezTo>
                  <a:cubicBezTo>
                    <a:pt x="18641" y="48112"/>
                    <a:pt x="-32" y="37331"/>
                    <a:pt x="-32" y="24030"/>
                  </a:cubicBezTo>
                  <a:cubicBezTo>
                    <a:pt x="-32" y="10729"/>
                    <a:pt x="18641" y="-52"/>
                    <a:pt x="41678" y="-52"/>
                  </a:cubicBezTo>
                  <a:cubicBezTo>
                    <a:pt x="41742" y="-52"/>
                    <a:pt x="41828" y="-52"/>
                    <a:pt x="41892" y="-52"/>
                  </a:cubicBezTo>
                  <a:cubicBezTo>
                    <a:pt x="64800" y="-52"/>
                    <a:pt x="83387" y="10680"/>
                    <a:pt x="83387" y="23907"/>
                  </a:cubicBezTo>
                  <a:cubicBezTo>
                    <a:pt x="83387" y="23943"/>
                    <a:pt x="83387" y="23993"/>
                    <a:pt x="83387" y="24030"/>
                  </a:cubicBezTo>
                  <a:close/>
                </a:path>
              </a:pathLst>
            </a:custGeom>
            <a:solidFill>
              <a:srgbClr val="830051"/>
            </a:solid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191" name="Freeform: Shape 448">
              <a:extLst>
                <a:ext uri="{FF2B5EF4-FFF2-40B4-BE49-F238E27FC236}">
                  <a16:creationId xmlns:a16="http://schemas.microsoft.com/office/drawing/2014/main" id="{F9A0B61C-7AA0-C163-4721-1A014BE016F2}"/>
                </a:ext>
              </a:extLst>
            </p:cNvPr>
            <p:cNvSpPr/>
            <p:nvPr/>
          </p:nvSpPr>
          <p:spPr>
            <a:xfrm>
              <a:off x="6398320" y="3254049"/>
              <a:ext cx="72000" cy="72000"/>
            </a:xfrm>
            <a:custGeom>
              <a:avLst/>
              <a:gdLst>
                <a:gd name="connsiteX0" fmla="*/ 83387 w 83418"/>
                <a:gd name="connsiteY0" fmla="*/ 24030 h 48164"/>
                <a:gd name="connsiteX1" fmla="*/ 41678 w 83418"/>
                <a:gd name="connsiteY1" fmla="*/ 48112 h 48164"/>
                <a:gd name="connsiteX2" fmla="*/ -32 w 83418"/>
                <a:gd name="connsiteY2" fmla="*/ 24030 h 48164"/>
                <a:gd name="connsiteX3" fmla="*/ 41678 w 83418"/>
                <a:gd name="connsiteY3" fmla="*/ -52 h 48164"/>
                <a:gd name="connsiteX4" fmla="*/ 83387 w 83418"/>
                <a:gd name="connsiteY4" fmla="*/ 24030 h 481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418" h="48164">
                  <a:moveTo>
                    <a:pt x="83387" y="24030"/>
                  </a:moveTo>
                  <a:cubicBezTo>
                    <a:pt x="83387" y="37331"/>
                    <a:pt x="64715" y="48112"/>
                    <a:pt x="41678" y="48112"/>
                  </a:cubicBezTo>
                  <a:cubicBezTo>
                    <a:pt x="18641" y="48112"/>
                    <a:pt x="-32" y="37331"/>
                    <a:pt x="-32" y="24030"/>
                  </a:cubicBezTo>
                  <a:cubicBezTo>
                    <a:pt x="-32" y="10729"/>
                    <a:pt x="18641" y="-52"/>
                    <a:pt x="41678" y="-52"/>
                  </a:cubicBezTo>
                  <a:cubicBezTo>
                    <a:pt x="64715" y="-52"/>
                    <a:pt x="83387" y="10729"/>
                    <a:pt x="83387" y="24030"/>
                  </a:cubicBezTo>
                  <a:close/>
                </a:path>
              </a:pathLst>
            </a:custGeom>
            <a:solidFill>
              <a:srgbClr val="830051"/>
            </a:solid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192" name="Freeform: Shape 449">
              <a:extLst>
                <a:ext uri="{FF2B5EF4-FFF2-40B4-BE49-F238E27FC236}">
                  <a16:creationId xmlns:a16="http://schemas.microsoft.com/office/drawing/2014/main" id="{0DDC3EC3-4342-EFD2-DF37-389CFA8C93BA}"/>
                </a:ext>
              </a:extLst>
            </p:cNvPr>
            <p:cNvSpPr/>
            <p:nvPr/>
          </p:nvSpPr>
          <p:spPr>
            <a:xfrm>
              <a:off x="6444957" y="3261754"/>
              <a:ext cx="72000" cy="72000"/>
            </a:xfrm>
            <a:custGeom>
              <a:avLst/>
              <a:gdLst>
                <a:gd name="connsiteX0" fmla="*/ 83379 w 83410"/>
                <a:gd name="connsiteY0" fmla="*/ 24647 h 48160"/>
                <a:gd name="connsiteX1" fmla="*/ 40622 w 83410"/>
                <a:gd name="connsiteY1" fmla="*/ 48100 h 48160"/>
                <a:gd name="connsiteX2" fmla="*/ -18 w 83410"/>
                <a:gd name="connsiteY2" fmla="*/ 23412 h 48160"/>
                <a:gd name="connsiteX3" fmla="*/ 41670 w 83410"/>
                <a:gd name="connsiteY3" fmla="*/ -52 h 48160"/>
                <a:gd name="connsiteX4" fmla="*/ 83379 w 83410"/>
                <a:gd name="connsiteY4" fmla="*/ 24647 h 481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410" h="48160">
                  <a:moveTo>
                    <a:pt x="83379" y="24647"/>
                  </a:moveTo>
                  <a:cubicBezTo>
                    <a:pt x="82781" y="37948"/>
                    <a:pt x="63637" y="48446"/>
                    <a:pt x="40622" y="48100"/>
                  </a:cubicBezTo>
                  <a:cubicBezTo>
                    <a:pt x="17585" y="47766"/>
                    <a:pt x="-596" y="36713"/>
                    <a:pt x="-18" y="23412"/>
                  </a:cubicBezTo>
                  <a:cubicBezTo>
                    <a:pt x="560" y="10359"/>
                    <a:pt x="19061" y="-52"/>
                    <a:pt x="41670" y="-52"/>
                  </a:cubicBezTo>
                  <a:cubicBezTo>
                    <a:pt x="64877" y="281"/>
                    <a:pt x="83379" y="11248"/>
                    <a:pt x="83379" y="24647"/>
                  </a:cubicBezTo>
                  <a:close/>
                </a:path>
              </a:pathLst>
            </a:custGeom>
            <a:solidFill>
              <a:srgbClr val="830051"/>
            </a:solid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193" name="Freeform: Shape 450">
              <a:extLst>
                <a:ext uri="{FF2B5EF4-FFF2-40B4-BE49-F238E27FC236}">
                  <a16:creationId xmlns:a16="http://schemas.microsoft.com/office/drawing/2014/main" id="{4134330B-C8D7-FE6E-5A4A-F57860C887ED}"/>
                </a:ext>
              </a:extLst>
            </p:cNvPr>
            <p:cNvSpPr/>
            <p:nvPr/>
          </p:nvSpPr>
          <p:spPr>
            <a:xfrm>
              <a:off x="6484955" y="3261754"/>
              <a:ext cx="72000" cy="72000"/>
            </a:xfrm>
            <a:custGeom>
              <a:avLst/>
              <a:gdLst>
                <a:gd name="connsiteX0" fmla="*/ 83380 w 83432"/>
                <a:gd name="connsiteY0" fmla="*/ 24647 h 48160"/>
                <a:gd name="connsiteX1" fmla="*/ 40622 w 83432"/>
                <a:gd name="connsiteY1" fmla="*/ 48100 h 48160"/>
                <a:gd name="connsiteX2" fmla="*/ -18 w 83432"/>
                <a:gd name="connsiteY2" fmla="*/ 23412 h 48160"/>
                <a:gd name="connsiteX3" fmla="*/ 41670 w 83432"/>
                <a:gd name="connsiteY3" fmla="*/ -52 h 48160"/>
                <a:gd name="connsiteX4" fmla="*/ 83401 w 83432"/>
                <a:gd name="connsiteY4" fmla="*/ 24018 h 48160"/>
                <a:gd name="connsiteX5" fmla="*/ 83380 w 83432"/>
                <a:gd name="connsiteY5" fmla="*/ 24647 h 48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432" h="48160">
                  <a:moveTo>
                    <a:pt x="83380" y="24647"/>
                  </a:moveTo>
                  <a:cubicBezTo>
                    <a:pt x="82781" y="37948"/>
                    <a:pt x="63637" y="48446"/>
                    <a:pt x="40622" y="48100"/>
                  </a:cubicBezTo>
                  <a:cubicBezTo>
                    <a:pt x="17585" y="47766"/>
                    <a:pt x="-596" y="36713"/>
                    <a:pt x="-18" y="23412"/>
                  </a:cubicBezTo>
                  <a:cubicBezTo>
                    <a:pt x="560" y="10359"/>
                    <a:pt x="19061" y="-52"/>
                    <a:pt x="41670" y="-52"/>
                  </a:cubicBezTo>
                  <a:cubicBezTo>
                    <a:pt x="64706" y="-52"/>
                    <a:pt x="83380" y="10717"/>
                    <a:pt x="83401" y="24018"/>
                  </a:cubicBezTo>
                  <a:cubicBezTo>
                    <a:pt x="83401" y="24228"/>
                    <a:pt x="83380" y="24438"/>
                    <a:pt x="83380" y="24647"/>
                  </a:cubicBezTo>
                  <a:close/>
                </a:path>
              </a:pathLst>
            </a:custGeom>
            <a:solidFill>
              <a:srgbClr val="830051"/>
            </a:solid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194" name="Freeform: Shape 451">
              <a:extLst>
                <a:ext uri="{FF2B5EF4-FFF2-40B4-BE49-F238E27FC236}">
                  <a16:creationId xmlns:a16="http://schemas.microsoft.com/office/drawing/2014/main" id="{2C2D8751-295A-BECF-1F25-4F876CBA4FA3}"/>
                </a:ext>
              </a:extLst>
            </p:cNvPr>
            <p:cNvSpPr/>
            <p:nvPr/>
          </p:nvSpPr>
          <p:spPr>
            <a:xfrm>
              <a:off x="6542066" y="3317907"/>
              <a:ext cx="72000" cy="72000"/>
            </a:xfrm>
            <a:custGeom>
              <a:avLst/>
              <a:gdLst>
                <a:gd name="connsiteX0" fmla="*/ 83379 w 83410"/>
                <a:gd name="connsiteY0" fmla="*/ 24647 h 48160"/>
                <a:gd name="connsiteX1" fmla="*/ 40622 w 83410"/>
                <a:gd name="connsiteY1" fmla="*/ 48100 h 48160"/>
                <a:gd name="connsiteX2" fmla="*/ -18 w 83410"/>
                <a:gd name="connsiteY2" fmla="*/ 23413 h 48160"/>
                <a:gd name="connsiteX3" fmla="*/ 41669 w 83410"/>
                <a:gd name="connsiteY3" fmla="*/ -52 h 48160"/>
                <a:gd name="connsiteX4" fmla="*/ 83379 w 83410"/>
                <a:gd name="connsiteY4" fmla="*/ 24647 h 481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410" h="48160">
                  <a:moveTo>
                    <a:pt x="83379" y="24647"/>
                  </a:moveTo>
                  <a:cubicBezTo>
                    <a:pt x="82781" y="37948"/>
                    <a:pt x="63637" y="48446"/>
                    <a:pt x="40622" y="48100"/>
                  </a:cubicBezTo>
                  <a:cubicBezTo>
                    <a:pt x="17585" y="47767"/>
                    <a:pt x="-596" y="36713"/>
                    <a:pt x="-18" y="23413"/>
                  </a:cubicBezTo>
                  <a:cubicBezTo>
                    <a:pt x="559" y="10359"/>
                    <a:pt x="19061" y="-52"/>
                    <a:pt x="41669" y="-52"/>
                  </a:cubicBezTo>
                  <a:cubicBezTo>
                    <a:pt x="64877" y="281"/>
                    <a:pt x="83379" y="11248"/>
                    <a:pt x="83379" y="24647"/>
                  </a:cubicBezTo>
                  <a:close/>
                </a:path>
              </a:pathLst>
            </a:custGeom>
            <a:solidFill>
              <a:srgbClr val="830051"/>
            </a:solid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195" name="Freeform: Shape 452">
              <a:extLst>
                <a:ext uri="{FF2B5EF4-FFF2-40B4-BE49-F238E27FC236}">
                  <a16:creationId xmlns:a16="http://schemas.microsoft.com/office/drawing/2014/main" id="{9FEB382C-A28F-1B8C-B80C-6B19747F7F5B}"/>
                </a:ext>
              </a:extLst>
            </p:cNvPr>
            <p:cNvSpPr/>
            <p:nvPr/>
          </p:nvSpPr>
          <p:spPr>
            <a:xfrm>
              <a:off x="6551477" y="3331231"/>
              <a:ext cx="72000" cy="72000"/>
            </a:xfrm>
            <a:custGeom>
              <a:avLst/>
              <a:gdLst>
                <a:gd name="connsiteX0" fmla="*/ 85518 w 85563"/>
                <a:gd name="connsiteY0" fmla="*/ 24038 h 49403"/>
                <a:gd name="connsiteX1" fmla="*/ 43830 w 85563"/>
                <a:gd name="connsiteY1" fmla="*/ 49343 h 49403"/>
                <a:gd name="connsiteX2" fmla="*/ -18 w 85563"/>
                <a:gd name="connsiteY2" fmla="*/ 25273 h 49403"/>
                <a:gd name="connsiteX3" fmla="*/ 41691 w 85563"/>
                <a:gd name="connsiteY3" fmla="*/ -32 h 49403"/>
                <a:gd name="connsiteX4" fmla="*/ 42739 w 85563"/>
                <a:gd name="connsiteY4" fmla="*/ -44 h 49403"/>
                <a:gd name="connsiteX5" fmla="*/ 85496 w 85563"/>
                <a:gd name="connsiteY5" fmla="*/ 23408 h 49403"/>
                <a:gd name="connsiteX6" fmla="*/ 85518 w 85563"/>
                <a:gd name="connsiteY6" fmla="*/ 24038 h 49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63" h="49403">
                  <a:moveTo>
                    <a:pt x="85518" y="24038"/>
                  </a:moveTo>
                  <a:cubicBezTo>
                    <a:pt x="86116" y="37673"/>
                    <a:pt x="67444" y="49010"/>
                    <a:pt x="43830" y="49343"/>
                  </a:cubicBezTo>
                  <a:cubicBezTo>
                    <a:pt x="20194" y="49689"/>
                    <a:pt x="580" y="38907"/>
                    <a:pt x="-18" y="25273"/>
                  </a:cubicBezTo>
                  <a:cubicBezTo>
                    <a:pt x="-596" y="11639"/>
                    <a:pt x="18056" y="302"/>
                    <a:pt x="41691" y="-32"/>
                  </a:cubicBezTo>
                  <a:cubicBezTo>
                    <a:pt x="42033" y="-44"/>
                    <a:pt x="42397" y="-44"/>
                    <a:pt x="42739" y="-44"/>
                  </a:cubicBezTo>
                  <a:cubicBezTo>
                    <a:pt x="65775" y="-390"/>
                    <a:pt x="84919" y="10120"/>
                    <a:pt x="85496" y="23408"/>
                  </a:cubicBezTo>
                  <a:cubicBezTo>
                    <a:pt x="85518" y="23618"/>
                    <a:pt x="85518" y="23828"/>
                    <a:pt x="85518" y="24038"/>
                  </a:cubicBezTo>
                  <a:close/>
                </a:path>
              </a:pathLst>
            </a:custGeom>
            <a:solidFill>
              <a:srgbClr val="830051"/>
            </a:solid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196" name="Freeform: Shape 453">
              <a:extLst>
                <a:ext uri="{FF2B5EF4-FFF2-40B4-BE49-F238E27FC236}">
                  <a16:creationId xmlns:a16="http://schemas.microsoft.com/office/drawing/2014/main" id="{A07C7319-3CD1-12FC-EAC5-28370CEC2444}"/>
                </a:ext>
              </a:extLst>
            </p:cNvPr>
            <p:cNvSpPr/>
            <p:nvPr/>
          </p:nvSpPr>
          <p:spPr>
            <a:xfrm>
              <a:off x="6618212" y="3366504"/>
              <a:ext cx="72000" cy="72000"/>
            </a:xfrm>
            <a:custGeom>
              <a:avLst/>
              <a:gdLst>
                <a:gd name="connsiteX0" fmla="*/ 83379 w 83432"/>
                <a:gd name="connsiteY0" fmla="*/ 24647 h 48160"/>
                <a:gd name="connsiteX1" fmla="*/ 40622 w 83432"/>
                <a:gd name="connsiteY1" fmla="*/ 48100 h 48160"/>
                <a:gd name="connsiteX2" fmla="*/ -18 w 83432"/>
                <a:gd name="connsiteY2" fmla="*/ 23413 h 48160"/>
                <a:gd name="connsiteX3" fmla="*/ 41670 w 83432"/>
                <a:gd name="connsiteY3" fmla="*/ -52 h 48160"/>
                <a:gd name="connsiteX4" fmla="*/ 83401 w 83432"/>
                <a:gd name="connsiteY4" fmla="*/ 24018 h 48160"/>
                <a:gd name="connsiteX5" fmla="*/ 83379 w 83432"/>
                <a:gd name="connsiteY5" fmla="*/ 24647 h 48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432" h="48160">
                  <a:moveTo>
                    <a:pt x="83379" y="24647"/>
                  </a:moveTo>
                  <a:cubicBezTo>
                    <a:pt x="82781" y="37948"/>
                    <a:pt x="63637" y="48446"/>
                    <a:pt x="40622" y="48100"/>
                  </a:cubicBezTo>
                  <a:cubicBezTo>
                    <a:pt x="17585" y="47767"/>
                    <a:pt x="-596" y="36713"/>
                    <a:pt x="-18" y="23413"/>
                  </a:cubicBezTo>
                  <a:cubicBezTo>
                    <a:pt x="559" y="10359"/>
                    <a:pt x="19061" y="-52"/>
                    <a:pt x="41670" y="-52"/>
                  </a:cubicBezTo>
                  <a:cubicBezTo>
                    <a:pt x="64706" y="-52"/>
                    <a:pt x="83379" y="10717"/>
                    <a:pt x="83401" y="24018"/>
                  </a:cubicBezTo>
                  <a:cubicBezTo>
                    <a:pt x="83401" y="24228"/>
                    <a:pt x="83379" y="24438"/>
                    <a:pt x="83379" y="24647"/>
                  </a:cubicBezTo>
                  <a:close/>
                </a:path>
              </a:pathLst>
            </a:custGeom>
            <a:solidFill>
              <a:srgbClr val="830051"/>
            </a:solid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197" name="Freeform: Shape 454">
              <a:extLst>
                <a:ext uri="{FF2B5EF4-FFF2-40B4-BE49-F238E27FC236}">
                  <a16:creationId xmlns:a16="http://schemas.microsoft.com/office/drawing/2014/main" id="{573534F0-2965-C236-A88B-6F78A49038A1}"/>
                </a:ext>
              </a:extLst>
            </p:cNvPr>
            <p:cNvSpPr/>
            <p:nvPr/>
          </p:nvSpPr>
          <p:spPr>
            <a:xfrm>
              <a:off x="6651571" y="3375839"/>
              <a:ext cx="72000" cy="72000"/>
            </a:xfrm>
            <a:custGeom>
              <a:avLst/>
              <a:gdLst>
                <a:gd name="connsiteX0" fmla="*/ 83388 w 83419"/>
                <a:gd name="connsiteY0" fmla="*/ 23907 h 48164"/>
                <a:gd name="connsiteX1" fmla="*/ 41892 w 83419"/>
                <a:gd name="connsiteY1" fmla="*/ 48112 h 48164"/>
                <a:gd name="connsiteX2" fmla="*/ -31 w 83419"/>
                <a:gd name="connsiteY2" fmla="*/ 24154 h 48164"/>
                <a:gd name="connsiteX3" fmla="*/ 41465 w 83419"/>
                <a:gd name="connsiteY3" fmla="*/ -52 h 48164"/>
                <a:gd name="connsiteX4" fmla="*/ 41892 w 83419"/>
                <a:gd name="connsiteY4" fmla="*/ -52 h 48164"/>
                <a:gd name="connsiteX5" fmla="*/ 83388 w 83419"/>
                <a:gd name="connsiteY5" fmla="*/ 23907 h 48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419" h="48164">
                  <a:moveTo>
                    <a:pt x="83388" y="23907"/>
                  </a:moveTo>
                  <a:cubicBezTo>
                    <a:pt x="83516" y="37207"/>
                    <a:pt x="64928" y="48038"/>
                    <a:pt x="41892" y="48112"/>
                  </a:cubicBezTo>
                  <a:cubicBezTo>
                    <a:pt x="18856" y="48174"/>
                    <a:pt x="98" y="37454"/>
                    <a:pt x="-31" y="24154"/>
                  </a:cubicBezTo>
                  <a:cubicBezTo>
                    <a:pt x="-138" y="10853"/>
                    <a:pt x="18428" y="22"/>
                    <a:pt x="41465" y="-52"/>
                  </a:cubicBezTo>
                  <a:cubicBezTo>
                    <a:pt x="41614" y="-52"/>
                    <a:pt x="41743" y="-52"/>
                    <a:pt x="41892" y="-52"/>
                  </a:cubicBezTo>
                  <a:cubicBezTo>
                    <a:pt x="64801" y="-52"/>
                    <a:pt x="83388" y="10680"/>
                    <a:pt x="83388" y="23907"/>
                  </a:cubicBezTo>
                  <a:close/>
                </a:path>
              </a:pathLst>
            </a:custGeom>
            <a:solidFill>
              <a:srgbClr val="830051"/>
            </a:solid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198" name="Freeform: Shape 455">
              <a:extLst>
                <a:ext uri="{FF2B5EF4-FFF2-40B4-BE49-F238E27FC236}">
                  <a16:creationId xmlns:a16="http://schemas.microsoft.com/office/drawing/2014/main" id="{E77669C9-CCB2-E51D-441C-BA00D328543D}"/>
                </a:ext>
              </a:extLst>
            </p:cNvPr>
            <p:cNvSpPr/>
            <p:nvPr/>
          </p:nvSpPr>
          <p:spPr>
            <a:xfrm>
              <a:off x="6669119" y="3391988"/>
              <a:ext cx="72000" cy="72000"/>
            </a:xfrm>
            <a:custGeom>
              <a:avLst/>
              <a:gdLst>
                <a:gd name="connsiteX0" fmla="*/ 83379 w 83410"/>
                <a:gd name="connsiteY0" fmla="*/ 24647 h 48160"/>
                <a:gd name="connsiteX1" fmla="*/ 40622 w 83410"/>
                <a:gd name="connsiteY1" fmla="*/ 48100 h 48160"/>
                <a:gd name="connsiteX2" fmla="*/ -18 w 83410"/>
                <a:gd name="connsiteY2" fmla="*/ 23413 h 48160"/>
                <a:gd name="connsiteX3" fmla="*/ 41669 w 83410"/>
                <a:gd name="connsiteY3" fmla="*/ -52 h 48160"/>
                <a:gd name="connsiteX4" fmla="*/ 83379 w 83410"/>
                <a:gd name="connsiteY4" fmla="*/ 24647 h 481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410" h="48160">
                  <a:moveTo>
                    <a:pt x="83379" y="24647"/>
                  </a:moveTo>
                  <a:cubicBezTo>
                    <a:pt x="82780" y="37948"/>
                    <a:pt x="63637" y="48446"/>
                    <a:pt x="40622" y="48100"/>
                  </a:cubicBezTo>
                  <a:cubicBezTo>
                    <a:pt x="17585" y="47767"/>
                    <a:pt x="-596" y="36713"/>
                    <a:pt x="-18" y="23413"/>
                  </a:cubicBezTo>
                  <a:cubicBezTo>
                    <a:pt x="559" y="10359"/>
                    <a:pt x="19061" y="-52"/>
                    <a:pt x="41669" y="-52"/>
                  </a:cubicBezTo>
                  <a:cubicBezTo>
                    <a:pt x="64877" y="281"/>
                    <a:pt x="83379" y="11248"/>
                    <a:pt x="83379" y="24647"/>
                  </a:cubicBezTo>
                  <a:close/>
                </a:path>
              </a:pathLst>
            </a:custGeom>
            <a:solidFill>
              <a:srgbClr val="830051"/>
            </a:solid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199" name="Freeform: Shape 456">
              <a:extLst>
                <a:ext uri="{FF2B5EF4-FFF2-40B4-BE49-F238E27FC236}">
                  <a16:creationId xmlns:a16="http://schemas.microsoft.com/office/drawing/2014/main" id="{BD0B1E64-4FE7-2E6A-4E9C-BAB4A850071B}"/>
                </a:ext>
              </a:extLst>
            </p:cNvPr>
            <p:cNvSpPr/>
            <p:nvPr/>
          </p:nvSpPr>
          <p:spPr>
            <a:xfrm>
              <a:off x="6752316" y="3422214"/>
              <a:ext cx="72000" cy="72000"/>
            </a:xfrm>
            <a:custGeom>
              <a:avLst/>
              <a:gdLst>
                <a:gd name="connsiteX0" fmla="*/ 83388 w 83419"/>
                <a:gd name="connsiteY0" fmla="*/ 24030 h 48164"/>
                <a:gd name="connsiteX1" fmla="*/ 41678 w 83419"/>
                <a:gd name="connsiteY1" fmla="*/ 48112 h 48164"/>
                <a:gd name="connsiteX2" fmla="*/ -32 w 83419"/>
                <a:gd name="connsiteY2" fmla="*/ 24030 h 48164"/>
                <a:gd name="connsiteX3" fmla="*/ 41678 w 83419"/>
                <a:gd name="connsiteY3" fmla="*/ -52 h 48164"/>
                <a:gd name="connsiteX4" fmla="*/ 83388 w 83419"/>
                <a:gd name="connsiteY4" fmla="*/ 24030 h 481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419" h="48164">
                  <a:moveTo>
                    <a:pt x="83388" y="24030"/>
                  </a:moveTo>
                  <a:cubicBezTo>
                    <a:pt x="83388" y="37331"/>
                    <a:pt x="64715" y="48112"/>
                    <a:pt x="41678" y="48112"/>
                  </a:cubicBezTo>
                  <a:cubicBezTo>
                    <a:pt x="18642" y="48112"/>
                    <a:pt x="-32" y="37331"/>
                    <a:pt x="-32" y="24030"/>
                  </a:cubicBezTo>
                  <a:cubicBezTo>
                    <a:pt x="-32" y="10729"/>
                    <a:pt x="18642" y="-52"/>
                    <a:pt x="41678" y="-52"/>
                  </a:cubicBezTo>
                  <a:cubicBezTo>
                    <a:pt x="64480" y="269"/>
                    <a:pt x="82832" y="10865"/>
                    <a:pt x="83388" y="24030"/>
                  </a:cubicBezTo>
                  <a:close/>
                </a:path>
              </a:pathLst>
            </a:custGeom>
            <a:solidFill>
              <a:srgbClr val="830051"/>
            </a:solid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200" name="Freeform: Shape 457">
              <a:extLst>
                <a:ext uri="{FF2B5EF4-FFF2-40B4-BE49-F238E27FC236}">
                  <a16:creationId xmlns:a16="http://schemas.microsoft.com/office/drawing/2014/main" id="{19EEE80D-C64E-10A1-E094-976C0507B80A}"/>
                </a:ext>
              </a:extLst>
            </p:cNvPr>
            <p:cNvSpPr/>
            <p:nvPr/>
          </p:nvSpPr>
          <p:spPr>
            <a:xfrm>
              <a:off x="6818845" y="3431696"/>
              <a:ext cx="72000" cy="72000"/>
            </a:xfrm>
            <a:custGeom>
              <a:avLst/>
              <a:gdLst>
                <a:gd name="connsiteX0" fmla="*/ 83379 w 83410"/>
                <a:gd name="connsiteY0" fmla="*/ 24647 h 48160"/>
                <a:gd name="connsiteX1" fmla="*/ 40622 w 83410"/>
                <a:gd name="connsiteY1" fmla="*/ 48100 h 48160"/>
                <a:gd name="connsiteX2" fmla="*/ -18 w 83410"/>
                <a:gd name="connsiteY2" fmla="*/ 23412 h 48160"/>
                <a:gd name="connsiteX3" fmla="*/ 41669 w 83410"/>
                <a:gd name="connsiteY3" fmla="*/ -52 h 48160"/>
                <a:gd name="connsiteX4" fmla="*/ 83379 w 83410"/>
                <a:gd name="connsiteY4" fmla="*/ 24647 h 481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410" h="48160">
                  <a:moveTo>
                    <a:pt x="83379" y="24647"/>
                  </a:moveTo>
                  <a:cubicBezTo>
                    <a:pt x="82780" y="37948"/>
                    <a:pt x="63637" y="48446"/>
                    <a:pt x="40622" y="48100"/>
                  </a:cubicBezTo>
                  <a:cubicBezTo>
                    <a:pt x="17585" y="47766"/>
                    <a:pt x="-596" y="36713"/>
                    <a:pt x="-18" y="23412"/>
                  </a:cubicBezTo>
                  <a:cubicBezTo>
                    <a:pt x="559" y="10359"/>
                    <a:pt x="19061" y="-52"/>
                    <a:pt x="41669" y="-52"/>
                  </a:cubicBezTo>
                  <a:cubicBezTo>
                    <a:pt x="64877" y="281"/>
                    <a:pt x="83379" y="11248"/>
                    <a:pt x="83379" y="24647"/>
                  </a:cubicBezTo>
                  <a:close/>
                </a:path>
              </a:pathLst>
            </a:custGeom>
            <a:solidFill>
              <a:srgbClr val="830051"/>
            </a:solid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201" name="Freeform: Shape 458">
              <a:extLst>
                <a:ext uri="{FF2B5EF4-FFF2-40B4-BE49-F238E27FC236}">
                  <a16:creationId xmlns:a16="http://schemas.microsoft.com/office/drawing/2014/main" id="{DFDA2FE0-C8BA-E7E7-032C-66688E0E5F0D}"/>
                </a:ext>
              </a:extLst>
            </p:cNvPr>
            <p:cNvSpPr/>
            <p:nvPr/>
          </p:nvSpPr>
          <p:spPr>
            <a:xfrm>
              <a:off x="6867399" y="3431696"/>
              <a:ext cx="72000" cy="72000"/>
            </a:xfrm>
            <a:custGeom>
              <a:avLst/>
              <a:gdLst>
                <a:gd name="connsiteX0" fmla="*/ 83379 w 83410"/>
                <a:gd name="connsiteY0" fmla="*/ 24647 h 48160"/>
                <a:gd name="connsiteX1" fmla="*/ 40622 w 83410"/>
                <a:gd name="connsiteY1" fmla="*/ 48100 h 48160"/>
                <a:gd name="connsiteX2" fmla="*/ -18 w 83410"/>
                <a:gd name="connsiteY2" fmla="*/ 23412 h 48160"/>
                <a:gd name="connsiteX3" fmla="*/ 41670 w 83410"/>
                <a:gd name="connsiteY3" fmla="*/ -52 h 48160"/>
                <a:gd name="connsiteX4" fmla="*/ 83379 w 83410"/>
                <a:gd name="connsiteY4" fmla="*/ 24647 h 481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410" h="48160">
                  <a:moveTo>
                    <a:pt x="83379" y="24647"/>
                  </a:moveTo>
                  <a:cubicBezTo>
                    <a:pt x="82781" y="37948"/>
                    <a:pt x="63637" y="48446"/>
                    <a:pt x="40622" y="48100"/>
                  </a:cubicBezTo>
                  <a:cubicBezTo>
                    <a:pt x="17585" y="47766"/>
                    <a:pt x="-596" y="36713"/>
                    <a:pt x="-18" y="23412"/>
                  </a:cubicBezTo>
                  <a:cubicBezTo>
                    <a:pt x="560" y="10359"/>
                    <a:pt x="19061" y="-52"/>
                    <a:pt x="41670" y="-52"/>
                  </a:cubicBezTo>
                  <a:cubicBezTo>
                    <a:pt x="64877" y="281"/>
                    <a:pt x="83379" y="11248"/>
                    <a:pt x="83379" y="24647"/>
                  </a:cubicBezTo>
                  <a:close/>
                </a:path>
              </a:pathLst>
            </a:custGeom>
            <a:solidFill>
              <a:srgbClr val="830051"/>
            </a:solid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202" name="Freeform: Shape 459">
              <a:extLst>
                <a:ext uri="{FF2B5EF4-FFF2-40B4-BE49-F238E27FC236}">
                  <a16:creationId xmlns:a16="http://schemas.microsoft.com/office/drawing/2014/main" id="{080ED9CB-CBBD-4C74-0248-7B94F0D62750}"/>
                </a:ext>
              </a:extLst>
            </p:cNvPr>
            <p:cNvSpPr/>
            <p:nvPr/>
          </p:nvSpPr>
          <p:spPr>
            <a:xfrm>
              <a:off x="6931140" y="3465625"/>
              <a:ext cx="72000" cy="72000"/>
            </a:xfrm>
            <a:custGeom>
              <a:avLst/>
              <a:gdLst>
                <a:gd name="connsiteX0" fmla="*/ 83379 w 83432"/>
                <a:gd name="connsiteY0" fmla="*/ 24648 h 48160"/>
                <a:gd name="connsiteX1" fmla="*/ 40622 w 83432"/>
                <a:gd name="connsiteY1" fmla="*/ 48100 h 48160"/>
                <a:gd name="connsiteX2" fmla="*/ -18 w 83432"/>
                <a:gd name="connsiteY2" fmla="*/ 23413 h 48160"/>
                <a:gd name="connsiteX3" fmla="*/ 41883 w 83432"/>
                <a:gd name="connsiteY3" fmla="*/ -52 h 48160"/>
                <a:gd name="connsiteX4" fmla="*/ 83401 w 83432"/>
                <a:gd name="connsiteY4" fmla="*/ 23895 h 48160"/>
                <a:gd name="connsiteX5" fmla="*/ 83379 w 83432"/>
                <a:gd name="connsiteY5" fmla="*/ 24648 h 48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432" h="48160">
                  <a:moveTo>
                    <a:pt x="83379" y="24648"/>
                  </a:moveTo>
                  <a:cubicBezTo>
                    <a:pt x="82780" y="37949"/>
                    <a:pt x="63637" y="48446"/>
                    <a:pt x="40622" y="48100"/>
                  </a:cubicBezTo>
                  <a:cubicBezTo>
                    <a:pt x="17585" y="47767"/>
                    <a:pt x="-596" y="36714"/>
                    <a:pt x="-18" y="23413"/>
                  </a:cubicBezTo>
                  <a:cubicBezTo>
                    <a:pt x="580" y="10310"/>
                    <a:pt x="19189" y="-114"/>
                    <a:pt x="41883" y="-52"/>
                  </a:cubicBezTo>
                  <a:cubicBezTo>
                    <a:pt x="64792" y="-64"/>
                    <a:pt x="83379" y="10668"/>
                    <a:pt x="83401" y="23895"/>
                  </a:cubicBezTo>
                  <a:cubicBezTo>
                    <a:pt x="83401" y="24141"/>
                    <a:pt x="83401" y="24401"/>
                    <a:pt x="83379" y="24648"/>
                  </a:cubicBezTo>
                  <a:close/>
                </a:path>
              </a:pathLst>
            </a:custGeom>
            <a:solidFill>
              <a:srgbClr val="830051"/>
            </a:solid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203" name="Freeform: Shape 460">
              <a:extLst>
                <a:ext uri="{FF2B5EF4-FFF2-40B4-BE49-F238E27FC236}">
                  <a16:creationId xmlns:a16="http://schemas.microsoft.com/office/drawing/2014/main" id="{7A67D2CB-778F-8440-EEA7-1B15A9DED5AD}"/>
                </a:ext>
              </a:extLst>
            </p:cNvPr>
            <p:cNvSpPr/>
            <p:nvPr/>
          </p:nvSpPr>
          <p:spPr>
            <a:xfrm>
              <a:off x="6959794" y="3490220"/>
              <a:ext cx="72000" cy="72000"/>
            </a:xfrm>
            <a:custGeom>
              <a:avLst/>
              <a:gdLst>
                <a:gd name="connsiteX0" fmla="*/ 83387 w 83418"/>
                <a:gd name="connsiteY0" fmla="*/ 24030 h 48164"/>
                <a:gd name="connsiteX1" fmla="*/ 41678 w 83418"/>
                <a:gd name="connsiteY1" fmla="*/ 48112 h 48164"/>
                <a:gd name="connsiteX2" fmla="*/ -32 w 83418"/>
                <a:gd name="connsiteY2" fmla="*/ 24030 h 48164"/>
                <a:gd name="connsiteX3" fmla="*/ 41678 w 83418"/>
                <a:gd name="connsiteY3" fmla="*/ -52 h 48164"/>
                <a:gd name="connsiteX4" fmla="*/ 83387 w 83418"/>
                <a:gd name="connsiteY4" fmla="*/ 24030 h 481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418" h="48164">
                  <a:moveTo>
                    <a:pt x="83387" y="24030"/>
                  </a:moveTo>
                  <a:cubicBezTo>
                    <a:pt x="83387" y="37331"/>
                    <a:pt x="64715" y="48112"/>
                    <a:pt x="41678" y="48112"/>
                  </a:cubicBezTo>
                  <a:cubicBezTo>
                    <a:pt x="18641" y="48112"/>
                    <a:pt x="-32" y="37331"/>
                    <a:pt x="-32" y="24030"/>
                  </a:cubicBezTo>
                  <a:cubicBezTo>
                    <a:pt x="-32" y="10729"/>
                    <a:pt x="18641" y="-52"/>
                    <a:pt x="41678" y="-52"/>
                  </a:cubicBezTo>
                  <a:cubicBezTo>
                    <a:pt x="64479" y="269"/>
                    <a:pt x="82831" y="10865"/>
                    <a:pt x="83387" y="24030"/>
                  </a:cubicBezTo>
                  <a:close/>
                </a:path>
              </a:pathLst>
            </a:custGeom>
            <a:solidFill>
              <a:srgbClr val="830051"/>
            </a:solid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204" name="Freeform: Shape 461">
              <a:extLst>
                <a:ext uri="{FF2B5EF4-FFF2-40B4-BE49-F238E27FC236}">
                  <a16:creationId xmlns:a16="http://schemas.microsoft.com/office/drawing/2014/main" id="{D82D25D1-199F-DE61-0198-4F6E449A2D86}"/>
                </a:ext>
              </a:extLst>
            </p:cNvPr>
            <p:cNvSpPr/>
            <p:nvPr/>
          </p:nvSpPr>
          <p:spPr>
            <a:xfrm>
              <a:off x="6992956" y="3490209"/>
              <a:ext cx="72000" cy="72000"/>
            </a:xfrm>
            <a:custGeom>
              <a:avLst/>
              <a:gdLst>
                <a:gd name="connsiteX0" fmla="*/ 85518 w 85562"/>
                <a:gd name="connsiteY0" fmla="*/ 24039 h 49403"/>
                <a:gd name="connsiteX1" fmla="*/ 43809 w 85562"/>
                <a:gd name="connsiteY1" fmla="*/ 49344 h 49403"/>
                <a:gd name="connsiteX2" fmla="*/ -18 w 85562"/>
                <a:gd name="connsiteY2" fmla="*/ 25262 h 49403"/>
                <a:gd name="connsiteX3" fmla="*/ 41691 w 85562"/>
                <a:gd name="connsiteY3" fmla="*/ -43 h 49403"/>
                <a:gd name="connsiteX4" fmla="*/ 43809 w 85562"/>
                <a:gd name="connsiteY4" fmla="*/ -43 h 49403"/>
                <a:gd name="connsiteX5" fmla="*/ 85518 w 85562"/>
                <a:gd name="connsiteY5" fmla="*/ 24039 h 49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562" h="49403">
                  <a:moveTo>
                    <a:pt x="85518" y="24039"/>
                  </a:moveTo>
                  <a:cubicBezTo>
                    <a:pt x="86096" y="37673"/>
                    <a:pt x="67423" y="48998"/>
                    <a:pt x="43809" y="49344"/>
                  </a:cubicBezTo>
                  <a:cubicBezTo>
                    <a:pt x="20195" y="49678"/>
                    <a:pt x="559" y="38896"/>
                    <a:pt x="-18" y="25262"/>
                  </a:cubicBezTo>
                  <a:cubicBezTo>
                    <a:pt x="-596" y="11628"/>
                    <a:pt x="18077" y="290"/>
                    <a:pt x="41691" y="-43"/>
                  </a:cubicBezTo>
                  <a:cubicBezTo>
                    <a:pt x="42397" y="-55"/>
                    <a:pt x="43102" y="-55"/>
                    <a:pt x="43809" y="-43"/>
                  </a:cubicBezTo>
                  <a:cubicBezTo>
                    <a:pt x="66610" y="278"/>
                    <a:pt x="84962" y="10874"/>
                    <a:pt x="85518" y="24039"/>
                  </a:cubicBezTo>
                  <a:close/>
                </a:path>
              </a:pathLst>
            </a:custGeom>
            <a:solidFill>
              <a:srgbClr val="830051"/>
            </a:solid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205" name="Freeform: Shape 462">
              <a:extLst>
                <a:ext uri="{FF2B5EF4-FFF2-40B4-BE49-F238E27FC236}">
                  <a16:creationId xmlns:a16="http://schemas.microsoft.com/office/drawing/2014/main" id="{ABB22ED3-6774-12C6-9299-A081C38D2378}"/>
                </a:ext>
              </a:extLst>
            </p:cNvPr>
            <p:cNvSpPr/>
            <p:nvPr/>
          </p:nvSpPr>
          <p:spPr>
            <a:xfrm>
              <a:off x="7094769" y="3506369"/>
              <a:ext cx="72000" cy="72000"/>
            </a:xfrm>
            <a:custGeom>
              <a:avLst/>
              <a:gdLst>
                <a:gd name="connsiteX0" fmla="*/ 83379 w 83432"/>
                <a:gd name="connsiteY0" fmla="*/ 24647 h 48160"/>
                <a:gd name="connsiteX1" fmla="*/ 40622 w 83432"/>
                <a:gd name="connsiteY1" fmla="*/ 48100 h 48160"/>
                <a:gd name="connsiteX2" fmla="*/ -18 w 83432"/>
                <a:gd name="connsiteY2" fmla="*/ 23413 h 48160"/>
                <a:gd name="connsiteX3" fmla="*/ 41670 w 83432"/>
                <a:gd name="connsiteY3" fmla="*/ -52 h 48160"/>
                <a:gd name="connsiteX4" fmla="*/ 83401 w 83432"/>
                <a:gd name="connsiteY4" fmla="*/ 24018 h 48160"/>
                <a:gd name="connsiteX5" fmla="*/ 83379 w 83432"/>
                <a:gd name="connsiteY5" fmla="*/ 24647 h 48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432" h="48160">
                  <a:moveTo>
                    <a:pt x="83379" y="24647"/>
                  </a:moveTo>
                  <a:cubicBezTo>
                    <a:pt x="82781" y="37948"/>
                    <a:pt x="63637" y="48446"/>
                    <a:pt x="40622" y="48100"/>
                  </a:cubicBezTo>
                  <a:cubicBezTo>
                    <a:pt x="17585" y="47767"/>
                    <a:pt x="-596" y="36713"/>
                    <a:pt x="-18" y="23413"/>
                  </a:cubicBezTo>
                  <a:cubicBezTo>
                    <a:pt x="560" y="10359"/>
                    <a:pt x="19061" y="-52"/>
                    <a:pt x="41670" y="-52"/>
                  </a:cubicBezTo>
                  <a:cubicBezTo>
                    <a:pt x="64706" y="-52"/>
                    <a:pt x="83379" y="10717"/>
                    <a:pt x="83401" y="24018"/>
                  </a:cubicBezTo>
                  <a:cubicBezTo>
                    <a:pt x="83401" y="24228"/>
                    <a:pt x="83379" y="24438"/>
                    <a:pt x="83379" y="24647"/>
                  </a:cubicBezTo>
                  <a:close/>
                </a:path>
              </a:pathLst>
            </a:custGeom>
            <a:solidFill>
              <a:srgbClr val="830051"/>
            </a:solid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206" name="Freeform: Shape 463">
              <a:extLst>
                <a:ext uri="{FF2B5EF4-FFF2-40B4-BE49-F238E27FC236}">
                  <a16:creationId xmlns:a16="http://schemas.microsoft.com/office/drawing/2014/main" id="{1AF9F10E-395A-2432-7261-7E0204EB0215}"/>
                </a:ext>
              </a:extLst>
            </p:cNvPr>
            <p:cNvSpPr/>
            <p:nvPr/>
          </p:nvSpPr>
          <p:spPr>
            <a:xfrm>
              <a:off x="7150382" y="3506369"/>
              <a:ext cx="72000" cy="72000"/>
            </a:xfrm>
            <a:custGeom>
              <a:avLst/>
              <a:gdLst>
                <a:gd name="connsiteX0" fmla="*/ 83379 w 83410"/>
                <a:gd name="connsiteY0" fmla="*/ 24647 h 48160"/>
                <a:gd name="connsiteX1" fmla="*/ 40622 w 83410"/>
                <a:gd name="connsiteY1" fmla="*/ 48100 h 48160"/>
                <a:gd name="connsiteX2" fmla="*/ -18 w 83410"/>
                <a:gd name="connsiteY2" fmla="*/ 23413 h 48160"/>
                <a:gd name="connsiteX3" fmla="*/ 41669 w 83410"/>
                <a:gd name="connsiteY3" fmla="*/ -52 h 48160"/>
                <a:gd name="connsiteX4" fmla="*/ 83379 w 83410"/>
                <a:gd name="connsiteY4" fmla="*/ 24647 h 481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410" h="48160">
                  <a:moveTo>
                    <a:pt x="83379" y="24647"/>
                  </a:moveTo>
                  <a:cubicBezTo>
                    <a:pt x="82780" y="37948"/>
                    <a:pt x="63637" y="48446"/>
                    <a:pt x="40622" y="48100"/>
                  </a:cubicBezTo>
                  <a:cubicBezTo>
                    <a:pt x="17585" y="47767"/>
                    <a:pt x="-596" y="36713"/>
                    <a:pt x="-18" y="23413"/>
                  </a:cubicBezTo>
                  <a:cubicBezTo>
                    <a:pt x="559" y="10359"/>
                    <a:pt x="19061" y="-52"/>
                    <a:pt x="41669" y="-52"/>
                  </a:cubicBezTo>
                  <a:cubicBezTo>
                    <a:pt x="64877" y="281"/>
                    <a:pt x="83379" y="11248"/>
                    <a:pt x="83379" y="24647"/>
                  </a:cubicBezTo>
                  <a:close/>
                </a:path>
              </a:pathLst>
            </a:custGeom>
            <a:solidFill>
              <a:srgbClr val="830051"/>
            </a:solid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207" name="Freeform: Shape 464">
              <a:extLst>
                <a:ext uri="{FF2B5EF4-FFF2-40B4-BE49-F238E27FC236}">
                  <a16:creationId xmlns:a16="http://schemas.microsoft.com/office/drawing/2014/main" id="{EC3C19ED-52F1-7B60-7023-968B96CEA40B}"/>
                </a:ext>
              </a:extLst>
            </p:cNvPr>
            <p:cNvSpPr/>
            <p:nvPr/>
          </p:nvSpPr>
          <p:spPr>
            <a:xfrm>
              <a:off x="7234435" y="3524742"/>
              <a:ext cx="72000" cy="72000"/>
            </a:xfrm>
            <a:custGeom>
              <a:avLst/>
              <a:gdLst>
                <a:gd name="connsiteX0" fmla="*/ 83387 w 83418"/>
                <a:gd name="connsiteY0" fmla="*/ 24030 h 48164"/>
                <a:gd name="connsiteX1" fmla="*/ 41678 w 83418"/>
                <a:gd name="connsiteY1" fmla="*/ 48112 h 48164"/>
                <a:gd name="connsiteX2" fmla="*/ -32 w 83418"/>
                <a:gd name="connsiteY2" fmla="*/ 24030 h 48164"/>
                <a:gd name="connsiteX3" fmla="*/ 41678 w 83418"/>
                <a:gd name="connsiteY3" fmla="*/ -52 h 48164"/>
                <a:gd name="connsiteX4" fmla="*/ 83387 w 83418"/>
                <a:gd name="connsiteY4" fmla="*/ 24030 h 481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418" h="48164">
                  <a:moveTo>
                    <a:pt x="83387" y="24030"/>
                  </a:moveTo>
                  <a:cubicBezTo>
                    <a:pt x="83387" y="37331"/>
                    <a:pt x="64715" y="48112"/>
                    <a:pt x="41678" y="48112"/>
                  </a:cubicBezTo>
                  <a:cubicBezTo>
                    <a:pt x="18642" y="48112"/>
                    <a:pt x="-32" y="37331"/>
                    <a:pt x="-32" y="24030"/>
                  </a:cubicBezTo>
                  <a:cubicBezTo>
                    <a:pt x="-32" y="10729"/>
                    <a:pt x="18642" y="-52"/>
                    <a:pt x="41678" y="-52"/>
                  </a:cubicBezTo>
                  <a:cubicBezTo>
                    <a:pt x="64479" y="269"/>
                    <a:pt x="82831" y="10865"/>
                    <a:pt x="83387" y="24030"/>
                  </a:cubicBezTo>
                  <a:close/>
                </a:path>
              </a:pathLst>
            </a:custGeom>
            <a:solidFill>
              <a:srgbClr val="830051"/>
            </a:solid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208" name="Freeform: Shape 465">
              <a:extLst>
                <a:ext uri="{FF2B5EF4-FFF2-40B4-BE49-F238E27FC236}">
                  <a16:creationId xmlns:a16="http://schemas.microsoft.com/office/drawing/2014/main" id="{2E81DD66-C8A7-8E38-823F-83A61F0F0D8D}"/>
                </a:ext>
              </a:extLst>
            </p:cNvPr>
            <p:cNvSpPr/>
            <p:nvPr/>
          </p:nvSpPr>
          <p:spPr>
            <a:xfrm>
              <a:off x="7407048" y="3568302"/>
              <a:ext cx="72000" cy="72000"/>
            </a:xfrm>
            <a:custGeom>
              <a:avLst/>
              <a:gdLst>
                <a:gd name="connsiteX0" fmla="*/ 83387 w 83418"/>
                <a:gd name="connsiteY0" fmla="*/ 24030 h 48164"/>
                <a:gd name="connsiteX1" fmla="*/ 41678 w 83418"/>
                <a:gd name="connsiteY1" fmla="*/ 48112 h 48164"/>
                <a:gd name="connsiteX2" fmla="*/ -32 w 83418"/>
                <a:gd name="connsiteY2" fmla="*/ 24030 h 48164"/>
                <a:gd name="connsiteX3" fmla="*/ 41678 w 83418"/>
                <a:gd name="connsiteY3" fmla="*/ -52 h 48164"/>
                <a:gd name="connsiteX4" fmla="*/ 83387 w 83418"/>
                <a:gd name="connsiteY4" fmla="*/ 24030 h 481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418" h="48164">
                  <a:moveTo>
                    <a:pt x="83387" y="24030"/>
                  </a:moveTo>
                  <a:cubicBezTo>
                    <a:pt x="83387" y="37331"/>
                    <a:pt x="64715" y="48112"/>
                    <a:pt x="41678" y="48112"/>
                  </a:cubicBezTo>
                  <a:cubicBezTo>
                    <a:pt x="18641" y="48112"/>
                    <a:pt x="-32" y="37331"/>
                    <a:pt x="-32" y="24030"/>
                  </a:cubicBezTo>
                  <a:cubicBezTo>
                    <a:pt x="-32" y="10729"/>
                    <a:pt x="18641" y="-52"/>
                    <a:pt x="41678" y="-52"/>
                  </a:cubicBezTo>
                  <a:cubicBezTo>
                    <a:pt x="64479" y="269"/>
                    <a:pt x="82831" y="10865"/>
                    <a:pt x="83387" y="24030"/>
                  </a:cubicBezTo>
                  <a:close/>
                </a:path>
              </a:pathLst>
            </a:custGeom>
            <a:solidFill>
              <a:srgbClr val="830051"/>
            </a:solid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209" name="Freeform: Shape 466">
              <a:extLst>
                <a:ext uri="{FF2B5EF4-FFF2-40B4-BE49-F238E27FC236}">
                  <a16:creationId xmlns:a16="http://schemas.microsoft.com/office/drawing/2014/main" id="{2EED966C-84B4-F1AA-74D9-44D36B7E6FFC}"/>
                </a:ext>
              </a:extLst>
            </p:cNvPr>
            <p:cNvSpPr/>
            <p:nvPr/>
          </p:nvSpPr>
          <p:spPr>
            <a:xfrm>
              <a:off x="7442134" y="3580006"/>
              <a:ext cx="72000" cy="72000"/>
            </a:xfrm>
            <a:custGeom>
              <a:avLst/>
              <a:gdLst>
                <a:gd name="connsiteX0" fmla="*/ 83380 w 83432"/>
                <a:gd name="connsiteY0" fmla="*/ 24647 h 48160"/>
                <a:gd name="connsiteX1" fmla="*/ 40622 w 83432"/>
                <a:gd name="connsiteY1" fmla="*/ 48100 h 48160"/>
                <a:gd name="connsiteX2" fmla="*/ -18 w 83432"/>
                <a:gd name="connsiteY2" fmla="*/ 23413 h 48160"/>
                <a:gd name="connsiteX3" fmla="*/ 41670 w 83432"/>
                <a:gd name="connsiteY3" fmla="*/ -52 h 48160"/>
                <a:gd name="connsiteX4" fmla="*/ 83401 w 83432"/>
                <a:gd name="connsiteY4" fmla="*/ 24018 h 48160"/>
                <a:gd name="connsiteX5" fmla="*/ 83380 w 83432"/>
                <a:gd name="connsiteY5" fmla="*/ 24647 h 48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432" h="48160">
                  <a:moveTo>
                    <a:pt x="83380" y="24647"/>
                  </a:moveTo>
                  <a:cubicBezTo>
                    <a:pt x="82781" y="37948"/>
                    <a:pt x="63637" y="48446"/>
                    <a:pt x="40622" y="48100"/>
                  </a:cubicBezTo>
                  <a:cubicBezTo>
                    <a:pt x="17585" y="47767"/>
                    <a:pt x="-596" y="36713"/>
                    <a:pt x="-18" y="23413"/>
                  </a:cubicBezTo>
                  <a:cubicBezTo>
                    <a:pt x="560" y="10359"/>
                    <a:pt x="19061" y="-52"/>
                    <a:pt x="41670" y="-52"/>
                  </a:cubicBezTo>
                  <a:cubicBezTo>
                    <a:pt x="64706" y="-52"/>
                    <a:pt x="83380" y="10717"/>
                    <a:pt x="83401" y="24018"/>
                  </a:cubicBezTo>
                  <a:cubicBezTo>
                    <a:pt x="83401" y="24228"/>
                    <a:pt x="83380" y="24438"/>
                    <a:pt x="83380" y="24647"/>
                  </a:cubicBezTo>
                  <a:close/>
                </a:path>
              </a:pathLst>
            </a:custGeom>
            <a:solidFill>
              <a:srgbClr val="830051"/>
            </a:solid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210" name="Freeform: Shape 467">
              <a:extLst>
                <a:ext uri="{FF2B5EF4-FFF2-40B4-BE49-F238E27FC236}">
                  <a16:creationId xmlns:a16="http://schemas.microsoft.com/office/drawing/2014/main" id="{020C0FDB-CA5D-3009-0ACE-A9D7BCAD0138}"/>
                </a:ext>
              </a:extLst>
            </p:cNvPr>
            <p:cNvSpPr/>
            <p:nvPr/>
          </p:nvSpPr>
          <p:spPr>
            <a:xfrm>
              <a:off x="7477205" y="3619862"/>
              <a:ext cx="72000" cy="72000"/>
            </a:xfrm>
            <a:custGeom>
              <a:avLst/>
              <a:gdLst>
                <a:gd name="connsiteX0" fmla="*/ 83387 w 83418"/>
                <a:gd name="connsiteY0" fmla="*/ 24030 h 48164"/>
                <a:gd name="connsiteX1" fmla="*/ 41678 w 83418"/>
                <a:gd name="connsiteY1" fmla="*/ 48112 h 48164"/>
                <a:gd name="connsiteX2" fmla="*/ -32 w 83418"/>
                <a:gd name="connsiteY2" fmla="*/ 24030 h 48164"/>
                <a:gd name="connsiteX3" fmla="*/ 41678 w 83418"/>
                <a:gd name="connsiteY3" fmla="*/ -52 h 48164"/>
                <a:gd name="connsiteX4" fmla="*/ 83387 w 83418"/>
                <a:gd name="connsiteY4" fmla="*/ 24030 h 481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418" h="48164">
                  <a:moveTo>
                    <a:pt x="83387" y="24030"/>
                  </a:moveTo>
                  <a:cubicBezTo>
                    <a:pt x="83387" y="37331"/>
                    <a:pt x="64715" y="48112"/>
                    <a:pt x="41678" y="48112"/>
                  </a:cubicBezTo>
                  <a:cubicBezTo>
                    <a:pt x="18641" y="48112"/>
                    <a:pt x="-32" y="37331"/>
                    <a:pt x="-32" y="24030"/>
                  </a:cubicBezTo>
                  <a:cubicBezTo>
                    <a:pt x="-32" y="10729"/>
                    <a:pt x="18641" y="-52"/>
                    <a:pt x="41678" y="-52"/>
                  </a:cubicBezTo>
                  <a:cubicBezTo>
                    <a:pt x="64479" y="269"/>
                    <a:pt x="82831" y="10865"/>
                    <a:pt x="83387" y="24030"/>
                  </a:cubicBezTo>
                  <a:close/>
                </a:path>
              </a:pathLst>
            </a:custGeom>
            <a:solidFill>
              <a:srgbClr val="830051"/>
            </a:solid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211" name="Freeform: Shape 468">
              <a:extLst>
                <a:ext uri="{FF2B5EF4-FFF2-40B4-BE49-F238E27FC236}">
                  <a16:creationId xmlns:a16="http://schemas.microsoft.com/office/drawing/2014/main" id="{9BA2CECC-136A-E749-77C9-389CC309D10A}"/>
                </a:ext>
              </a:extLst>
            </p:cNvPr>
            <p:cNvSpPr/>
            <p:nvPr/>
          </p:nvSpPr>
          <p:spPr>
            <a:xfrm>
              <a:off x="7501811" y="3633789"/>
              <a:ext cx="72000" cy="72000"/>
            </a:xfrm>
            <a:custGeom>
              <a:avLst/>
              <a:gdLst>
                <a:gd name="connsiteX0" fmla="*/ 83379 w 83432"/>
                <a:gd name="connsiteY0" fmla="*/ 24647 h 48160"/>
                <a:gd name="connsiteX1" fmla="*/ 40622 w 83432"/>
                <a:gd name="connsiteY1" fmla="*/ 48100 h 48160"/>
                <a:gd name="connsiteX2" fmla="*/ -18 w 83432"/>
                <a:gd name="connsiteY2" fmla="*/ 23412 h 48160"/>
                <a:gd name="connsiteX3" fmla="*/ 41670 w 83432"/>
                <a:gd name="connsiteY3" fmla="*/ -52 h 48160"/>
                <a:gd name="connsiteX4" fmla="*/ 83401 w 83432"/>
                <a:gd name="connsiteY4" fmla="*/ 24018 h 48160"/>
                <a:gd name="connsiteX5" fmla="*/ 83379 w 83432"/>
                <a:gd name="connsiteY5" fmla="*/ 24647 h 48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432" h="48160">
                  <a:moveTo>
                    <a:pt x="83379" y="24647"/>
                  </a:moveTo>
                  <a:cubicBezTo>
                    <a:pt x="82781" y="37948"/>
                    <a:pt x="63637" y="48446"/>
                    <a:pt x="40622" y="48100"/>
                  </a:cubicBezTo>
                  <a:cubicBezTo>
                    <a:pt x="17585" y="47767"/>
                    <a:pt x="-596" y="36713"/>
                    <a:pt x="-18" y="23412"/>
                  </a:cubicBezTo>
                  <a:cubicBezTo>
                    <a:pt x="560" y="10359"/>
                    <a:pt x="19061" y="-52"/>
                    <a:pt x="41670" y="-52"/>
                  </a:cubicBezTo>
                  <a:cubicBezTo>
                    <a:pt x="64706" y="-52"/>
                    <a:pt x="83379" y="10717"/>
                    <a:pt x="83401" y="24018"/>
                  </a:cubicBezTo>
                  <a:cubicBezTo>
                    <a:pt x="83401" y="24228"/>
                    <a:pt x="83379" y="24438"/>
                    <a:pt x="83379" y="24647"/>
                  </a:cubicBezTo>
                  <a:close/>
                </a:path>
              </a:pathLst>
            </a:custGeom>
            <a:solidFill>
              <a:srgbClr val="830051"/>
            </a:solid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212" name="Freeform: Shape 469">
              <a:extLst>
                <a:ext uri="{FF2B5EF4-FFF2-40B4-BE49-F238E27FC236}">
                  <a16:creationId xmlns:a16="http://schemas.microsoft.com/office/drawing/2014/main" id="{5726B1D4-1D71-F7F1-4D8D-68C7E3D3A37D}"/>
                </a:ext>
              </a:extLst>
            </p:cNvPr>
            <p:cNvSpPr/>
            <p:nvPr/>
          </p:nvSpPr>
          <p:spPr>
            <a:xfrm>
              <a:off x="7538601" y="3633789"/>
              <a:ext cx="72000" cy="72000"/>
            </a:xfrm>
            <a:custGeom>
              <a:avLst/>
              <a:gdLst>
                <a:gd name="connsiteX0" fmla="*/ 83379 w 83432"/>
                <a:gd name="connsiteY0" fmla="*/ 24647 h 48160"/>
                <a:gd name="connsiteX1" fmla="*/ 40622 w 83432"/>
                <a:gd name="connsiteY1" fmla="*/ 48100 h 48160"/>
                <a:gd name="connsiteX2" fmla="*/ -18 w 83432"/>
                <a:gd name="connsiteY2" fmla="*/ 23412 h 48160"/>
                <a:gd name="connsiteX3" fmla="*/ 41670 w 83432"/>
                <a:gd name="connsiteY3" fmla="*/ -52 h 48160"/>
                <a:gd name="connsiteX4" fmla="*/ 83401 w 83432"/>
                <a:gd name="connsiteY4" fmla="*/ 24018 h 48160"/>
                <a:gd name="connsiteX5" fmla="*/ 83379 w 83432"/>
                <a:gd name="connsiteY5" fmla="*/ 24647 h 48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432" h="48160">
                  <a:moveTo>
                    <a:pt x="83379" y="24647"/>
                  </a:moveTo>
                  <a:cubicBezTo>
                    <a:pt x="82781" y="37948"/>
                    <a:pt x="63637" y="48446"/>
                    <a:pt x="40622" y="48100"/>
                  </a:cubicBezTo>
                  <a:cubicBezTo>
                    <a:pt x="17585" y="47767"/>
                    <a:pt x="-596" y="36713"/>
                    <a:pt x="-18" y="23412"/>
                  </a:cubicBezTo>
                  <a:cubicBezTo>
                    <a:pt x="560" y="10359"/>
                    <a:pt x="19061" y="-52"/>
                    <a:pt x="41670" y="-52"/>
                  </a:cubicBezTo>
                  <a:cubicBezTo>
                    <a:pt x="64706" y="-52"/>
                    <a:pt x="83379" y="10717"/>
                    <a:pt x="83401" y="24018"/>
                  </a:cubicBezTo>
                  <a:cubicBezTo>
                    <a:pt x="83401" y="24228"/>
                    <a:pt x="83379" y="24438"/>
                    <a:pt x="83379" y="24647"/>
                  </a:cubicBezTo>
                  <a:close/>
                </a:path>
              </a:pathLst>
            </a:custGeom>
            <a:solidFill>
              <a:srgbClr val="830051"/>
            </a:solid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213" name="Freeform: Shape 470">
              <a:extLst>
                <a:ext uri="{FF2B5EF4-FFF2-40B4-BE49-F238E27FC236}">
                  <a16:creationId xmlns:a16="http://schemas.microsoft.com/office/drawing/2014/main" id="{308B11DC-E437-C9A9-AB42-106D3709D55F}"/>
                </a:ext>
              </a:extLst>
            </p:cNvPr>
            <p:cNvSpPr/>
            <p:nvPr/>
          </p:nvSpPr>
          <p:spPr>
            <a:xfrm>
              <a:off x="7568348" y="3652743"/>
              <a:ext cx="72000" cy="72000"/>
            </a:xfrm>
            <a:custGeom>
              <a:avLst/>
              <a:gdLst>
                <a:gd name="connsiteX0" fmla="*/ 85503 w 85554"/>
                <a:gd name="connsiteY0" fmla="*/ 23916 h 49406"/>
                <a:gd name="connsiteX1" fmla="*/ 44008 w 85554"/>
                <a:gd name="connsiteY1" fmla="*/ 49344 h 49406"/>
                <a:gd name="connsiteX2" fmla="*/ -12 w 85554"/>
                <a:gd name="connsiteY2" fmla="*/ 25385 h 49406"/>
                <a:gd name="connsiteX3" fmla="*/ 41484 w 85554"/>
                <a:gd name="connsiteY3" fmla="*/ -43 h 49406"/>
                <a:gd name="connsiteX4" fmla="*/ 43794 w 85554"/>
                <a:gd name="connsiteY4" fmla="*/ -43 h 49406"/>
                <a:gd name="connsiteX5" fmla="*/ 85503 w 85554"/>
                <a:gd name="connsiteY5" fmla="*/ 23916 h 49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554" h="49406">
                  <a:moveTo>
                    <a:pt x="85503" y="23916"/>
                  </a:moveTo>
                  <a:cubicBezTo>
                    <a:pt x="86209" y="37550"/>
                    <a:pt x="67621" y="48937"/>
                    <a:pt x="44008" y="49344"/>
                  </a:cubicBezTo>
                  <a:cubicBezTo>
                    <a:pt x="20394" y="49739"/>
                    <a:pt x="694" y="39020"/>
                    <a:pt x="-12" y="25385"/>
                  </a:cubicBezTo>
                  <a:cubicBezTo>
                    <a:pt x="-718" y="11751"/>
                    <a:pt x="17848" y="365"/>
                    <a:pt x="41484" y="-43"/>
                  </a:cubicBezTo>
                  <a:cubicBezTo>
                    <a:pt x="42254" y="-55"/>
                    <a:pt x="43023" y="-55"/>
                    <a:pt x="43794" y="-43"/>
                  </a:cubicBezTo>
                  <a:cubicBezTo>
                    <a:pt x="66745" y="-43"/>
                    <a:pt x="85396" y="10664"/>
                    <a:pt x="85503" y="23916"/>
                  </a:cubicBezTo>
                  <a:close/>
                </a:path>
              </a:pathLst>
            </a:custGeom>
            <a:solidFill>
              <a:srgbClr val="830051"/>
            </a:solid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214" name="Freeform: Shape 471">
              <a:extLst>
                <a:ext uri="{FF2B5EF4-FFF2-40B4-BE49-F238E27FC236}">
                  <a16:creationId xmlns:a16="http://schemas.microsoft.com/office/drawing/2014/main" id="{21225E9B-56A5-D0B9-9AD3-4022583013EC}"/>
                </a:ext>
              </a:extLst>
            </p:cNvPr>
            <p:cNvSpPr/>
            <p:nvPr/>
          </p:nvSpPr>
          <p:spPr>
            <a:xfrm>
              <a:off x="7614121" y="3652743"/>
              <a:ext cx="72000" cy="72000"/>
            </a:xfrm>
            <a:custGeom>
              <a:avLst/>
              <a:gdLst>
                <a:gd name="connsiteX0" fmla="*/ 85503 w 85553"/>
                <a:gd name="connsiteY0" fmla="*/ 23916 h 49406"/>
                <a:gd name="connsiteX1" fmla="*/ 44007 w 85553"/>
                <a:gd name="connsiteY1" fmla="*/ 49344 h 49406"/>
                <a:gd name="connsiteX2" fmla="*/ -12 w 85553"/>
                <a:gd name="connsiteY2" fmla="*/ 25385 h 49406"/>
                <a:gd name="connsiteX3" fmla="*/ 41462 w 85553"/>
                <a:gd name="connsiteY3" fmla="*/ -43 h 49406"/>
                <a:gd name="connsiteX4" fmla="*/ 43793 w 85553"/>
                <a:gd name="connsiteY4" fmla="*/ -43 h 49406"/>
                <a:gd name="connsiteX5" fmla="*/ 85503 w 85553"/>
                <a:gd name="connsiteY5" fmla="*/ 23916 h 49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553" h="49406">
                  <a:moveTo>
                    <a:pt x="85503" y="23916"/>
                  </a:moveTo>
                  <a:cubicBezTo>
                    <a:pt x="86208" y="37550"/>
                    <a:pt x="67621" y="48937"/>
                    <a:pt x="44007" y="49344"/>
                  </a:cubicBezTo>
                  <a:cubicBezTo>
                    <a:pt x="20393" y="49739"/>
                    <a:pt x="694" y="39020"/>
                    <a:pt x="-12" y="25385"/>
                  </a:cubicBezTo>
                  <a:cubicBezTo>
                    <a:pt x="-718" y="11751"/>
                    <a:pt x="17848" y="365"/>
                    <a:pt x="41462" y="-43"/>
                  </a:cubicBezTo>
                  <a:cubicBezTo>
                    <a:pt x="42253" y="-55"/>
                    <a:pt x="43023" y="-55"/>
                    <a:pt x="43793" y="-43"/>
                  </a:cubicBezTo>
                  <a:cubicBezTo>
                    <a:pt x="66745" y="-43"/>
                    <a:pt x="85396" y="10664"/>
                    <a:pt x="85503" y="23916"/>
                  </a:cubicBezTo>
                  <a:close/>
                </a:path>
              </a:pathLst>
            </a:custGeom>
            <a:solidFill>
              <a:srgbClr val="830051"/>
            </a:solid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215" name="Freeform: Shape 472">
              <a:extLst>
                <a:ext uri="{FF2B5EF4-FFF2-40B4-BE49-F238E27FC236}">
                  <a16:creationId xmlns:a16="http://schemas.microsoft.com/office/drawing/2014/main" id="{0D2BA84C-BB2B-36CF-710E-BAE9FE6F1BB3}"/>
                </a:ext>
              </a:extLst>
            </p:cNvPr>
            <p:cNvSpPr/>
            <p:nvPr/>
          </p:nvSpPr>
          <p:spPr>
            <a:xfrm>
              <a:off x="7633799" y="3652743"/>
              <a:ext cx="72000" cy="72000"/>
            </a:xfrm>
            <a:custGeom>
              <a:avLst/>
              <a:gdLst>
                <a:gd name="connsiteX0" fmla="*/ 85503 w 85554"/>
                <a:gd name="connsiteY0" fmla="*/ 23916 h 49406"/>
                <a:gd name="connsiteX1" fmla="*/ 44008 w 85554"/>
                <a:gd name="connsiteY1" fmla="*/ 49344 h 49406"/>
                <a:gd name="connsiteX2" fmla="*/ -12 w 85554"/>
                <a:gd name="connsiteY2" fmla="*/ 25385 h 49406"/>
                <a:gd name="connsiteX3" fmla="*/ 41484 w 85554"/>
                <a:gd name="connsiteY3" fmla="*/ -43 h 49406"/>
                <a:gd name="connsiteX4" fmla="*/ 43794 w 85554"/>
                <a:gd name="connsiteY4" fmla="*/ -43 h 49406"/>
                <a:gd name="connsiteX5" fmla="*/ 85503 w 85554"/>
                <a:gd name="connsiteY5" fmla="*/ 23916 h 49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554" h="49406">
                  <a:moveTo>
                    <a:pt x="85503" y="23916"/>
                  </a:moveTo>
                  <a:cubicBezTo>
                    <a:pt x="86209" y="37550"/>
                    <a:pt x="67622" y="48937"/>
                    <a:pt x="44008" y="49344"/>
                  </a:cubicBezTo>
                  <a:cubicBezTo>
                    <a:pt x="20394" y="49739"/>
                    <a:pt x="694" y="39020"/>
                    <a:pt x="-12" y="25385"/>
                  </a:cubicBezTo>
                  <a:cubicBezTo>
                    <a:pt x="-718" y="11751"/>
                    <a:pt x="17848" y="365"/>
                    <a:pt x="41484" y="-43"/>
                  </a:cubicBezTo>
                  <a:cubicBezTo>
                    <a:pt x="42254" y="-55"/>
                    <a:pt x="43023" y="-55"/>
                    <a:pt x="43794" y="-43"/>
                  </a:cubicBezTo>
                  <a:cubicBezTo>
                    <a:pt x="66510" y="278"/>
                    <a:pt x="84819" y="10800"/>
                    <a:pt x="85503" y="23916"/>
                  </a:cubicBezTo>
                  <a:close/>
                </a:path>
              </a:pathLst>
            </a:custGeom>
            <a:solidFill>
              <a:srgbClr val="830051"/>
            </a:solid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216" name="Freeform: Shape 473">
              <a:extLst>
                <a:ext uri="{FF2B5EF4-FFF2-40B4-BE49-F238E27FC236}">
                  <a16:creationId xmlns:a16="http://schemas.microsoft.com/office/drawing/2014/main" id="{34832239-9E44-FD4B-E08E-E28CCCA98B2B}"/>
                </a:ext>
              </a:extLst>
            </p:cNvPr>
            <p:cNvSpPr/>
            <p:nvPr/>
          </p:nvSpPr>
          <p:spPr>
            <a:xfrm>
              <a:off x="7689412" y="3652743"/>
              <a:ext cx="72000" cy="72000"/>
            </a:xfrm>
            <a:custGeom>
              <a:avLst/>
              <a:gdLst>
                <a:gd name="connsiteX0" fmla="*/ 85503 w 85553"/>
                <a:gd name="connsiteY0" fmla="*/ 23916 h 49406"/>
                <a:gd name="connsiteX1" fmla="*/ 44007 w 85553"/>
                <a:gd name="connsiteY1" fmla="*/ 49344 h 49406"/>
                <a:gd name="connsiteX2" fmla="*/ -12 w 85553"/>
                <a:gd name="connsiteY2" fmla="*/ 25385 h 49406"/>
                <a:gd name="connsiteX3" fmla="*/ 41462 w 85553"/>
                <a:gd name="connsiteY3" fmla="*/ -43 h 49406"/>
                <a:gd name="connsiteX4" fmla="*/ 43794 w 85553"/>
                <a:gd name="connsiteY4" fmla="*/ -43 h 49406"/>
                <a:gd name="connsiteX5" fmla="*/ 85503 w 85553"/>
                <a:gd name="connsiteY5" fmla="*/ 23916 h 49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553" h="49406">
                  <a:moveTo>
                    <a:pt x="85503" y="23916"/>
                  </a:moveTo>
                  <a:cubicBezTo>
                    <a:pt x="86209" y="37550"/>
                    <a:pt x="67621" y="48937"/>
                    <a:pt x="44007" y="49344"/>
                  </a:cubicBezTo>
                  <a:cubicBezTo>
                    <a:pt x="20394" y="49739"/>
                    <a:pt x="694" y="39020"/>
                    <a:pt x="-12" y="25385"/>
                  </a:cubicBezTo>
                  <a:cubicBezTo>
                    <a:pt x="-718" y="11751"/>
                    <a:pt x="17848" y="365"/>
                    <a:pt x="41462" y="-43"/>
                  </a:cubicBezTo>
                  <a:cubicBezTo>
                    <a:pt x="42254" y="-55"/>
                    <a:pt x="43023" y="-55"/>
                    <a:pt x="43794" y="-43"/>
                  </a:cubicBezTo>
                  <a:cubicBezTo>
                    <a:pt x="66509" y="278"/>
                    <a:pt x="84819" y="10800"/>
                    <a:pt x="85503" y="23916"/>
                  </a:cubicBezTo>
                  <a:close/>
                </a:path>
              </a:pathLst>
            </a:custGeom>
            <a:solidFill>
              <a:srgbClr val="830051"/>
            </a:solid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217" name="Freeform: Shape 474">
              <a:extLst>
                <a:ext uri="{FF2B5EF4-FFF2-40B4-BE49-F238E27FC236}">
                  <a16:creationId xmlns:a16="http://schemas.microsoft.com/office/drawing/2014/main" id="{70C544BB-6210-6AB2-002A-B3F47A0289E3}"/>
                </a:ext>
              </a:extLst>
            </p:cNvPr>
            <p:cNvSpPr/>
            <p:nvPr/>
          </p:nvSpPr>
          <p:spPr>
            <a:xfrm>
              <a:off x="7759974" y="3669645"/>
              <a:ext cx="72000" cy="72000"/>
            </a:xfrm>
            <a:custGeom>
              <a:avLst/>
              <a:gdLst>
                <a:gd name="connsiteX0" fmla="*/ 83387 w 83418"/>
                <a:gd name="connsiteY0" fmla="*/ 24030 h 48164"/>
                <a:gd name="connsiteX1" fmla="*/ 41678 w 83418"/>
                <a:gd name="connsiteY1" fmla="*/ 48112 h 48164"/>
                <a:gd name="connsiteX2" fmla="*/ -32 w 83418"/>
                <a:gd name="connsiteY2" fmla="*/ 24030 h 48164"/>
                <a:gd name="connsiteX3" fmla="*/ 41678 w 83418"/>
                <a:gd name="connsiteY3" fmla="*/ -52 h 48164"/>
                <a:gd name="connsiteX4" fmla="*/ 83387 w 83418"/>
                <a:gd name="connsiteY4" fmla="*/ 24030 h 481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418" h="48164">
                  <a:moveTo>
                    <a:pt x="83387" y="24030"/>
                  </a:moveTo>
                  <a:cubicBezTo>
                    <a:pt x="83387" y="37331"/>
                    <a:pt x="64715" y="48112"/>
                    <a:pt x="41678" y="48112"/>
                  </a:cubicBezTo>
                  <a:cubicBezTo>
                    <a:pt x="18641" y="48112"/>
                    <a:pt x="-32" y="37331"/>
                    <a:pt x="-32" y="24030"/>
                  </a:cubicBezTo>
                  <a:cubicBezTo>
                    <a:pt x="-32" y="10729"/>
                    <a:pt x="18641" y="-52"/>
                    <a:pt x="41678" y="-52"/>
                  </a:cubicBezTo>
                  <a:cubicBezTo>
                    <a:pt x="64479" y="268"/>
                    <a:pt x="82831" y="10865"/>
                    <a:pt x="83387" y="24030"/>
                  </a:cubicBezTo>
                  <a:close/>
                </a:path>
              </a:pathLst>
            </a:custGeom>
            <a:solidFill>
              <a:srgbClr val="830051"/>
            </a:solid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218" name="Freeform: Shape 475">
              <a:extLst>
                <a:ext uri="{FF2B5EF4-FFF2-40B4-BE49-F238E27FC236}">
                  <a16:creationId xmlns:a16="http://schemas.microsoft.com/office/drawing/2014/main" id="{702C7F53-5C92-0663-1719-C4794B478363}"/>
                </a:ext>
              </a:extLst>
            </p:cNvPr>
            <p:cNvSpPr/>
            <p:nvPr/>
          </p:nvSpPr>
          <p:spPr>
            <a:xfrm>
              <a:off x="7819009" y="3669645"/>
              <a:ext cx="72000" cy="72000"/>
            </a:xfrm>
            <a:custGeom>
              <a:avLst/>
              <a:gdLst>
                <a:gd name="connsiteX0" fmla="*/ 83388 w 83419"/>
                <a:gd name="connsiteY0" fmla="*/ 24030 h 48164"/>
                <a:gd name="connsiteX1" fmla="*/ 41678 w 83419"/>
                <a:gd name="connsiteY1" fmla="*/ 48112 h 48164"/>
                <a:gd name="connsiteX2" fmla="*/ -32 w 83419"/>
                <a:gd name="connsiteY2" fmla="*/ 24030 h 48164"/>
                <a:gd name="connsiteX3" fmla="*/ 41678 w 83419"/>
                <a:gd name="connsiteY3" fmla="*/ -52 h 48164"/>
                <a:gd name="connsiteX4" fmla="*/ 83388 w 83419"/>
                <a:gd name="connsiteY4" fmla="*/ 24030 h 481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419" h="48164">
                  <a:moveTo>
                    <a:pt x="83388" y="24030"/>
                  </a:moveTo>
                  <a:cubicBezTo>
                    <a:pt x="83388" y="37331"/>
                    <a:pt x="64715" y="48112"/>
                    <a:pt x="41678" y="48112"/>
                  </a:cubicBezTo>
                  <a:cubicBezTo>
                    <a:pt x="18642" y="48112"/>
                    <a:pt x="-32" y="37331"/>
                    <a:pt x="-32" y="24030"/>
                  </a:cubicBezTo>
                  <a:cubicBezTo>
                    <a:pt x="-32" y="10729"/>
                    <a:pt x="18642" y="-52"/>
                    <a:pt x="41678" y="-52"/>
                  </a:cubicBezTo>
                  <a:cubicBezTo>
                    <a:pt x="64715" y="-52"/>
                    <a:pt x="83388" y="10729"/>
                    <a:pt x="83388" y="24030"/>
                  </a:cubicBezTo>
                  <a:close/>
                </a:path>
              </a:pathLst>
            </a:custGeom>
            <a:solidFill>
              <a:srgbClr val="830051"/>
            </a:solid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219" name="Freeform: Shape 476">
              <a:extLst>
                <a:ext uri="{FF2B5EF4-FFF2-40B4-BE49-F238E27FC236}">
                  <a16:creationId xmlns:a16="http://schemas.microsoft.com/office/drawing/2014/main" id="{20B6730A-C045-6DBA-AD8A-281993D59680}"/>
                </a:ext>
              </a:extLst>
            </p:cNvPr>
            <p:cNvSpPr/>
            <p:nvPr/>
          </p:nvSpPr>
          <p:spPr>
            <a:xfrm>
              <a:off x="7890022" y="3669645"/>
              <a:ext cx="72000" cy="72000"/>
            </a:xfrm>
            <a:custGeom>
              <a:avLst/>
              <a:gdLst>
                <a:gd name="connsiteX0" fmla="*/ 83387 w 83418"/>
                <a:gd name="connsiteY0" fmla="*/ 24030 h 48164"/>
                <a:gd name="connsiteX1" fmla="*/ 41678 w 83418"/>
                <a:gd name="connsiteY1" fmla="*/ 48112 h 48164"/>
                <a:gd name="connsiteX2" fmla="*/ -32 w 83418"/>
                <a:gd name="connsiteY2" fmla="*/ 24030 h 48164"/>
                <a:gd name="connsiteX3" fmla="*/ 41678 w 83418"/>
                <a:gd name="connsiteY3" fmla="*/ -52 h 48164"/>
                <a:gd name="connsiteX4" fmla="*/ 83387 w 83418"/>
                <a:gd name="connsiteY4" fmla="*/ 24030 h 481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418" h="48164">
                  <a:moveTo>
                    <a:pt x="83387" y="24030"/>
                  </a:moveTo>
                  <a:cubicBezTo>
                    <a:pt x="83387" y="37331"/>
                    <a:pt x="64715" y="48112"/>
                    <a:pt x="41678" y="48112"/>
                  </a:cubicBezTo>
                  <a:cubicBezTo>
                    <a:pt x="18642" y="48112"/>
                    <a:pt x="-32" y="37331"/>
                    <a:pt x="-32" y="24030"/>
                  </a:cubicBezTo>
                  <a:cubicBezTo>
                    <a:pt x="-32" y="10729"/>
                    <a:pt x="18642" y="-52"/>
                    <a:pt x="41678" y="-52"/>
                  </a:cubicBezTo>
                  <a:cubicBezTo>
                    <a:pt x="64715" y="-52"/>
                    <a:pt x="83387" y="10729"/>
                    <a:pt x="83387" y="24030"/>
                  </a:cubicBezTo>
                  <a:close/>
                </a:path>
              </a:pathLst>
            </a:custGeom>
            <a:solidFill>
              <a:srgbClr val="830051"/>
            </a:solid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220" name="Freeform: Shape 477">
              <a:extLst>
                <a:ext uri="{FF2B5EF4-FFF2-40B4-BE49-F238E27FC236}">
                  <a16:creationId xmlns:a16="http://schemas.microsoft.com/office/drawing/2014/main" id="{C11D9E6F-A685-5344-2BB8-0F8568644620}"/>
                </a:ext>
              </a:extLst>
            </p:cNvPr>
            <p:cNvSpPr/>
            <p:nvPr/>
          </p:nvSpPr>
          <p:spPr>
            <a:xfrm>
              <a:off x="8035684" y="3712760"/>
              <a:ext cx="72000" cy="72000"/>
            </a:xfrm>
            <a:custGeom>
              <a:avLst/>
              <a:gdLst>
                <a:gd name="connsiteX0" fmla="*/ 83388 w 83419"/>
                <a:gd name="connsiteY0" fmla="*/ 24030 h 48164"/>
                <a:gd name="connsiteX1" fmla="*/ 41678 w 83419"/>
                <a:gd name="connsiteY1" fmla="*/ 48113 h 48164"/>
                <a:gd name="connsiteX2" fmla="*/ -32 w 83419"/>
                <a:gd name="connsiteY2" fmla="*/ 24030 h 48164"/>
                <a:gd name="connsiteX3" fmla="*/ 41678 w 83419"/>
                <a:gd name="connsiteY3" fmla="*/ -52 h 48164"/>
                <a:gd name="connsiteX4" fmla="*/ 83388 w 83419"/>
                <a:gd name="connsiteY4" fmla="*/ 24030 h 481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419" h="48164">
                  <a:moveTo>
                    <a:pt x="83388" y="24030"/>
                  </a:moveTo>
                  <a:cubicBezTo>
                    <a:pt x="83388" y="37331"/>
                    <a:pt x="64715" y="48113"/>
                    <a:pt x="41678" y="48113"/>
                  </a:cubicBezTo>
                  <a:cubicBezTo>
                    <a:pt x="18642" y="48113"/>
                    <a:pt x="-32" y="37331"/>
                    <a:pt x="-32" y="24030"/>
                  </a:cubicBezTo>
                  <a:cubicBezTo>
                    <a:pt x="-32" y="10729"/>
                    <a:pt x="18642" y="-52"/>
                    <a:pt x="41678" y="-52"/>
                  </a:cubicBezTo>
                  <a:cubicBezTo>
                    <a:pt x="64480" y="269"/>
                    <a:pt x="82832" y="10865"/>
                    <a:pt x="83388" y="24030"/>
                  </a:cubicBezTo>
                  <a:close/>
                </a:path>
              </a:pathLst>
            </a:custGeom>
            <a:solidFill>
              <a:srgbClr val="830051"/>
            </a:solid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221" name="Freeform: Shape 478">
              <a:extLst>
                <a:ext uri="{FF2B5EF4-FFF2-40B4-BE49-F238E27FC236}">
                  <a16:creationId xmlns:a16="http://schemas.microsoft.com/office/drawing/2014/main" id="{4CC5AE37-FAAE-532A-CC56-3C882090017E}"/>
                </a:ext>
              </a:extLst>
            </p:cNvPr>
            <p:cNvSpPr/>
            <p:nvPr/>
          </p:nvSpPr>
          <p:spPr>
            <a:xfrm>
              <a:off x="8098569" y="3712759"/>
              <a:ext cx="72000" cy="72000"/>
            </a:xfrm>
            <a:custGeom>
              <a:avLst/>
              <a:gdLst>
                <a:gd name="connsiteX0" fmla="*/ 83387 w 83418"/>
                <a:gd name="connsiteY0" fmla="*/ 24031 h 48165"/>
                <a:gd name="connsiteX1" fmla="*/ 41678 w 83418"/>
                <a:gd name="connsiteY1" fmla="*/ 48113 h 48165"/>
                <a:gd name="connsiteX2" fmla="*/ -32 w 83418"/>
                <a:gd name="connsiteY2" fmla="*/ 24031 h 48165"/>
                <a:gd name="connsiteX3" fmla="*/ 41678 w 83418"/>
                <a:gd name="connsiteY3" fmla="*/ -52 h 48165"/>
                <a:gd name="connsiteX4" fmla="*/ 83387 w 83418"/>
                <a:gd name="connsiteY4" fmla="*/ 23784 h 48165"/>
                <a:gd name="connsiteX5" fmla="*/ 83387 w 83418"/>
                <a:gd name="connsiteY5" fmla="*/ 24031 h 48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418" h="48165">
                  <a:moveTo>
                    <a:pt x="83387" y="24031"/>
                  </a:moveTo>
                  <a:cubicBezTo>
                    <a:pt x="83387" y="37331"/>
                    <a:pt x="64715" y="48113"/>
                    <a:pt x="41678" y="48113"/>
                  </a:cubicBezTo>
                  <a:cubicBezTo>
                    <a:pt x="18642" y="48113"/>
                    <a:pt x="-32" y="37331"/>
                    <a:pt x="-32" y="24031"/>
                  </a:cubicBezTo>
                  <a:cubicBezTo>
                    <a:pt x="-32" y="10730"/>
                    <a:pt x="18642" y="-52"/>
                    <a:pt x="41678" y="-52"/>
                  </a:cubicBezTo>
                  <a:cubicBezTo>
                    <a:pt x="64586" y="-126"/>
                    <a:pt x="83259" y="10557"/>
                    <a:pt x="83387" y="23784"/>
                  </a:cubicBezTo>
                  <a:cubicBezTo>
                    <a:pt x="83387" y="23870"/>
                    <a:pt x="83387" y="23944"/>
                    <a:pt x="83387" y="24031"/>
                  </a:cubicBezTo>
                  <a:close/>
                </a:path>
              </a:pathLst>
            </a:custGeom>
            <a:solidFill>
              <a:srgbClr val="830051"/>
            </a:solid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222" name="Freeform: Shape 479">
              <a:extLst>
                <a:ext uri="{FF2B5EF4-FFF2-40B4-BE49-F238E27FC236}">
                  <a16:creationId xmlns:a16="http://schemas.microsoft.com/office/drawing/2014/main" id="{9C2D08A7-6AB6-8EC4-229C-D94B7A0B66BB}"/>
                </a:ext>
              </a:extLst>
            </p:cNvPr>
            <p:cNvSpPr/>
            <p:nvPr/>
          </p:nvSpPr>
          <p:spPr>
            <a:xfrm>
              <a:off x="8173646" y="3779581"/>
              <a:ext cx="72000" cy="72000"/>
            </a:xfrm>
            <a:custGeom>
              <a:avLst/>
              <a:gdLst>
                <a:gd name="connsiteX0" fmla="*/ 83388 w 83419"/>
                <a:gd name="connsiteY0" fmla="*/ 23907 h 48164"/>
                <a:gd name="connsiteX1" fmla="*/ 41892 w 83419"/>
                <a:gd name="connsiteY1" fmla="*/ 48112 h 48164"/>
                <a:gd name="connsiteX2" fmla="*/ -31 w 83419"/>
                <a:gd name="connsiteY2" fmla="*/ 24153 h 48164"/>
                <a:gd name="connsiteX3" fmla="*/ 41465 w 83419"/>
                <a:gd name="connsiteY3" fmla="*/ -52 h 48164"/>
                <a:gd name="connsiteX4" fmla="*/ 41679 w 83419"/>
                <a:gd name="connsiteY4" fmla="*/ -52 h 48164"/>
                <a:gd name="connsiteX5" fmla="*/ 83388 w 83419"/>
                <a:gd name="connsiteY5" fmla="*/ 23907 h 48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419" h="48164">
                  <a:moveTo>
                    <a:pt x="83388" y="23907"/>
                  </a:moveTo>
                  <a:cubicBezTo>
                    <a:pt x="83516" y="37207"/>
                    <a:pt x="64928" y="48038"/>
                    <a:pt x="41892" y="48112"/>
                  </a:cubicBezTo>
                  <a:cubicBezTo>
                    <a:pt x="18856" y="48174"/>
                    <a:pt x="98" y="37454"/>
                    <a:pt x="-31" y="24153"/>
                  </a:cubicBezTo>
                  <a:cubicBezTo>
                    <a:pt x="-138" y="10853"/>
                    <a:pt x="18428" y="22"/>
                    <a:pt x="41465" y="-52"/>
                  </a:cubicBezTo>
                  <a:cubicBezTo>
                    <a:pt x="41529" y="-52"/>
                    <a:pt x="41614" y="-52"/>
                    <a:pt x="41679" y="-52"/>
                  </a:cubicBezTo>
                  <a:cubicBezTo>
                    <a:pt x="64630" y="-52"/>
                    <a:pt x="83281" y="10655"/>
                    <a:pt x="83388" y="23907"/>
                  </a:cubicBezTo>
                  <a:close/>
                </a:path>
              </a:pathLst>
            </a:custGeom>
            <a:solidFill>
              <a:srgbClr val="830051"/>
            </a:solid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223" name="Freeform: Shape 480">
              <a:extLst>
                <a:ext uri="{FF2B5EF4-FFF2-40B4-BE49-F238E27FC236}">
                  <a16:creationId xmlns:a16="http://schemas.microsoft.com/office/drawing/2014/main" id="{498B1E4A-1D63-5257-C315-B9EC90DF1D6C}"/>
                </a:ext>
              </a:extLst>
            </p:cNvPr>
            <p:cNvSpPr/>
            <p:nvPr/>
          </p:nvSpPr>
          <p:spPr>
            <a:xfrm>
              <a:off x="8192065" y="3779569"/>
              <a:ext cx="72000" cy="72000"/>
            </a:xfrm>
            <a:custGeom>
              <a:avLst/>
              <a:gdLst>
                <a:gd name="connsiteX0" fmla="*/ 85503 w 85553"/>
                <a:gd name="connsiteY0" fmla="*/ 23916 h 49406"/>
                <a:gd name="connsiteX1" fmla="*/ 44007 w 85553"/>
                <a:gd name="connsiteY1" fmla="*/ 49344 h 49406"/>
                <a:gd name="connsiteX2" fmla="*/ -12 w 85553"/>
                <a:gd name="connsiteY2" fmla="*/ 25385 h 49406"/>
                <a:gd name="connsiteX3" fmla="*/ 41462 w 85553"/>
                <a:gd name="connsiteY3" fmla="*/ -43 h 49406"/>
                <a:gd name="connsiteX4" fmla="*/ 43794 w 85553"/>
                <a:gd name="connsiteY4" fmla="*/ -43 h 49406"/>
                <a:gd name="connsiteX5" fmla="*/ 85503 w 85553"/>
                <a:gd name="connsiteY5" fmla="*/ 23916 h 49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553" h="49406">
                  <a:moveTo>
                    <a:pt x="85503" y="23916"/>
                  </a:moveTo>
                  <a:cubicBezTo>
                    <a:pt x="86209" y="37550"/>
                    <a:pt x="67621" y="48937"/>
                    <a:pt x="44007" y="49344"/>
                  </a:cubicBezTo>
                  <a:cubicBezTo>
                    <a:pt x="20394" y="49739"/>
                    <a:pt x="694" y="39020"/>
                    <a:pt x="-12" y="25385"/>
                  </a:cubicBezTo>
                  <a:cubicBezTo>
                    <a:pt x="-718" y="11751"/>
                    <a:pt x="17848" y="364"/>
                    <a:pt x="41462" y="-43"/>
                  </a:cubicBezTo>
                  <a:cubicBezTo>
                    <a:pt x="42254" y="-55"/>
                    <a:pt x="43023" y="-55"/>
                    <a:pt x="43794" y="-43"/>
                  </a:cubicBezTo>
                  <a:cubicBezTo>
                    <a:pt x="66745" y="-43"/>
                    <a:pt x="85375" y="10664"/>
                    <a:pt x="85503" y="23916"/>
                  </a:cubicBezTo>
                  <a:close/>
                </a:path>
              </a:pathLst>
            </a:custGeom>
            <a:solidFill>
              <a:srgbClr val="830051"/>
            </a:solid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224" name="Freeform: Shape 481">
              <a:extLst>
                <a:ext uri="{FF2B5EF4-FFF2-40B4-BE49-F238E27FC236}">
                  <a16:creationId xmlns:a16="http://schemas.microsoft.com/office/drawing/2014/main" id="{0C7E1FBF-F7D3-7F63-8558-6294586FB939}"/>
                </a:ext>
              </a:extLst>
            </p:cNvPr>
            <p:cNvSpPr/>
            <p:nvPr/>
          </p:nvSpPr>
          <p:spPr>
            <a:xfrm>
              <a:off x="8233323" y="3803287"/>
              <a:ext cx="72000" cy="72000"/>
            </a:xfrm>
            <a:custGeom>
              <a:avLst/>
              <a:gdLst>
                <a:gd name="connsiteX0" fmla="*/ 83387 w 83418"/>
                <a:gd name="connsiteY0" fmla="*/ 24030 h 48164"/>
                <a:gd name="connsiteX1" fmla="*/ 41678 w 83418"/>
                <a:gd name="connsiteY1" fmla="*/ 48112 h 48164"/>
                <a:gd name="connsiteX2" fmla="*/ -32 w 83418"/>
                <a:gd name="connsiteY2" fmla="*/ 24030 h 48164"/>
                <a:gd name="connsiteX3" fmla="*/ 41678 w 83418"/>
                <a:gd name="connsiteY3" fmla="*/ -52 h 48164"/>
                <a:gd name="connsiteX4" fmla="*/ 83387 w 83418"/>
                <a:gd name="connsiteY4" fmla="*/ 24030 h 481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418" h="48164">
                  <a:moveTo>
                    <a:pt x="83387" y="24030"/>
                  </a:moveTo>
                  <a:cubicBezTo>
                    <a:pt x="83387" y="37331"/>
                    <a:pt x="64714" y="48112"/>
                    <a:pt x="41678" y="48112"/>
                  </a:cubicBezTo>
                  <a:cubicBezTo>
                    <a:pt x="18641" y="48112"/>
                    <a:pt x="-32" y="37331"/>
                    <a:pt x="-32" y="24030"/>
                  </a:cubicBezTo>
                  <a:cubicBezTo>
                    <a:pt x="-32" y="10729"/>
                    <a:pt x="18641" y="-52"/>
                    <a:pt x="41678" y="-52"/>
                  </a:cubicBezTo>
                  <a:cubicBezTo>
                    <a:pt x="64714" y="-52"/>
                    <a:pt x="83387" y="10729"/>
                    <a:pt x="83387" y="24030"/>
                  </a:cubicBezTo>
                  <a:close/>
                </a:path>
              </a:pathLst>
            </a:custGeom>
            <a:solidFill>
              <a:srgbClr val="830051"/>
            </a:solid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225" name="Freeform: Shape 482">
              <a:extLst>
                <a:ext uri="{FF2B5EF4-FFF2-40B4-BE49-F238E27FC236}">
                  <a16:creationId xmlns:a16="http://schemas.microsoft.com/office/drawing/2014/main" id="{B2C442F3-7CCF-E21E-4E70-AA13A8F4CCEB}"/>
                </a:ext>
              </a:extLst>
            </p:cNvPr>
            <p:cNvSpPr/>
            <p:nvPr/>
          </p:nvSpPr>
          <p:spPr>
            <a:xfrm>
              <a:off x="8324870" y="3803287"/>
              <a:ext cx="72000" cy="72000"/>
            </a:xfrm>
            <a:custGeom>
              <a:avLst/>
              <a:gdLst>
                <a:gd name="connsiteX0" fmla="*/ 83387 w 83418"/>
                <a:gd name="connsiteY0" fmla="*/ 24030 h 48164"/>
                <a:gd name="connsiteX1" fmla="*/ 41678 w 83418"/>
                <a:gd name="connsiteY1" fmla="*/ 48112 h 48164"/>
                <a:gd name="connsiteX2" fmla="*/ -32 w 83418"/>
                <a:gd name="connsiteY2" fmla="*/ 24030 h 48164"/>
                <a:gd name="connsiteX3" fmla="*/ 41678 w 83418"/>
                <a:gd name="connsiteY3" fmla="*/ -52 h 48164"/>
                <a:gd name="connsiteX4" fmla="*/ 41892 w 83418"/>
                <a:gd name="connsiteY4" fmla="*/ -52 h 48164"/>
                <a:gd name="connsiteX5" fmla="*/ 83387 w 83418"/>
                <a:gd name="connsiteY5" fmla="*/ 23907 h 48164"/>
                <a:gd name="connsiteX6" fmla="*/ 83387 w 83418"/>
                <a:gd name="connsiteY6" fmla="*/ 24030 h 48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3418" h="48164">
                  <a:moveTo>
                    <a:pt x="83387" y="24030"/>
                  </a:moveTo>
                  <a:cubicBezTo>
                    <a:pt x="83387" y="37331"/>
                    <a:pt x="64714" y="48112"/>
                    <a:pt x="41678" y="48112"/>
                  </a:cubicBezTo>
                  <a:cubicBezTo>
                    <a:pt x="18641" y="48112"/>
                    <a:pt x="-32" y="37331"/>
                    <a:pt x="-32" y="24030"/>
                  </a:cubicBezTo>
                  <a:cubicBezTo>
                    <a:pt x="-32" y="10729"/>
                    <a:pt x="18641" y="-52"/>
                    <a:pt x="41678" y="-52"/>
                  </a:cubicBezTo>
                  <a:cubicBezTo>
                    <a:pt x="41742" y="-52"/>
                    <a:pt x="41828" y="-52"/>
                    <a:pt x="41892" y="-52"/>
                  </a:cubicBezTo>
                  <a:cubicBezTo>
                    <a:pt x="64799" y="-52"/>
                    <a:pt x="83387" y="10680"/>
                    <a:pt x="83387" y="23907"/>
                  </a:cubicBezTo>
                  <a:cubicBezTo>
                    <a:pt x="83387" y="23943"/>
                    <a:pt x="83387" y="23993"/>
                    <a:pt x="83387" y="24030"/>
                  </a:cubicBezTo>
                  <a:close/>
                </a:path>
              </a:pathLst>
            </a:custGeom>
            <a:solidFill>
              <a:srgbClr val="830051"/>
            </a:solid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226" name="Freeform: Shape 483">
              <a:extLst>
                <a:ext uri="{FF2B5EF4-FFF2-40B4-BE49-F238E27FC236}">
                  <a16:creationId xmlns:a16="http://schemas.microsoft.com/office/drawing/2014/main" id="{4D1B3A2A-CFC5-5771-22D8-510B6A63220C}"/>
                </a:ext>
              </a:extLst>
            </p:cNvPr>
            <p:cNvSpPr/>
            <p:nvPr/>
          </p:nvSpPr>
          <p:spPr>
            <a:xfrm>
              <a:off x="8382194" y="3803287"/>
              <a:ext cx="72000" cy="72000"/>
            </a:xfrm>
            <a:custGeom>
              <a:avLst/>
              <a:gdLst>
                <a:gd name="connsiteX0" fmla="*/ 83387 w 83418"/>
                <a:gd name="connsiteY0" fmla="*/ 24030 h 48164"/>
                <a:gd name="connsiteX1" fmla="*/ 41678 w 83418"/>
                <a:gd name="connsiteY1" fmla="*/ 48112 h 48164"/>
                <a:gd name="connsiteX2" fmla="*/ -32 w 83418"/>
                <a:gd name="connsiteY2" fmla="*/ 24030 h 48164"/>
                <a:gd name="connsiteX3" fmla="*/ 41678 w 83418"/>
                <a:gd name="connsiteY3" fmla="*/ -52 h 48164"/>
                <a:gd name="connsiteX4" fmla="*/ 83387 w 83418"/>
                <a:gd name="connsiteY4" fmla="*/ 24030 h 481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418" h="48164">
                  <a:moveTo>
                    <a:pt x="83387" y="24030"/>
                  </a:moveTo>
                  <a:cubicBezTo>
                    <a:pt x="83387" y="37331"/>
                    <a:pt x="64715" y="48112"/>
                    <a:pt x="41678" y="48112"/>
                  </a:cubicBezTo>
                  <a:cubicBezTo>
                    <a:pt x="18641" y="48112"/>
                    <a:pt x="-32" y="37331"/>
                    <a:pt x="-32" y="24030"/>
                  </a:cubicBezTo>
                  <a:cubicBezTo>
                    <a:pt x="-32" y="10729"/>
                    <a:pt x="18641" y="-52"/>
                    <a:pt x="41678" y="-52"/>
                  </a:cubicBezTo>
                  <a:cubicBezTo>
                    <a:pt x="64715" y="-52"/>
                    <a:pt x="83387" y="10729"/>
                    <a:pt x="83387" y="24030"/>
                  </a:cubicBezTo>
                  <a:close/>
                </a:path>
              </a:pathLst>
            </a:custGeom>
            <a:solidFill>
              <a:srgbClr val="830051"/>
            </a:solid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227" name="Freeform: Shape 484">
              <a:extLst>
                <a:ext uri="{FF2B5EF4-FFF2-40B4-BE49-F238E27FC236}">
                  <a16:creationId xmlns:a16="http://schemas.microsoft.com/office/drawing/2014/main" id="{60214950-BAB1-15DB-B70D-BE6A001B164C}"/>
                </a:ext>
              </a:extLst>
            </p:cNvPr>
            <p:cNvSpPr/>
            <p:nvPr/>
          </p:nvSpPr>
          <p:spPr>
            <a:xfrm>
              <a:off x="8449998" y="3803287"/>
              <a:ext cx="72000" cy="72000"/>
            </a:xfrm>
            <a:custGeom>
              <a:avLst/>
              <a:gdLst>
                <a:gd name="connsiteX0" fmla="*/ 83388 w 83419"/>
                <a:gd name="connsiteY0" fmla="*/ 24030 h 48164"/>
                <a:gd name="connsiteX1" fmla="*/ 41678 w 83419"/>
                <a:gd name="connsiteY1" fmla="*/ 48112 h 48164"/>
                <a:gd name="connsiteX2" fmla="*/ -32 w 83419"/>
                <a:gd name="connsiteY2" fmla="*/ 24030 h 48164"/>
                <a:gd name="connsiteX3" fmla="*/ 41678 w 83419"/>
                <a:gd name="connsiteY3" fmla="*/ -52 h 48164"/>
                <a:gd name="connsiteX4" fmla="*/ 83388 w 83419"/>
                <a:gd name="connsiteY4" fmla="*/ 24030 h 481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419" h="48164">
                  <a:moveTo>
                    <a:pt x="83388" y="24030"/>
                  </a:moveTo>
                  <a:cubicBezTo>
                    <a:pt x="83388" y="37331"/>
                    <a:pt x="64715" y="48112"/>
                    <a:pt x="41678" y="48112"/>
                  </a:cubicBezTo>
                  <a:cubicBezTo>
                    <a:pt x="18642" y="48112"/>
                    <a:pt x="-32" y="37331"/>
                    <a:pt x="-32" y="24030"/>
                  </a:cubicBezTo>
                  <a:cubicBezTo>
                    <a:pt x="-32" y="10729"/>
                    <a:pt x="18642" y="-52"/>
                    <a:pt x="41678" y="-52"/>
                  </a:cubicBezTo>
                  <a:cubicBezTo>
                    <a:pt x="64715" y="-52"/>
                    <a:pt x="83388" y="10729"/>
                    <a:pt x="83388" y="24030"/>
                  </a:cubicBezTo>
                  <a:close/>
                </a:path>
              </a:pathLst>
            </a:custGeom>
            <a:solidFill>
              <a:srgbClr val="830051"/>
            </a:solid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228" name="Freeform: Shape 485">
              <a:extLst>
                <a:ext uri="{FF2B5EF4-FFF2-40B4-BE49-F238E27FC236}">
                  <a16:creationId xmlns:a16="http://schemas.microsoft.com/office/drawing/2014/main" id="{0A5E0CA6-6BCD-4A80-1138-B6A55750FF46}"/>
                </a:ext>
              </a:extLst>
            </p:cNvPr>
            <p:cNvSpPr/>
            <p:nvPr/>
          </p:nvSpPr>
          <p:spPr>
            <a:xfrm>
              <a:off x="8560368" y="3864626"/>
              <a:ext cx="72000" cy="72000"/>
            </a:xfrm>
            <a:custGeom>
              <a:avLst/>
              <a:gdLst>
                <a:gd name="connsiteX0" fmla="*/ 83388 w 83419"/>
                <a:gd name="connsiteY0" fmla="*/ 24030 h 48164"/>
                <a:gd name="connsiteX1" fmla="*/ 41678 w 83419"/>
                <a:gd name="connsiteY1" fmla="*/ 48113 h 48164"/>
                <a:gd name="connsiteX2" fmla="*/ -32 w 83419"/>
                <a:gd name="connsiteY2" fmla="*/ 24030 h 48164"/>
                <a:gd name="connsiteX3" fmla="*/ 41678 w 83419"/>
                <a:gd name="connsiteY3" fmla="*/ -52 h 48164"/>
                <a:gd name="connsiteX4" fmla="*/ 83388 w 83419"/>
                <a:gd name="connsiteY4" fmla="*/ 24030 h 481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419" h="48164">
                  <a:moveTo>
                    <a:pt x="83388" y="24030"/>
                  </a:moveTo>
                  <a:cubicBezTo>
                    <a:pt x="83388" y="37331"/>
                    <a:pt x="64715" y="48113"/>
                    <a:pt x="41678" y="48113"/>
                  </a:cubicBezTo>
                  <a:cubicBezTo>
                    <a:pt x="18642" y="48113"/>
                    <a:pt x="-32" y="37331"/>
                    <a:pt x="-32" y="24030"/>
                  </a:cubicBezTo>
                  <a:cubicBezTo>
                    <a:pt x="-32" y="10729"/>
                    <a:pt x="18642" y="-52"/>
                    <a:pt x="41678" y="-52"/>
                  </a:cubicBezTo>
                  <a:cubicBezTo>
                    <a:pt x="64480" y="269"/>
                    <a:pt x="82832" y="10865"/>
                    <a:pt x="83388" y="24030"/>
                  </a:cubicBezTo>
                  <a:close/>
                </a:path>
              </a:pathLst>
            </a:custGeom>
            <a:solidFill>
              <a:srgbClr val="830051"/>
            </a:solid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229" name="Freeform: Shape 486">
              <a:extLst>
                <a:ext uri="{FF2B5EF4-FFF2-40B4-BE49-F238E27FC236}">
                  <a16:creationId xmlns:a16="http://schemas.microsoft.com/office/drawing/2014/main" id="{015F1414-EAA5-6F32-25CD-DAF5C3F0D12A}"/>
                </a:ext>
              </a:extLst>
            </p:cNvPr>
            <p:cNvSpPr/>
            <p:nvPr/>
          </p:nvSpPr>
          <p:spPr>
            <a:xfrm>
              <a:off x="8586044" y="3864626"/>
              <a:ext cx="72000" cy="72000"/>
            </a:xfrm>
            <a:custGeom>
              <a:avLst/>
              <a:gdLst>
                <a:gd name="connsiteX0" fmla="*/ 85518 w 85563"/>
                <a:gd name="connsiteY0" fmla="*/ 24030 h 49395"/>
                <a:gd name="connsiteX1" fmla="*/ 43830 w 85563"/>
                <a:gd name="connsiteY1" fmla="*/ 49335 h 49395"/>
                <a:gd name="connsiteX2" fmla="*/ -18 w 85563"/>
                <a:gd name="connsiteY2" fmla="*/ 25265 h 49395"/>
                <a:gd name="connsiteX3" fmla="*/ 41691 w 85563"/>
                <a:gd name="connsiteY3" fmla="*/ -40 h 49395"/>
                <a:gd name="connsiteX4" fmla="*/ 42739 w 85563"/>
                <a:gd name="connsiteY4" fmla="*/ -52 h 49395"/>
                <a:gd name="connsiteX5" fmla="*/ 85518 w 85563"/>
                <a:gd name="connsiteY5" fmla="*/ 24030 h 49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563" h="49395">
                  <a:moveTo>
                    <a:pt x="85518" y="24030"/>
                  </a:moveTo>
                  <a:cubicBezTo>
                    <a:pt x="86116" y="37664"/>
                    <a:pt x="67444" y="49002"/>
                    <a:pt x="43830" y="49335"/>
                  </a:cubicBezTo>
                  <a:cubicBezTo>
                    <a:pt x="20194" y="49681"/>
                    <a:pt x="580" y="38900"/>
                    <a:pt x="-18" y="25265"/>
                  </a:cubicBezTo>
                  <a:cubicBezTo>
                    <a:pt x="-596" y="11631"/>
                    <a:pt x="18056" y="294"/>
                    <a:pt x="41691" y="-40"/>
                  </a:cubicBezTo>
                  <a:cubicBezTo>
                    <a:pt x="42033" y="-52"/>
                    <a:pt x="42397" y="-52"/>
                    <a:pt x="42739" y="-52"/>
                  </a:cubicBezTo>
                  <a:cubicBezTo>
                    <a:pt x="65946" y="-52"/>
                    <a:pt x="84940" y="10631"/>
                    <a:pt x="85518" y="24030"/>
                  </a:cubicBezTo>
                  <a:close/>
                </a:path>
              </a:pathLst>
            </a:custGeom>
            <a:solidFill>
              <a:srgbClr val="830051"/>
            </a:solid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230" name="Freeform: Shape 487">
              <a:extLst>
                <a:ext uri="{FF2B5EF4-FFF2-40B4-BE49-F238E27FC236}">
                  <a16:creationId xmlns:a16="http://schemas.microsoft.com/office/drawing/2014/main" id="{A72C596E-33A2-C9C0-AFAB-9F5EDAFB8A69}"/>
                </a:ext>
              </a:extLst>
            </p:cNvPr>
            <p:cNvSpPr/>
            <p:nvPr/>
          </p:nvSpPr>
          <p:spPr>
            <a:xfrm>
              <a:off x="8793300" y="3864626"/>
              <a:ext cx="72000" cy="72000"/>
            </a:xfrm>
            <a:custGeom>
              <a:avLst/>
              <a:gdLst>
                <a:gd name="connsiteX0" fmla="*/ 83387 w 83418"/>
                <a:gd name="connsiteY0" fmla="*/ 24030 h 48164"/>
                <a:gd name="connsiteX1" fmla="*/ 41678 w 83418"/>
                <a:gd name="connsiteY1" fmla="*/ 48113 h 48164"/>
                <a:gd name="connsiteX2" fmla="*/ -32 w 83418"/>
                <a:gd name="connsiteY2" fmla="*/ 24030 h 48164"/>
                <a:gd name="connsiteX3" fmla="*/ 41678 w 83418"/>
                <a:gd name="connsiteY3" fmla="*/ -52 h 48164"/>
                <a:gd name="connsiteX4" fmla="*/ 83387 w 83418"/>
                <a:gd name="connsiteY4" fmla="*/ 24030 h 481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418" h="48164">
                  <a:moveTo>
                    <a:pt x="83387" y="24030"/>
                  </a:moveTo>
                  <a:cubicBezTo>
                    <a:pt x="83387" y="37331"/>
                    <a:pt x="64715" y="48113"/>
                    <a:pt x="41678" y="48113"/>
                  </a:cubicBezTo>
                  <a:cubicBezTo>
                    <a:pt x="18641" y="48113"/>
                    <a:pt x="-32" y="37331"/>
                    <a:pt x="-32" y="24030"/>
                  </a:cubicBezTo>
                  <a:cubicBezTo>
                    <a:pt x="-32" y="10729"/>
                    <a:pt x="18641" y="-52"/>
                    <a:pt x="41678" y="-52"/>
                  </a:cubicBezTo>
                  <a:cubicBezTo>
                    <a:pt x="64479" y="269"/>
                    <a:pt x="82831" y="10865"/>
                    <a:pt x="83387" y="24030"/>
                  </a:cubicBezTo>
                  <a:close/>
                </a:path>
              </a:pathLst>
            </a:custGeom>
            <a:solidFill>
              <a:srgbClr val="830051"/>
            </a:solid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231" name="Freeform: Shape 488">
              <a:extLst>
                <a:ext uri="{FF2B5EF4-FFF2-40B4-BE49-F238E27FC236}">
                  <a16:creationId xmlns:a16="http://schemas.microsoft.com/office/drawing/2014/main" id="{744E48B2-97EC-E435-0D50-F4168D6548D7}"/>
                </a:ext>
              </a:extLst>
            </p:cNvPr>
            <p:cNvSpPr/>
            <p:nvPr/>
          </p:nvSpPr>
          <p:spPr>
            <a:xfrm>
              <a:off x="8853831" y="3864626"/>
              <a:ext cx="72000" cy="72000"/>
            </a:xfrm>
            <a:custGeom>
              <a:avLst/>
              <a:gdLst>
                <a:gd name="connsiteX0" fmla="*/ 83388 w 83419"/>
                <a:gd name="connsiteY0" fmla="*/ 24030 h 48164"/>
                <a:gd name="connsiteX1" fmla="*/ 41678 w 83419"/>
                <a:gd name="connsiteY1" fmla="*/ 48113 h 48164"/>
                <a:gd name="connsiteX2" fmla="*/ -32 w 83419"/>
                <a:gd name="connsiteY2" fmla="*/ 24030 h 48164"/>
                <a:gd name="connsiteX3" fmla="*/ 41678 w 83419"/>
                <a:gd name="connsiteY3" fmla="*/ -52 h 48164"/>
                <a:gd name="connsiteX4" fmla="*/ 83388 w 83419"/>
                <a:gd name="connsiteY4" fmla="*/ 24030 h 481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419" h="48164">
                  <a:moveTo>
                    <a:pt x="83388" y="24030"/>
                  </a:moveTo>
                  <a:cubicBezTo>
                    <a:pt x="83388" y="37331"/>
                    <a:pt x="64715" y="48113"/>
                    <a:pt x="41678" y="48113"/>
                  </a:cubicBezTo>
                  <a:cubicBezTo>
                    <a:pt x="18642" y="48113"/>
                    <a:pt x="-32" y="37331"/>
                    <a:pt x="-32" y="24030"/>
                  </a:cubicBezTo>
                  <a:cubicBezTo>
                    <a:pt x="-32" y="10729"/>
                    <a:pt x="18642" y="-52"/>
                    <a:pt x="41678" y="-52"/>
                  </a:cubicBezTo>
                  <a:cubicBezTo>
                    <a:pt x="64480" y="269"/>
                    <a:pt x="82832" y="10865"/>
                    <a:pt x="83388" y="24030"/>
                  </a:cubicBezTo>
                  <a:close/>
                </a:path>
              </a:pathLst>
            </a:custGeom>
            <a:solidFill>
              <a:srgbClr val="830051"/>
            </a:solid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232" name="Freeform: Shape 489">
              <a:extLst>
                <a:ext uri="{FF2B5EF4-FFF2-40B4-BE49-F238E27FC236}">
                  <a16:creationId xmlns:a16="http://schemas.microsoft.com/office/drawing/2014/main" id="{590010C9-2268-C6A4-6E2D-8ED419B76316}"/>
                </a:ext>
              </a:extLst>
            </p:cNvPr>
            <p:cNvSpPr/>
            <p:nvPr/>
          </p:nvSpPr>
          <p:spPr>
            <a:xfrm>
              <a:off x="8946234" y="3864626"/>
              <a:ext cx="72000" cy="72000"/>
            </a:xfrm>
            <a:custGeom>
              <a:avLst/>
              <a:gdLst>
                <a:gd name="connsiteX0" fmla="*/ 83387 w 83418"/>
                <a:gd name="connsiteY0" fmla="*/ 24030 h 48164"/>
                <a:gd name="connsiteX1" fmla="*/ 41678 w 83418"/>
                <a:gd name="connsiteY1" fmla="*/ 48113 h 48164"/>
                <a:gd name="connsiteX2" fmla="*/ -32 w 83418"/>
                <a:gd name="connsiteY2" fmla="*/ 24030 h 48164"/>
                <a:gd name="connsiteX3" fmla="*/ 41678 w 83418"/>
                <a:gd name="connsiteY3" fmla="*/ -52 h 48164"/>
                <a:gd name="connsiteX4" fmla="*/ 83387 w 83418"/>
                <a:gd name="connsiteY4" fmla="*/ 24030 h 481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418" h="48164">
                  <a:moveTo>
                    <a:pt x="83387" y="24030"/>
                  </a:moveTo>
                  <a:cubicBezTo>
                    <a:pt x="83387" y="37331"/>
                    <a:pt x="64715" y="48113"/>
                    <a:pt x="41678" y="48113"/>
                  </a:cubicBezTo>
                  <a:cubicBezTo>
                    <a:pt x="18642" y="48113"/>
                    <a:pt x="-32" y="37331"/>
                    <a:pt x="-32" y="24030"/>
                  </a:cubicBezTo>
                  <a:cubicBezTo>
                    <a:pt x="-32" y="10729"/>
                    <a:pt x="18642" y="-52"/>
                    <a:pt x="41678" y="-52"/>
                  </a:cubicBezTo>
                  <a:cubicBezTo>
                    <a:pt x="64479" y="269"/>
                    <a:pt x="82831" y="10865"/>
                    <a:pt x="83387" y="24030"/>
                  </a:cubicBezTo>
                  <a:close/>
                </a:path>
              </a:pathLst>
            </a:custGeom>
            <a:solidFill>
              <a:srgbClr val="830051"/>
            </a:solid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233" name="Freeform: Shape 490">
              <a:extLst>
                <a:ext uri="{FF2B5EF4-FFF2-40B4-BE49-F238E27FC236}">
                  <a16:creationId xmlns:a16="http://schemas.microsoft.com/office/drawing/2014/main" id="{962AEE83-9D25-5769-D0AA-CB72058F715E}"/>
                </a:ext>
              </a:extLst>
            </p:cNvPr>
            <p:cNvSpPr/>
            <p:nvPr/>
          </p:nvSpPr>
          <p:spPr>
            <a:xfrm>
              <a:off x="8965057" y="3864626"/>
              <a:ext cx="72000" cy="72000"/>
            </a:xfrm>
            <a:custGeom>
              <a:avLst/>
              <a:gdLst>
                <a:gd name="connsiteX0" fmla="*/ 83387 w 83418"/>
                <a:gd name="connsiteY0" fmla="*/ 24030 h 48164"/>
                <a:gd name="connsiteX1" fmla="*/ 41678 w 83418"/>
                <a:gd name="connsiteY1" fmla="*/ 48113 h 48164"/>
                <a:gd name="connsiteX2" fmla="*/ -32 w 83418"/>
                <a:gd name="connsiteY2" fmla="*/ 24030 h 48164"/>
                <a:gd name="connsiteX3" fmla="*/ 41678 w 83418"/>
                <a:gd name="connsiteY3" fmla="*/ -52 h 48164"/>
                <a:gd name="connsiteX4" fmla="*/ 83387 w 83418"/>
                <a:gd name="connsiteY4" fmla="*/ 24030 h 481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418" h="48164">
                  <a:moveTo>
                    <a:pt x="83387" y="24030"/>
                  </a:moveTo>
                  <a:cubicBezTo>
                    <a:pt x="83387" y="37331"/>
                    <a:pt x="64715" y="48113"/>
                    <a:pt x="41678" y="48113"/>
                  </a:cubicBezTo>
                  <a:cubicBezTo>
                    <a:pt x="18641" y="48113"/>
                    <a:pt x="-32" y="37331"/>
                    <a:pt x="-32" y="24030"/>
                  </a:cubicBezTo>
                  <a:cubicBezTo>
                    <a:pt x="-32" y="10729"/>
                    <a:pt x="18641" y="-52"/>
                    <a:pt x="41678" y="-52"/>
                  </a:cubicBezTo>
                  <a:cubicBezTo>
                    <a:pt x="64479" y="269"/>
                    <a:pt x="82831" y="10865"/>
                    <a:pt x="83387" y="24030"/>
                  </a:cubicBezTo>
                  <a:close/>
                </a:path>
              </a:pathLst>
            </a:custGeom>
            <a:solidFill>
              <a:srgbClr val="830051"/>
            </a:solid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234" name="Freeform: Shape 491">
              <a:extLst>
                <a:ext uri="{FF2B5EF4-FFF2-40B4-BE49-F238E27FC236}">
                  <a16:creationId xmlns:a16="http://schemas.microsoft.com/office/drawing/2014/main" id="{B3457CDC-11EE-396D-6521-127E4523D38B}"/>
                </a:ext>
              </a:extLst>
            </p:cNvPr>
            <p:cNvSpPr/>
            <p:nvPr/>
          </p:nvSpPr>
          <p:spPr>
            <a:xfrm>
              <a:off x="9067521" y="3907435"/>
              <a:ext cx="72000" cy="72000"/>
            </a:xfrm>
            <a:custGeom>
              <a:avLst/>
              <a:gdLst>
                <a:gd name="connsiteX0" fmla="*/ 85518 w 85564"/>
                <a:gd name="connsiteY0" fmla="*/ 24038 h 49403"/>
                <a:gd name="connsiteX1" fmla="*/ 43830 w 85564"/>
                <a:gd name="connsiteY1" fmla="*/ 49343 h 49403"/>
                <a:gd name="connsiteX2" fmla="*/ -19 w 85564"/>
                <a:gd name="connsiteY2" fmla="*/ 25273 h 49403"/>
                <a:gd name="connsiteX3" fmla="*/ 41691 w 85564"/>
                <a:gd name="connsiteY3" fmla="*/ -32 h 49403"/>
                <a:gd name="connsiteX4" fmla="*/ 42740 w 85564"/>
                <a:gd name="connsiteY4" fmla="*/ -44 h 49403"/>
                <a:gd name="connsiteX5" fmla="*/ 85497 w 85564"/>
                <a:gd name="connsiteY5" fmla="*/ 23408 h 49403"/>
                <a:gd name="connsiteX6" fmla="*/ 85518 w 85564"/>
                <a:gd name="connsiteY6" fmla="*/ 24038 h 49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64" h="49403">
                  <a:moveTo>
                    <a:pt x="85518" y="24038"/>
                  </a:moveTo>
                  <a:cubicBezTo>
                    <a:pt x="86117" y="37672"/>
                    <a:pt x="67444" y="49010"/>
                    <a:pt x="43830" y="49343"/>
                  </a:cubicBezTo>
                  <a:cubicBezTo>
                    <a:pt x="20195" y="49689"/>
                    <a:pt x="581" y="38907"/>
                    <a:pt x="-19" y="25273"/>
                  </a:cubicBezTo>
                  <a:cubicBezTo>
                    <a:pt x="-596" y="11639"/>
                    <a:pt x="18056" y="302"/>
                    <a:pt x="41691" y="-32"/>
                  </a:cubicBezTo>
                  <a:cubicBezTo>
                    <a:pt x="42033" y="-44"/>
                    <a:pt x="42397" y="-44"/>
                    <a:pt x="42740" y="-44"/>
                  </a:cubicBezTo>
                  <a:cubicBezTo>
                    <a:pt x="65776" y="-390"/>
                    <a:pt x="84919" y="10120"/>
                    <a:pt x="85497" y="23408"/>
                  </a:cubicBezTo>
                  <a:cubicBezTo>
                    <a:pt x="85518" y="23618"/>
                    <a:pt x="85518" y="23828"/>
                    <a:pt x="85518" y="24038"/>
                  </a:cubicBezTo>
                  <a:close/>
                </a:path>
              </a:pathLst>
            </a:custGeom>
            <a:solidFill>
              <a:srgbClr val="830051"/>
            </a:solid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235" name="Freeform: Shape 492">
              <a:extLst>
                <a:ext uri="{FF2B5EF4-FFF2-40B4-BE49-F238E27FC236}">
                  <a16:creationId xmlns:a16="http://schemas.microsoft.com/office/drawing/2014/main" id="{A7652980-92C8-C0BD-7857-B6072007537F}"/>
                </a:ext>
              </a:extLst>
            </p:cNvPr>
            <p:cNvSpPr/>
            <p:nvPr/>
          </p:nvSpPr>
          <p:spPr>
            <a:xfrm>
              <a:off x="9138312" y="3907445"/>
              <a:ext cx="72000" cy="72000"/>
            </a:xfrm>
            <a:custGeom>
              <a:avLst/>
              <a:gdLst>
                <a:gd name="connsiteX0" fmla="*/ 83387 w 83418"/>
                <a:gd name="connsiteY0" fmla="*/ 24030 h 48164"/>
                <a:gd name="connsiteX1" fmla="*/ 41678 w 83418"/>
                <a:gd name="connsiteY1" fmla="*/ 48112 h 48164"/>
                <a:gd name="connsiteX2" fmla="*/ -32 w 83418"/>
                <a:gd name="connsiteY2" fmla="*/ 24030 h 48164"/>
                <a:gd name="connsiteX3" fmla="*/ 41678 w 83418"/>
                <a:gd name="connsiteY3" fmla="*/ -52 h 48164"/>
                <a:gd name="connsiteX4" fmla="*/ 83387 w 83418"/>
                <a:gd name="connsiteY4" fmla="*/ 24030 h 481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418" h="48164">
                  <a:moveTo>
                    <a:pt x="83387" y="24030"/>
                  </a:moveTo>
                  <a:cubicBezTo>
                    <a:pt x="83387" y="37331"/>
                    <a:pt x="64714" y="48112"/>
                    <a:pt x="41678" y="48112"/>
                  </a:cubicBezTo>
                  <a:cubicBezTo>
                    <a:pt x="18641" y="48112"/>
                    <a:pt x="-32" y="37331"/>
                    <a:pt x="-32" y="24030"/>
                  </a:cubicBezTo>
                  <a:cubicBezTo>
                    <a:pt x="-32" y="10729"/>
                    <a:pt x="18641" y="-52"/>
                    <a:pt x="41678" y="-52"/>
                  </a:cubicBezTo>
                  <a:cubicBezTo>
                    <a:pt x="64714" y="-52"/>
                    <a:pt x="83387" y="10729"/>
                    <a:pt x="83387" y="24030"/>
                  </a:cubicBezTo>
                  <a:close/>
                </a:path>
              </a:pathLst>
            </a:custGeom>
            <a:solidFill>
              <a:srgbClr val="830051"/>
            </a:solid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236" name="Freeform: Shape 493">
              <a:extLst>
                <a:ext uri="{FF2B5EF4-FFF2-40B4-BE49-F238E27FC236}">
                  <a16:creationId xmlns:a16="http://schemas.microsoft.com/office/drawing/2014/main" id="{90D7DA3B-ADD8-8344-F30E-62C9D4DBD563}"/>
                </a:ext>
              </a:extLst>
            </p:cNvPr>
            <p:cNvSpPr/>
            <p:nvPr/>
          </p:nvSpPr>
          <p:spPr>
            <a:xfrm>
              <a:off x="9262585" y="3907445"/>
              <a:ext cx="72000" cy="72000"/>
            </a:xfrm>
            <a:custGeom>
              <a:avLst/>
              <a:gdLst>
                <a:gd name="connsiteX0" fmla="*/ 83387 w 83418"/>
                <a:gd name="connsiteY0" fmla="*/ 24030 h 48164"/>
                <a:gd name="connsiteX1" fmla="*/ 41678 w 83418"/>
                <a:gd name="connsiteY1" fmla="*/ 48112 h 48164"/>
                <a:gd name="connsiteX2" fmla="*/ -32 w 83418"/>
                <a:gd name="connsiteY2" fmla="*/ 24030 h 48164"/>
                <a:gd name="connsiteX3" fmla="*/ 41678 w 83418"/>
                <a:gd name="connsiteY3" fmla="*/ -52 h 48164"/>
                <a:gd name="connsiteX4" fmla="*/ 83387 w 83418"/>
                <a:gd name="connsiteY4" fmla="*/ 24030 h 481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418" h="48164">
                  <a:moveTo>
                    <a:pt x="83387" y="24030"/>
                  </a:moveTo>
                  <a:cubicBezTo>
                    <a:pt x="83387" y="37331"/>
                    <a:pt x="64715" y="48112"/>
                    <a:pt x="41678" y="48112"/>
                  </a:cubicBezTo>
                  <a:cubicBezTo>
                    <a:pt x="18641" y="48112"/>
                    <a:pt x="-32" y="37331"/>
                    <a:pt x="-32" y="24030"/>
                  </a:cubicBezTo>
                  <a:cubicBezTo>
                    <a:pt x="-32" y="10729"/>
                    <a:pt x="18641" y="-52"/>
                    <a:pt x="41678" y="-52"/>
                  </a:cubicBezTo>
                  <a:cubicBezTo>
                    <a:pt x="64715" y="-52"/>
                    <a:pt x="83387" y="10729"/>
                    <a:pt x="83387" y="24030"/>
                  </a:cubicBezTo>
                  <a:close/>
                </a:path>
              </a:pathLst>
            </a:custGeom>
            <a:solidFill>
              <a:srgbClr val="830051"/>
            </a:solid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237" name="Freeform: Shape 494">
              <a:extLst>
                <a:ext uri="{FF2B5EF4-FFF2-40B4-BE49-F238E27FC236}">
                  <a16:creationId xmlns:a16="http://schemas.microsoft.com/office/drawing/2014/main" id="{AA903FC0-1AF3-15EA-68F8-9F2977D6733F}"/>
                </a:ext>
              </a:extLst>
            </p:cNvPr>
            <p:cNvSpPr/>
            <p:nvPr/>
          </p:nvSpPr>
          <p:spPr>
            <a:xfrm>
              <a:off x="9536369" y="3967599"/>
              <a:ext cx="72000" cy="72000"/>
            </a:xfrm>
            <a:custGeom>
              <a:avLst/>
              <a:gdLst>
                <a:gd name="connsiteX0" fmla="*/ 83388 w 83419"/>
                <a:gd name="connsiteY0" fmla="*/ 23907 h 48164"/>
                <a:gd name="connsiteX1" fmla="*/ 41892 w 83419"/>
                <a:gd name="connsiteY1" fmla="*/ 48112 h 48164"/>
                <a:gd name="connsiteX2" fmla="*/ -31 w 83419"/>
                <a:gd name="connsiteY2" fmla="*/ 24153 h 48164"/>
                <a:gd name="connsiteX3" fmla="*/ 41465 w 83419"/>
                <a:gd name="connsiteY3" fmla="*/ -52 h 48164"/>
                <a:gd name="connsiteX4" fmla="*/ 41679 w 83419"/>
                <a:gd name="connsiteY4" fmla="*/ -52 h 48164"/>
                <a:gd name="connsiteX5" fmla="*/ 83388 w 83419"/>
                <a:gd name="connsiteY5" fmla="*/ 23907 h 48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419" h="48164">
                  <a:moveTo>
                    <a:pt x="83388" y="23907"/>
                  </a:moveTo>
                  <a:cubicBezTo>
                    <a:pt x="83516" y="37207"/>
                    <a:pt x="64929" y="48038"/>
                    <a:pt x="41892" y="48112"/>
                  </a:cubicBezTo>
                  <a:cubicBezTo>
                    <a:pt x="18856" y="48174"/>
                    <a:pt x="98" y="37454"/>
                    <a:pt x="-31" y="24153"/>
                  </a:cubicBezTo>
                  <a:cubicBezTo>
                    <a:pt x="-138" y="10853"/>
                    <a:pt x="18428" y="22"/>
                    <a:pt x="41465" y="-52"/>
                  </a:cubicBezTo>
                  <a:cubicBezTo>
                    <a:pt x="41529" y="-52"/>
                    <a:pt x="41614" y="-52"/>
                    <a:pt x="41679" y="-52"/>
                  </a:cubicBezTo>
                  <a:cubicBezTo>
                    <a:pt x="64630" y="-52"/>
                    <a:pt x="83260" y="10655"/>
                    <a:pt x="83388" y="23907"/>
                  </a:cubicBezTo>
                  <a:close/>
                </a:path>
              </a:pathLst>
            </a:custGeom>
            <a:solidFill>
              <a:srgbClr val="830051"/>
            </a:solid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238" name="Freeform: Shape 495">
              <a:extLst>
                <a:ext uri="{FF2B5EF4-FFF2-40B4-BE49-F238E27FC236}">
                  <a16:creationId xmlns:a16="http://schemas.microsoft.com/office/drawing/2014/main" id="{8D7E89A1-79AC-4B06-F95A-E8CCBFEAB522}"/>
                </a:ext>
              </a:extLst>
            </p:cNvPr>
            <p:cNvSpPr/>
            <p:nvPr/>
          </p:nvSpPr>
          <p:spPr>
            <a:xfrm>
              <a:off x="9544498" y="3967450"/>
              <a:ext cx="72000" cy="72000"/>
            </a:xfrm>
            <a:custGeom>
              <a:avLst/>
              <a:gdLst>
                <a:gd name="connsiteX0" fmla="*/ 83387 w 83418"/>
                <a:gd name="connsiteY0" fmla="*/ 24030 h 48164"/>
                <a:gd name="connsiteX1" fmla="*/ 41678 w 83418"/>
                <a:gd name="connsiteY1" fmla="*/ 48113 h 48164"/>
                <a:gd name="connsiteX2" fmla="*/ -32 w 83418"/>
                <a:gd name="connsiteY2" fmla="*/ 24030 h 48164"/>
                <a:gd name="connsiteX3" fmla="*/ 41678 w 83418"/>
                <a:gd name="connsiteY3" fmla="*/ -52 h 48164"/>
                <a:gd name="connsiteX4" fmla="*/ 83387 w 83418"/>
                <a:gd name="connsiteY4" fmla="*/ 24030 h 481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418" h="48164">
                  <a:moveTo>
                    <a:pt x="83387" y="24030"/>
                  </a:moveTo>
                  <a:cubicBezTo>
                    <a:pt x="83387" y="37331"/>
                    <a:pt x="64715" y="48113"/>
                    <a:pt x="41678" y="48113"/>
                  </a:cubicBezTo>
                  <a:cubicBezTo>
                    <a:pt x="18642" y="48113"/>
                    <a:pt x="-32" y="37331"/>
                    <a:pt x="-32" y="24030"/>
                  </a:cubicBezTo>
                  <a:cubicBezTo>
                    <a:pt x="-32" y="10729"/>
                    <a:pt x="18642" y="-52"/>
                    <a:pt x="41678" y="-52"/>
                  </a:cubicBezTo>
                  <a:cubicBezTo>
                    <a:pt x="64715" y="-52"/>
                    <a:pt x="83387" y="10729"/>
                    <a:pt x="83387" y="24030"/>
                  </a:cubicBezTo>
                  <a:close/>
                </a:path>
              </a:pathLst>
            </a:custGeom>
            <a:solidFill>
              <a:srgbClr val="830051"/>
            </a:solid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239" name="Freeform: Shape 496">
              <a:extLst>
                <a:ext uri="{FF2B5EF4-FFF2-40B4-BE49-F238E27FC236}">
                  <a16:creationId xmlns:a16="http://schemas.microsoft.com/office/drawing/2014/main" id="{4836712F-C874-5E3C-BF2A-3FC4DE0F2364}"/>
                </a:ext>
              </a:extLst>
            </p:cNvPr>
            <p:cNvSpPr/>
            <p:nvPr/>
          </p:nvSpPr>
          <p:spPr>
            <a:xfrm>
              <a:off x="9685027" y="3967450"/>
              <a:ext cx="72000" cy="72000"/>
            </a:xfrm>
            <a:custGeom>
              <a:avLst/>
              <a:gdLst>
                <a:gd name="connsiteX0" fmla="*/ 83387 w 83418"/>
                <a:gd name="connsiteY0" fmla="*/ 24030 h 48164"/>
                <a:gd name="connsiteX1" fmla="*/ 41678 w 83418"/>
                <a:gd name="connsiteY1" fmla="*/ 48113 h 48164"/>
                <a:gd name="connsiteX2" fmla="*/ -32 w 83418"/>
                <a:gd name="connsiteY2" fmla="*/ 24030 h 48164"/>
                <a:gd name="connsiteX3" fmla="*/ 41678 w 83418"/>
                <a:gd name="connsiteY3" fmla="*/ -52 h 48164"/>
                <a:gd name="connsiteX4" fmla="*/ 83387 w 83418"/>
                <a:gd name="connsiteY4" fmla="*/ 24030 h 481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418" h="48164">
                  <a:moveTo>
                    <a:pt x="83387" y="24030"/>
                  </a:moveTo>
                  <a:cubicBezTo>
                    <a:pt x="83387" y="37331"/>
                    <a:pt x="64715" y="48113"/>
                    <a:pt x="41678" y="48113"/>
                  </a:cubicBezTo>
                  <a:cubicBezTo>
                    <a:pt x="18641" y="48113"/>
                    <a:pt x="-32" y="37331"/>
                    <a:pt x="-32" y="24030"/>
                  </a:cubicBezTo>
                  <a:cubicBezTo>
                    <a:pt x="-32" y="10729"/>
                    <a:pt x="18641" y="-52"/>
                    <a:pt x="41678" y="-52"/>
                  </a:cubicBezTo>
                  <a:cubicBezTo>
                    <a:pt x="64479" y="269"/>
                    <a:pt x="82831" y="10865"/>
                    <a:pt x="83387" y="24030"/>
                  </a:cubicBezTo>
                  <a:close/>
                </a:path>
              </a:pathLst>
            </a:custGeom>
            <a:solidFill>
              <a:srgbClr val="830051"/>
            </a:solid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240" name="Freeform: Shape 497">
              <a:extLst>
                <a:ext uri="{FF2B5EF4-FFF2-40B4-BE49-F238E27FC236}">
                  <a16:creationId xmlns:a16="http://schemas.microsoft.com/office/drawing/2014/main" id="{4451B48C-11FA-F158-37FA-302045575023}"/>
                </a:ext>
              </a:extLst>
            </p:cNvPr>
            <p:cNvSpPr/>
            <p:nvPr/>
          </p:nvSpPr>
          <p:spPr>
            <a:xfrm>
              <a:off x="9864271" y="3967450"/>
              <a:ext cx="72000" cy="72000"/>
            </a:xfrm>
            <a:custGeom>
              <a:avLst/>
              <a:gdLst>
                <a:gd name="connsiteX0" fmla="*/ 83387 w 83418"/>
                <a:gd name="connsiteY0" fmla="*/ 24030 h 48164"/>
                <a:gd name="connsiteX1" fmla="*/ 41678 w 83418"/>
                <a:gd name="connsiteY1" fmla="*/ 48113 h 48164"/>
                <a:gd name="connsiteX2" fmla="*/ -32 w 83418"/>
                <a:gd name="connsiteY2" fmla="*/ 24030 h 48164"/>
                <a:gd name="connsiteX3" fmla="*/ 41678 w 83418"/>
                <a:gd name="connsiteY3" fmla="*/ -52 h 48164"/>
                <a:gd name="connsiteX4" fmla="*/ 83387 w 83418"/>
                <a:gd name="connsiteY4" fmla="*/ 24030 h 481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418" h="48164">
                  <a:moveTo>
                    <a:pt x="83387" y="24030"/>
                  </a:moveTo>
                  <a:cubicBezTo>
                    <a:pt x="83387" y="37331"/>
                    <a:pt x="64714" y="48113"/>
                    <a:pt x="41678" y="48113"/>
                  </a:cubicBezTo>
                  <a:cubicBezTo>
                    <a:pt x="18641" y="48113"/>
                    <a:pt x="-32" y="37331"/>
                    <a:pt x="-32" y="24030"/>
                  </a:cubicBezTo>
                  <a:cubicBezTo>
                    <a:pt x="-32" y="10729"/>
                    <a:pt x="18641" y="-52"/>
                    <a:pt x="41678" y="-52"/>
                  </a:cubicBezTo>
                  <a:cubicBezTo>
                    <a:pt x="64479" y="269"/>
                    <a:pt x="82831" y="10865"/>
                    <a:pt x="83387" y="24030"/>
                  </a:cubicBezTo>
                  <a:close/>
                </a:path>
              </a:pathLst>
            </a:custGeom>
            <a:solidFill>
              <a:srgbClr val="830051"/>
            </a:solid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241" name="Freeform: Shape 498">
              <a:extLst>
                <a:ext uri="{FF2B5EF4-FFF2-40B4-BE49-F238E27FC236}">
                  <a16:creationId xmlns:a16="http://schemas.microsoft.com/office/drawing/2014/main" id="{1A2C3635-87DA-4DDE-6869-7F480F0482EB}"/>
                </a:ext>
              </a:extLst>
            </p:cNvPr>
            <p:cNvSpPr/>
            <p:nvPr/>
          </p:nvSpPr>
          <p:spPr>
            <a:xfrm>
              <a:off x="10014639" y="3967450"/>
              <a:ext cx="72000" cy="72000"/>
            </a:xfrm>
            <a:custGeom>
              <a:avLst/>
              <a:gdLst>
                <a:gd name="connsiteX0" fmla="*/ 83387 w 83418"/>
                <a:gd name="connsiteY0" fmla="*/ 24030 h 48152"/>
                <a:gd name="connsiteX1" fmla="*/ 41657 w 83418"/>
                <a:gd name="connsiteY1" fmla="*/ 48100 h 48152"/>
                <a:gd name="connsiteX2" fmla="*/ -32 w 83418"/>
                <a:gd name="connsiteY2" fmla="*/ 24018 h 48152"/>
                <a:gd name="connsiteX3" fmla="*/ 40608 w 83418"/>
                <a:gd name="connsiteY3" fmla="*/ -52 h 48152"/>
                <a:gd name="connsiteX4" fmla="*/ 83387 w 83418"/>
                <a:gd name="connsiteY4" fmla="*/ 24030 h 48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418" h="48152">
                  <a:moveTo>
                    <a:pt x="83387" y="24030"/>
                  </a:moveTo>
                  <a:cubicBezTo>
                    <a:pt x="83387" y="37331"/>
                    <a:pt x="64693" y="48113"/>
                    <a:pt x="41657" y="48100"/>
                  </a:cubicBezTo>
                  <a:cubicBezTo>
                    <a:pt x="18620" y="48100"/>
                    <a:pt x="-32" y="37318"/>
                    <a:pt x="-32" y="24018"/>
                  </a:cubicBezTo>
                  <a:cubicBezTo>
                    <a:pt x="-32" y="10964"/>
                    <a:pt x="18000" y="281"/>
                    <a:pt x="40608" y="-52"/>
                  </a:cubicBezTo>
                  <a:cubicBezTo>
                    <a:pt x="63816" y="-52"/>
                    <a:pt x="82810" y="10631"/>
                    <a:pt x="83387" y="24030"/>
                  </a:cubicBezTo>
                  <a:close/>
                </a:path>
              </a:pathLst>
            </a:custGeom>
            <a:solidFill>
              <a:srgbClr val="830051"/>
            </a:solid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242" name="Freeform: Shape 499">
              <a:extLst>
                <a:ext uri="{FF2B5EF4-FFF2-40B4-BE49-F238E27FC236}">
                  <a16:creationId xmlns:a16="http://schemas.microsoft.com/office/drawing/2014/main" id="{8D0F57BF-BAD7-14EB-284B-5E8B1774EE0F}"/>
                </a:ext>
              </a:extLst>
            </p:cNvPr>
            <p:cNvSpPr/>
            <p:nvPr/>
          </p:nvSpPr>
          <p:spPr>
            <a:xfrm>
              <a:off x="10054217" y="3967440"/>
              <a:ext cx="72000" cy="72000"/>
            </a:xfrm>
            <a:custGeom>
              <a:avLst/>
              <a:gdLst>
                <a:gd name="connsiteX0" fmla="*/ 85518 w 85562"/>
                <a:gd name="connsiteY0" fmla="*/ 24039 h 49404"/>
                <a:gd name="connsiteX1" fmla="*/ 43809 w 85562"/>
                <a:gd name="connsiteY1" fmla="*/ 49344 h 49404"/>
                <a:gd name="connsiteX2" fmla="*/ -19 w 85562"/>
                <a:gd name="connsiteY2" fmla="*/ 25262 h 49404"/>
                <a:gd name="connsiteX3" fmla="*/ 41691 w 85562"/>
                <a:gd name="connsiteY3" fmla="*/ -43 h 49404"/>
                <a:gd name="connsiteX4" fmla="*/ 43809 w 85562"/>
                <a:gd name="connsiteY4" fmla="*/ -43 h 49404"/>
                <a:gd name="connsiteX5" fmla="*/ 85518 w 85562"/>
                <a:gd name="connsiteY5" fmla="*/ 24039 h 49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562" h="49404">
                  <a:moveTo>
                    <a:pt x="85518" y="24039"/>
                  </a:moveTo>
                  <a:cubicBezTo>
                    <a:pt x="86096" y="37673"/>
                    <a:pt x="67423" y="49011"/>
                    <a:pt x="43809" y="49344"/>
                  </a:cubicBezTo>
                  <a:cubicBezTo>
                    <a:pt x="20195" y="49677"/>
                    <a:pt x="559" y="38896"/>
                    <a:pt x="-19" y="25262"/>
                  </a:cubicBezTo>
                  <a:cubicBezTo>
                    <a:pt x="-596" y="11627"/>
                    <a:pt x="18077" y="290"/>
                    <a:pt x="41691" y="-43"/>
                  </a:cubicBezTo>
                  <a:cubicBezTo>
                    <a:pt x="42397" y="-55"/>
                    <a:pt x="43103" y="-55"/>
                    <a:pt x="43809" y="-43"/>
                  </a:cubicBezTo>
                  <a:cubicBezTo>
                    <a:pt x="66610" y="278"/>
                    <a:pt x="84962" y="10874"/>
                    <a:pt x="85518" y="24039"/>
                  </a:cubicBezTo>
                  <a:close/>
                </a:path>
              </a:pathLst>
            </a:custGeom>
            <a:solidFill>
              <a:srgbClr val="830051"/>
            </a:solid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243" name="Freeform: Shape 500">
              <a:extLst>
                <a:ext uri="{FF2B5EF4-FFF2-40B4-BE49-F238E27FC236}">
                  <a16:creationId xmlns:a16="http://schemas.microsoft.com/office/drawing/2014/main" id="{3B274787-9197-97A9-C418-B42B8371F2BC}"/>
                </a:ext>
              </a:extLst>
            </p:cNvPr>
            <p:cNvSpPr/>
            <p:nvPr/>
          </p:nvSpPr>
          <p:spPr>
            <a:xfrm>
              <a:off x="10148750" y="3967450"/>
              <a:ext cx="72000" cy="72000"/>
            </a:xfrm>
            <a:custGeom>
              <a:avLst/>
              <a:gdLst>
                <a:gd name="connsiteX0" fmla="*/ 83387 w 83418"/>
                <a:gd name="connsiteY0" fmla="*/ 24030 h 48164"/>
                <a:gd name="connsiteX1" fmla="*/ 41678 w 83418"/>
                <a:gd name="connsiteY1" fmla="*/ 48113 h 48164"/>
                <a:gd name="connsiteX2" fmla="*/ -32 w 83418"/>
                <a:gd name="connsiteY2" fmla="*/ 24030 h 48164"/>
                <a:gd name="connsiteX3" fmla="*/ 41678 w 83418"/>
                <a:gd name="connsiteY3" fmla="*/ -52 h 48164"/>
                <a:gd name="connsiteX4" fmla="*/ 83387 w 83418"/>
                <a:gd name="connsiteY4" fmla="*/ 24030 h 481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418" h="48164">
                  <a:moveTo>
                    <a:pt x="83387" y="24030"/>
                  </a:moveTo>
                  <a:cubicBezTo>
                    <a:pt x="83387" y="37331"/>
                    <a:pt x="64715" y="48113"/>
                    <a:pt x="41678" y="48113"/>
                  </a:cubicBezTo>
                  <a:cubicBezTo>
                    <a:pt x="18642" y="48113"/>
                    <a:pt x="-32" y="37331"/>
                    <a:pt x="-32" y="24030"/>
                  </a:cubicBezTo>
                  <a:cubicBezTo>
                    <a:pt x="-32" y="10729"/>
                    <a:pt x="18642" y="-52"/>
                    <a:pt x="41678" y="-52"/>
                  </a:cubicBezTo>
                  <a:cubicBezTo>
                    <a:pt x="64479" y="269"/>
                    <a:pt x="82831" y="10865"/>
                    <a:pt x="83387" y="24030"/>
                  </a:cubicBezTo>
                  <a:close/>
                </a:path>
              </a:pathLst>
            </a:custGeom>
            <a:solidFill>
              <a:srgbClr val="830051"/>
            </a:solid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244" name="Freeform: Shape 501">
              <a:extLst>
                <a:ext uri="{FF2B5EF4-FFF2-40B4-BE49-F238E27FC236}">
                  <a16:creationId xmlns:a16="http://schemas.microsoft.com/office/drawing/2014/main" id="{DAED286B-3F84-526D-E051-256E8005B919}"/>
                </a:ext>
              </a:extLst>
            </p:cNvPr>
            <p:cNvSpPr/>
            <p:nvPr/>
          </p:nvSpPr>
          <p:spPr>
            <a:xfrm>
              <a:off x="10285215" y="3967450"/>
              <a:ext cx="72000" cy="72000"/>
            </a:xfrm>
            <a:custGeom>
              <a:avLst/>
              <a:gdLst>
                <a:gd name="connsiteX0" fmla="*/ 83387 w 83418"/>
                <a:gd name="connsiteY0" fmla="*/ 24030 h 48164"/>
                <a:gd name="connsiteX1" fmla="*/ 41678 w 83418"/>
                <a:gd name="connsiteY1" fmla="*/ 48113 h 48164"/>
                <a:gd name="connsiteX2" fmla="*/ -32 w 83418"/>
                <a:gd name="connsiteY2" fmla="*/ 24030 h 48164"/>
                <a:gd name="connsiteX3" fmla="*/ 41678 w 83418"/>
                <a:gd name="connsiteY3" fmla="*/ -52 h 48164"/>
                <a:gd name="connsiteX4" fmla="*/ 83387 w 83418"/>
                <a:gd name="connsiteY4" fmla="*/ 24030 h 481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418" h="48164">
                  <a:moveTo>
                    <a:pt x="83387" y="24030"/>
                  </a:moveTo>
                  <a:cubicBezTo>
                    <a:pt x="83387" y="37331"/>
                    <a:pt x="64715" y="48113"/>
                    <a:pt x="41678" y="48113"/>
                  </a:cubicBezTo>
                  <a:cubicBezTo>
                    <a:pt x="18641" y="48113"/>
                    <a:pt x="-32" y="37331"/>
                    <a:pt x="-32" y="24030"/>
                  </a:cubicBezTo>
                  <a:cubicBezTo>
                    <a:pt x="-32" y="10729"/>
                    <a:pt x="18641" y="-52"/>
                    <a:pt x="41678" y="-52"/>
                  </a:cubicBezTo>
                  <a:cubicBezTo>
                    <a:pt x="64479" y="269"/>
                    <a:pt x="82831" y="10865"/>
                    <a:pt x="83387" y="24030"/>
                  </a:cubicBezTo>
                  <a:close/>
                </a:path>
              </a:pathLst>
            </a:custGeom>
            <a:solidFill>
              <a:srgbClr val="830051"/>
            </a:solid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245" name="Freeform: Shape 502">
              <a:extLst>
                <a:ext uri="{FF2B5EF4-FFF2-40B4-BE49-F238E27FC236}">
                  <a16:creationId xmlns:a16="http://schemas.microsoft.com/office/drawing/2014/main" id="{2A7FA4F5-7F63-FDFC-ED9A-6B923D0ADD3A}"/>
                </a:ext>
              </a:extLst>
            </p:cNvPr>
            <p:cNvSpPr/>
            <p:nvPr/>
          </p:nvSpPr>
          <p:spPr>
            <a:xfrm>
              <a:off x="10360293" y="3967450"/>
              <a:ext cx="72000" cy="72000"/>
            </a:xfrm>
            <a:custGeom>
              <a:avLst/>
              <a:gdLst>
                <a:gd name="connsiteX0" fmla="*/ 83387 w 83418"/>
                <a:gd name="connsiteY0" fmla="*/ 24030 h 48164"/>
                <a:gd name="connsiteX1" fmla="*/ 41678 w 83418"/>
                <a:gd name="connsiteY1" fmla="*/ 48113 h 48164"/>
                <a:gd name="connsiteX2" fmla="*/ -32 w 83418"/>
                <a:gd name="connsiteY2" fmla="*/ 24030 h 48164"/>
                <a:gd name="connsiteX3" fmla="*/ 41678 w 83418"/>
                <a:gd name="connsiteY3" fmla="*/ -52 h 48164"/>
                <a:gd name="connsiteX4" fmla="*/ 83387 w 83418"/>
                <a:gd name="connsiteY4" fmla="*/ 24030 h 481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418" h="48164">
                  <a:moveTo>
                    <a:pt x="83387" y="24030"/>
                  </a:moveTo>
                  <a:cubicBezTo>
                    <a:pt x="83387" y="37331"/>
                    <a:pt x="64714" y="48113"/>
                    <a:pt x="41678" y="48113"/>
                  </a:cubicBezTo>
                  <a:cubicBezTo>
                    <a:pt x="18641" y="48113"/>
                    <a:pt x="-32" y="37331"/>
                    <a:pt x="-32" y="24030"/>
                  </a:cubicBezTo>
                  <a:cubicBezTo>
                    <a:pt x="-32" y="10729"/>
                    <a:pt x="18641" y="-52"/>
                    <a:pt x="41678" y="-52"/>
                  </a:cubicBezTo>
                  <a:cubicBezTo>
                    <a:pt x="64714" y="-52"/>
                    <a:pt x="83387" y="10729"/>
                    <a:pt x="83387" y="24030"/>
                  </a:cubicBezTo>
                  <a:close/>
                </a:path>
              </a:pathLst>
            </a:custGeom>
            <a:solidFill>
              <a:srgbClr val="830051"/>
            </a:solid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246" name="Freeform: Shape 503">
              <a:extLst>
                <a:ext uri="{FF2B5EF4-FFF2-40B4-BE49-F238E27FC236}">
                  <a16:creationId xmlns:a16="http://schemas.microsoft.com/office/drawing/2014/main" id="{6595E33B-326F-0DE5-0995-66F3319B580F}"/>
                </a:ext>
              </a:extLst>
            </p:cNvPr>
            <p:cNvSpPr/>
            <p:nvPr/>
          </p:nvSpPr>
          <p:spPr>
            <a:xfrm>
              <a:off x="10490340" y="3967599"/>
              <a:ext cx="72000" cy="72000"/>
            </a:xfrm>
            <a:custGeom>
              <a:avLst/>
              <a:gdLst>
                <a:gd name="connsiteX0" fmla="*/ 83388 w 83419"/>
                <a:gd name="connsiteY0" fmla="*/ 23907 h 48164"/>
                <a:gd name="connsiteX1" fmla="*/ 41892 w 83419"/>
                <a:gd name="connsiteY1" fmla="*/ 48112 h 48164"/>
                <a:gd name="connsiteX2" fmla="*/ -31 w 83419"/>
                <a:gd name="connsiteY2" fmla="*/ 24153 h 48164"/>
                <a:gd name="connsiteX3" fmla="*/ 41465 w 83419"/>
                <a:gd name="connsiteY3" fmla="*/ -52 h 48164"/>
                <a:gd name="connsiteX4" fmla="*/ 41679 w 83419"/>
                <a:gd name="connsiteY4" fmla="*/ -52 h 48164"/>
                <a:gd name="connsiteX5" fmla="*/ 83388 w 83419"/>
                <a:gd name="connsiteY5" fmla="*/ 23907 h 48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419" h="48164">
                  <a:moveTo>
                    <a:pt x="83388" y="23907"/>
                  </a:moveTo>
                  <a:cubicBezTo>
                    <a:pt x="83516" y="37207"/>
                    <a:pt x="64928" y="48038"/>
                    <a:pt x="41892" y="48112"/>
                  </a:cubicBezTo>
                  <a:cubicBezTo>
                    <a:pt x="18856" y="48174"/>
                    <a:pt x="98" y="37454"/>
                    <a:pt x="-31" y="24153"/>
                  </a:cubicBezTo>
                  <a:cubicBezTo>
                    <a:pt x="-138" y="10853"/>
                    <a:pt x="18428" y="22"/>
                    <a:pt x="41465" y="-52"/>
                  </a:cubicBezTo>
                  <a:cubicBezTo>
                    <a:pt x="41529" y="-52"/>
                    <a:pt x="41614" y="-52"/>
                    <a:pt x="41679" y="-52"/>
                  </a:cubicBezTo>
                  <a:cubicBezTo>
                    <a:pt x="64630" y="-52"/>
                    <a:pt x="83281" y="10655"/>
                    <a:pt x="83388" y="23907"/>
                  </a:cubicBezTo>
                  <a:close/>
                </a:path>
              </a:pathLst>
            </a:custGeom>
            <a:solidFill>
              <a:srgbClr val="830051"/>
            </a:solid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247" name="Freeform: Shape 504">
              <a:extLst>
                <a:ext uri="{FF2B5EF4-FFF2-40B4-BE49-F238E27FC236}">
                  <a16:creationId xmlns:a16="http://schemas.microsoft.com/office/drawing/2014/main" id="{BCB7AFD9-1AC8-5488-B683-94B6E196C719}"/>
                </a:ext>
              </a:extLst>
            </p:cNvPr>
            <p:cNvSpPr/>
            <p:nvPr/>
          </p:nvSpPr>
          <p:spPr>
            <a:xfrm>
              <a:off x="10627661" y="3967450"/>
              <a:ext cx="72000" cy="72000"/>
            </a:xfrm>
            <a:custGeom>
              <a:avLst/>
              <a:gdLst>
                <a:gd name="connsiteX0" fmla="*/ 83387 w 83418"/>
                <a:gd name="connsiteY0" fmla="*/ 24030 h 48164"/>
                <a:gd name="connsiteX1" fmla="*/ 41678 w 83418"/>
                <a:gd name="connsiteY1" fmla="*/ 48113 h 48164"/>
                <a:gd name="connsiteX2" fmla="*/ -32 w 83418"/>
                <a:gd name="connsiteY2" fmla="*/ 24030 h 48164"/>
                <a:gd name="connsiteX3" fmla="*/ 41678 w 83418"/>
                <a:gd name="connsiteY3" fmla="*/ -52 h 48164"/>
                <a:gd name="connsiteX4" fmla="*/ 83387 w 83418"/>
                <a:gd name="connsiteY4" fmla="*/ 24030 h 481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418" h="48164">
                  <a:moveTo>
                    <a:pt x="83387" y="24030"/>
                  </a:moveTo>
                  <a:cubicBezTo>
                    <a:pt x="83387" y="37331"/>
                    <a:pt x="64714" y="48113"/>
                    <a:pt x="41678" y="48113"/>
                  </a:cubicBezTo>
                  <a:cubicBezTo>
                    <a:pt x="18641" y="48113"/>
                    <a:pt x="-32" y="37331"/>
                    <a:pt x="-32" y="24030"/>
                  </a:cubicBezTo>
                  <a:cubicBezTo>
                    <a:pt x="-32" y="10729"/>
                    <a:pt x="18641" y="-52"/>
                    <a:pt x="41678" y="-52"/>
                  </a:cubicBezTo>
                  <a:cubicBezTo>
                    <a:pt x="64714" y="-52"/>
                    <a:pt x="83387" y="10729"/>
                    <a:pt x="83387" y="24030"/>
                  </a:cubicBezTo>
                  <a:close/>
                </a:path>
              </a:pathLst>
            </a:custGeom>
            <a:solidFill>
              <a:srgbClr val="830051"/>
            </a:solidFill>
            <a:ln w="21389"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grpSp>
      <p:graphicFrame>
        <p:nvGraphicFramePr>
          <p:cNvPr id="248" name="Table 505">
            <a:extLst>
              <a:ext uri="{FF2B5EF4-FFF2-40B4-BE49-F238E27FC236}">
                <a16:creationId xmlns:a16="http://schemas.microsoft.com/office/drawing/2014/main" id="{8275B0D0-03AB-8DE8-CBE8-EB240683660C}"/>
              </a:ext>
            </a:extLst>
          </p:cNvPr>
          <p:cNvGraphicFramePr>
            <a:graphicFrameLocks noGrp="1"/>
          </p:cNvGraphicFramePr>
          <p:nvPr/>
        </p:nvGraphicFramePr>
        <p:xfrm>
          <a:off x="5007485" y="1310676"/>
          <a:ext cx="6340881" cy="1087120"/>
        </p:xfrm>
        <a:graphic>
          <a:graphicData uri="http://schemas.openxmlformats.org/drawingml/2006/table">
            <a:tbl>
              <a:tblPr firstRow="1" bandRow="1">
                <a:tableStyleId>{284E427A-3D55-4303-BF80-6455036E1DE7}</a:tableStyleId>
              </a:tblPr>
              <a:tblGrid>
                <a:gridCol w="2516137">
                  <a:extLst>
                    <a:ext uri="{9D8B030D-6E8A-4147-A177-3AD203B41FA5}">
                      <a16:colId xmlns:a16="http://schemas.microsoft.com/office/drawing/2014/main" val="683402423"/>
                    </a:ext>
                  </a:extLst>
                </a:gridCol>
                <a:gridCol w="1601827">
                  <a:extLst>
                    <a:ext uri="{9D8B030D-6E8A-4147-A177-3AD203B41FA5}">
                      <a16:colId xmlns:a16="http://schemas.microsoft.com/office/drawing/2014/main" val="1461441399"/>
                    </a:ext>
                  </a:extLst>
                </a:gridCol>
                <a:gridCol w="1203856">
                  <a:extLst>
                    <a:ext uri="{9D8B030D-6E8A-4147-A177-3AD203B41FA5}">
                      <a16:colId xmlns:a16="http://schemas.microsoft.com/office/drawing/2014/main" val="1157028237"/>
                    </a:ext>
                  </a:extLst>
                </a:gridCol>
                <a:gridCol w="1019061">
                  <a:extLst>
                    <a:ext uri="{9D8B030D-6E8A-4147-A177-3AD203B41FA5}">
                      <a16:colId xmlns:a16="http://schemas.microsoft.com/office/drawing/2014/main" val="1986687773"/>
                    </a:ext>
                  </a:extLst>
                </a:gridCol>
              </a:tblGrid>
              <a:tr h="497840">
                <a:tc>
                  <a:txBody>
                    <a:bodyPr/>
                    <a:lstStyle>
                      <a:lvl1pPr marL="0" algn="l" defTabSz="914400" rtl="0" eaLnBrk="1" latinLnBrk="0" hangingPunct="1">
                        <a:defRPr sz="1800" b="1" kern="1200">
                          <a:solidFill>
                            <a:schemeClr val="dk1"/>
                          </a:solidFill>
                          <a:latin typeface="Arial" panose="020B0604020202020204"/>
                        </a:defRPr>
                      </a:lvl1pPr>
                      <a:lvl2pPr marL="457200" algn="l" defTabSz="914400" rtl="0" eaLnBrk="1" latinLnBrk="0" hangingPunct="1">
                        <a:defRPr sz="1800" b="1" kern="1200">
                          <a:solidFill>
                            <a:schemeClr val="dk1"/>
                          </a:solidFill>
                          <a:latin typeface="Arial" panose="020B0604020202020204"/>
                        </a:defRPr>
                      </a:lvl2pPr>
                      <a:lvl3pPr marL="914400" algn="l" defTabSz="914400" rtl="0" eaLnBrk="1" latinLnBrk="0" hangingPunct="1">
                        <a:defRPr sz="1800" b="1" kern="1200">
                          <a:solidFill>
                            <a:schemeClr val="dk1"/>
                          </a:solidFill>
                          <a:latin typeface="Arial" panose="020B0604020202020204"/>
                        </a:defRPr>
                      </a:lvl3pPr>
                      <a:lvl4pPr marL="1371600" algn="l" defTabSz="914400" rtl="0" eaLnBrk="1" latinLnBrk="0" hangingPunct="1">
                        <a:defRPr sz="1800" b="1" kern="1200">
                          <a:solidFill>
                            <a:schemeClr val="dk1"/>
                          </a:solidFill>
                          <a:latin typeface="Arial" panose="020B0604020202020204"/>
                        </a:defRPr>
                      </a:lvl4pPr>
                      <a:lvl5pPr marL="1828800" algn="l" defTabSz="914400" rtl="0" eaLnBrk="1" latinLnBrk="0" hangingPunct="1">
                        <a:defRPr sz="1800" b="1" kern="1200">
                          <a:solidFill>
                            <a:schemeClr val="dk1"/>
                          </a:solidFill>
                          <a:latin typeface="Arial" panose="020B0604020202020204"/>
                        </a:defRPr>
                      </a:lvl5pPr>
                      <a:lvl6pPr marL="2286000" algn="l" defTabSz="914400" rtl="0" eaLnBrk="1" latinLnBrk="0" hangingPunct="1">
                        <a:defRPr sz="1800" b="1" kern="1200">
                          <a:solidFill>
                            <a:schemeClr val="dk1"/>
                          </a:solidFill>
                          <a:latin typeface="Arial" panose="020B0604020202020204"/>
                        </a:defRPr>
                      </a:lvl6pPr>
                      <a:lvl7pPr marL="2743200" algn="l" defTabSz="914400" rtl="0" eaLnBrk="1" latinLnBrk="0" hangingPunct="1">
                        <a:defRPr sz="1800" b="1" kern="1200">
                          <a:solidFill>
                            <a:schemeClr val="dk1"/>
                          </a:solidFill>
                          <a:latin typeface="Arial" panose="020B0604020202020204"/>
                        </a:defRPr>
                      </a:lvl7pPr>
                      <a:lvl8pPr marL="3200400" algn="l" defTabSz="914400" rtl="0" eaLnBrk="1" latinLnBrk="0" hangingPunct="1">
                        <a:defRPr sz="1800" b="1" kern="1200">
                          <a:solidFill>
                            <a:schemeClr val="dk1"/>
                          </a:solidFill>
                          <a:latin typeface="Arial" panose="020B0604020202020204"/>
                        </a:defRPr>
                      </a:lvl8pPr>
                      <a:lvl9pPr marL="3657600" algn="l" defTabSz="914400" rtl="0" eaLnBrk="1" latinLnBrk="0" hangingPunct="1">
                        <a:defRPr sz="1800" b="1" kern="1200">
                          <a:solidFill>
                            <a:schemeClr val="dk1"/>
                          </a:solidFill>
                          <a:latin typeface="Arial" panose="020B0604020202020204"/>
                        </a:defRPr>
                      </a:lvl9pPr>
                    </a:lstStyle>
                    <a:p>
                      <a:pPr>
                        <a:lnSpc>
                          <a:spcPct val="100000"/>
                        </a:lnSpc>
                      </a:pPr>
                      <a:endParaRPr lang="en-US" sz="1300" b="1" i="0" dirty="0">
                        <a:solidFill>
                          <a:schemeClr val="bg1"/>
                        </a:solidFill>
                        <a:latin typeface="Arial Narrow" panose="020B0604020202020204" pitchFamily="34" charset="0"/>
                        <a:cs typeface="Arial Narrow" panose="020B0604020202020204" pitchFamily="34" charset="0"/>
                      </a:endParaRPr>
                    </a:p>
                  </a:txBody>
                  <a:tcPr anchor="ctr"/>
                </a:tc>
                <a:tc>
                  <a:txBody>
                    <a:bodyPr/>
                    <a:lstStyle>
                      <a:lvl1pPr marL="0" algn="l" defTabSz="914400" rtl="0" eaLnBrk="1" latinLnBrk="0" hangingPunct="1">
                        <a:defRPr sz="1800" b="1" kern="1200">
                          <a:solidFill>
                            <a:schemeClr val="dk1"/>
                          </a:solidFill>
                          <a:latin typeface="Arial" panose="020B0604020202020204"/>
                        </a:defRPr>
                      </a:lvl1pPr>
                      <a:lvl2pPr marL="457200" algn="l" defTabSz="914400" rtl="0" eaLnBrk="1" latinLnBrk="0" hangingPunct="1">
                        <a:defRPr sz="1800" b="1" kern="1200">
                          <a:solidFill>
                            <a:schemeClr val="dk1"/>
                          </a:solidFill>
                          <a:latin typeface="Arial" panose="020B0604020202020204"/>
                        </a:defRPr>
                      </a:lvl2pPr>
                      <a:lvl3pPr marL="914400" algn="l" defTabSz="914400" rtl="0" eaLnBrk="1" latinLnBrk="0" hangingPunct="1">
                        <a:defRPr sz="1800" b="1" kern="1200">
                          <a:solidFill>
                            <a:schemeClr val="dk1"/>
                          </a:solidFill>
                          <a:latin typeface="Arial" panose="020B0604020202020204"/>
                        </a:defRPr>
                      </a:lvl3pPr>
                      <a:lvl4pPr marL="1371600" algn="l" defTabSz="914400" rtl="0" eaLnBrk="1" latinLnBrk="0" hangingPunct="1">
                        <a:defRPr sz="1800" b="1" kern="1200">
                          <a:solidFill>
                            <a:schemeClr val="dk1"/>
                          </a:solidFill>
                          <a:latin typeface="Arial" panose="020B0604020202020204"/>
                        </a:defRPr>
                      </a:lvl4pPr>
                      <a:lvl5pPr marL="1828800" algn="l" defTabSz="914400" rtl="0" eaLnBrk="1" latinLnBrk="0" hangingPunct="1">
                        <a:defRPr sz="1800" b="1" kern="1200">
                          <a:solidFill>
                            <a:schemeClr val="dk1"/>
                          </a:solidFill>
                          <a:latin typeface="Arial" panose="020B0604020202020204"/>
                        </a:defRPr>
                      </a:lvl5pPr>
                      <a:lvl6pPr marL="2286000" algn="l" defTabSz="914400" rtl="0" eaLnBrk="1" latinLnBrk="0" hangingPunct="1">
                        <a:defRPr sz="1800" b="1" kern="1200">
                          <a:solidFill>
                            <a:schemeClr val="dk1"/>
                          </a:solidFill>
                          <a:latin typeface="Arial" panose="020B0604020202020204"/>
                        </a:defRPr>
                      </a:lvl6pPr>
                      <a:lvl7pPr marL="2743200" algn="l" defTabSz="914400" rtl="0" eaLnBrk="1" latinLnBrk="0" hangingPunct="1">
                        <a:defRPr sz="1800" b="1" kern="1200">
                          <a:solidFill>
                            <a:schemeClr val="dk1"/>
                          </a:solidFill>
                          <a:latin typeface="Arial" panose="020B0604020202020204"/>
                        </a:defRPr>
                      </a:lvl7pPr>
                      <a:lvl8pPr marL="3200400" algn="l" defTabSz="914400" rtl="0" eaLnBrk="1" latinLnBrk="0" hangingPunct="1">
                        <a:defRPr sz="1800" b="1" kern="1200">
                          <a:solidFill>
                            <a:schemeClr val="dk1"/>
                          </a:solidFill>
                          <a:latin typeface="Arial" panose="020B0604020202020204"/>
                        </a:defRPr>
                      </a:lvl8pPr>
                      <a:lvl9pPr marL="3657600" algn="l" defTabSz="914400" rtl="0" eaLnBrk="1" latinLnBrk="0" hangingPunct="1">
                        <a:defRPr sz="1800" b="1" kern="1200">
                          <a:solidFill>
                            <a:schemeClr val="dk1"/>
                          </a:solidFill>
                          <a:latin typeface="Arial" panose="020B0604020202020204"/>
                        </a:defRPr>
                      </a:lvl9pPr>
                    </a:lstStyle>
                    <a:p>
                      <a:pPr marL="0" algn="ctr" defTabSz="914400" rtl="0" eaLnBrk="1" latinLnBrk="0" hangingPunct="1">
                        <a:lnSpc>
                          <a:spcPct val="100000"/>
                        </a:lnSpc>
                        <a:spcBef>
                          <a:spcPts val="600"/>
                        </a:spcBef>
                        <a:spcAft>
                          <a:spcPts val="200"/>
                        </a:spcAft>
                      </a:pPr>
                      <a:r>
                        <a:rPr lang="en-GB" sz="1300" b="1" i="0" kern="1200" dirty="0">
                          <a:solidFill>
                            <a:schemeClr val="bg1"/>
                          </a:solidFill>
                          <a:latin typeface="Arial Narrow" panose="020B0604020202020204" pitchFamily="34" charset="0"/>
                          <a:cs typeface="Arial Narrow" panose="020B0604020202020204" pitchFamily="34" charset="0"/>
                        </a:rPr>
                        <a:t>Median OS, </a:t>
                      </a:r>
                      <a:br>
                        <a:rPr lang="en-GB" sz="1300" b="1" i="0" kern="1200" dirty="0">
                          <a:solidFill>
                            <a:schemeClr val="bg1"/>
                          </a:solidFill>
                          <a:latin typeface="Arial Narrow" panose="020B0604020202020204" pitchFamily="34" charset="0"/>
                          <a:cs typeface="Arial Narrow" panose="020B0604020202020204" pitchFamily="34" charset="0"/>
                        </a:rPr>
                      </a:br>
                      <a:r>
                        <a:rPr lang="en-GB" sz="1300" b="1" i="0" kern="1200" dirty="0">
                          <a:solidFill>
                            <a:schemeClr val="bg1"/>
                          </a:solidFill>
                          <a:latin typeface="Arial Narrow" panose="020B0604020202020204" pitchFamily="34" charset="0"/>
                          <a:cs typeface="Arial Narrow" panose="020B0604020202020204" pitchFamily="34" charset="0"/>
                        </a:rPr>
                        <a:t>months (95% CI)</a:t>
                      </a:r>
                      <a:endParaRPr lang="en-GB" sz="1300" b="1" i="0" kern="1200" dirty="0">
                        <a:solidFill>
                          <a:schemeClr val="bg1"/>
                        </a:solidFill>
                        <a:latin typeface="Arial Narrow" panose="020B0604020202020204" pitchFamily="34" charset="0"/>
                        <a:ea typeface="+mn-ea"/>
                        <a:cs typeface="Arial Narrow" panose="020B0604020202020204" pitchFamily="34" charset="0"/>
                      </a:endParaRPr>
                    </a:p>
                  </a:txBody>
                  <a:tcPr anchor="ctr"/>
                </a:tc>
                <a:tc>
                  <a:txBody>
                    <a:bodyPr/>
                    <a:lstStyle>
                      <a:lvl1pPr marL="0" algn="l" defTabSz="914400" rtl="0" eaLnBrk="1" latinLnBrk="0" hangingPunct="1">
                        <a:defRPr sz="1800" b="1" kern="1200">
                          <a:solidFill>
                            <a:schemeClr val="dk1"/>
                          </a:solidFill>
                          <a:latin typeface="Arial" panose="020B0604020202020204"/>
                        </a:defRPr>
                      </a:lvl1pPr>
                      <a:lvl2pPr marL="457200" algn="l" defTabSz="914400" rtl="0" eaLnBrk="1" latinLnBrk="0" hangingPunct="1">
                        <a:defRPr sz="1800" b="1" kern="1200">
                          <a:solidFill>
                            <a:schemeClr val="dk1"/>
                          </a:solidFill>
                          <a:latin typeface="Arial" panose="020B0604020202020204"/>
                        </a:defRPr>
                      </a:lvl2pPr>
                      <a:lvl3pPr marL="914400" algn="l" defTabSz="914400" rtl="0" eaLnBrk="1" latinLnBrk="0" hangingPunct="1">
                        <a:defRPr sz="1800" b="1" kern="1200">
                          <a:solidFill>
                            <a:schemeClr val="dk1"/>
                          </a:solidFill>
                          <a:latin typeface="Arial" panose="020B0604020202020204"/>
                        </a:defRPr>
                      </a:lvl3pPr>
                      <a:lvl4pPr marL="1371600" algn="l" defTabSz="914400" rtl="0" eaLnBrk="1" latinLnBrk="0" hangingPunct="1">
                        <a:defRPr sz="1800" b="1" kern="1200">
                          <a:solidFill>
                            <a:schemeClr val="dk1"/>
                          </a:solidFill>
                          <a:latin typeface="Arial" panose="020B0604020202020204"/>
                        </a:defRPr>
                      </a:lvl4pPr>
                      <a:lvl5pPr marL="1828800" algn="l" defTabSz="914400" rtl="0" eaLnBrk="1" latinLnBrk="0" hangingPunct="1">
                        <a:defRPr sz="1800" b="1" kern="1200">
                          <a:solidFill>
                            <a:schemeClr val="dk1"/>
                          </a:solidFill>
                          <a:latin typeface="Arial" panose="020B0604020202020204"/>
                        </a:defRPr>
                      </a:lvl5pPr>
                      <a:lvl6pPr marL="2286000" algn="l" defTabSz="914400" rtl="0" eaLnBrk="1" latinLnBrk="0" hangingPunct="1">
                        <a:defRPr sz="1800" b="1" kern="1200">
                          <a:solidFill>
                            <a:schemeClr val="dk1"/>
                          </a:solidFill>
                          <a:latin typeface="Arial" panose="020B0604020202020204"/>
                        </a:defRPr>
                      </a:lvl6pPr>
                      <a:lvl7pPr marL="2743200" algn="l" defTabSz="914400" rtl="0" eaLnBrk="1" latinLnBrk="0" hangingPunct="1">
                        <a:defRPr sz="1800" b="1" kern="1200">
                          <a:solidFill>
                            <a:schemeClr val="dk1"/>
                          </a:solidFill>
                          <a:latin typeface="Arial" panose="020B0604020202020204"/>
                        </a:defRPr>
                      </a:lvl7pPr>
                      <a:lvl8pPr marL="3200400" algn="l" defTabSz="914400" rtl="0" eaLnBrk="1" latinLnBrk="0" hangingPunct="1">
                        <a:defRPr sz="1800" b="1" kern="1200">
                          <a:solidFill>
                            <a:schemeClr val="dk1"/>
                          </a:solidFill>
                          <a:latin typeface="Arial" panose="020B0604020202020204"/>
                        </a:defRPr>
                      </a:lvl8pPr>
                      <a:lvl9pPr marL="3657600" algn="l" defTabSz="914400" rtl="0" eaLnBrk="1" latinLnBrk="0" hangingPunct="1">
                        <a:defRPr sz="1800" b="1" kern="1200">
                          <a:solidFill>
                            <a:schemeClr val="dk1"/>
                          </a:solidFill>
                          <a:latin typeface="Arial" panose="020B0604020202020204"/>
                        </a:defRPr>
                      </a:lvl9pPr>
                    </a:lstStyle>
                    <a:p>
                      <a:pPr algn="ctr">
                        <a:lnSpc>
                          <a:spcPct val="100000"/>
                        </a:lnSpc>
                        <a:spcBef>
                          <a:spcPts val="600"/>
                        </a:spcBef>
                        <a:spcAft>
                          <a:spcPts val="200"/>
                        </a:spcAft>
                      </a:pPr>
                      <a:r>
                        <a:rPr lang="en-GB" sz="1300" b="1" i="0" dirty="0">
                          <a:solidFill>
                            <a:schemeClr val="bg1"/>
                          </a:solidFill>
                          <a:effectLst/>
                          <a:latin typeface="Arial Narrow" panose="020B0604020202020204" pitchFamily="34" charset="0"/>
                          <a:cs typeface="Arial Narrow" panose="020B0604020202020204" pitchFamily="34" charset="0"/>
                        </a:rPr>
                        <a:t>Hazard ratio </a:t>
                      </a:r>
                      <a:br>
                        <a:rPr lang="en-GB" sz="1300" b="1" i="0" dirty="0">
                          <a:solidFill>
                            <a:schemeClr val="bg1"/>
                          </a:solidFill>
                          <a:effectLst/>
                          <a:latin typeface="Arial Narrow" panose="020B0604020202020204" pitchFamily="34" charset="0"/>
                          <a:cs typeface="Arial Narrow" panose="020B0604020202020204" pitchFamily="34" charset="0"/>
                        </a:rPr>
                      </a:br>
                      <a:r>
                        <a:rPr lang="en-GB" sz="1300" b="1" i="0" dirty="0">
                          <a:solidFill>
                            <a:schemeClr val="bg1"/>
                          </a:solidFill>
                          <a:effectLst/>
                          <a:latin typeface="Arial Narrow" panose="020B0604020202020204" pitchFamily="34" charset="0"/>
                          <a:cs typeface="Arial Narrow" panose="020B0604020202020204" pitchFamily="34" charset="0"/>
                        </a:rPr>
                        <a:t>(95% CI)</a:t>
                      </a:r>
                      <a:endParaRPr lang="en-GB" sz="1900" b="1" i="0" dirty="0">
                        <a:solidFill>
                          <a:schemeClr val="bg1"/>
                        </a:solidFill>
                        <a:effectLst/>
                        <a:latin typeface="Arial Narrow" panose="020B0604020202020204" pitchFamily="34" charset="0"/>
                        <a:ea typeface="Calibri" panose="020F0502020204030204" pitchFamily="34" charset="0"/>
                        <a:cs typeface="Arial Narrow" panose="020B0604020202020204" pitchFamily="34" charset="0"/>
                      </a:endParaRPr>
                    </a:p>
                  </a:txBody>
                  <a:tcPr anchor="ctr"/>
                </a:tc>
                <a:tc>
                  <a:txBody>
                    <a:bodyPr/>
                    <a:lstStyle>
                      <a:lvl1pPr marL="0" algn="l" defTabSz="914400" rtl="0" eaLnBrk="1" latinLnBrk="0" hangingPunct="1">
                        <a:defRPr sz="1800" b="1" kern="1200">
                          <a:solidFill>
                            <a:schemeClr val="dk1"/>
                          </a:solidFill>
                          <a:latin typeface="Arial" panose="020B0604020202020204"/>
                        </a:defRPr>
                      </a:lvl1pPr>
                      <a:lvl2pPr marL="457200" algn="l" defTabSz="914400" rtl="0" eaLnBrk="1" latinLnBrk="0" hangingPunct="1">
                        <a:defRPr sz="1800" b="1" kern="1200">
                          <a:solidFill>
                            <a:schemeClr val="dk1"/>
                          </a:solidFill>
                          <a:latin typeface="Arial" panose="020B0604020202020204"/>
                        </a:defRPr>
                      </a:lvl2pPr>
                      <a:lvl3pPr marL="914400" algn="l" defTabSz="914400" rtl="0" eaLnBrk="1" latinLnBrk="0" hangingPunct="1">
                        <a:defRPr sz="1800" b="1" kern="1200">
                          <a:solidFill>
                            <a:schemeClr val="dk1"/>
                          </a:solidFill>
                          <a:latin typeface="Arial" panose="020B0604020202020204"/>
                        </a:defRPr>
                      </a:lvl3pPr>
                      <a:lvl4pPr marL="1371600" algn="l" defTabSz="914400" rtl="0" eaLnBrk="1" latinLnBrk="0" hangingPunct="1">
                        <a:defRPr sz="1800" b="1" kern="1200">
                          <a:solidFill>
                            <a:schemeClr val="dk1"/>
                          </a:solidFill>
                          <a:latin typeface="Arial" panose="020B0604020202020204"/>
                        </a:defRPr>
                      </a:lvl4pPr>
                      <a:lvl5pPr marL="1828800" algn="l" defTabSz="914400" rtl="0" eaLnBrk="1" latinLnBrk="0" hangingPunct="1">
                        <a:defRPr sz="1800" b="1" kern="1200">
                          <a:solidFill>
                            <a:schemeClr val="dk1"/>
                          </a:solidFill>
                          <a:latin typeface="Arial" panose="020B0604020202020204"/>
                        </a:defRPr>
                      </a:lvl5pPr>
                      <a:lvl6pPr marL="2286000" algn="l" defTabSz="914400" rtl="0" eaLnBrk="1" latinLnBrk="0" hangingPunct="1">
                        <a:defRPr sz="1800" b="1" kern="1200">
                          <a:solidFill>
                            <a:schemeClr val="dk1"/>
                          </a:solidFill>
                          <a:latin typeface="Arial" panose="020B0604020202020204"/>
                        </a:defRPr>
                      </a:lvl6pPr>
                      <a:lvl7pPr marL="2743200" algn="l" defTabSz="914400" rtl="0" eaLnBrk="1" latinLnBrk="0" hangingPunct="1">
                        <a:defRPr sz="1800" b="1" kern="1200">
                          <a:solidFill>
                            <a:schemeClr val="dk1"/>
                          </a:solidFill>
                          <a:latin typeface="Arial" panose="020B0604020202020204"/>
                        </a:defRPr>
                      </a:lvl7pPr>
                      <a:lvl8pPr marL="3200400" algn="l" defTabSz="914400" rtl="0" eaLnBrk="1" latinLnBrk="0" hangingPunct="1">
                        <a:defRPr sz="1800" b="1" kern="1200">
                          <a:solidFill>
                            <a:schemeClr val="dk1"/>
                          </a:solidFill>
                          <a:latin typeface="Arial" panose="020B0604020202020204"/>
                        </a:defRPr>
                      </a:lvl8pPr>
                      <a:lvl9pPr marL="3657600" algn="l" defTabSz="914400" rtl="0" eaLnBrk="1" latinLnBrk="0" hangingPunct="1">
                        <a:defRPr sz="1800" b="1" kern="1200">
                          <a:solidFill>
                            <a:schemeClr val="dk1"/>
                          </a:solidFill>
                          <a:latin typeface="Arial" panose="020B0604020202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300" b="1" i="0" dirty="0">
                          <a:solidFill>
                            <a:schemeClr val="bg1"/>
                          </a:solidFill>
                          <a:effectLst/>
                          <a:latin typeface="Arial Narrow" panose="020B0604020202020204" pitchFamily="34" charset="0"/>
                          <a:cs typeface="Arial Narrow" panose="020B0604020202020204" pitchFamily="34" charset="0"/>
                        </a:rPr>
                        <a:t>p-value</a:t>
                      </a:r>
                      <a:endParaRPr lang="en-GB" sz="1900" b="1" i="0" dirty="0">
                        <a:solidFill>
                          <a:schemeClr val="bg1"/>
                        </a:solidFill>
                        <a:effectLst/>
                        <a:latin typeface="Arial Narrow" panose="020B0604020202020204" pitchFamily="34" charset="0"/>
                        <a:ea typeface="Calibri" panose="020F0502020204030204" pitchFamily="34" charset="0"/>
                        <a:cs typeface="Arial Narrow" panose="020B0604020202020204" pitchFamily="34" charset="0"/>
                      </a:endParaRPr>
                    </a:p>
                  </a:txBody>
                  <a:tcPr anchor="ctr"/>
                </a:tc>
                <a:extLst>
                  <a:ext uri="{0D108BD9-81ED-4DB2-BD59-A6C34878D82A}">
                    <a16:rowId xmlns:a16="http://schemas.microsoft.com/office/drawing/2014/main" val="3856136383"/>
                  </a:ext>
                </a:extLst>
              </a:tr>
              <a:tr h="294640">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nSpc>
                          <a:spcPct val="100000"/>
                        </a:lnSpc>
                      </a:pPr>
                      <a:r>
                        <a:rPr lang="en-US" sz="1300" b="1" i="0" dirty="0">
                          <a:solidFill>
                            <a:schemeClr val="bg1"/>
                          </a:solidFill>
                          <a:latin typeface="Arial Narrow" panose="020B0604020202020204" pitchFamily="34" charset="0"/>
                          <a:cs typeface="Arial Narrow" panose="020B0604020202020204" pitchFamily="34" charset="0"/>
                        </a:rPr>
                        <a:t>Durvalumab + </a:t>
                      </a:r>
                      <a:r>
                        <a:rPr lang="en-US" sz="1300" b="1" i="0" dirty="0" err="1">
                          <a:solidFill>
                            <a:schemeClr val="bg1"/>
                          </a:solidFill>
                          <a:latin typeface="Arial Narrow" panose="020B0604020202020204" pitchFamily="34" charset="0"/>
                          <a:cs typeface="Arial Narrow" panose="020B0604020202020204" pitchFamily="34" charset="0"/>
                        </a:rPr>
                        <a:t>GemCis</a:t>
                      </a:r>
                      <a:r>
                        <a:rPr lang="en-US" sz="1300" b="1" i="0" baseline="30000" dirty="0" err="1">
                          <a:solidFill>
                            <a:schemeClr val="bg1"/>
                          </a:solidFill>
                          <a:latin typeface="Arial Narrow" panose="020B0604020202020204" pitchFamily="34" charset="0"/>
                          <a:cs typeface="Arial Narrow" panose="020B0604020202020204" pitchFamily="34" charset="0"/>
                        </a:rPr>
                        <a:t>a</a:t>
                      </a:r>
                      <a:r>
                        <a:rPr lang="en-US" sz="1300" b="1" i="0" dirty="0">
                          <a:solidFill>
                            <a:schemeClr val="bg1"/>
                          </a:solidFill>
                          <a:latin typeface="Arial Narrow" panose="020B0604020202020204" pitchFamily="34" charset="0"/>
                          <a:cs typeface="Arial Narrow" panose="020B0604020202020204" pitchFamily="34" charset="0"/>
                        </a:rPr>
                        <a:t> (n=341)</a:t>
                      </a:r>
                    </a:p>
                  </a:txBody>
                  <a:tcPr anchor="ct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algn="ctr" defTabSz="914400" rtl="0" eaLnBrk="1" latinLnBrk="0" hangingPunct="1">
                        <a:lnSpc>
                          <a:spcPct val="100000"/>
                        </a:lnSpc>
                        <a:spcBef>
                          <a:spcPts val="600"/>
                        </a:spcBef>
                        <a:spcAft>
                          <a:spcPts val="600"/>
                        </a:spcAft>
                      </a:pPr>
                      <a:r>
                        <a:rPr lang="en-GB" sz="1300" b="1" i="0" kern="1200" dirty="0">
                          <a:solidFill>
                            <a:schemeClr val="bg1"/>
                          </a:solidFill>
                          <a:effectLst/>
                          <a:latin typeface="Arial Narrow" panose="020B0604020202020204" pitchFamily="34" charset="0"/>
                          <a:cs typeface="Arial Narrow" panose="020B0604020202020204" pitchFamily="34" charset="0"/>
                        </a:rPr>
                        <a:t>12.8 (11.1–14.0)</a:t>
                      </a:r>
                      <a:endParaRPr lang="en-GB" sz="1300" b="1" i="0" kern="1200" dirty="0">
                        <a:solidFill>
                          <a:schemeClr val="bg1"/>
                        </a:solidFill>
                        <a:effectLst/>
                        <a:latin typeface="Arial Narrow" panose="020B0604020202020204" pitchFamily="34" charset="0"/>
                        <a:ea typeface="+mn-ea"/>
                        <a:cs typeface="Arial Narrow" panose="020B0604020202020204" pitchFamily="34" charset="0"/>
                      </a:endParaRPr>
                    </a:p>
                  </a:txBody>
                  <a:tcPr anchor="ctr"/>
                </a:tc>
                <a:tc rowSpan="2">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lnSpc>
                          <a:spcPct val="100000"/>
                        </a:lnSpc>
                        <a:spcBef>
                          <a:spcPts val="0"/>
                        </a:spcBef>
                        <a:spcAft>
                          <a:spcPts val="0"/>
                        </a:spcAft>
                      </a:pPr>
                      <a:r>
                        <a:rPr lang="en-US" sz="1300" b="1" i="0" dirty="0">
                          <a:solidFill>
                            <a:schemeClr val="bg1"/>
                          </a:solidFill>
                          <a:effectLst/>
                          <a:latin typeface="Arial Narrow" panose="020B0604020202020204" pitchFamily="34" charset="0"/>
                          <a:cs typeface="Arial Narrow" panose="020B0604020202020204" pitchFamily="34" charset="0"/>
                        </a:rPr>
                        <a:t>0.80</a:t>
                      </a:r>
                    </a:p>
                    <a:p>
                      <a:pPr algn="ctr">
                        <a:lnSpc>
                          <a:spcPct val="100000"/>
                        </a:lnSpc>
                        <a:spcBef>
                          <a:spcPts val="0"/>
                        </a:spcBef>
                        <a:spcAft>
                          <a:spcPts val="0"/>
                        </a:spcAft>
                      </a:pPr>
                      <a:r>
                        <a:rPr lang="en-US" sz="1300" b="1" i="0" dirty="0">
                          <a:solidFill>
                            <a:schemeClr val="bg1"/>
                          </a:solidFill>
                          <a:effectLst/>
                          <a:latin typeface="Arial Narrow" panose="020B0604020202020204" pitchFamily="34" charset="0"/>
                          <a:cs typeface="Arial Narrow" panose="020B0604020202020204" pitchFamily="34" charset="0"/>
                        </a:rPr>
                        <a:t>(0.66–0.97)</a:t>
                      </a:r>
                    </a:p>
                  </a:txBody>
                  <a:tcPr anchor="ctr"/>
                </a:tc>
                <a:tc rowSpan="2">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lnSpc>
                          <a:spcPct val="100000"/>
                        </a:lnSpc>
                        <a:spcBef>
                          <a:spcPts val="600"/>
                        </a:spcBef>
                        <a:spcAft>
                          <a:spcPts val="600"/>
                        </a:spcAft>
                      </a:pPr>
                      <a:r>
                        <a:rPr lang="en-GB" sz="1300" b="1" i="0" dirty="0">
                          <a:solidFill>
                            <a:schemeClr val="bg1"/>
                          </a:solidFill>
                          <a:effectLst/>
                          <a:latin typeface="Arial Narrow" panose="020B0604020202020204" pitchFamily="34" charset="0"/>
                          <a:cs typeface="Arial Narrow" panose="020B0604020202020204" pitchFamily="34" charset="0"/>
                        </a:rPr>
                        <a:t>0.021</a:t>
                      </a:r>
                      <a:endParaRPr lang="en-GB" sz="1300" b="1" i="0" dirty="0">
                        <a:solidFill>
                          <a:schemeClr val="bg1"/>
                        </a:solidFill>
                        <a:effectLst/>
                        <a:latin typeface="Arial Narrow" panose="020B0604020202020204" pitchFamily="34" charset="0"/>
                        <a:ea typeface="Calibri" panose="020F0502020204030204" pitchFamily="34" charset="0"/>
                        <a:cs typeface="Arial Narrow" panose="020B0604020202020204" pitchFamily="34" charset="0"/>
                      </a:endParaRPr>
                    </a:p>
                  </a:txBody>
                  <a:tcPr anchor="ctr"/>
                </a:tc>
                <a:extLst>
                  <a:ext uri="{0D108BD9-81ED-4DB2-BD59-A6C34878D82A}">
                    <a16:rowId xmlns:a16="http://schemas.microsoft.com/office/drawing/2014/main" val="2595467933"/>
                  </a:ext>
                </a:extLst>
              </a:tr>
              <a:tr h="294640">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nSpc>
                          <a:spcPct val="100000"/>
                        </a:lnSpc>
                      </a:pPr>
                      <a:r>
                        <a:rPr lang="pt-BR" sz="1300" b="0" dirty="0">
                          <a:solidFill>
                            <a:schemeClr val="bg1"/>
                          </a:solidFill>
                        </a:rPr>
                        <a:t>Placebo + </a:t>
                      </a:r>
                      <a:r>
                        <a:rPr lang="pt-BR" sz="1300" b="0" dirty="0" err="1">
                          <a:solidFill>
                            <a:schemeClr val="bg1"/>
                          </a:solidFill>
                        </a:rPr>
                        <a:t>GemCis</a:t>
                      </a:r>
                      <a:r>
                        <a:rPr lang="pt-BR" sz="1300" b="0" baseline="30000" dirty="0" err="1">
                          <a:solidFill>
                            <a:schemeClr val="bg1"/>
                          </a:solidFill>
                        </a:rPr>
                        <a:t>a</a:t>
                      </a:r>
                      <a:r>
                        <a:rPr lang="pt-BR" sz="1300" b="0" dirty="0">
                          <a:solidFill>
                            <a:schemeClr val="bg1"/>
                          </a:solidFill>
                        </a:rPr>
                        <a:t> (n=344)</a:t>
                      </a:r>
                      <a:endParaRPr lang="pt-BR" sz="1300" b="0" i="0" dirty="0">
                        <a:solidFill>
                          <a:schemeClr val="bg1"/>
                        </a:solidFill>
                        <a:latin typeface="Arial Narrow" panose="020B0604020202020204" pitchFamily="34" charset="0"/>
                        <a:cs typeface="Arial Narrow" panose="020B0604020202020204" pitchFamily="34" charset="0"/>
                      </a:endParaRPr>
                    </a:p>
                  </a:txBody>
                  <a:tcPr anchor="ct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algn="ctr" defTabSz="914400" rtl="0" eaLnBrk="1" latinLnBrk="0" hangingPunct="1">
                        <a:lnSpc>
                          <a:spcPct val="100000"/>
                        </a:lnSpc>
                        <a:spcBef>
                          <a:spcPts val="600"/>
                        </a:spcBef>
                        <a:spcAft>
                          <a:spcPts val="600"/>
                        </a:spcAft>
                      </a:pPr>
                      <a:r>
                        <a:rPr lang="en-GB" sz="1300" b="0" kern="1200" dirty="0">
                          <a:solidFill>
                            <a:schemeClr val="bg1"/>
                          </a:solidFill>
                          <a:effectLst/>
                        </a:rPr>
                        <a:t>11.5 (10.1–12.5)</a:t>
                      </a:r>
                      <a:endParaRPr lang="en-GB" sz="1300" b="0" i="0" kern="1200" dirty="0">
                        <a:solidFill>
                          <a:schemeClr val="bg1"/>
                        </a:solidFill>
                        <a:effectLst/>
                        <a:latin typeface="Arial Narrow" panose="020B0604020202020204" pitchFamily="34" charset="0"/>
                        <a:ea typeface="+mn-ea"/>
                        <a:cs typeface="Arial Narrow" panose="020B0604020202020204" pitchFamily="34" charset="0"/>
                      </a:endParaRPr>
                    </a:p>
                  </a:txBody>
                  <a:tcPr anchor="ctr"/>
                </a:tc>
                <a:tc vMerge="1">
                  <a:txBody>
                    <a:bodyPr/>
                    <a:lstStyle/>
                    <a:p>
                      <a:pPr algn="ctr">
                        <a:lnSpc>
                          <a:spcPct val="100000"/>
                        </a:lnSpc>
                        <a:spcBef>
                          <a:spcPts val="0"/>
                        </a:spcBef>
                        <a:spcAft>
                          <a:spcPts val="0"/>
                        </a:spcAft>
                      </a:pPr>
                      <a:r>
                        <a:rPr lang="en-US" sz="1200">
                          <a:effectLst/>
                        </a:rPr>
                        <a:t>168 (48.8)</a:t>
                      </a:r>
                      <a:endParaRPr lang="en-GB" sz="1200">
                        <a:effectLst/>
                        <a:latin typeface="+mn-lt"/>
                        <a:ea typeface="Calibri" panose="020F0502020204030204" pitchFamily="34" charset="0"/>
                        <a:cs typeface="Times New Roman" panose="02020603050405020304" pitchFamily="18" charset="0"/>
                      </a:endParaRPr>
                    </a:p>
                  </a:txBody>
                  <a:tcPr anchor="ctr"/>
                </a:tc>
                <a:tc vMerge="1">
                  <a:txBody>
                    <a:bodyPr/>
                    <a:lstStyle/>
                    <a:p>
                      <a:pPr algn="ctr">
                        <a:lnSpc>
                          <a:spcPct val="100000"/>
                        </a:lnSpc>
                        <a:spcBef>
                          <a:spcPts val="0"/>
                        </a:spcBef>
                        <a:spcAft>
                          <a:spcPts val="0"/>
                        </a:spcAft>
                      </a:pPr>
                      <a:endParaRPr lang="en-GB" sz="1200">
                        <a:effectLst/>
                        <a:latin typeface="+mn-lt"/>
                        <a:ea typeface="Calibri" panose="020F0502020204030204" pitchFamily="34" charset="0"/>
                        <a:cs typeface="Times New Roman" panose="02020603050405020304" pitchFamily="18" charset="0"/>
                      </a:endParaRPr>
                    </a:p>
                  </a:txBody>
                  <a:tcPr anchor="ctr"/>
                </a:tc>
                <a:extLst>
                  <a:ext uri="{0D108BD9-81ED-4DB2-BD59-A6C34878D82A}">
                    <a16:rowId xmlns:a16="http://schemas.microsoft.com/office/drawing/2014/main" val="2060301772"/>
                  </a:ext>
                </a:extLst>
              </a:tr>
            </a:tbl>
          </a:graphicData>
        </a:graphic>
      </p:graphicFrame>
      <p:sp>
        <p:nvSpPr>
          <p:cNvPr id="249" name="TextBox 508">
            <a:extLst>
              <a:ext uri="{FF2B5EF4-FFF2-40B4-BE49-F238E27FC236}">
                <a16:creationId xmlns:a16="http://schemas.microsoft.com/office/drawing/2014/main" id="{C6C133AD-9CAD-ED3D-8002-D9D79691E8CF}"/>
              </a:ext>
            </a:extLst>
          </p:cNvPr>
          <p:cNvSpPr txBox="1"/>
          <p:nvPr/>
        </p:nvSpPr>
        <p:spPr>
          <a:xfrm>
            <a:off x="2522539" y="5311763"/>
            <a:ext cx="8884920" cy="296684"/>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 typeface="Arial"/>
              <a:buNone/>
              <a:tabLst/>
              <a:defRPr/>
            </a:pPr>
            <a:r>
              <a:rPr kumimoji="0" lang="en-GB" sz="1328"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HelveticaNeueCE-Roman"/>
                <a:rtl val="0"/>
              </a:rPr>
              <a:t>Time from randomization (months)</a:t>
            </a:r>
          </a:p>
        </p:txBody>
      </p:sp>
      <p:grpSp>
        <p:nvGrpSpPr>
          <p:cNvPr id="250" name="Group 4">
            <a:extLst>
              <a:ext uri="{FF2B5EF4-FFF2-40B4-BE49-F238E27FC236}">
                <a16:creationId xmlns:a16="http://schemas.microsoft.com/office/drawing/2014/main" id="{EAE6498A-BFDD-684C-DD47-47BA2339FB41}"/>
              </a:ext>
            </a:extLst>
          </p:cNvPr>
          <p:cNvGrpSpPr/>
          <p:nvPr/>
        </p:nvGrpSpPr>
        <p:grpSpPr>
          <a:xfrm>
            <a:off x="6156300" y="2700813"/>
            <a:ext cx="4330888" cy="646596"/>
            <a:chOff x="6271872" y="2829333"/>
            <a:chExt cx="4330887" cy="646595"/>
          </a:xfrm>
        </p:grpSpPr>
        <p:sp>
          <p:nvSpPr>
            <p:cNvPr id="251" name="TextBox 506">
              <a:extLst>
                <a:ext uri="{FF2B5EF4-FFF2-40B4-BE49-F238E27FC236}">
                  <a16:creationId xmlns:a16="http://schemas.microsoft.com/office/drawing/2014/main" id="{B1A90790-2D47-2932-D49A-8EF5C7D10DF3}"/>
                </a:ext>
              </a:extLst>
            </p:cNvPr>
            <p:cNvSpPr txBox="1"/>
            <p:nvPr/>
          </p:nvSpPr>
          <p:spPr>
            <a:xfrm>
              <a:off x="9805746" y="2829598"/>
              <a:ext cx="797013" cy="646330"/>
            </a:xfrm>
            <a:prstGeom prst="rect">
              <a:avLst/>
            </a:prstGeom>
            <a:solidFill>
              <a:srgbClr val="F0F0F0"/>
            </a:solidFill>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 typeface="Arial"/>
                <a:buNone/>
                <a:tabLst/>
                <a:defRPr/>
              </a:pPr>
              <a:r>
                <a:rPr kumimoji="0" lang="en-GB" sz="12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HelveticaNeueCE-Roman"/>
                  <a:rtl val="0"/>
                </a:rPr>
                <a:t>24-mo OS:</a:t>
              </a:r>
            </a:p>
            <a:p>
              <a:pPr marL="0" marR="0" lvl="0" indent="0" algn="ctr" defTabSz="914377" rtl="0" eaLnBrk="1" fontAlgn="auto" latinLnBrk="0" hangingPunct="1">
                <a:lnSpc>
                  <a:spcPct val="100000"/>
                </a:lnSpc>
                <a:spcBef>
                  <a:spcPts val="0"/>
                </a:spcBef>
                <a:spcAft>
                  <a:spcPts val="0"/>
                </a:spcAft>
                <a:buClrTx/>
                <a:buSzTx/>
                <a:buFont typeface="Arial"/>
                <a:buNone/>
                <a:tabLst/>
                <a:defRPr/>
              </a:pPr>
              <a:r>
                <a:rPr kumimoji="0" lang="en-GB" sz="1200" b="0" i="0" u="none" strike="noStrike" kern="0" cap="none" spc="0" normalizeH="0" baseline="0" noProof="0">
                  <a:ln>
                    <a:noFill/>
                  </a:ln>
                  <a:solidFill>
                    <a:srgbClr val="830051"/>
                  </a:solidFill>
                  <a:effectLst/>
                  <a:uLnTx/>
                  <a:uFillTx/>
                  <a:latin typeface="Arial Narrow" panose="020B0604020202020204" pitchFamily="34" charset="0"/>
                  <a:cs typeface="Arial Narrow" panose="020B0604020202020204" pitchFamily="34" charset="0"/>
                  <a:sym typeface="HelveticaNeueCE-Roman"/>
                  <a:rtl val="0"/>
                </a:rPr>
                <a:t>24.9%</a:t>
              </a:r>
            </a:p>
            <a:p>
              <a:pPr marL="0" marR="0" lvl="0" indent="0" algn="ctr" defTabSz="914377" rtl="0" eaLnBrk="1" fontAlgn="auto" latinLnBrk="0" hangingPunct="1">
                <a:lnSpc>
                  <a:spcPct val="100000"/>
                </a:lnSpc>
                <a:spcBef>
                  <a:spcPts val="0"/>
                </a:spcBef>
                <a:spcAft>
                  <a:spcPts val="0"/>
                </a:spcAft>
                <a:buClrTx/>
                <a:buSzTx/>
                <a:buFont typeface="Arial"/>
                <a:buNone/>
                <a:tabLst/>
                <a:defRPr/>
              </a:pPr>
              <a:r>
                <a:rPr kumimoji="0" lang="en-GB" sz="1200" b="0" i="0" u="none" strike="noStrike" kern="0" cap="none" spc="0" normalizeH="0" baseline="0" noProof="0">
                  <a:ln>
                    <a:noFill/>
                  </a:ln>
                  <a:solidFill>
                    <a:srgbClr val="A5A5A5">
                      <a:lumMod val="50000"/>
                    </a:srgbClr>
                  </a:solidFill>
                  <a:effectLst/>
                  <a:uLnTx/>
                  <a:uFillTx/>
                  <a:latin typeface="Arial Narrow" panose="020B0604020202020204" pitchFamily="34" charset="0"/>
                  <a:cs typeface="Arial Narrow" panose="020B0604020202020204" pitchFamily="34" charset="0"/>
                  <a:sym typeface="HelveticaNeueCE-Roman"/>
                  <a:rtl val="0"/>
                </a:rPr>
                <a:t>10.4%</a:t>
              </a:r>
            </a:p>
          </p:txBody>
        </p:sp>
        <p:sp>
          <p:nvSpPr>
            <p:cNvPr id="252" name="TextBox 507">
              <a:extLst>
                <a:ext uri="{FF2B5EF4-FFF2-40B4-BE49-F238E27FC236}">
                  <a16:creationId xmlns:a16="http://schemas.microsoft.com/office/drawing/2014/main" id="{6D2CB076-B598-F469-902B-F57193D6E1EF}"/>
                </a:ext>
              </a:extLst>
            </p:cNvPr>
            <p:cNvSpPr txBox="1"/>
            <p:nvPr/>
          </p:nvSpPr>
          <p:spPr>
            <a:xfrm>
              <a:off x="8022138" y="2829598"/>
              <a:ext cx="797013" cy="646330"/>
            </a:xfrm>
            <a:prstGeom prst="rect">
              <a:avLst/>
            </a:prstGeom>
            <a:solidFill>
              <a:srgbClr val="F0F0F0"/>
            </a:solidFill>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 typeface="Arial"/>
                <a:buNone/>
                <a:tabLst/>
                <a:defRPr/>
              </a:pPr>
              <a:r>
                <a:rPr kumimoji="0" lang="en-GB" sz="12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HelveticaNeueCE-Roman"/>
                  <a:rtl val="0"/>
                </a:rPr>
                <a:t>18-mo OS:</a:t>
              </a:r>
            </a:p>
            <a:p>
              <a:pPr marL="0" marR="0" lvl="0" indent="0" algn="ctr" defTabSz="914377" rtl="0" eaLnBrk="1" fontAlgn="auto" latinLnBrk="0" hangingPunct="1">
                <a:lnSpc>
                  <a:spcPct val="100000"/>
                </a:lnSpc>
                <a:spcBef>
                  <a:spcPts val="0"/>
                </a:spcBef>
                <a:spcAft>
                  <a:spcPts val="0"/>
                </a:spcAft>
                <a:buClrTx/>
                <a:buSzTx/>
                <a:buFont typeface="Arial"/>
                <a:buNone/>
                <a:tabLst/>
                <a:defRPr/>
              </a:pPr>
              <a:r>
                <a:rPr kumimoji="0" lang="en-GB" sz="1200" b="0" i="0" u="none" strike="noStrike" kern="0" cap="none" spc="0" normalizeH="0" baseline="0" noProof="0">
                  <a:ln>
                    <a:noFill/>
                  </a:ln>
                  <a:solidFill>
                    <a:srgbClr val="830051"/>
                  </a:solidFill>
                  <a:effectLst/>
                  <a:uLnTx/>
                  <a:uFillTx/>
                  <a:latin typeface="Arial Narrow" panose="020B0604020202020204" pitchFamily="34" charset="0"/>
                  <a:cs typeface="Arial Narrow" panose="020B0604020202020204" pitchFamily="34" charset="0"/>
                  <a:sym typeface="HelveticaNeueCE-Roman"/>
                  <a:rtl val="0"/>
                </a:rPr>
                <a:t>35.1%</a:t>
              </a:r>
            </a:p>
            <a:p>
              <a:pPr marL="0" marR="0" lvl="0" indent="0" algn="ctr" defTabSz="914377" rtl="0" eaLnBrk="1" fontAlgn="auto" latinLnBrk="0" hangingPunct="1">
                <a:lnSpc>
                  <a:spcPct val="100000"/>
                </a:lnSpc>
                <a:spcBef>
                  <a:spcPts val="0"/>
                </a:spcBef>
                <a:spcAft>
                  <a:spcPts val="0"/>
                </a:spcAft>
                <a:buClrTx/>
                <a:buSzTx/>
                <a:buFont typeface="Arial"/>
                <a:buNone/>
                <a:tabLst/>
                <a:defRPr/>
              </a:pPr>
              <a:r>
                <a:rPr kumimoji="0" lang="en-GB" sz="1200" b="0" i="0" u="none" strike="noStrike" kern="0" cap="none" spc="0" normalizeH="0" baseline="0" noProof="0">
                  <a:ln>
                    <a:noFill/>
                  </a:ln>
                  <a:solidFill>
                    <a:srgbClr val="A5A5A5">
                      <a:lumMod val="50000"/>
                    </a:srgbClr>
                  </a:solidFill>
                  <a:effectLst/>
                  <a:uLnTx/>
                  <a:uFillTx/>
                  <a:latin typeface="Arial Narrow" panose="020B0604020202020204" pitchFamily="34" charset="0"/>
                  <a:cs typeface="Arial Narrow" panose="020B0604020202020204" pitchFamily="34" charset="0"/>
                  <a:sym typeface="HelveticaNeueCE-Roman"/>
                  <a:rtl val="0"/>
                </a:rPr>
                <a:t>25.6%</a:t>
              </a:r>
            </a:p>
          </p:txBody>
        </p:sp>
        <p:sp>
          <p:nvSpPr>
            <p:cNvPr id="253" name="TextBox 509">
              <a:extLst>
                <a:ext uri="{FF2B5EF4-FFF2-40B4-BE49-F238E27FC236}">
                  <a16:creationId xmlns:a16="http://schemas.microsoft.com/office/drawing/2014/main" id="{0A2CF811-2789-5A5D-B932-535452104D75}"/>
                </a:ext>
              </a:extLst>
            </p:cNvPr>
            <p:cNvSpPr txBox="1"/>
            <p:nvPr/>
          </p:nvSpPr>
          <p:spPr>
            <a:xfrm>
              <a:off x="6271872" y="2829333"/>
              <a:ext cx="797013" cy="646330"/>
            </a:xfrm>
            <a:prstGeom prst="rect">
              <a:avLst/>
            </a:prstGeom>
            <a:solidFill>
              <a:srgbClr val="F0F0F0"/>
            </a:solidFill>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 typeface="Arial"/>
                <a:buNone/>
                <a:tabLst/>
                <a:defRPr/>
              </a:pPr>
              <a:r>
                <a:rPr kumimoji="0" lang="en-GB" sz="12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HelveticaNeueCE-Roman"/>
                  <a:rtl val="0"/>
                </a:rPr>
                <a:t>12-mo OS:</a:t>
              </a:r>
            </a:p>
            <a:p>
              <a:pPr marL="0" marR="0" lvl="0" indent="0" algn="ctr" defTabSz="914377" rtl="0" eaLnBrk="1" fontAlgn="auto" latinLnBrk="0" hangingPunct="1">
                <a:lnSpc>
                  <a:spcPct val="100000"/>
                </a:lnSpc>
                <a:spcBef>
                  <a:spcPts val="0"/>
                </a:spcBef>
                <a:spcAft>
                  <a:spcPts val="0"/>
                </a:spcAft>
                <a:buClrTx/>
                <a:buSzTx/>
                <a:buFont typeface="Arial"/>
                <a:buNone/>
                <a:tabLst/>
                <a:defRPr/>
              </a:pPr>
              <a:r>
                <a:rPr kumimoji="0" lang="en-GB" sz="1200" b="0" i="0" u="none" strike="noStrike" kern="0" cap="none" spc="0" normalizeH="0" baseline="0" noProof="0">
                  <a:ln>
                    <a:noFill/>
                  </a:ln>
                  <a:solidFill>
                    <a:srgbClr val="830051"/>
                  </a:solidFill>
                  <a:effectLst/>
                  <a:uLnTx/>
                  <a:uFillTx/>
                  <a:latin typeface="Arial Narrow" panose="020B0604020202020204" pitchFamily="34" charset="0"/>
                  <a:cs typeface="Arial Narrow" panose="020B0604020202020204" pitchFamily="34" charset="0"/>
                  <a:sym typeface="HelveticaNeueCE-Roman"/>
                  <a:rtl val="0"/>
                </a:rPr>
                <a:t>54.1%</a:t>
              </a:r>
            </a:p>
            <a:p>
              <a:pPr marL="0" marR="0" lvl="0" indent="0" algn="ctr" defTabSz="914377" rtl="0" eaLnBrk="1" fontAlgn="auto" latinLnBrk="0" hangingPunct="1">
                <a:lnSpc>
                  <a:spcPct val="100000"/>
                </a:lnSpc>
                <a:spcBef>
                  <a:spcPts val="0"/>
                </a:spcBef>
                <a:spcAft>
                  <a:spcPts val="0"/>
                </a:spcAft>
                <a:buClrTx/>
                <a:buSzTx/>
                <a:buFont typeface="Arial"/>
                <a:buNone/>
                <a:tabLst/>
                <a:defRPr/>
              </a:pPr>
              <a:r>
                <a:rPr kumimoji="0" lang="en-GB" sz="1200" b="0" i="0" u="none" strike="noStrike" kern="0" cap="none" spc="0" normalizeH="0" baseline="0" noProof="0">
                  <a:ln>
                    <a:noFill/>
                  </a:ln>
                  <a:solidFill>
                    <a:srgbClr val="A5A5A5">
                      <a:lumMod val="50000"/>
                    </a:srgbClr>
                  </a:solidFill>
                  <a:effectLst/>
                  <a:uLnTx/>
                  <a:uFillTx/>
                  <a:latin typeface="Arial Narrow" panose="020B0604020202020204" pitchFamily="34" charset="0"/>
                  <a:cs typeface="Arial Narrow" panose="020B0604020202020204" pitchFamily="34" charset="0"/>
                  <a:sym typeface="HelveticaNeueCE-Roman"/>
                  <a:rtl val="0"/>
                </a:rPr>
                <a:t>48.0%</a:t>
              </a:r>
            </a:p>
          </p:txBody>
        </p:sp>
      </p:grpSp>
      <p:grpSp>
        <p:nvGrpSpPr>
          <p:cNvPr id="254" name="Group 510">
            <a:extLst>
              <a:ext uri="{FF2B5EF4-FFF2-40B4-BE49-F238E27FC236}">
                <a16:creationId xmlns:a16="http://schemas.microsoft.com/office/drawing/2014/main" id="{7A51DB1B-1476-9D8F-63B1-AEA540961BE4}"/>
              </a:ext>
            </a:extLst>
          </p:cNvPr>
          <p:cNvGrpSpPr/>
          <p:nvPr/>
        </p:nvGrpSpPr>
        <p:grpSpPr>
          <a:xfrm>
            <a:off x="2242251" y="2127247"/>
            <a:ext cx="72000" cy="2904636"/>
            <a:chOff x="2330198" y="2100231"/>
            <a:chExt cx="72000" cy="2904636"/>
          </a:xfrm>
        </p:grpSpPr>
        <p:sp>
          <p:nvSpPr>
            <p:cNvPr id="255" name="Freeform: Shape 511">
              <a:extLst>
                <a:ext uri="{FF2B5EF4-FFF2-40B4-BE49-F238E27FC236}">
                  <a16:creationId xmlns:a16="http://schemas.microsoft.com/office/drawing/2014/main" id="{D956E65D-3183-1E70-372F-6C4635DA7A29}"/>
                </a:ext>
              </a:extLst>
            </p:cNvPr>
            <p:cNvSpPr/>
            <p:nvPr/>
          </p:nvSpPr>
          <p:spPr>
            <a:xfrm>
              <a:off x="2330198" y="4990052"/>
              <a:ext cx="72000" cy="14815"/>
            </a:xfrm>
            <a:custGeom>
              <a:avLst/>
              <a:gdLst>
                <a:gd name="connsiteX0" fmla="*/ 121278 w 121278"/>
                <a:gd name="connsiteY0" fmla="*/ 0 h 12349"/>
                <a:gd name="connsiteX1" fmla="*/ 0 w 121278"/>
                <a:gd name="connsiteY1" fmla="*/ 0 h 12349"/>
              </a:gdLst>
              <a:ahLst/>
              <a:cxnLst>
                <a:cxn ang="0">
                  <a:pos x="connsiteX0" y="connsiteY0"/>
                </a:cxn>
                <a:cxn ang="0">
                  <a:pos x="connsiteX1" y="connsiteY1"/>
                </a:cxn>
              </a:cxnLst>
              <a:rect l="l" t="t" r="r" b="b"/>
              <a:pathLst>
                <a:path w="121278" h="12349">
                  <a:moveTo>
                    <a:pt x="121278" y="0"/>
                  </a:moveTo>
                  <a:lnTo>
                    <a:pt x="0" y="0"/>
                  </a:lnTo>
                </a:path>
              </a:pathLst>
            </a:custGeom>
            <a:ln w="19050" cap="flat">
              <a:solidFill>
                <a:srgbClr val="002557"/>
              </a:solid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256" name="Freeform: Shape 512">
              <a:extLst>
                <a:ext uri="{FF2B5EF4-FFF2-40B4-BE49-F238E27FC236}">
                  <a16:creationId xmlns:a16="http://schemas.microsoft.com/office/drawing/2014/main" id="{2FF8CA80-BA18-2C42-20E9-47D6240BA49E}"/>
                </a:ext>
              </a:extLst>
            </p:cNvPr>
            <p:cNvSpPr/>
            <p:nvPr/>
          </p:nvSpPr>
          <p:spPr>
            <a:xfrm>
              <a:off x="2330198" y="4701284"/>
              <a:ext cx="72000" cy="14815"/>
            </a:xfrm>
            <a:custGeom>
              <a:avLst/>
              <a:gdLst>
                <a:gd name="connsiteX0" fmla="*/ 121278 w 121278"/>
                <a:gd name="connsiteY0" fmla="*/ 0 h 12349"/>
                <a:gd name="connsiteX1" fmla="*/ 0 w 121278"/>
                <a:gd name="connsiteY1" fmla="*/ 0 h 12349"/>
              </a:gdLst>
              <a:ahLst/>
              <a:cxnLst>
                <a:cxn ang="0">
                  <a:pos x="connsiteX0" y="connsiteY0"/>
                </a:cxn>
                <a:cxn ang="0">
                  <a:pos x="connsiteX1" y="connsiteY1"/>
                </a:cxn>
              </a:cxnLst>
              <a:rect l="l" t="t" r="r" b="b"/>
              <a:pathLst>
                <a:path w="121278" h="12349">
                  <a:moveTo>
                    <a:pt x="121278" y="0"/>
                  </a:moveTo>
                  <a:lnTo>
                    <a:pt x="0" y="0"/>
                  </a:lnTo>
                </a:path>
              </a:pathLst>
            </a:custGeom>
            <a:ln w="19050" cap="flat">
              <a:solidFill>
                <a:srgbClr val="002557"/>
              </a:solid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257" name="Freeform: Shape 513">
              <a:extLst>
                <a:ext uri="{FF2B5EF4-FFF2-40B4-BE49-F238E27FC236}">
                  <a16:creationId xmlns:a16="http://schemas.microsoft.com/office/drawing/2014/main" id="{1EE8B325-D56B-A47C-8F77-E7B885F1F292}"/>
                </a:ext>
              </a:extLst>
            </p:cNvPr>
            <p:cNvSpPr/>
            <p:nvPr/>
          </p:nvSpPr>
          <p:spPr>
            <a:xfrm>
              <a:off x="2330198" y="4412664"/>
              <a:ext cx="72000" cy="14815"/>
            </a:xfrm>
            <a:custGeom>
              <a:avLst/>
              <a:gdLst>
                <a:gd name="connsiteX0" fmla="*/ 121278 w 121278"/>
                <a:gd name="connsiteY0" fmla="*/ 0 h 12349"/>
                <a:gd name="connsiteX1" fmla="*/ 0 w 121278"/>
                <a:gd name="connsiteY1" fmla="*/ 0 h 12349"/>
              </a:gdLst>
              <a:ahLst/>
              <a:cxnLst>
                <a:cxn ang="0">
                  <a:pos x="connsiteX0" y="connsiteY0"/>
                </a:cxn>
                <a:cxn ang="0">
                  <a:pos x="connsiteX1" y="connsiteY1"/>
                </a:cxn>
              </a:cxnLst>
              <a:rect l="l" t="t" r="r" b="b"/>
              <a:pathLst>
                <a:path w="121278" h="12349">
                  <a:moveTo>
                    <a:pt x="121278" y="0"/>
                  </a:moveTo>
                  <a:lnTo>
                    <a:pt x="0" y="0"/>
                  </a:lnTo>
                </a:path>
              </a:pathLst>
            </a:custGeom>
            <a:ln w="19050" cap="flat">
              <a:solidFill>
                <a:srgbClr val="002557"/>
              </a:solid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258" name="Freeform: Shape 514">
              <a:extLst>
                <a:ext uri="{FF2B5EF4-FFF2-40B4-BE49-F238E27FC236}">
                  <a16:creationId xmlns:a16="http://schemas.microsoft.com/office/drawing/2014/main" id="{84F93D7B-39A5-2757-ACFB-D65863292DA4}"/>
                </a:ext>
              </a:extLst>
            </p:cNvPr>
            <p:cNvSpPr/>
            <p:nvPr/>
          </p:nvSpPr>
          <p:spPr>
            <a:xfrm>
              <a:off x="2330198" y="4124044"/>
              <a:ext cx="72000" cy="14815"/>
            </a:xfrm>
            <a:custGeom>
              <a:avLst/>
              <a:gdLst>
                <a:gd name="connsiteX0" fmla="*/ 121278 w 121278"/>
                <a:gd name="connsiteY0" fmla="*/ 0 h 12349"/>
                <a:gd name="connsiteX1" fmla="*/ 0 w 121278"/>
                <a:gd name="connsiteY1" fmla="*/ 0 h 12349"/>
              </a:gdLst>
              <a:ahLst/>
              <a:cxnLst>
                <a:cxn ang="0">
                  <a:pos x="connsiteX0" y="connsiteY0"/>
                </a:cxn>
                <a:cxn ang="0">
                  <a:pos x="connsiteX1" y="connsiteY1"/>
                </a:cxn>
              </a:cxnLst>
              <a:rect l="l" t="t" r="r" b="b"/>
              <a:pathLst>
                <a:path w="121278" h="12349">
                  <a:moveTo>
                    <a:pt x="121278" y="0"/>
                  </a:moveTo>
                  <a:lnTo>
                    <a:pt x="0" y="0"/>
                  </a:lnTo>
                </a:path>
              </a:pathLst>
            </a:custGeom>
            <a:ln w="19050" cap="flat">
              <a:solidFill>
                <a:srgbClr val="002557"/>
              </a:solid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259" name="Freeform: Shape 515">
              <a:extLst>
                <a:ext uri="{FF2B5EF4-FFF2-40B4-BE49-F238E27FC236}">
                  <a16:creationId xmlns:a16="http://schemas.microsoft.com/office/drawing/2014/main" id="{FBDA8472-A677-612C-F49C-B008A022952D}"/>
                </a:ext>
              </a:extLst>
            </p:cNvPr>
            <p:cNvSpPr/>
            <p:nvPr/>
          </p:nvSpPr>
          <p:spPr>
            <a:xfrm>
              <a:off x="2330198" y="3835275"/>
              <a:ext cx="72000" cy="14815"/>
            </a:xfrm>
            <a:custGeom>
              <a:avLst/>
              <a:gdLst>
                <a:gd name="connsiteX0" fmla="*/ 121278 w 121278"/>
                <a:gd name="connsiteY0" fmla="*/ 0 h 12349"/>
                <a:gd name="connsiteX1" fmla="*/ 0 w 121278"/>
                <a:gd name="connsiteY1" fmla="*/ 0 h 12349"/>
              </a:gdLst>
              <a:ahLst/>
              <a:cxnLst>
                <a:cxn ang="0">
                  <a:pos x="connsiteX0" y="connsiteY0"/>
                </a:cxn>
                <a:cxn ang="0">
                  <a:pos x="connsiteX1" y="connsiteY1"/>
                </a:cxn>
              </a:cxnLst>
              <a:rect l="l" t="t" r="r" b="b"/>
              <a:pathLst>
                <a:path w="121278" h="12349">
                  <a:moveTo>
                    <a:pt x="121278" y="0"/>
                  </a:moveTo>
                  <a:lnTo>
                    <a:pt x="0" y="0"/>
                  </a:lnTo>
                </a:path>
              </a:pathLst>
            </a:custGeom>
            <a:ln w="19050" cap="flat">
              <a:solidFill>
                <a:srgbClr val="002557"/>
              </a:solid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260" name="Freeform: Shape 516">
              <a:extLst>
                <a:ext uri="{FF2B5EF4-FFF2-40B4-BE49-F238E27FC236}">
                  <a16:creationId xmlns:a16="http://schemas.microsoft.com/office/drawing/2014/main" id="{F21B942A-1427-759F-10D5-A9F39770BD81}"/>
                </a:ext>
              </a:extLst>
            </p:cNvPr>
            <p:cNvSpPr/>
            <p:nvPr/>
          </p:nvSpPr>
          <p:spPr>
            <a:xfrm>
              <a:off x="2330198" y="3546656"/>
              <a:ext cx="72000" cy="14815"/>
            </a:xfrm>
            <a:custGeom>
              <a:avLst/>
              <a:gdLst>
                <a:gd name="connsiteX0" fmla="*/ 121278 w 121278"/>
                <a:gd name="connsiteY0" fmla="*/ 0 h 12349"/>
                <a:gd name="connsiteX1" fmla="*/ 0 w 121278"/>
                <a:gd name="connsiteY1" fmla="*/ 0 h 12349"/>
              </a:gdLst>
              <a:ahLst/>
              <a:cxnLst>
                <a:cxn ang="0">
                  <a:pos x="connsiteX0" y="connsiteY0"/>
                </a:cxn>
                <a:cxn ang="0">
                  <a:pos x="connsiteX1" y="connsiteY1"/>
                </a:cxn>
              </a:cxnLst>
              <a:rect l="l" t="t" r="r" b="b"/>
              <a:pathLst>
                <a:path w="121278" h="12349">
                  <a:moveTo>
                    <a:pt x="121278" y="0"/>
                  </a:moveTo>
                  <a:lnTo>
                    <a:pt x="0" y="0"/>
                  </a:lnTo>
                </a:path>
              </a:pathLst>
            </a:custGeom>
            <a:ln w="19050" cap="flat">
              <a:solidFill>
                <a:srgbClr val="002557"/>
              </a:solid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261" name="Freeform: Shape 517">
              <a:extLst>
                <a:ext uri="{FF2B5EF4-FFF2-40B4-BE49-F238E27FC236}">
                  <a16:creationId xmlns:a16="http://schemas.microsoft.com/office/drawing/2014/main" id="{4310C255-F2BC-CC40-77E8-843A02B3611F}"/>
                </a:ext>
              </a:extLst>
            </p:cNvPr>
            <p:cNvSpPr/>
            <p:nvPr/>
          </p:nvSpPr>
          <p:spPr>
            <a:xfrm>
              <a:off x="2330198" y="3258035"/>
              <a:ext cx="72000" cy="14815"/>
            </a:xfrm>
            <a:custGeom>
              <a:avLst/>
              <a:gdLst>
                <a:gd name="connsiteX0" fmla="*/ 121278 w 121278"/>
                <a:gd name="connsiteY0" fmla="*/ 0 h 12349"/>
                <a:gd name="connsiteX1" fmla="*/ 0 w 121278"/>
                <a:gd name="connsiteY1" fmla="*/ 0 h 12349"/>
              </a:gdLst>
              <a:ahLst/>
              <a:cxnLst>
                <a:cxn ang="0">
                  <a:pos x="connsiteX0" y="connsiteY0"/>
                </a:cxn>
                <a:cxn ang="0">
                  <a:pos x="connsiteX1" y="connsiteY1"/>
                </a:cxn>
              </a:cxnLst>
              <a:rect l="l" t="t" r="r" b="b"/>
              <a:pathLst>
                <a:path w="121278" h="12349">
                  <a:moveTo>
                    <a:pt x="121278" y="0"/>
                  </a:moveTo>
                  <a:lnTo>
                    <a:pt x="0" y="0"/>
                  </a:lnTo>
                </a:path>
              </a:pathLst>
            </a:custGeom>
            <a:ln w="19050" cap="flat">
              <a:solidFill>
                <a:srgbClr val="002557"/>
              </a:solid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262" name="Freeform: Shape 518">
              <a:extLst>
                <a:ext uri="{FF2B5EF4-FFF2-40B4-BE49-F238E27FC236}">
                  <a16:creationId xmlns:a16="http://schemas.microsoft.com/office/drawing/2014/main" id="{E28C208B-70A5-6BB9-3F35-40ACD2FA5318}"/>
                </a:ext>
              </a:extLst>
            </p:cNvPr>
            <p:cNvSpPr/>
            <p:nvPr/>
          </p:nvSpPr>
          <p:spPr>
            <a:xfrm>
              <a:off x="2330198" y="2969416"/>
              <a:ext cx="72000" cy="14815"/>
            </a:xfrm>
            <a:custGeom>
              <a:avLst/>
              <a:gdLst>
                <a:gd name="connsiteX0" fmla="*/ 121278 w 121278"/>
                <a:gd name="connsiteY0" fmla="*/ 0 h 12349"/>
                <a:gd name="connsiteX1" fmla="*/ 0 w 121278"/>
                <a:gd name="connsiteY1" fmla="*/ 0 h 12349"/>
              </a:gdLst>
              <a:ahLst/>
              <a:cxnLst>
                <a:cxn ang="0">
                  <a:pos x="connsiteX0" y="connsiteY0"/>
                </a:cxn>
                <a:cxn ang="0">
                  <a:pos x="connsiteX1" y="connsiteY1"/>
                </a:cxn>
              </a:cxnLst>
              <a:rect l="l" t="t" r="r" b="b"/>
              <a:pathLst>
                <a:path w="121278" h="12349">
                  <a:moveTo>
                    <a:pt x="121278" y="0"/>
                  </a:moveTo>
                  <a:lnTo>
                    <a:pt x="0" y="0"/>
                  </a:lnTo>
                </a:path>
              </a:pathLst>
            </a:custGeom>
            <a:ln w="19050" cap="flat">
              <a:solidFill>
                <a:srgbClr val="002557"/>
              </a:solid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263" name="Freeform: Shape 519">
              <a:extLst>
                <a:ext uri="{FF2B5EF4-FFF2-40B4-BE49-F238E27FC236}">
                  <a16:creationId xmlns:a16="http://schemas.microsoft.com/office/drawing/2014/main" id="{34734BE4-2278-D078-173D-A45267BD1FCD}"/>
                </a:ext>
              </a:extLst>
            </p:cNvPr>
            <p:cNvSpPr/>
            <p:nvPr/>
          </p:nvSpPr>
          <p:spPr>
            <a:xfrm>
              <a:off x="2330198" y="2680647"/>
              <a:ext cx="72000" cy="14815"/>
            </a:xfrm>
            <a:custGeom>
              <a:avLst/>
              <a:gdLst>
                <a:gd name="connsiteX0" fmla="*/ 121278 w 121278"/>
                <a:gd name="connsiteY0" fmla="*/ 0 h 12349"/>
                <a:gd name="connsiteX1" fmla="*/ 0 w 121278"/>
                <a:gd name="connsiteY1" fmla="*/ 0 h 12349"/>
              </a:gdLst>
              <a:ahLst/>
              <a:cxnLst>
                <a:cxn ang="0">
                  <a:pos x="connsiteX0" y="connsiteY0"/>
                </a:cxn>
                <a:cxn ang="0">
                  <a:pos x="connsiteX1" y="connsiteY1"/>
                </a:cxn>
              </a:cxnLst>
              <a:rect l="l" t="t" r="r" b="b"/>
              <a:pathLst>
                <a:path w="121278" h="12349">
                  <a:moveTo>
                    <a:pt x="121278" y="0"/>
                  </a:moveTo>
                  <a:lnTo>
                    <a:pt x="0" y="0"/>
                  </a:lnTo>
                </a:path>
              </a:pathLst>
            </a:custGeom>
            <a:ln w="19050" cap="flat">
              <a:solidFill>
                <a:srgbClr val="002557"/>
              </a:solid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264" name="Freeform: Shape 520">
              <a:extLst>
                <a:ext uri="{FF2B5EF4-FFF2-40B4-BE49-F238E27FC236}">
                  <a16:creationId xmlns:a16="http://schemas.microsoft.com/office/drawing/2014/main" id="{8B7EBA37-B05B-153C-B07B-60723C0042FB}"/>
                </a:ext>
              </a:extLst>
            </p:cNvPr>
            <p:cNvSpPr/>
            <p:nvPr/>
          </p:nvSpPr>
          <p:spPr>
            <a:xfrm>
              <a:off x="2330198" y="2392027"/>
              <a:ext cx="72000" cy="14815"/>
            </a:xfrm>
            <a:custGeom>
              <a:avLst/>
              <a:gdLst>
                <a:gd name="connsiteX0" fmla="*/ 121278 w 121278"/>
                <a:gd name="connsiteY0" fmla="*/ 0 h 12349"/>
                <a:gd name="connsiteX1" fmla="*/ 0 w 121278"/>
                <a:gd name="connsiteY1" fmla="*/ 0 h 12349"/>
              </a:gdLst>
              <a:ahLst/>
              <a:cxnLst>
                <a:cxn ang="0">
                  <a:pos x="connsiteX0" y="connsiteY0"/>
                </a:cxn>
                <a:cxn ang="0">
                  <a:pos x="connsiteX1" y="connsiteY1"/>
                </a:cxn>
              </a:cxnLst>
              <a:rect l="l" t="t" r="r" b="b"/>
              <a:pathLst>
                <a:path w="121278" h="12349">
                  <a:moveTo>
                    <a:pt x="121278" y="0"/>
                  </a:moveTo>
                  <a:lnTo>
                    <a:pt x="0" y="0"/>
                  </a:lnTo>
                </a:path>
              </a:pathLst>
            </a:custGeom>
            <a:ln w="19050" cap="flat">
              <a:solidFill>
                <a:srgbClr val="002557"/>
              </a:solid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265" name="Freeform: Shape 521">
              <a:extLst>
                <a:ext uri="{FF2B5EF4-FFF2-40B4-BE49-F238E27FC236}">
                  <a16:creationId xmlns:a16="http://schemas.microsoft.com/office/drawing/2014/main" id="{577FFAB2-BAD4-E72E-C72D-3C867F2F6675}"/>
                </a:ext>
              </a:extLst>
            </p:cNvPr>
            <p:cNvSpPr/>
            <p:nvPr/>
          </p:nvSpPr>
          <p:spPr>
            <a:xfrm>
              <a:off x="2330198" y="2100231"/>
              <a:ext cx="72000" cy="14815"/>
            </a:xfrm>
            <a:custGeom>
              <a:avLst/>
              <a:gdLst>
                <a:gd name="connsiteX0" fmla="*/ 121278 w 121278"/>
                <a:gd name="connsiteY0" fmla="*/ 0 h 12349"/>
                <a:gd name="connsiteX1" fmla="*/ 0 w 121278"/>
                <a:gd name="connsiteY1" fmla="*/ 0 h 12349"/>
              </a:gdLst>
              <a:ahLst/>
              <a:cxnLst>
                <a:cxn ang="0">
                  <a:pos x="connsiteX0" y="connsiteY0"/>
                </a:cxn>
                <a:cxn ang="0">
                  <a:pos x="connsiteX1" y="connsiteY1"/>
                </a:cxn>
              </a:cxnLst>
              <a:rect l="l" t="t" r="r" b="b"/>
              <a:pathLst>
                <a:path w="121278" h="12349">
                  <a:moveTo>
                    <a:pt x="121278" y="0"/>
                  </a:moveTo>
                  <a:lnTo>
                    <a:pt x="0" y="0"/>
                  </a:lnTo>
                </a:path>
              </a:pathLst>
            </a:custGeom>
            <a:ln w="19050" cap="flat">
              <a:solidFill>
                <a:srgbClr val="002557"/>
              </a:solid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grpSp>
      <p:sp>
        <p:nvSpPr>
          <p:cNvPr id="266" name="Freeform: Shape 522">
            <a:extLst>
              <a:ext uri="{FF2B5EF4-FFF2-40B4-BE49-F238E27FC236}">
                <a16:creationId xmlns:a16="http://schemas.microsoft.com/office/drawing/2014/main" id="{67D61BA3-CEC1-9158-88CB-EEA0252BBFB1}"/>
              </a:ext>
            </a:extLst>
          </p:cNvPr>
          <p:cNvSpPr/>
          <p:nvPr/>
        </p:nvSpPr>
        <p:spPr>
          <a:xfrm>
            <a:off x="2320115" y="2122517"/>
            <a:ext cx="9093600" cy="2965671"/>
          </a:xfrm>
          <a:custGeom>
            <a:avLst/>
            <a:gdLst>
              <a:gd name="connsiteX0" fmla="*/ 0 w 9083895"/>
              <a:gd name="connsiteY0" fmla="*/ 0 h 2465405"/>
              <a:gd name="connsiteX1" fmla="*/ 0 w 9083895"/>
              <a:gd name="connsiteY1" fmla="*/ 2465406 h 2465405"/>
              <a:gd name="connsiteX2" fmla="*/ 9083896 w 9083895"/>
              <a:gd name="connsiteY2" fmla="*/ 2465406 h 2465405"/>
            </a:gdLst>
            <a:ahLst/>
            <a:cxnLst>
              <a:cxn ang="0">
                <a:pos x="connsiteX0" y="connsiteY0"/>
              </a:cxn>
              <a:cxn ang="0">
                <a:pos x="connsiteX1" y="connsiteY1"/>
              </a:cxn>
              <a:cxn ang="0">
                <a:pos x="connsiteX2" y="connsiteY2"/>
              </a:cxn>
            </a:cxnLst>
            <a:rect l="l" t="t" r="r" b="b"/>
            <a:pathLst>
              <a:path w="9083895" h="2465405">
                <a:moveTo>
                  <a:pt x="0" y="0"/>
                </a:moveTo>
                <a:lnTo>
                  <a:pt x="0" y="2465406"/>
                </a:lnTo>
                <a:lnTo>
                  <a:pt x="9083896" y="2465406"/>
                </a:lnTo>
              </a:path>
            </a:pathLst>
          </a:custGeom>
          <a:ln w="19050" cap="flat">
            <a:solidFill>
              <a:srgbClr val="002557"/>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377" rtl="0" eaLnBrk="1" fontAlgn="auto" latinLnBrk="0" hangingPunct="1">
              <a:lnSpc>
                <a:spcPct val="100000"/>
              </a:lnSpc>
              <a:spcBef>
                <a:spcPts val="0"/>
              </a:spcBef>
              <a:spcAft>
                <a:spcPts val="0"/>
              </a:spcAft>
              <a:buClrTx/>
              <a:buSzTx/>
              <a:buFont typeface="Arial"/>
              <a:buNone/>
              <a:tabLst/>
              <a:defRPr/>
            </a:pPr>
            <a:endParaRPr kumimoji="0" lang="en-GB" sz="18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Arial"/>
            </a:endParaRPr>
          </a:p>
        </p:txBody>
      </p:sp>
      <p:sp>
        <p:nvSpPr>
          <p:cNvPr id="267" name="TextBox 526">
            <a:extLst>
              <a:ext uri="{FF2B5EF4-FFF2-40B4-BE49-F238E27FC236}">
                <a16:creationId xmlns:a16="http://schemas.microsoft.com/office/drawing/2014/main" id="{E6104027-98C2-F6BE-6569-498EC8DED2F6}"/>
              </a:ext>
            </a:extLst>
          </p:cNvPr>
          <p:cNvSpPr txBox="1"/>
          <p:nvPr/>
        </p:nvSpPr>
        <p:spPr>
          <a:xfrm>
            <a:off x="4645682" y="3871472"/>
            <a:ext cx="1054776" cy="553998"/>
          </a:xfrm>
          <a:prstGeom prst="rect">
            <a:avLst/>
          </a:prstGeom>
          <a:noFill/>
        </p:spPr>
        <p:txBody>
          <a:bodyPr wrap="none" lIns="0" tIns="0" rIns="0" bIns="0" rtlCol="0">
            <a:spAutoFit/>
          </a:bodyPr>
          <a:lstStyle/>
          <a:p>
            <a:pPr marL="0" marR="0" lvl="0" indent="0" algn="ctr" defTabSz="914377" rtl="0" eaLnBrk="1" fontAlgn="auto" latinLnBrk="0" hangingPunct="1">
              <a:lnSpc>
                <a:spcPct val="100000"/>
              </a:lnSpc>
              <a:spcBef>
                <a:spcPts val="0"/>
              </a:spcBef>
              <a:spcAft>
                <a:spcPts val="0"/>
              </a:spcAft>
              <a:buClrTx/>
              <a:buSzTx/>
              <a:buFont typeface="Arial"/>
              <a:buNone/>
              <a:tabLst/>
              <a:defRPr/>
            </a:pPr>
            <a:r>
              <a:rPr kumimoji="0" lang="en-GB" sz="12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HelveticaNeueCE-Roman"/>
                <a:rtl val="0"/>
              </a:rPr>
              <a:t>HR for time after </a:t>
            </a:r>
            <a:br>
              <a:rPr kumimoji="0" lang="en-GB" sz="12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HelveticaNeueCE-Roman"/>
                <a:rtl val="0"/>
              </a:rPr>
            </a:br>
            <a:r>
              <a:rPr kumimoji="0" lang="en-GB" sz="12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HelveticaNeueCE-Roman"/>
                <a:rtl val="0"/>
              </a:rPr>
              <a:t>6 months (95% CI)</a:t>
            </a:r>
          </a:p>
          <a:p>
            <a:pPr marL="0" marR="0" lvl="0" indent="0" algn="ctr" defTabSz="914377" rtl="0" eaLnBrk="1" fontAlgn="auto" latinLnBrk="0" hangingPunct="1">
              <a:lnSpc>
                <a:spcPct val="100000"/>
              </a:lnSpc>
              <a:spcBef>
                <a:spcPts val="0"/>
              </a:spcBef>
              <a:spcAft>
                <a:spcPts val="0"/>
              </a:spcAft>
              <a:buClrTx/>
              <a:buSzTx/>
              <a:buFont typeface="Arial"/>
              <a:buNone/>
              <a:tabLst/>
              <a:defRPr/>
            </a:pPr>
            <a:r>
              <a:rPr kumimoji="0" lang="en-GB" sz="1200" b="0" i="0" u="none" strike="noStrike" kern="0" cap="none" spc="0" normalizeH="0" baseline="0" noProof="0">
                <a:ln>
                  <a:noFill/>
                </a:ln>
                <a:solidFill>
                  <a:prstClr val="black"/>
                </a:solidFill>
                <a:effectLst/>
                <a:uLnTx/>
                <a:uFillTx/>
                <a:latin typeface="Arial Narrow" panose="020B0604020202020204" pitchFamily="34" charset="0"/>
                <a:cs typeface="Arial Narrow" panose="020B0604020202020204" pitchFamily="34" charset="0"/>
                <a:sym typeface="HelveticaNeueCE-Roman"/>
                <a:rtl val="0"/>
              </a:rPr>
              <a:t>0.74 (0.58–0.94)</a:t>
            </a:r>
          </a:p>
        </p:txBody>
      </p:sp>
      <p:cxnSp>
        <p:nvCxnSpPr>
          <p:cNvPr id="268" name="Straight Connector 527">
            <a:extLst>
              <a:ext uri="{FF2B5EF4-FFF2-40B4-BE49-F238E27FC236}">
                <a16:creationId xmlns:a16="http://schemas.microsoft.com/office/drawing/2014/main" id="{CA186F61-8DD9-490B-8388-C4F6FD578062}"/>
              </a:ext>
            </a:extLst>
          </p:cNvPr>
          <p:cNvCxnSpPr>
            <a:cxnSpLocks/>
          </p:cNvCxnSpPr>
          <p:nvPr/>
        </p:nvCxnSpPr>
        <p:spPr>
          <a:xfrm>
            <a:off x="4290917" y="2741640"/>
            <a:ext cx="0" cy="2346547"/>
          </a:xfrm>
          <a:prstGeom prst="line">
            <a:avLst/>
          </a:prstGeom>
          <a:noFill/>
          <a:ln w="6350" cap="flat" cmpd="sng" algn="ctr">
            <a:solidFill>
              <a:schemeClr val="tx1"/>
            </a:solidFill>
            <a:prstDash val="solid"/>
            <a:miter lim="800000"/>
          </a:ln>
          <a:effectLst/>
        </p:spPr>
      </p:cxnSp>
      <p:sp>
        <p:nvSpPr>
          <p:cNvPr id="269" name="TextBox 529">
            <a:extLst>
              <a:ext uri="{FF2B5EF4-FFF2-40B4-BE49-F238E27FC236}">
                <a16:creationId xmlns:a16="http://schemas.microsoft.com/office/drawing/2014/main" id="{F8D40E23-BE04-4103-FEE8-9F5B90FAB2FC}"/>
              </a:ext>
            </a:extLst>
          </p:cNvPr>
          <p:cNvSpPr txBox="1"/>
          <p:nvPr/>
        </p:nvSpPr>
        <p:spPr>
          <a:xfrm>
            <a:off x="2874830" y="3337877"/>
            <a:ext cx="1054776" cy="553998"/>
          </a:xfrm>
          <a:prstGeom prst="rect">
            <a:avLst/>
          </a:prstGeom>
          <a:noFill/>
        </p:spPr>
        <p:txBody>
          <a:bodyPr wrap="none" lIns="0" tIns="0" rIns="0" bIns="0" rtlCol="0">
            <a:spAutoFit/>
          </a:bodyPr>
          <a:lstStyle/>
          <a:p>
            <a:pPr marL="0" marR="0" lvl="0" indent="0" algn="ctr" defTabSz="914377" rtl="0" eaLnBrk="1" fontAlgn="auto" latinLnBrk="0" hangingPunct="1">
              <a:lnSpc>
                <a:spcPct val="100000"/>
              </a:lnSpc>
              <a:spcBef>
                <a:spcPts val="0"/>
              </a:spcBef>
              <a:spcAft>
                <a:spcPts val="0"/>
              </a:spcAft>
              <a:buClrTx/>
              <a:buSzTx/>
              <a:buFont typeface="Arial"/>
              <a:buNone/>
              <a:tabLst/>
              <a:defRPr/>
            </a:pPr>
            <a:r>
              <a:rPr kumimoji="0" lang="en-GB" sz="12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HelveticaNeueCE-Roman"/>
                <a:rtl val="0"/>
              </a:rPr>
              <a:t>HR for time up to </a:t>
            </a:r>
            <a:br>
              <a:rPr kumimoji="0" lang="en-GB" sz="12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HelveticaNeueCE-Roman"/>
                <a:rtl val="0"/>
              </a:rPr>
            </a:br>
            <a:r>
              <a:rPr kumimoji="0" lang="en-GB" sz="1200" b="0" i="0" u="none" strike="noStrike" kern="0" cap="none" spc="0" normalizeH="0" baseline="0" noProof="0">
                <a:ln>
                  <a:noFill/>
                </a:ln>
                <a:solidFill>
                  <a:srgbClr val="002557"/>
                </a:solidFill>
                <a:effectLst/>
                <a:uLnTx/>
                <a:uFillTx/>
                <a:latin typeface="Arial Narrow" panose="020B0604020202020204" pitchFamily="34" charset="0"/>
                <a:cs typeface="Arial Narrow" panose="020B0604020202020204" pitchFamily="34" charset="0"/>
                <a:sym typeface="HelveticaNeueCE-Roman"/>
                <a:rtl val="0"/>
              </a:rPr>
              <a:t>6 months (95% CI)</a:t>
            </a:r>
          </a:p>
          <a:p>
            <a:pPr marL="0" marR="0" lvl="0" indent="0" algn="ctr" defTabSz="914377" rtl="0" eaLnBrk="1" fontAlgn="auto" latinLnBrk="0" hangingPunct="1">
              <a:lnSpc>
                <a:spcPct val="100000"/>
              </a:lnSpc>
              <a:spcBef>
                <a:spcPts val="0"/>
              </a:spcBef>
              <a:spcAft>
                <a:spcPts val="0"/>
              </a:spcAft>
              <a:buClrTx/>
              <a:buSzTx/>
              <a:buFont typeface="Arial"/>
              <a:buNone/>
              <a:tabLst/>
              <a:defRPr/>
            </a:pPr>
            <a:r>
              <a:rPr kumimoji="0" lang="en-GB" sz="1200" b="0" i="0" u="none" strike="noStrike" kern="0" cap="none" spc="0" normalizeH="0" baseline="0" noProof="0">
                <a:ln>
                  <a:noFill/>
                </a:ln>
                <a:solidFill>
                  <a:prstClr val="black"/>
                </a:solidFill>
                <a:effectLst/>
                <a:uLnTx/>
                <a:uFillTx/>
                <a:latin typeface="Arial Narrow" panose="020B0604020202020204" pitchFamily="34" charset="0"/>
                <a:cs typeface="Arial Narrow" panose="020B0604020202020204" pitchFamily="34" charset="0"/>
                <a:sym typeface="HelveticaNeueCE-Roman"/>
                <a:rtl val="0"/>
              </a:rPr>
              <a:t>0.91 (0.66–1.26)</a:t>
            </a:r>
          </a:p>
        </p:txBody>
      </p:sp>
      <p:sp>
        <p:nvSpPr>
          <p:cNvPr id="271" name="Textfeld 270">
            <a:extLst>
              <a:ext uri="{FF2B5EF4-FFF2-40B4-BE49-F238E27FC236}">
                <a16:creationId xmlns:a16="http://schemas.microsoft.com/office/drawing/2014/main" id="{F12C6FA2-2C58-DA1D-FDE8-BEA67517252D}"/>
              </a:ext>
            </a:extLst>
          </p:cNvPr>
          <p:cNvSpPr txBox="1"/>
          <p:nvPr/>
        </p:nvSpPr>
        <p:spPr>
          <a:xfrm>
            <a:off x="5681492" y="5984224"/>
            <a:ext cx="6096000" cy="297454"/>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333" b="0" i="0" u="none" strike="noStrike" kern="0" cap="none" spc="0" normalizeH="0" baseline="0" noProof="0" dirty="0">
                <a:ln>
                  <a:noFill/>
                </a:ln>
                <a:solidFill>
                  <a:srgbClr val="D79D41"/>
                </a:solidFill>
                <a:effectLst/>
                <a:uLnTx/>
                <a:uFillTx/>
                <a:latin typeface="Arial Narrow" panose="020B0604020202020204" pitchFamily="34" charset="0"/>
                <a:cs typeface="Arial Narrow" panose="020B0604020202020204" pitchFamily="34" charset="0"/>
                <a:sym typeface="Arial"/>
              </a:rPr>
              <a:t>Oh D-Y, et al. @ ASCO GI</a:t>
            </a:r>
          </a:p>
        </p:txBody>
      </p:sp>
    </p:spTree>
    <p:extLst>
      <p:ext uri="{BB962C8B-B14F-4D97-AF65-F5344CB8AC3E}">
        <p14:creationId xmlns:p14="http://schemas.microsoft.com/office/powerpoint/2010/main" val="210028974"/>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37061" y="2571753"/>
            <a:ext cx="7317879" cy="322956"/>
          </a:xfrm>
        </p:spPr>
        <p:txBody>
          <a:bodyPr/>
          <a:lstStyle/>
          <a:p>
            <a:r>
              <a:rPr lang="en-US" sz="656" b="1" dirty="0">
                <a:latin typeface="Arial" charset="0"/>
                <a:ea typeface="+mn-ea"/>
                <a:cs typeface="+mn-cs"/>
              </a:rPr>
              <a:t>Secondary endpoint: PFS</a:t>
            </a:r>
          </a:p>
        </p:txBody>
      </p:sp>
      <p:pic>
        <p:nvPicPr>
          <p:cNvPr id="1026"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4798" t="14528" r="4045" b="18363"/>
          <a:stretch/>
        </p:blipFill>
        <p:spPr bwMode="auto">
          <a:xfrm>
            <a:off x="47328" y="2327560"/>
            <a:ext cx="7296811" cy="30216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itle 1"/>
          <p:cNvSpPr txBox="1">
            <a:spLocks/>
          </p:cNvSpPr>
          <p:nvPr/>
        </p:nvSpPr>
        <p:spPr bwMode="auto">
          <a:xfrm>
            <a:off x="363997" y="6465094"/>
            <a:ext cx="11447747" cy="35718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ctr" defTabSz="457200" rtl="0" fontAlgn="base" hangingPunct="0">
              <a:lnSpc>
                <a:spcPct val="112000"/>
              </a:lnSpc>
              <a:spcBef>
                <a:spcPct val="0"/>
              </a:spcBef>
              <a:spcAft>
                <a:spcPct val="0"/>
              </a:spcAft>
              <a:buClr>
                <a:srgbClr val="000000"/>
              </a:buClr>
              <a:buSzPct val="45000"/>
              <a:buFont typeface="StarSymbol" charset="0"/>
              <a:defRPr sz="4400">
                <a:solidFill>
                  <a:srgbClr val="000000"/>
                </a:solidFill>
                <a:latin typeface="+mj-lt"/>
                <a:ea typeface="+mj-ea"/>
                <a:cs typeface="+mj-cs"/>
              </a:defRPr>
            </a:lvl1pPr>
            <a:lvl2pPr marL="4318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2pPr>
            <a:lvl3pPr marL="6477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3pPr>
            <a:lvl4pPr marL="8636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4pPr>
            <a:lvl5pPr marL="10795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5pPr>
            <a:lvl6pPr marL="15367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6pPr>
            <a:lvl7pPr marL="19939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7pPr>
            <a:lvl8pPr marL="24511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8pPr>
            <a:lvl9pPr marL="29083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9pPr>
          </a:lstStyle>
          <a:p>
            <a:pPr marL="0" marR="0" lvl="0" indent="0" algn="ctr" defTabSz="457200" rtl="0" eaLnBrk="1" fontAlgn="base" latinLnBrk="0" hangingPunct="0">
              <a:lnSpc>
                <a:spcPct val="112000"/>
              </a:lnSpc>
              <a:spcBef>
                <a:spcPct val="0"/>
              </a:spcBef>
              <a:spcAft>
                <a:spcPct val="0"/>
              </a:spcAft>
              <a:buClr>
                <a:srgbClr val="000000"/>
              </a:buClr>
              <a:buSzPct val="45000"/>
              <a:buFont typeface="StarSymbol" charset="0"/>
              <a:buNone/>
              <a:tabLst/>
              <a:defRPr/>
            </a:pPr>
            <a:r>
              <a:rPr kumimoji="0" lang="en-US" sz="1125" b="0" i="0" u="none" strike="noStrike" kern="0" cap="none" spc="0" normalizeH="0" baseline="0" noProof="0" dirty="0">
                <a:ln>
                  <a:noFill/>
                </a:ln>
                <a:solidFill>
                  <a:srgbClr val="000000"/>
                </a:solidFill>
                <a:effectLst/>
                <a:uLnTx/>
                <a:uFillTx/>
                <a:latin typeface="Arial" charset="0"/>
                <a:ea typeface="+mj-ea"/>
                <a:cs typeface="+mj-cs"/>
                <a:sym typeface="Arial"/>
              </a:rPr>
              <a:t>Content of this presentation is the property of the author, licensed by ASCO. Permission required for reuse.</a:t>
            </a:r>
          </a:p>
        </p:txBody>
      </p:sp>
      <p:pic>
        <p:nvPicPr>
          <p:cNvPr id="5" name="Picture 2">
            <a:extLst>
              <a:ext uri="{FF2B5EF4-FFF2-40B4-BE49-F238E27FC236}">
                <a16:creationId xmlns:a16="http://schemas.microsoft.com/office/drawing/2014/main" id="{283884FD-2315-6B44-B342-6CA5672961CA}"/>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8221" t="15253" r="54660" b="43011"/>
          <a:stretch/>
        </p:blipFill>
        <p:spPr bwMode="auto">
          <a:xfrm>
            <a:off x="7589022" y="2238603"/>
            <a:ext cx="4331833" cy="27397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itel 2">
            <a:extLst>
              <a:ext uri="{FF2B5EF4-FFF2-40B4-BE49-F238E27FC236}">
                <a16:creationId xmlns:a16="http://schemas.microsoft.com/office/drawing/2014/main" id="{B531BCFB-B4D6-CD4B-9E23-A7CBAA041B79}"/>
              </a:ext>
            </a:extLst>
          </p:cNvPr>
          <p:cNvSpPr txBox="1">
            <a:spLocks/>
          </p:cNvSpPr>
          <p:nvPr/>
        </p:nvSpPr>
        <p:spPr>
          <a:xfrm>
            <a:off x="316083" y="194400"/>
            <a:ext cx="11687535" cy="930344"/>
          </a:xfrm>
          <a:prstGeom prst="rect">
            <a:avLst/>
          </a:prstGeom>
        </p:spPr>
        <p:txBody>
          <a:bodyPr vert="horz" lIns="121917" tIns="60959" rIns="121917" bIns="60959" rtlCol="0" anchor="ctr">
            <a:normAutofit fontScale="97500"/>
          </a:bodyPr>
          <a:lstStyle>
            <a:lvl1pPr algn="ctr" defTabSz="914378" rtl="0" eaLnBrk="1" latinLnBrk="0" hangingPunct="1">
              <a:spcBef>
                <a:spcPct val="0"/>
              </a:spcBef>
              <a:buNone/>
              <a:defRPr sz="4400" kern="1200">
                <a:solidFill>
                  <a:schemeClr val="tx1"/>
                </a:solidFill>
                <a:latin typeface="+mj-lt"/>
                <a:ea typeface="+mj-ea"/>
                <a:cs typeface="+mj-cs"/>
              </a:defRPr>
            </a:lvl1pPr>
          </a:lstStyle>
          <a:p>
            <a:pPr marL="0" marR="0" lvl="0" indent="0" algn="l" defTabSz="1219170" rtl="0" eaLnBrk="1" fontAlgn="auto" latinLnBrk="0" hangingPunct="1">
              <a:lnSpc>
                <a:spcPct val="90000"/>
              </a:lnSpc>
              <a:spcBef>
                <a:spcPct val="0"/>
              </a:spcBef>
              <a:spcAft>
                <a:spcPts val="0"/>
              </a:spcAft>
              <a:buClr>
                <a:srgbClr val="000000"/>
              </a:buClr>
              <a:buSzTx/>
              <a:buFont typeface="Arial"/>
              <a:buNone/>
              <a:tabLst/>
              <a:defRPr/>
            </a:pPr>
            <a:r>
              <a:rPr kumimoji="0" lang="en-US" altLang="ko-KR" sz="3733" b="1" i="0" u="none" strike="noStrike" kern="1200" cap="none" spc="0" normalizeH="0" baseline="0" noProof="0" dirty="0">
                <a:ln>
                  <a:noFill/>
                </a:ln>
                <a:solidFill>
                  <a:srgbClr val="000000"/>
                </a:solidFill>
                <a:effectLst/>
                <a:uLnTx/>
                <a:uFillTx/>
                <a:latin typeface="Arial Narrow" panose="020B0604020202020204" pitchFamily="34" charset="0"/>
                <a:ea typeface="맑은 고딕" panose="020B0503020000020004" pitchFamily="34" charset="-127"/>
                <a:cs typeface="Arial Narrow" panose="020B0604020202020204" pitchFamily="34" charset="0"/>
                <a:sym typeface="Arial"/>
              </a:rPr>
              <a:t>IO + Chemo in BTC 1</a:t>
            </a:r>
            <a:r>
              <a:rPr kumimoji="0" lang="en-US" altLang="ko-KR" sz="3733" b="1" i="0" u="none" strike="noStrike" kern="1200" cap="none" spc="0" normalizeH="0" baseline="30000" noProof="0" dirty="0">
                <a:ln>
                  <a:noFill/>
                </a:ln>
                <a:solidFill>
                  <a:srgbClr val="000000"/>
                </a:solidFill>
                <a:effectLst/>
                <a:uLnTx/>
                <a:uFillTx/>
                <a:latin typeface="Arial Narrow" panose="020B0604020202020204" pitchFamily="34" charset="0"/>
                <a:ea typeface="맑은 고딕" panose="020B0503020000020004" pitchFamily="34" charset="-127"/>
                <a:cs typeface="Arial Narrow" panose="020B0604020202020204" pitchFamily="34" charset="0"/>
                <a:sym typeface="Arial"/>
              </a:rPr>
              <a:t>st</a:t>
            </a:r>
            <a:r>
              <a:rPr kumimoji="0" lang="en-US" altLang="ko-KR" sz="3733" b="1" i="0" u="none" strike="noStrike" kern="1200" cap="none" spc="0" normalizeH="0" baseline="0" noProof="0" dirty="0">
                <a:ln>
                  <a:noFill/>
                </a:ln>
                <a:solidFill>
                  <a:srgbClr val="000000"/>
                </a:solidFill>
                <a:effectLst/>
                <a:uLnTx/>
                <a:uFillTx/>
                <a:latin typeface="Arial Narrow" panose="020B0604020202020204" pitchFamily="34" charset="0"/>
                <a:ea typeface="맑은 고딕" panose="020B0503020000020004" pitchFamily="34" charset="-127"/>
                <a:cs typeface="Arial Narrow" panose="020B0604020202020204" pitchFamily="34" charset="0"/>
                <a:sym typeface="Arial"/>
              </a:rPr>
              <a:t> line: TOPAZ-1 Phase 3</a:t>
            </a:r>
          </a:p>
        </p:txBody>
      </p:sp>
      <p:sp>
        <p:nvSpPr>
          <p:cNvPr id="8" name="Textfeld 7">
            <a:extLst>
              <a:ext uri="{FF2B5EF4-FFF2-40B4-BE49-F238E27FC236}">
                <a16:creationId xmlns:a16="http://schemas.microsoft.com/office/drawing/2014/main" id="{23828714-0876-2F41-A478-5E0872DF23FD}"/>
              </a:ext>
            </a:extLst>
          </p:cNvPr>
          <p:cNvSpPr txBox="1"/>
          <p:nvPr/>
        </p:nvSpPr>
        <p:spPr>
          <a:xfrm>
            <a:off x="335360" y="991669"/>
            <a:ext cx="7277954" cy="50276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de-DE" sz="2667" b="0" i="0" u="none" strike="noStrike" kern="0" cap="none" spc="0" normalizeH="0" baseline="0" noProof="0" dirty="0" err="1">
                <a:ln>
                  <a:noFill/>
                </a:ln>
                <a:solidFill>
                  <a:srgbClr val="000000"/>
                </a:solidFill>
                <a:effectLst/>
                <a:uLnTx/>
                <a:uFillTx/>
                <a:latin typeface="Arial"/>
                <a:cs typeface="Arial"/>
                <a:sym typeface="Arial"/>
              </a:rPr>
              <a:t>Efficacy</a:t>
            </a:r>
            <a:r>
              <a:rPr kumimoji="0" lang="de-DE" sz="2667" b="0" i="0" u="none" strike="noStrike" kern="0" cap="none" spc="0" normalizeH="0" baseline="0" noProof="0" dirty="0">
                <a:ln>
                  <a:noFill/>
                </a:ln>
                <a:solidFill>
                  <a:srgbClr val="000000"/>
                </a:solidFill>
                <a:effectLst/>
                <a:uLnTx/>
                <a:uFillTx/>
                <a:latin typeface="Arial"/>
                <a:cs typeface="Arial"/>
                <a:sym typeface="Arial"/>
              </a:rPr>
              <a:t> </a:t>
            </a:r>
            <a:r>
              <a:rPr kumimoji="0" lang="de-DE" sz="2667" b="0" i="0" u="none" strike="noStrike" kern="0" cap="none" spc="0" normalizeH="0" baseline="0" noProof="0" dirty="0" err="1">
                <a:ln>
                  <a:noFill/>
                </a:ln>
                <a:solidFill>
                  <a:srgbClr val="000000"/>
                </a:solidFill>
                <a:effectLst/>
                <a:uLnTx/>
                <a:uFillTx/>
                <a:latin typeface="Arial"/>
                <a:cs typeface="Arial"/>
                <a:sym typeface="Arial"/>
              </a:rPr>
              <a:t>data</a:t>
            </a:r>
            <a:r>
              <a:rPr kumimoji="0" lang="de-DE" sz="2667" b="0" i="0" u="none" strike="noStrike" kern="0" cap="none" spc="0" normalizeH="0" baseline="0" noProof="0" dirty="0">
                <a:ln>
                  <a:noFill/>
                </a:ln>
                <a:solidFill>
                  <a:srgbClr val="000000"/>
                </a:solidFill>
                <a:effectLst/>
                <a:uLnTx/>
                <a:uFillTx/>
                <a:latin typeface="Arial"/>
                <a:cs typeface="Arial"/>
                <a:sym typeface="Arial"/>
              </a:rPr>
              <a:t> 2ndary </a:t>
            </a:r>
            <a:r>
              <a:rPr kumimoji="0" lang="de-DE" sz="2667" b="0" i="0" u="none" strike="noStrike" kern="0" cap="none" spc="0" normalizeH="0" baseline="0" noProof="0" dirty="0" err="1">
                <a:ln>
                  <a:noFill/>
                </a:ln>
                <a:solidFill>
                  <a:srgbClr val="000000"/>
                </a:solidFill>
                <a:effectLst/>
                <a:uLnTx/>
                <a:uFillTx/>
                <a:latin typeface="Arial"/>
                <a:cs typeface="Arial"/>
                <a:sym typeface="Arial"/>
              </a:rPr>
              <a:t>objectives</a:t>
            </a:r>
            <a:r>
              <a:rPr kumimoji="0" lang="de-DE" sz="2667" b="0" i="0" u="none" strike="noStrike" kern="0" cap="none" spc="0" normalizeH="0" baseline="0" noProof="0" dirty="0">
                <a:ln>
                  <a:noFill/>
                </a:ln>
                <a:solidFill>
                  <a:srgbClr val="000000"/>
                </a:solidFill>
                <a:effectLst/>
                <a:uLnTx/>
                <a:uFillTx/>
                <a:latin typeface="Arial"/>
                <a:cs typeface="Arial"/>
                <a:sym typeface="Arial"/>
              </a:rPr>
              <a:t>: PFS and ORR</a:t>
            </a:r>
          </a:p>
        </p:txBody>
      </p:sp>
      <p:sp>
        <p:nvSpPr>
          <p:cNvPr id="3" name="Rectangle 2">
            <a:extLst>
              <a:ext uri="{FF2B5EF4-FFF2-40B4-BE49-F238E27FC236}">
                <a16:creationId xmlns:a16="http://schemas.microsoft.com/office/drawing/2014/main" id="{2A9CF4CF-92FC-CD6B-1D8D-23BE761E76E8}"/>
              </a:ext>
            </a:extLst>
          </p:cNvPr>
          <p:cNvSpPr/>
          <p:nvPr/>
        </p:nvSpPr>
        <p:spPr>
          <a:xfrm>
            <a:off x="2437061" y="6465094"/>
            <a:ext cx="7317879" cy="3571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867"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4" name="Textfeld 270">
            <a:extLst>
              <a:ext uri="{FF2B5EF4-FFF2-40B4-BE49-F238E27FC236}">
                <a16:creationId xmlns:a16="http://schemas.microsoft.com/office/drawing/2014/main" id="{AC60CCEB-531F-D660-D5CC-04DEE40C1476}"/>
              </a:ext>
            </a:extLst>
          </p:cNvPr>
          <p:cNvSpPr txBox="1"/>
          <p:nvPr/>
        </p:nvSpPr>
        <p:spPr>
          <a:xfrm>
            <a:off x="5824855" y="6505188"/>
            <a:ext cx="6096000" cy="276999"/>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dirty="0">
                <a:ln>
                  <a:noFill/>
                </a:ln>
                <a:solidFill>
                  <a:srgbClr val="000000"/>
                </a:solidFill>
                <a:effectLst/>
                <a:uLnTx/>
                <a:uFillTx/>
                <a:latin typeface="Arial" panose="020B0604020202020204" pitchFamily="34" charset="0"/>
                <a:cs typeface="Arial"/>
                <a:sym typeface="Arial"/>
              </a:rPr>
              <a:t>Oh D-Y et al. Gastrointestinal Cancers Symposium 2022.</a:t>
            </a:r>
          </a:p>
        </p:txBody>
      </p:sp>
    </p:spTree>
    <p:extLst>
      <p:ext uri="{BB962C8B-B14F-4D97-AF65-F5344CB8AC3E}">
        <p14:creationId xmlns:p14="http://schemas.microsoft.com/office/powerpoint/2010/main" val="4052024742"/>
      </p:ext>
    </p:extLst>
  </p:cSld>
  <p:clrMapOvr>
    <a:masterClrMapping/>
  </p:clrMapOvr>
  <p:transition spd="med"/>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a:extLst>
              <a:ext uri="{FF2B5EF4-FFF2-40B4-BE49-F238E27FC236}">
                <a16:creationId xmlns:a16="http://schemas.microsoft.com/office/drawing/2014/main" id="{4DC311A3-248E-F744-8FC2-1E5DCC34BC7E}"/>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7493" t="13234" r="7941" b="80751"/>
          <a:stretch/>
        </p:blipFill>
        <p:spPr bwMode="auto">
          <a:xfrm>
            <a:off x="96011" y="2106575"/>
            <a:ext cx="11997672" cy="4800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 name="Picture 2">
            <a:extLst>
              <a:ext uri="{FF2B5EF4-FFF2-40B4-BE49-F238E27FC236}">
                <a16:creationId xmlns:a16="http://schemas.microsoft.com/office/drawing/2014/main" id="{5D0FD95D-7CE8-9D4E-95EF-392B226D89EE}"/>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7493" t="40904" r="7941" b="50674"/>
          <a:stretch/>
        </p:blipFill>
        <p:spPr bwMode="auto">
          <a:xfrm>
            <a:off x="96011" y="2592012"/>
            <a:ext cx="11997672" cy="672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2">
            <a:extLst>
              <a:ext uri="{FF2B5EF4-FFF2-40B4-BE49-F238E27FC236}">
                <a16:creationId xmlns:a16="http://schemas.microsoft.com/office/drawing/2014/main" id="{F23BF0F7-69D3-5F4F-B738-41368B96D5E3}"/>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74435" b="16683"/>
          <a:stretch/>
        </p:blipFill>
        <p:spPr bwMode="auto">
          <a:xfrm>
            <a:off x="122797" y="4542326"/>
            <a:ext cx="12021875" cy="6148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Picture 2">
            <a:extLst>
              <a:ext uri="{FF2B5EF4-FFF2-40B4-BE49-F238E27FC236}">
                <a16:creationId xmlns:a16="http://schemas.microsoft.com/office/drawing/2014/main" id="{13259F0B-86F6-D140-8C17-76E3E2019EE2}"/>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35687" b="59445"/>
          <a:stretch/>
        </p:blipFill>
        <p:spPr bwMode="auto">
          <a:xfrm>
            <a:off x="134899" y="4117484"/>
            <a:ext cx="11997672" cy="328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Titel 2">
            <a:extLst>
              <a:ext uri="{FF2B5EF4-FFF2-40B4-BE49-F238E27FC236}">
                <a16:creationId xmlns:a16="http://schemas.microsoft.com/office/drawing/2014/main" id="{6EA0779B-B21E-B547-AF96-F06808353F25}"/>
              </a:ext>
            </a:extLst>
          </p:cNvPr>
          <p:cNvSpPr txBox="1">
            <a:spLocks/>
          </p:cNvSpPr>
          <p:nvPr/>
        </p:nvSpPr>
        <p:spPr>
          <a:xfrm>
            <a:off x="316083" y="194400"/>
            <a:ext cx="11687535" cy="930344"/>
          </a:xfrm>
          <a:prstGeom prst="rect">
            <a:avLst/>
          </a:prstGeom>
        </p:spPr>
        <p:txBody>
          <a:bodyPr vert="horz" lIns="121917" tIns="60959" rIns="121917" bIns="60959" rtlCol="0" anchor="ctr">
            <a:normAutofit fontScale="97500"/>
          </a:bodyPr>
          <a:lstStyle>
            <a:lvl1pPr algn="ctr" defTabSz="914378" rtl="0" eaLnBrk="1" latinLnBrk="0" hangingPunct="1">
              <a:spcBef>
                <a:spcPct val="0"/>
              </a:spcBef>
              <a:buNone/>
              <a:defRPr sz="4400" kern="1200">
                <a:solidFill>
                  <a:schemeClr val="tx1"/>
                </a:solidFill>
                <a:latin typeface="+mj-lt"/>
                <a:ea typeface="+mj-ea"/>
                <a:cs typeface="+mj-cs"/>
              </a:defRPr>
            </a:lvl1pPr>
          </a:lstStyle>
          <a:p>
            <a:pPr marL="0" marR="0" lvl="0" indent="0" algn="l" defTabSz="1219170" rtl="0" eaLnBrk="1" fontAlgn="auto" latinLnBrk="0" hangingPunct="1">
              <a:lnSpc>
                <a:spcPct val="90000"/>
              </a:lnSpc>
              <a:spcBef>
                <a:spcPct val="0"/>
              </a:spcBef>
              <a:spcAft>
                <a:spcPts val="0"/>
              </a:spcAft>
              <a:buClr>
                <a:srgbClr val="000000"/>
              </a:buClr>
              <a:buSzTx/>
              <a:buFont typeface="Arial"/>
              <a:buNone/>
              <a:tabLst/>
              <a:defRPr/>
            </a:pPr>
            <a:r>
              <a:rPr kumimoji="0" lang="en-US" altLang="ko-KR" sz="3733" b="1" i="0" u="none" strike="noStrike" kern="1200" cap="none" spc="0" normalizeH="0" baseline="0" noProof="0" dirty="0">
                <a:ln>
                  <a:noFill/>
                </a:ln>
                <a:solidFill>
                  <a:srgbClr val="000000"/>
                </a:solidFill>
                <a:effectLst/>
                <a:uLnTx/>
                <a:uFillTx/>
                <a:latin typeface="Arial Narrow" panose="020B0604020202020204" pitchFamily="34" charset="0"/>
                <a:ea typeface="맑은 고딕" panose="020B0503020000020004" pitchFamily="34" charset="-127"/>
                <a:cs typeface="Arial Narrow" panose="020B0604020202020204" pitchFamily="34" charset="0"/>
                <a:sym typeface="Arial"/>
              </a:rPr>
              <a:t>IO + Chemo in BTC 1</a:t>
            </a:r>
            <a:r>
              <a:rPr kumimoji="0" lang="en-US" altLang="ko-KR" sz="3733" b="1" i="0" u="none" strike="noStrike" kern="1200" cap="none" spc="0" normalizeH="0" baseline="30000" noProof="0" dirty="0">
                <a:ln>
                  <a:noFill/>
                </a:ln>
                <a:solidFill>
                  <a:srgbClr val="000000"/>
                </a:solidFill>
                <a:effectLst/>
                <a:uLnTx/>
                <a:uFillTx/>
                <a:latin typeface="Arial Narrow" panose="020B0604020202020204" pitchFamily="34" charset="0"/>
                <a:ea typeface="맑은 고딕" panose="020B0503020000020004" pitchFamily="34" charset="-127"/>
                <a:cs typeface="Arial Narrow" panose="020B0604020202020204" pitchFamily="34" charset="0"/>
                <a:sym typeface="Arial"/>
              </a:rPr>
              <a:t>st</a:t>
            </a:r>
            <a:r>
              <a:rPr kumimoji="0" lang="en-US" altLang="ko-KR" sz="3733" b="1" i="0" u="none" strike="noStrike" kern="1200" cap="none" spc="0" normalizeH="0" baseline="0" noProof="0" dirty="0">
                <a:ln>
                  <a:noFill/>
                </a:ln>
                <a:solidFill>
                  <a:srgbClr val="000000"/>
                </a:solidFill>
                <a:effectLst/>
                <a:uLnTx/>
                <a:uFillTx/>
                <a:latin typeface="Arial Narrow" panose="020B0604020202020204" pitchFamily="34" charset="0"/>
                <a:ea typeface="맑은 고딕" panose="020B0503020000020004" pitchFamily="34" charset="-127"/>
                <a:cs typeface="Arial Narrow" panose="020B0604020202020204" pitchFamily="34" charset="0"/>
                <a:sym typeface="Arial"/>
              </a:rPr>
              <a:t> line: TOPAZ-1 Phase 3</a:t>
            </a:r>
          </a:p>
        </p:txBody>
      </p:sp>
      <p:sp>
        <p:nvSpPr>
          <p:cNvPr id="12" name="Textfeld 11">
            <a:extLst>
              <a:ext uri="{FF2B5EF4-FFF2-40B4-BE49-F238E27FC236}">
                <a16:creationId xmlns:a16="http://schemas.microsoft.com/office/drawing/2014/main" id="{7C727F23-0E52-A043-A9B5-50BAB420276D}"/>
              </a:ext>
            </a:extLst>
          </p:cNvPr>
          <p:cNvSpPr txBox="1"/>
          <p:nvPr/>
        </p:nvSpPr>
        <p:spPr>
          <a:xfrm>
            <a:off x="386756" y="991669"/>
            <a:ext cx="5027338" cy="50276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de-DE" sz="2667" b="1" i="0" u="none" strike="noStrike" kern="0" cap="none" spc="0" normalizeH="0" baseline="0" noProof="0" dirty="0">
                <a:ln>
                  <a:noFill/>
                </a:ln>
                <a:solidFill>
                  <a:srgbClr val="000000"/>
                </a:solidFill>
                <a:effectLst/>
                <a:uLnTx/>
                <a:uFillTx/>
                <a:latin typeface="Arial"/>
                <a:cs typeface="Arial"/>
                <a:sym typeface="Arial"/>
              </a:rPr>
              <a:t>Relevant Subgroups: “RACE”</a:t>
            </a:r>
          </a:p>
        </p:txBody>
      </p:sp>
      <p:sp>
        <p:nvSpPr>
          <p:cNvPr id="2" name="Textfeld 1">
            <a:extLst>
              <a:ext uri="{FF2B5EF4-FFF2-40B4-BE49-F238E27FC236}">
                <a16:creationId xmlns:a16="http://schemas.microsoft.com/office/drawing/2014/main" id="{32657EA4-E60B-FB4F-BE87-5DAFCEF36459}"/>
              </a:ext>
            </a:extLst>
          </p:cNvPr>
          <p:cNvSpPr txBox="1"/>
          <p:nvPr/>
        </p:nvSpPr>
        <p:spPr>
          <a:xfrm>
            <a:off x="527382" y="5546091"/>
            <a:ext cx="7645042" cy="85844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de-DE" sz="2489" b="0" i="0" u="none" strike="noStrike" kern="0" cap="none" spc="0" normalizeH="0" baseline="0" noProof="0" dirty="0">
                <a:ln>
                  <a:noFill/>
                </a:ln>
                <a:solidFill>
                  <a:srgbClr val="000000"/>
                </a:solidFill>
                <a:effectLst/>
                <a:uLnTx/>
                <a:uFillTx/>
                <a:latin typeface="Arial"/>
                <a:cs typeface="Arial"/>
                <a:sym typeface="Arial"/>
              </a:rPr>
              <a:t>ORR MEDITREME (Chemo + </a:t>
            </a:r>
            <a:r>
              <a:rPr kumimoji="0" lang="de-DE" sz="2489" b="0" i="0" u="none" strike="noStrike" kern="0" cap="none" spc="0" normalizeH="0" baseline="0" noProof="0" dirty="0" err="1">
                <a:ln>
                  <a:noFill/>
                </a:ln>
                <a:solidFill>
                  <a:srgbClr val="000000"/>
                </a:solidFill>
                <a:effectLst/>
                <a:uLnTx/>
                <a:uFillTx/>
                <a:latin typeface="Arial"/>
                <a:cs typeface="Arial"/>
                <a:sym typeface="Arial"/>
              </a:rPr>
              <a:t>Durva</a:t>
            </a:r>
            <a:r>
              <a:rPr kumimoji="0" lang="de-DE" sz="2489" b="0" i="0" u="none" strike="noStrike" kern="0" cap="none" spc="0" normalizeH="0" baseline="0" noProof="0" dirty="0">
                <a:ln>
                  <a:noFill/>
                </a:ln>
                <a:solidFill>
                  <a:srgbClr val="000000"/>
                </a:solidFill>
                <a:effectLst/>
                <a:uLnTx/>
                <a:uFillTx/>
                <a:latin typeface="Arial"/>
                <a:cs typeface="Arial"/>
                <a:sym typeface="Arial"/>
              </a:rPr>
              <a:t>, all Asian): 73%</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de-DE" sz="2489" b="0" i="0" u="none" strike="noStrike" kern="0" cap="none" spc="0" normalizeH="0" baseline="0" noProof="0" dirty="0">
                <a:ln>
                  <a:noFill/>
                </a:ln>
                <a:solidFill>
                  <a:srgbClr val="000000"/>
                </a:solidFill>
                <a:effectLst/>
                <a:uLnTx/>
                <a:uFillTx/>
                <a:latin typeface="Arial"/>
                <a:cs typeface="Arial"/>
                <a:sym typeface="Arial"/>
              </a:rPr>
              <a:t>ORR Topaz: 26%</a:t>
            </a:r>
          </a:p>
        </p:txBody>
      </p:sp>
      <p:sp>
        <p:nvSpPr>
          <p:cNvPr id="10" name="Textfeld 270">
            <a:extLst>
              <a:ext uri="{FF2B5EF4-FFF2-40B4-BE49-F238E27FC236}">
                <a16:creationId xmlns:a16="http://schemas.microsoft.com/office/drawing/2014/main" id="{01E32031-F0B9-BD49-A608-AD3287685F99}"/>
              </a:ext>
            </a:extLst>
          </p:cNvPr>
          <p:cNvSpPr txBox="1"/>
          <p:nvPr/>
        </p:nvSpPr>
        <p:spPr>
          <a:xfrm>
            <a:off x="5824855" y="3323777"/>
            <a:ext cx="6096000" cy="276999"/>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dirty="0">
                <a:ln>
                  <a:noFill/>
                </a:ln>
                <a:solidFill>
                  <a:srgbClr val="000000"/>
                </a:solidFill>
                <a:effectLst/>
                <a:uLnTx/>
                <a:uFillTx/>
                <a:latin typeface="Arial" panose="020B0604020202020204" pitchFamily="34" charset="0"/>
                <a:cs typeface="Arial"/>
                <a:sym typeface="Arial"/>
              </a:rPr>
              <a:t>Oh D-Y et al. Gastrointestinal Cancers Symposium 2022.</a:t>
            </a:r>
          </a:p>
        </p:txBody>
      </p:sp>
    </p:spTree>
    <p:extLst>
      <p:ext uri="{BB962C8B-B14F-4D97-AF65-F5344CB8AC3E}">
        <p14:creationId xmlns:p14="http://schemas.microsoft.com/office/powerpoint/2010/main" val="941854498"/>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uppieren 9">
            <a:extLst>
              <a:ext uri="{FF2B5EF4-FFF2-40B4-BE49-F238E27FC236}">
                <a16:creationId xmlns:a16="http://schemas.microsoft.com/office/drawing/2014/main" id="{A41ECBBC-4126-084D-B43C-C321A8E41487}"/>
              </a:ext>
            </a:extLst>
          </p:cNvPr>
          <p:cNvGrpSpPr/>
          <p:nvPr/>
        </p:nvGrpSpPr>
        <p:grpSpPr>
          <a:xfrm>
            <a:off x="96011" y="1988841"/>
            <a:ext cx="12048661" cy="1364436"/>
            <a:chOff x="72008" y="1332399"/>
            <a:chExt cx="9036496" cy="1023327"/>
          </a:xfrm>
        </p:grpSpPr>
        <p:pic>
          <p:nvPicPr>
            <p:cNvPr id="4" name="Picture 2">
              <a:extLst>
                <a:ext uri="{FF2B5EF4-FFF2-40B4-BE49-F238E27FC236}">
                  <a16:creationId xmlns:a16="http://schemas.microsoft.com/office/drawing/2014/main" id="{5EC634BE-7821-A245-94B3-A458A50E7412}"/>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7493" t="13234" r="7941" b="80751"/>
            <a:stretch/>
          </p:blipFill>
          <p:spPr bwMode="auto">
            <a:xfrm>
              <a:off x="110250" y="1332399"/>
              <a:ext cx="8998254" cy="3600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 name="Picture 2">
              <a:extLst>
                <a:ext uri="{FF2B5EF4-FFF2-40B4-BE49-F238E27FC236}">
                  <a16:creationId xmlns:a16="http://schemas.microsoft.com/office/drawing/2014/main" id="{BCBA9FDE-8C4F-5C40-A134-A3C387507AB2}"/>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7135" t="51340" r="8003" b="36648"/>
            <a:stretch/>
          </p:blipFill>
          <p:spPr bwMode="auto">
            <a:xfrm>
              <a:off x="72008" y="1639292"/>
              <a:ext cx="8998254" cy="7164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9" name="Gruppieren 8">
            <a:extLst>
              <a:ext uri="{FF2B5EF4-FFF2-40B4-BE49-F238E27FC236}">
                <a16:creationId xmlns:a16="http://schemas.microsoft.com/office/drawing/2014/main" id="{F2B8191F-6964-B842-98AB-B73D7BEF3786}"/>
              </a:ext>
            </a:extLst>
          </p:cNvPr>
          <p:cNvGrpSpPr/>
          <p:nvPr/>
        </p:nvGrpSpPr>
        <p:grpSpPr>
          <a:xfrm>
            <a:off x="96011" y="3547903"/>
            <a:ext cx="11856640" cy="1286029"/>
            <a:chOff x="-58818" y="2599880"/>
            <a:chExt cx="8892480" cy="964522"/>
          </a:xfrm>
        </p:grpSpPr>
        <p:pic>
          <p:nvPicPr>
            <p:cNvPr id="8" name="Picture 2">
              <a:extLst>
                <a:ext uri="{FF2B5EF4-FFF2-40B4-BE49-F238E27FC236}">
                  <a16:creationId xmlns:a16="http://schemas.microsoft.com/office/drawing/2014/main" id="{7E7BE29C-35FF-0B40-98AF-F8DE21CAC09F}"/>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50741" b="40942"/>
            <a:stretch/>
          </p:blipFill>
          <p:spPr bwMode="auto">
            <a:xfrm>
              <a:off x="119521" y="2599880"/>
              <a:ext cx="8560323" cy="4004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2">
              <a:extLst>
                <a:ext uri="{FF2B5EF4-FFF2-40B4-BE49-F238E27FC236}">
                  <a16:creationId xmlns:a16="http://schemas.microsoft.com/office/drawing/2014/main" id="{818D1404-D25C-2644-98FF-B30BAEBA6A50}"/>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375" t="74312" b="16683"/>
            <a:stretch/>
          </p:blipFill>
          <p:spPr bwMode="auto">
            <a:xfrm>
              <a:off x="-58818" y="3096865"/>
              <a:ext cx="8892480" cy="4675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11" name="Titel 2">
            <a:extLst>
              <a:ext uri="{FF2B5EF4-FFF2-40B4-BE49-F238E27FC236}">
                <a16:creationId xmlns:a16="http://schemas.microsoft.com/office/drawing/2014/main" id="{C86E9C3C-4B0B-6A4B-9EDF-C8891964A37E}"/>
              </a:ext>
            </a:extLst>
          </p:cNvPr>
          <p:cNvSpPr txBox="1">
            <a:spLocks/>
          </p:cNvSpPr>
          <p:nvPr/>
        </p:nvSpPr>
        <p:spPr>
          <a:xfrm>
            <a:off x="316083" y="194400"/>
            <a:ext cx="11687535" cy="930344"/>
          </a:xfrm>
          <a:prstGeom prst="rect">
            <a:avLst/>
          </a:prstGeom>
        </p:spPr>
        <p:txBody>
          <a:bodyPr vert="horz" lIns="121917" tIns="60959" rIns="121917" bIns="60959" rtlCol="0" anchor="ctr">
            <a:normAutofit fontScale="97500"/>
          </a:bodyPr>
          <a:lstStyle>
            <a:lvl1pPr algn="ctr" defTabSz="914378" rtl="0" eaLnBrk="1" latinLnBrk="0" hangingPunct="1">
              <a:spcBef>
                <a:spcPct val="0"/>
              </a:spcBef>
              <a:buNone/>
              <a:defRPr sz="4400" kern="1200">
                <a:solidFill>
                  <a:schemeClr val="tx1"/>
                </a:solidFill>
                <a:latin typeface="+mj-lt"/>
                <a:ea typeface="+mj-ea"/>
                <a:cs typeface="+mj-cs"/>
              </a:defRPr>
            </a:lvl1pPr>
          </a:lstStyle>
          <a:p>
            <a:pPr marL="0" marR="0" lvl="0" indent="0" algn="l" defTabSz="1219170" rtl="0" eaLnBrk="1" fontAlgn="auto" latinLnBrk="0" hangingPunct="1">
              <a:lnSpc>
                <a:spcPct val="90000"/>
              </a:lnSpc>
              <a:spcBef>
                <a:spcPct val="0"/>
              </a:spcBef>
              <a:spcAft>
                <a:spcPts val="0"/>
              </a:spcAft>
              <a:buClr>
                <a:srgbClr val="000000"/>
              </a:buClr>
              <a:buSzTx/>
              <a:buFont typeface="Arial"/>
              <a:buNone/>
              <a:tabLst/>
              <a:defRPr/>
            </a:pPr>
            <a:r>
              <a:rPr kumimoji="0" lang="en-US" altLang="ko-KR" sz="3733" b="1" i="0" u="none" strike="noStrike" kern="1200" cap="none" spc="0" normalizeH="0" baseline="0" noProof="0" dirty="0">
                <a:ln>
                  <a:noFill/>
                </a:ln>
                <a:solidFill>
                  <a:srgbClr val="000000"/>
                </a:solidFill>
                <a:effectLst/>
                <a:uLnTx/>
                <a:uFillTx/>
                <a:latin typeface="Arial Narrow" panose="020B0604020202020204" pitchFamily="34" charset="0"/>
                <a:ea typeface="맑은 고딕" panose="020B0503020000020004" pitchFamily="34" charset="-127"/>
                <a:cs typeface="Arial Narrow" panose="020B0604020202020204" pitchFamily="34" charset="0"/>
                <a:sym typeface="Arial"/>
              </a:rPr>
              <a:t>IO + Chemo in BTC 1</a:t>
            </a:r>
            <a:r>
              <a:rPr kumimoji="0" lang="en-US" altLang="ko-KR" sz="3733" b="1" i="0" u="none" strike="noStrike" kern="1200" cap="none" spc="0" normalizeH="0" baseline="30000" noProof="0" dirty="0">
                <a:ln>
                  <a:noFill/>
                </a:ln>
                <a:solidFill>
                  <a:srgbClr val="000000"/>
                </a:solidFill>
                <a:effectLst/>
                <a:uLnTx/>
                <a:uFillTx/>
                <a:latin typeface="Arial Narrow" panose="020B0604020202020204" pitchFamily="34" charset="0"/>
                <a:ea typeface="맑은 고딕" panose="020B0503020000020004" pitchFamily="34" charset="-127"/>
                <a:cs typeface="Arial Narrow" panose="020B0604020202020204" pitchFamily="34" charset="0"/>
                <a:sym typeface="Arial"/>
              </a:rPr>
              <a:t>st</a:t>
            </a:r>
            <a:r>
              <a:rPr kumimoji="0" lang="en-US" altLang="ko-KR" sz="3733" b="1" i="0" u="none" strike="noStrike" kern="1200" cap="none" spc="0" normalizeH="0" baseline="0" noProof="0" dirty="0">
                <a:ln>
                  <a:noFill/>
                </a:ln>
                <a:solidFill>
                  <a:srgbClr val="000000"/>
                </a:solidFill>
                <a:effectLst/>
                <a:uLnTx/>
                <a:uFillTx/>
                <a:latin typeface="Arial Narrow" panose="020B0604020202020204" pitchFamily="34" charset="0"/>
                <a:ea typeface="맑은 고딕" panose="020B0503020000020004" pitchFamily="34" charset="-127"/>
                <a:cs typeface="Arial Narrow" panose="020B0604020202020204" pitchFamily="34" charset="0"/>
                <a:sym typeface="Arial"/>
              </a:rPr>
              <a:t> line: TOPAZ-1 Phase 3</a:t>
            </a:r>
          </a:p>
        </p:txBody>
      </p:sp>
      <p:sp>
        <p:nvSpPr>
          <p:cNvPr id="12" name="Textfeld 11">
            <a:extLst>
              <a:ext uri="{FF2B5EF4-FFF2-40B4-BE49-F238E27FC236}">
                <a16:creationId xmlns:a16="http://schemas.microsoft.com/office/drawing/2014/main" id="{DDEDC0E9-EBB9-ED4D-8A3C-3318BA3C6641}"/>
              </a:ext>
            </a:extLst>
          </p:cNvPr>
          <p:cNvSpPr txBox="1"/>
          <p:nvPr/>
        </p:nvSpPr>
        <p:spPr>
          <a:xfrm>
            <a:off x="386756" y="991669"/>
            <a:ext cx="6965368" cy="50276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de-DE" sz="2667" b="1" i="0" u="none" strike="noStrike" kern="0" cap="none" spc="0" normalizeH="0" baseline="0" noProof="0" dirty="0">
                <a:ln>
                  <a:noFill/>
                </a:ln>
                <a:solidFill>
                  <a:srgbClr val="000000"/>
                </a:solidFill>
                <a:effectLst/>
                <a:uLnTx/>
                <a:uFillTx/>
                <a:latin typeface="Arial"/>
                <a:cs typeface="Arial"/>
                <a:sym typeface="Arial"/>
              </a:rPr>
              <a:t>Relevant Subgroups: “</a:t>
            </a:r>
            <a:r>
              <a:rPr kumimoji="0" lang="de-DE" sz="2667" b="1" i="0" u="none" strike="noStrike" kern="0" cap="none" spc="0" normalizeH="0" baseline="0" noProof="0" dirty="0" err="1">
                <a:ln>
                  <a:noFill/>
                </a:ln>
                <a:solidFill>
                  <a:srgbClr val="000000"/>
                </a:solidFill>
                <a:effectLst/>
                <a:uLnTx/>
                <a:uFillTx/>
                <a:latin typeface="Arial"/>
                <a:cs typeface="Arial"/>
                <a:sym typeface="Arial"/>
              </a:rPr>
              <a:t>anatomic</a:t>
            </a:r>
            <a:r>
              <a:rPr kumimoji="0" lang="de-DE" sz="2667" b="1" i="0" u="none" strike="noStrike" kern="0" cap="none" spc="0" normalizeH="0" baseline="0" noProof="0" dirty="0">
                <a:ln>
                  <a:noFill/>
                </a:ln>
                <a:solidFill>
                  <a:srgbClr val="000000"/>
                </a:solidFill>
                <a:effectLst/>
                <a:uLnTx/>
                <a:uFillTx/>
                <a:latin typeface="Arial"/>
                <a:cs typeface="Arial"/>
                <a:sym typeface="Arial"/>
              </a:rPr>
              <a:t> </a:t>
            </a:r>
            <a:r>
              <a:rPr kumimoji="0" lang="de-DE" sz="2667" b="1" i="0" u="none" strike="noStrike" kern="0" cap="none" spc="0" normalizeH="0" baseline="0" noProof="0" dirty="0" err="1">
                <a:ln>
                  <a:noFill/>
                </a:ln>
                <a:solidFill>
                  <a:srgbClr val="000000"/>
                </a:solidFill>
                <a:effectLst/>
                <a:uLnTx/>
                <a:uFillTx/>
                <a:latin typeface="Arial"/>
                <a:cs typeface="Arial"/>
                <a:sym typeface="Arial"/>
              </a:rPr>
              <a:t>location</a:t>
            </a:r>
            <a:r>
              <a:rPr kumimoji="0" lang="de-DE" sz="2667" b="1" i="0" u="none" strike="noStrike" kern="0" cap="none" spc="0" normalizeH="0" baseline="0" noProof="0" dirty="0">
                <a:ln>
                  <a:noFill/>
                </a:ln>
                <a:solidFill>
                  <a:srgbClr val="000000"/>
                </a:solidFill>
                <a:effectLst/>
                <a:uLnTx/>
                <a:uFillTx/>
                <a:latin typeface="Arial"/>
                <a:cs typeface="Arial"/>
                <a:sym typeface="Arial"/>
              </a:rPr>
              <a:t>”</a:t>
            </a:r>
          </a:p>
        </p:txBody>
      </p:sp>
      <p:grpSp>
        <p:nvGrpSpPr>
          <p:cNvPr id="14" name="Gruppieren 13">
            <a:extLst>
              <a:ext uri="{FF2B5EF4-FFF2-40B4-BE49-F238E27FC236}">
                <a16:creationId xmlns:a16="http://schemas.microsoft.com/office/drawing/2014/main" id="{77EE377F-20F6-02F8-FC13-6FFB4C07B9A9}"/>
              </a:ext>
            </a:extLst>
          </p:cNvPr>
          <p:cNvGrpSpPr/>
          <p:nvPr/>
        </p:nvGrpSpPr>
        <p:grpSpPr>
          <a:xfrm>
            <a:off x="520426" y="4833933"/>
            <a:ext cx="5394717" cy="1780471"/>
            <a:chOff x="525962" y="3833661"/>
            <a:chExt cx="4046038" cy="1335353"/>
          </a:xfrm>
        </p:grpSpPr>
        <p:pic>
          <p:nvPicPr>
            <p:cNvPr id="13" name="Grafik 12">
              <a:extLst>
                <a:ext uri="{FF2B5EF4-FFF2-40B4-BE49-F238E27FC236}">
                  <a16:creationId xmlns:a16="http://schemas.microsoft.com/office/drawing/2014/main" id="{E39908D3-9ECB-E231-FE28-F1714E91E506}"/>
                </a:ext>
              </a:extLst>
            </p:cNvPr>
            <p:cNvPicPr>
              <a:picLocks noChangeAspect="1"/>
            </p:cNvPicPr>
            <p:nvPr/>
          </p:nvPicPr>
          <p:blipFill rotWithShape="1">
            <a:blip r:embed="rId4"/>
            <a:srcRect l="1099" t="72753" r="-1099" b="-5390"/>
            <a:stretch/>
          </p:blipFill>
          <p:spPr>
            <a:xfrm>
              <a:off x="567455" y="4227934"/>
              <a:ext cx="4004545" cy="941080"/>
            </a:xfrm>
            <a:prstGeom prst="rect">
              <a:avLst/>
            </a:prstGeom>
          </p:spPr>
        </p:pic>
        <p:pic>
          <p:nvPicPr>
            <p:cNvPr id="7" name="Grafik 6">
              <a:extLst>
                <a:ext uri="{FF2B5EF4-FFF2-40B4-BE49-F238E27FC236}">
                  <a16:creationId xmlns:a16="http://schemas.microsoft.com/office/drawing/2014/main" id="{DFAA7B3D-352A-0547-9F9B-5ECE6879C35E}"/>
                </a:ext>
              </a:extLst>
            </p:cNvPr>
            <p:cNvPicPr>
              <a:picLocks noChangeAspect="1"/>
            </p:cNvPicPr>
            <p:nvPr/>
          </p:nvPicPr>
          <p:blipFill rotWithShape="1">
            <a:blip r:embed="rId4"/>
            <a:srcRect t="31800" b="44400"/>
            <a:stretch/>
          </p:blipFill>
          <p:spPr>
            <a:xfrm>
              <a:off x="525962" y="3833661"/>
              <a:ext cx="4004545" cy="686256"/>
            </a:xfrm>
            <a:prstGeom prst="rect">
              <a:avLst/>
            </a:prstGeom>
          </p:spPr>
        </p:pic>
      </p:grpSp>
      <p:sp>
        <p:nvSpPr>
          <p:cNvPr id="15" name="Textfeld 14">
            <a:extLst>
              <a:ext uri="{FF2B5EF4-FFF2-40B4-BE49-F238E27FC236}">
                <a16:creationId xmlns:a16="http://schemas.microsoft.com/office/drawing/2014/main" id="{2F00BC65-5794-0811-4AB8-CA2E5FC4ADB4}"/>
              </a:ext>
            </a:extLst>
          </p:cNvPr>
          <p:cNvSpPr txBox="1"/>
          <p:nvPr/>
        </p:nvSpPr>
        <p:spPr>
          <a:xfrm>
            <a:off x="3852538" y="6355823"/>
            <a:ext cx="2007281"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de-DE" sz="1400" b="0" i="0" u="none" strike="noStrike" kern="0" cap="none" spc="0" normalizeH="0" baseline="0" noProof="0" dirty="0">
                <a:ln>
                  <a:noFill/>
                </a:ln>
                <a:solidFill>
                  <a:srgbClr val="FFFFFF">
                    <a:lumMod val="50000"/>
                  </a:srgbClr>
                </a:solidFill>
                <a:effectLst/>
                <a:uLnTx/>
                <a:uFillTx/>
                <a:latin typeface="Arial"/>
                <a:cs typeface="Arial"/>
                <a:sym typeface="Arial"/>
              </a:rPr>
              <a:t>Valle et al, NEJM 2010</a:t>
            </a:r>
          </a:p>
        </p:txBody>
      </p:sp>
      <p:sp>
        <p:nvSpPr>
          <p:cNvPr id="16" name="Textfeld 270">
            <a:extLst>
              <a:ext uri="{FF2B5EF4-FFF2-40B4-BE49-F238E27FC236}">
                <a16:creationId xmlns:a16="http://schemas.microsoft.com/office/drawing/2014/main" id="{BCA54276-1547-5841-A967-C243727AD171}"/>
              </a:ext>
            </a:extLst>
          </p:cNvPr>
          <p:cNvSpPr txBox="1"/>
          <p:nvPr/>
        </p:nvSpPr>
        <p:spPr>
          <a:xfrm>
            <a:off x="5824855" y="4917690"/>
            <a:ext cx="6096000" cy="276999"/>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dirty="0">
                <a:ln>
                  <a:noFill/>
                </a:ln>
                <a:solidFill>
                  <a:srgbClr val="000000"/>
                </a:solidFill>
                <a:effectLst/>
                <a:uLnTx/>
                <a:uFillTx/>
                <a:latin typeface="Arial" panose="020B0604020202020204" pitchFamily="34" charset="0"/>
                <a:cs typeface="Arial"/>
                <a:sym typeface="Arial"/>
              </a:rPr>
              <a:t>Oh D-Y et al. Gastrointestinal Cancers Symposium 2022.</a:t>
            </a:r>
          </a:p>
        </p:txBody>
      </p:sp>
    </p:spTree>
    <p:extLst>
      <p:ext uri="{BB962C8B-B14F-4D97-AF65-F5344CB8AC3E}">
        <p14:creationId xmlns:p14="http://schemas.microsoft.com/office/powerpoint/2010/main" val="4724989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b="20158"/>
          <a:stretch/>
        </p:blipFill>
        <p:spPr bwMode="auto">
          <a:xfrm>
            <a:off x="778529" y="2464068"/>
            <a:ext cx="9258532" cy="41580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extfeld 4">
            <a:extLst>
              <a:ext uri="{FF2B5EF4-FFF2-40B4-BE49-F238E27FC236}">
                <a16:creationId xmlns:a16="http://schemas.microsoft.com/office/drawing/2014/main" id="{1DF99684-E9CD-E34E-97ED-D649C9240EF7}"/>
              </a:ext>
            </a:extLst>
          </p:cNvPr>
          <p:cNvSpPr txBox="1"/>
          <p:nvPr/>
        </p:nvSpPr>
        <p:spPr>
          <a:xfrm>
            <a:off x="1199457" y="2187068"/>
            <a:ext cx="5617243"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de-DE" sz="2800" b="0" i="0" u="none" strike="noStrike" kern="0" cap="none" spc="0" normalizeH="0" baseline="0" noProof="0" dirty="0" err="1">
                <a:ln>
                  <a:noFill/>
                </a:ln>
                <a:solidFill>
                  <a:srgbClr val="FFFFFF">
                    <a:lumMod val="50000"/>
                  </a:srgbClr>
                </a:solidFill>
                <a:effectLst/>
                <a:uLnTx/>
                <a:uFillTx/>
                <a:latin typeface="Arial Narrow" panose="020B0604020202020204" pitchFamily="34" charset="0"/>
                <a:cs typeface="Arial Narrow" panose="020B0604020202020204" pitchFamily="34" charset="0"/>
                <a:sym typeface="Arial"/>
              </a:rPr>
              <a:t>No</a:t>
            </a:r>
            <a:r>
              <a:rPr kumimoji="0" lang="de-DE" sz="2800" b="0" i="0" u="none" strike="noStrike" kern="0" cap="none" spc="0" normalizeH="0" baseline="0" noProof="0" dirty="0">
                <a:ln>
                  <a:noFill/>
                </a:ln>
                <a:solidFill>
                  <a:srgbClr val="FFFFFF">
                    <a:lumMod val="50000"/>
                  </a:srgbClr>
                </a:solidFill>
                <a:effectLst/>
                <a:uLnTx/>
                <a:uFillTx/>
                <a:latin typeface="Arial Narrow" panose="020B0604020202020204" pitchFamily="34" charset="0"/>
                <a:cs typeface="Arial Narrow" panose="020B0604020202020204" pitchFamily="34" charset="0"/>
                <a:sym typeface="Arial"/>
              </a:rPr>
              <a:t> </a:t>
            </a:r>
            <a:r>
              <a:rPr kumimoji="0" lang="de-DE" sz="2800" b="0" i="0" u="none" strike="noStrike" kern="0" cap="none" spc="0" normalizeH="0" baseline="0" noProof="0" dirty="0" err="1">
                <a:ln>
                  <a:noFill/>
                </a:ln>
                <a:solidFill>
                  <a:srgbClr val="FFFFFF">
                    <a:lumMod val="50000"/>
                  </a:srgbClr>
                </a:solidFill>
                <a:effectLst/>
                <a:uLnTx/>
                <a:uFillTx/>
                <a:latin typeface="Arial Narrow" panose="020B0604020202020204" pitchFamily="34" charset="0"/>
                <a:cs typeface="Arial Narrow" panose="020B0604020202020204" pitchFamily="34" charset="0"/>
                <a:sym typeface="Arial"/>
              </a:rPr>
              <a:t>added</a:t>
            </a:r>
            <a:r>
              <a:rPr kumimoji="0" lang="de-DE" sz="2800" b="0" i="0" u="none" strike="noStrike" kern="0" cap="none" spc="0" normalizeH="0" baseline="0" noProof="0" dirty="0">
                <a:ln>
                  <a:noFill/>
                </a:ln>
                <a:solidFill>
                  <a:srgbClr val="FFFFFF">
                    <a:lumMod val="50000"/>
                  </a:srgbClr>
                </a:solidFill>
                <a:effectLst/>
                <a:uLnTx/>
                <a:uFillTx/>
                <a:latin typeface="Arial Narrow" panose="020B0604020202020204" pitchFamily="34" charset="0"/>
                <a:cs typeface="Arial Narrow" panose="020B0604020202020204" pitchFamily="34" charset="0"/>
                <a:sym typeface="Arial"/>
              </a:rPr>
              <a:t> </a:t>
            </a:r>
            <a:r>
              <a:rPr kumimoji="0" lang="de-DE" sz="2800" b="0" i="0" u="none" strike="noStrike" kern="0" cap="none" spc="0" normalizeH="0" baseline="0" noProof="0" dirty="0" err="1">
                <a:ln>
                  <a:noFill/>
                </a:ln>
                <a:solidFill>
                  <a:srgbClr val="FFFFFF">
                    <a:lumMod val="50000"/>
                  </a:srgbClr>
                </a:solidFill>
                <a:effectLst/>
                <a:uLnTx/>
                <a:uFillTx/>
                <a:latin typeface="Arial Narrow" panose="020B0604020202020204" pitchFamily="34" charset="0"/>
                <a:cs typeface="Arial Narrow" panose="020B0604020202020204" pitchFamily="34" charset="0"/>
                <a:sym typeface="Arial"/>
              </a:rPr>
              <a:t>Durvalumab-associated</a:t>
            </a:r>
            <a:r>
              <a:rPr kumimoji="0" lang="de-DE" sz="2800" b="0" i="0" u="none" strike="noStrike" kern="0" cap="none" spc="0" normalizeH="0" baseline="0" noProof="0" dirty="0">
                <a:ln>
                  <a:noFill/>
                </a:ln>
                <a:solidFill>
                  <a:srgbClr val="FFFFFF">
                    <a:lumMod val="50000"/>
                  </a:srgbClr>
                </a:solidFill>
                <a:effectLst/>
                <a:uLnTx/>
                <a:uFillTx/>
                <a:latin typeface="Arial Narrow" panose="020B0604020202020204" pitchFamily="34" charset="0"/>
                <a:cs typeface="Arial Narrow" panose="020B0604020202020204" pitchFamily="34" charset="0"/>
                <a:sym typeface="Arial"/>
              </a:rPr>
              <a:t> </a:t>
            </a:r>
            <a:r>
              <a:rPr kumimoji="0" lang="de-DE" sz="2800" b="0" i="0" u="none" strike="noStrike" kern="0" cap="none" spc="0" normalizeH="0" baseline="0" noProof="0" dirty="0" err="1">
                <a:ln>
                  <a:noFill/>
                </a:ln>
                <a:solidFill>
                  <a:srgbClr val="FFFFFF">
                    <a:lumMod val="50000"/>
                  </a:srgbClr>
                </a:solidFill>
                <a:effectLst/>
                <a:uLnTx/>
                <a:uFillTx/>
                <a:latin typeface="Arial Narrow" panose="020B0604020202020204" pitchFamily="34" charset="0"/>
                <a:cs typeface="Arial Narrow" panose="020B0604020202020204" pitchFamily="34" charset="0"/>
                <a:sym typeface="Arial"/>
              </a:rPr>
              <a:t>toxicity</a:t>
            </a:r>
            <a:endParaRPr kumimoji="0" lang="de-DE" sz="2800" b="0" i="0" u="none" strike="noStrike" kern="0" cap="none" spc="0" normalizeH="0" baseline="0" noProof="0" dirty="0">
              <a:ln>
                <a:noFill/>
              </a:ln>
              <a:solidFill>
                <a:srgbClr val="FFFFFF">
                  <a:lumMod val="50000"/>
                </a:srgbClr>
              </a:solidFill>
              <a:effectLst/>
              <a:uLnTx/>
              <a:uFillTx/>
              <a:latin typeface="Arial Narrow" panose="020B0604020202020204" pitchFamily="34" charset="0"/>
              <a:cs typeface="Arial Narrow" panose="020B0604020202020204" pitchFamily="34" charset="0"/>
              <a:sym typeface="Arial"/>
            </a:endParaRPr>
          </a:p>
        </p:txBody>
      </p:sp>
      <p:pic>
        <p:nvPicPr>
          <p:cNvPr id="6" name="Picture 2">
            <a:extLst>
              <a:ext uri="{FF2B5EF4-FFF2-40B4-BE49-F238E27FC236}">
                <a16:creationId xmlns:a16="http://schemas.microsoft.com/office/drawing/2014/main" id="{2D9723DC-C31E-C646-BB80-2725C75AED8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49776" b="43365"/>
          <a:stretch/>
        </p:blipFill>
        <p:spPr bwMode="auto">
          <a:xfrm>
            <a:off x="778529" y="1823672"/>
            <a:ext cx="9258532" cy="3571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itel 2">
            <a:extLst>
              <a:ext uri="{FF2B5EF4-FFF2-40B4-BE49-F238E27FC236}">
                <a16:creationId xmlns:a16="http://schemas.microsoft.com/office/drawing/2014/main" id="{FE21C4E6-39CA-2A44-B27E-B867105DA11D}"/>
              </a:ext>
            </a:extLst>
          </p:cNvPr>
          <p:cNvSpPr txBox="1">
            <a:spLocks/>
          </p:cNvSpPr>
          <p:nvPr/>
        </p:nvSpPr>
        <p:spPr>
          <a:xfrm>
            <a:off x="316083" y="194400"/>
            <a:ext cx="11687535" cy="930344"/>
          </a:xfrm>
          <a:prstGeom prst="rect">
            <a:avLst/>
          </a:prstGeom>
        </p:spPr>
        <p:txBody>
          <a:bodyPr vert="horz" lIns="121917" tIns="60959" rIns="121917" bIns="60959" rtlCol="0" anchor="ctr">
            <a:normAutofit fontScale="97500"/>
          </a:bodyPr>
          <a:lstStyle>
            <a:lvl1pPr algn="ctr" defTabSz="914378" rtl="0" eaLnBrk="1" latinLnBrk="0" hangingPunct="1">
              <a:spcBef>
                <a:spcPct val="0"/>
              </a:spcBef>
              <a:buNone/>
              <a:defRPr sz="4400" kern="1200">
                <a:solidFill>
                  <a:schemeClr val="tx1"/>
                </a:solidFill>
                <a:latin typeface="+mj-lt"/>
                <a:ea typeface="+mj-ea"/>
                <a:cs typeface="+mj-cs"/>
              </a:defRPr>
            </a:lvl1pPr>
          </a:lstStyle>
          <a:p>
            <a:pPr marL="0" marR="0" lvl="0" indent="0" algn="l" defTabSz="1219170" rtl="0" eaLnBrk="1" fontAlgn="auto" latinLnBrk="0" hangingPunct="1">
              <a:lnSpc>
                <a:spcPct val="90000"/>
              </a:lnSpc>
              <a:spcBef>
                <a:spcPct val="0"/>
              </a:spcBef>
              <a:spcAft>
                <a:spcPts val="0"/>
              </a:spcAft>
              <a:buClr>
                <a:srgbClr val="000000"/>
              </a:buClr>
              <a:buSzTx/>
              <a:buFont typeface="Arial"/>
              <a:buNone/>
              <a:tabLst/>
              <a:defRPr/>
            </a:pPr>
            <a:r>
              <a:rPr kumimoji="0" lang="en-US" altLang="ko-KR" sz="3733" b="1" i="0" u="none" strike="noStrike" kern="1200" cap="none" spc="0" normalizeH="0" baseline="0" noProof="0" dirty="0">
                <a:ln>
                  <a:noFill/>
                </a:ln>
                <a:solidFill>
                  <a:srgbClr val="000000"/>
                </a:solidFill>
                <a:effectLst/>
                <a:uLnTx/>
                <a:uFillTx/>
                <a:latin typeface="Arial Narrow" panose="020B0604020202020204" pitchFamily="34" charset="0"/>
                <a:ea typeface="맑은 고딕" panose="020B0503020000020004" pitchFamily="34" charset="-127"/>
                <a:cs typeface="Arial Narrow" panose="020B0604020202020204" pitchFamily="34" charset="0"/>
                <a:sym typeface="Arial"/>
              </a:rPr>
              <a:t>IO + Chemo in BTC 1</a:t>
            </a:r>
            <a:r>
              <a:rPr kumimoji="0" lang="en-US" altLang="ko-KR" sz="3733" b="1" i="0" u="none" strike="noStrike" kern="1200" cap="none" spc="0" normalizeH="0" baseline="30000" noProof="0" dirty="0">
                <a:ln>
                  <a:noFill/>
                </a:ln>
                <a:solidFill>
                  <a:srgbClr val="000000"/>
                </a:solidFill>
                <a:effectLst/>
                <a:uLnTx/>
                <a:uFillTx/>
                <a:latin typeface="Arial Narrow" panose="020B0604020202020204" pitchFamily="34" charset="0"/>
                <a:ea typeface="맑은 고딕" panose="020B0503020000020004" pitchFamily="34" charset="-127"/>
                <a:cs typeface="Arial Narrow" panose="020B0604020202020204" pitchFamily="34" charset="0"/>
                <a:sym typeface="Arial"/>
              </a:rPr>
              <a:t>st</a:t>
            </a:r>
            <a:r>
              <a:rPr kumimoji="0" lang="en-US" altLang="ko-KR" sz="3733" b="1" i="0" u="none" strike="noStrike" kern="1200" cap="none" spc="0" normalizeH="0" baseline="0" noProof="0" dirty="0">
                <a:ln>
                  <a:noFill/>
                </a:ln>
                <a:solidFill>
                  <a:srgbClr val="000000"/>
                </a:solidFill>
                <a:effectLst/>
                <a:uLnTx/>
                <a:uFillTx/>
                <a:latin typeface="Arial Narrow" panose="020B0604020202020204" pitchFamily="34" charset="0"/>
                <a:ea typeface="맑은 고딕" panose="020B0503020000020004" pitchFamily="34" charset="-127"/>
                <a:cs typeface="Arial Narrow" panose="020B0604020202020204" pitchFamily="34" charset="0"/>
                <a:sym typeface="Arial"/>
              </a:rPr>
              <a:t> line: TOPAZ-1 Phase 3</a:t>
            </a:r>
          </a:p>
        </p:txBody>
      </p:sp>
      <p:sp>
        <p:nvSpPr>
          <p:cNvPr id="9" name="Abgerundetes Rechteck 8">
            <a:extLst>
              <a:ext uri="{FF2B5EF4-FFF2-40B4-BE49-F238E27FC236}">
                <a16:creationId xmlns:a16="http://schemas.microsoft.com/office/drawing/2014/main" id="{71C00D02-56A7-724C-AF22-50822106F740}"/>
              </a:ext>
            </a:extLst>
          </p:cNvPr>
          <p:cNvSpPr/>
          <p:nvPr/>
        </p:nvSpPr>
        <p:spPr>
          <a:xfrm>
            <a:off x="1199456" y="3717032"/>
            <a:ext cx="8426309" cy="672075"/>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de-DE" sz="2489" b="0" i="0" u="none" strike="noStrike" kern="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sym typeface="Arial"/>
            </a:endParaRPr>
          </a:p>
        </p:txBody>
      </p:sp>
      <p:sp>
        <p:nvSpPr>
          <p:cNvPr id="8" name="Textfeld 7">
            <a:extLst>
              <a:ext uri="{FF2B5EF4-FFF2-40B4-BE49-F238E27FC236}">
                <a16:creationId xmlns:a16="http://schemas.microsoft.com/office/drawing/2014/main" id="{5B500A31-3B36-904B-874C-8FB6A960DEA7}"/>
              </a:ext>
            </a:extLst>
          </p:cNvPr>
          <p:cNvSpPr txBox="1"/>
          <p:nvPr/>
        </p:nvSpPr>
        <p:spPr>
          <a:xfrm>
            <a:off x="9983756" y="3252849"/>
            <a:ext cx="2172185" cy="23906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de-DE" sz="2489" b="0" i="0" u="none" strike="noStrike" kern="0" cap="none" spc="0" normalizeH="0" baseline="0" noProof="0" dirty="0" err="1">
                <a:ln>
                  <a:noFill/>
                </a:ln>
                <a:solidFill>
                  <a:srgbClr val="000000"/>
                </a:solidFill>
                <a:effectLst/>
                <a:uLnTx/>
                <a:uFillTx/>
                <a:latin typeface="Arial Narrow" panose="020B0604020202020204" pitchFamily="34" charset="0"/>
                <a:cs typeface="Arial Narrow" panose="020B0604020202020204" pitchFamily="34" charset="0"/>
                <a:sym typeface="Arial"/>
              </a:rPr>
              <a:t>irAE</a:t>
            </a:r>
            <a:r>
              <a:rPr kumimoji="0" lang="de-DE" sz="2489" b="0"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rPr>
              <a:t>: 12.7% </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de-DE" sz="2489" b="0"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de-DE" sz="2489" b="0"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rPr>
              <a:t>9.5% </a:t>
            </a:r>
            <a:r>
              <a:rPr kumimoji="0" lang="de-DE" sz="2489" b="0" i="0" u="none" strike="noStrike" kern="0" cap="none" spc="0" normalizeH="0" baseline="0" noProof="0" dirty="0" err="1">
                <a:ln>
                  <a:noFill/>
                </a:ln>
                <a:solidFill>
                  <a:srgbClr val="000000"/>
                </a:solidFill>
                <a:effectLst/>
                <a:uLnTx/>
                <a:uFillTx/>
                <a:latin typeface="Arial Narrow" panose="020B0604020202020204" pitchFamily="34" charset="0"/>
                <a:cs typeface="Arial Narrow" panose="020B0604020202020204" pitchFamily="34" charset="0"/>
                <a:sym typeface="Arial"/>
              </a:rPr>
              <a:t>Hypothyroid</a:t>
            </a:r>
            <a:r>
              <a:rPr kumimoji="0" lang="de-DE" sz="2489" b="0"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rPr>
              <a:t> </a:t>
            </a:r>
            <a:r>
              <a:rPr kumimoji="0" lang="de-DE" sz="2489" b="0" i="0" u="none" strike="noStrike" kern="0" cap="none" spc="0" normalizeH="0" baseline="0" noProof="0" dirty="0" err="1">
                <a:ln>
                  <a:noFill/>
                </a:ln>
                <a:solidFill>
                  <a:srgbClr val="000000"/>
                </a:solidFill>
                <a:effectLst/>
                <a:uLnTx/>
                <a:uFillTx/>
                <a:latin typeface="Arial Narrow" panose="020B0604020202020204" pitchFamily="34" charset="0"/>
                <a:cs typeface="Arial Narrow" panose="020B0604020202020204" pitchFamily="34" charset="0"/>
                <a:sym typeface="Arial"/>
              </a:rPr>
              <a:t>events</a:t>
            </a:r>
            <a:r>
              <a:rPr kumimoji="0" lang="de-DE" sz="2489" b="0"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rPr>
              <a:t> </a:t>
            </a:r>
            <a:r>
              <a:rPr kumimoji="0" lang="de-DE" sz="2489" b="0" i="0" u="none" strike="noStrike" kern="0" cap="none" spc="0" normalizeH="0" baseline="0" noProof="0" dirty="0" err="1">
                <a:ln>
                  <a:noFill/>
                </a:ln>
                <a:solidFill>
                  <a:srgbClr val="000000"/>
                </a:solidFill>
                <a:effectLst/>
                <a:uLnTx/>
                <a:uFillTx/>
                <a:latin typeface="Arial Narrow" panose="020B0604020202020204" pitchFamily="34" charset="0"/>
                <a:cs typeface="Arial Narrow" panose="020B0604020202020204" pitchFamily="34" charset="0"/>
                <a:sym typeface="Arial"/>
              </a:rPr>
              <a:t>or</a:t>
            </a:r>
            <a:r>
              <a:rPr kumimoji="0" lang="de-DE" sz="2489" b="0"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rPr>
              <a:t> Dermatitis</a:t>
            </a:r>
          </a:p>
        </p:txBody>
      </p:sp>
      <p:sp>
        <p:nvSpPr>
          <p:cNvPr id="11" name="Textfeld 10">
            <a:extLst>
              <a:ext uri="{FF2B5EF4-FFF2-40B4-BE49-F238E27FC236}">
                <a16:creationId xmlns:a16="http://schemas.microsoft.com/office/drawing/2014/main" id="{8BF254C2-03EA-1847-B4A5-207CA76F0EE6}"/>
              </a:ext>
            </a:extLst>
          </p:cNvPr>
          <p:cNvSpPr txBox="1"/>
          <p:nvPr/>
        </p:nvSpPr>
        <p:spPr>
          <a:xfrm>
            <a:off x="335361" y="991669"/>
            <a:ext cx="3190297" cy="50276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de-DE" sz="2667" b="1" i="0" u="none" strike="noStrike" kern="0" cap="none" spc="0" normalizeH="0" baseline="0" noProof="0" dirty="0" err="1">
                <a:ln>
                  <a:noFill/>
                </a:ln>
                <a:solidFill>
                  <a:srgbClr val="000000"/>
                </a:solidFill>
                <a:effectLst/>
                <a:uLnTx/>
                <a:uFillTx/>
                <a:latin typeface="Arial Narrow" panose="020B0604020202020204" pitchFamily="34" charset="0"/>
                <a:cs typeface="Arial Narrow" panose="020B0604020202020204" pitchFamily="34" charset="0"/>
                <a:sym typeface="Arial"/>
              </a:rPr>
              <a:t>Adverse</a:t>
            </a:r>
            <a:r>
              <a:rPr kumimoji="0" lang="de-DE" sz="2667" b="1"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rPr>
              <a:t> </a:t>
            </a:r>
            <a:r>
              <a:rPr kumimoji="0" lang="de-DE" sz="2667" b="1" i="0" u="none" strike="noStrike" kern="0" cap="none" spc="0" normalizeH="0" baseline="0" noProof="0" dirty="0" err="1">
                <a:ln>
                  <a:noFill/>
                </a:ln>
                <a:solidFill>
                  <a:srgbClr val="000000"/>
                </a:solidFill>
                <a:effectLst/>
                <a:uLnTx/>
                <a:uFillTx/>
                <a:latin typeface="Arial Narrow" panose="020B0604020202020204" pitchFamily="34" charset="0"/>
                <a:cs typeface="Arial Narrow" panose="020B0604020202020204" pitchFamily="34" charset="0"/>
                <a:sym typeface="Arial"/>
              </a:rPr>
              <a:t>events</a:t>
            </a:r>
            <a:r>
              <a:rPr kumimoji="0" lang="de-DE" sz="2667" b="1"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rPr>
              <a:t> </a:t>
            </a:r>
            <a:r>
              <a:rPr kumimoji="0" lang="de-DE" sz="2667" b="1" i="0" u="none" strike="noStrike" kern="0" cap="none" spc="0" normalizeH="0" baseline="0" noProof="0" dirty="0" err="1">
                <a:ln>
                  <a:noFill/>
                </a:ln>
                <a:solidFill>
                  <a:srgbClr val="000000"/>
                </a:solidFill>
                <a:effectLst/>
                <a:uLnTx/>
                <a:uFillTx/>
                <a:latin typeface="Arial Narrow" panose="020B0604020202020204" pitchFamily="34" charset="0"/>
                <a:cs typeface="Arial Narrow" panose="020B0604020202020204" pitchFamily="34" charset="0"/>
                <a:sym typeface="Arial"/>
              </a:rPr>
              <a:t>profile</a:t>
            </a:r>
            <a:endParaRPr kumimoji="0" lang="de-DE" sz="2667" b="1"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endParaRPr>
          </a:p>
        </p:txBody>
      </p:sp>
      <p:pic>
        <p:nvPicPr>
          <p:cNvPr id="13" name="Picture 2">
            <a:extLst>
              <a:ext uri="{FF2B5EF4-FFF2-40B4-BE49-F238E27FC236}">
                <a16:creationId xmlns:a16="http://schemas.microsoft.com/office/drawing/2014/main" id="{62780B49-F23A-A74D-B344-D10866FCEA3B}"/>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49017" t="11243" b="76937"/>
          <a:stretch/>
        </p:blipFill>
        <p:spPr bwMode="auto">
          <a:xfrm>
            <a:off x="5316737" y="1103618"/>
            <a:ext cx="4720324" cy="6155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Textfeld 270">
            <a:extLst>
              <a:ext uri="{FF2B5EF4-FFF2-40B4-BE49-F238E27FC236}">
                <a16:creationId xmlns:a16="http://schemas.microsoft.com/office/drawing/2014/main" id="{49958030-80D8-D647-8470-6B64B439DA5E}"/>
              </a:ext>
            </a:extLst>
          </p:cNvPr>
          <p:cNvSpPr txBox="1"/>
          <p:nvPr/>
        </p:nvSpPr>
        <p:spPr>
          <a:xfrm>
            <a:off x="63850" y="6525100"/>
            <a:ext cx="6096000"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dirty="0">
                <a:ln>
                  <a:noFill/>
                </a:ln>
                <a:solidFill>
                  <a:srgbClr val="000000"/>
                </a:solidFill>
                <a:effectLst/>
                <a:uLnTx/>
                <a:uFillTx/>
                <a:latin typeface="Arial" panose="020B0604020202020204" pitchFamily="34" charset="0"/>
                <a:cs typeface="Arial"/>
                <a:sym typeface="Arial"/>
              </a:rPr>
              <a:t>Oh D-Y et al. Gastrointestinal Cancers Symposium 2022.</a:t>
            </a:r>
          </a:p>
        </p:txBody>
      </p:sp>
    </p:spTree>
    <p:extLst>
      <p:ext uri="{BB962C8B-B14F-4D97-AF65-F5344CB8AC3E}">
        <p14:creationId xmlns:p14="http://schemas.microsoft.com/office/powerpoint/2010/main" val="3779068667"/>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8" grpId="0"/>
    </p:bld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008D320-73FD-A3DB-3594-F869B0FB6268}"/>
              </a:ext>
            </a:extLst>
          </p:cNvPr>
          <p:cNvSpPr>
            <a:spLocks noGrp="1"/>
          </p:cNvSpPr>
          <p:nvPr>
            <p:ph type="title"/>
          </p:nvPr>
        </p:nvSpPr>
        <p:spPr>
          <a:xfrm>
            <a:off x="319832" y="195567"/>
            <a:ext cx="10972800" cy="1143000"/>
          </a:xfrm>
        </p:spPr>
        <p:txBody>
          <a:bodyPr/>
          <a:lstStyle/>
          <a:p>
            <a:r>
              <a:rPr lang="de-DE" sz="3733" b="1" dirty="0">
                <a:solidFill>
                  <a:schemeClr val="tx1"/>
                </a:solidFill>
                <a:latin typeface="Arial Narrow" panose="020B0604020202020204" pitchFamily="34" charset="0"/>
                <a:cs typeface="Arial Narrow" panose="020B0604020202020204" pitchFamily="34" charset="0"/>
              </a:rPr>
              <a:t>TOPAZ update @ ESMO 2022</a:t>
            </a:r>
          </a:p>
        </p:txBody>
      </p:sp>
      <p:pic>
        <p:nvPicPr>
          <p:cNvPr id="4" name="Inhaltsplatzhalter 3">
            <a:extLst>
              <a:ext uri="{FF2B5EF4-FFF2-40B4-BE49-F238E27FC236}">
                <a16:creationId xmlns:a16="http://schemas.microsoft.com/office/drawing/2014/main" id="{DA111510-A17E-85A1-D658-FA7E4EA8F37F}"/>
              </a:ext>
            </a:extLst>
          </p:cNvPr>
          <p:cNvPicPr>
            <a:picLocks noGrp="1" noChangeAspect="1"/>
          </p:cNvPicPr>
          <p:nvPr>
            <p:ph idx="1"/>
          </p:nvPr>
        </p:nvPicPr>
        <p:blipFill rotWithShape="1">
          <a:blip r:embed="rId3"/>
          <a:srcRect l="9680" r="1724" b="19643"/>
          <a:stretch/>
        </p:blipFill>
        <p:spPr>
          <a:xfrm>
            <a:off x="103174" y="1244501"/>
            <a:ext cx="4936709" cy="2581639"/>
          </a:xfrm>
          <a:prstGeom prst="rect">
            <a:avLst/>
          </a:prstGeom>
        </p:spPr>
      </p:pic>
      <p:pic>
        <p:nvPicPr>
          <p:cNvPr id="5" name="Grafik 4">
            <a:extLst>
              <a:ext uri="{FF2B5EF4-FFF2-40B4-BE49-F238E27FC236}">
                <a16:creationId xmlns:a16="http://schemas.microsoft.com/office/drawing/2014/main" id="{6B53FF1D-2666-5C51-F45F-FDD2E6E42141}"/>
              </a:ext>
            </a:extLst>
          </p:cNvPr>
          <p:cNvPicPr>
            <a:picLocks noChangeAspect="1"/>
          </p:cNvPicPr>
          <p:nvPr/>
        </p:nvPicPr>
        <p:blipFill rotWithShape="1">
          <a:blip r:embed="rId4"/>
          <a:srcRect l="1022" r="1" b="8932"/>
          <a:stretch/>
        </p:blipFill>
        <p:spPr>
          <a:xfrm>
            <a:off x="5135894" y="1244500"/>
            <a:ext cx="6952933" cy="3560477"/>
          </a:xfrm>
          <a:prstGeom prst="rect">
            <a:avLst/>
          </a:prstGeom>
        </p:spPr>
      </p:pic>
      <p:pic>
        <p:nvPicPr>
          <p:cNvPr id="7" name="Grafik 6">
            <a:extLst>
              <a:ext uri="{FF2B5EF4-FFF2-40B4-BE49-F238E27FC236}">
                <a16:creationId xmlns:a16="http://schemas.microsoft.com/office/drawing/2014/main" id="{02D6EC86-FAB0-BC3C-5C63-E4D4DFCDB7B3}"/>
              </a:ext>
            </a:extLst>
          </p:cNvPr>
          <p:cNvPicPr>
            <a:picLocks noChangeAspect="1"/>
          </p:cNvPicPr>
          <p:nvPr/>
        </p:nvPicPr>
        <p:blipFill>
          <a:blip r:embed="rId5"/>
          <a:stretch>
            <a:fillRect/>
          </a:stretch>
        </p:blipFill>
        <p:spPr>
          <a:xfrm>
            <a:off x="431371" y="3984226"/>
            <a:ext cx="3744416" cy="2709137"/>
          </a:xfrm>
          <a:prstGeom prst="rect">
            <a:avLst/>
          </a:prstGeom>
        </p:spPr>
      </p:pic>
      <p:grpSp>
        <p:nvGrpSpPr>
          <p:cNvPr id="24" name="Gruppieren 23">
            <a:extLst>
              <a:ext uri="{FF2B5EF4-FFF2-40B4-BE49-F238E27FC236}">
                <a16:creationId xmlns:a16="http://schemas.microsoft.com/office/drawing/2014/main" id="{FCC6DD2E-A3B2-B9B1-1140-C37E2B196B84}"/>
              </a:ext>
            </a:extLst>
          </p:cNvPr>
          <p:cNvGrpSpPr/>
          <p:nvPr/>
        </p:nvGrpSpPr>
        <p:grpSpPr>
          <a:xfrm>
            <a:off x="2447596" y="2118452"/>
            <a:ext cx="7241573" cy="2985048"/>
            <a:chOff x="1835697" y="1588839"/>
            <a:chExt cx="5431180" cy="2238786"/>
          </a:xfrm>
        </p:grpSpPr>
        <p:grpSp>
          <p:nvGrpSpPr>
            <p:cNvPr id="23" name="Gruppieren 22">
              <a:extLst>
                <a:ext uri="{FF2B5EF4-FFF2-40B4-BE49-F238E27FC236}">
                  <a16:creationId xmlns:a16="http://schemas.microsoft.com/office/drawing/2014/main" id="{FDC27BF0-228C-7D90-54AC-BAF4CD81DB61}"/>
                </a:ext>
              </a:extLst>
            </p:cNvPr>
            <p:cNvGrpSpPr/>
            <p:nvPr/>
          </p:nvGrpSpPr>
          <p:grpSpPr>
            <a:xfrm>
              <a:off x="4847346" y="1588839"/>
              <a:ext cx="2419531" cy="843364"/>
              <a:chOff x="4847346" y="1588839"/>
              <a:chExt cx="2419531" cy="843364"/>
            </a:xfrm>
          </p:grpSpPr>
          <p:sp>
            <p:nvSpPr>
              <p:cNvPr id="9" name="Oval 8">
                <a:extLst>
                  <a:ext uri="{FF2B5EF4-FFF2-40B4-BE49-F238E27FC236}">
                    <a16:creationId xmlns:a16="http://schemas.microsoft.com/office/drawing/2014/main" id="{1298DFFE-E701-1E07-A18C-0D9859724DD4}"/>
                  </a:ext>
                </a:extLst>
              </p:cNvPr>
              <p:cNvSpPr/>
              <p:nvPr/>
            </p:nvSpPr>
            <p:spPr>
              <a:xfrm rot="2223185">
                <a:off x="4847346" y="1588839"/>
                <a:ext cx="993337" cy="290771"/>
              </a:xfrm>
              <a:prstGeom prst="ellipse">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de-DE" sz="2489" b="0" i="0" u="none" strike="noStrike" kern="0" cap="none" spc="0" normalizeH="0" baseline="0" noProof="0" dirty="0">
                  <a:ln>
                    <a:noFill/>
                  </a:ln>
                  <a:solidFill>
                    <a:srgbClr val="FFFFFF"/>
                  </a:solidFill>
                  <a:effectLst/>
                  <a:uLnTx/>
                  <a:uFillTx/>
                  <a:latin typeface="Arial"/>
                  <a:ea typeface="+mn-ea"/>
                  <a:cs typeface="+mn-cs"/>
                  <a:sym typeface="Arial"/>
                </a:endParaRPr>
              </a:p>
            </p:txBody>
          </p:sp>
          <p:sp>
            <p:nvSpPr>
              <p:cNvPr id="10" name="Oval 9">
                <a:extLst>
                  <a:ext uri="{FF2B5EF4-FFF2-40B4-BE49-F238E27FC236}">
                    <a16:creationId xmlns:a16="http://schemas.microsoft.com/office/drawing/2014/main" id="{92CD7839-5053-6B3C-50AD-072C87B31331}"/>
                  </a:ext>
                </a:extLst>
              </p:cNvPr>
              <p:cNvSpPr/>
              <p:nvPr/>
            </p:nvSpPr>
            <p:spPr>
              <a:xfrm rot="1263816">
                <a:off x="5724862" y="2141432"/>
                <a:ext cx="1542015" cy="290771"/>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de-DE" sz="2489" b="0" i="0" u="none" strike="noStrike" kern="0" cap="none" spc="0" normalizeH="0" baseline="0" noProof="0" dirty="0">
                  <a:ln>
                    <a:noFill/>
                  </a:ln>
                  <a:solidFill>
                    <a:srgbClr val="00B050"/>
                  </a:solidFill>
                  <a:effectLst/>
                  <a:uLnTx/>
                  <a:uFillTx/>
                  <a:latin typeface="Arial"/>
                  <a:ea typeface="+mn-ea"/>
                  <a:cs typeface="+mn-cs"/>
                  <a:sym typeface="Arial"/>
                </a:endParaRPr>
              </a:p>
            </p:txBody>
          </p:sp>
        </p:grpSp>
        <p:grpSp>
          <p:nvGrpSpPr>
            <p:cNvPr id="19" name="Gruppieren 18">
              <a:extLst>
                <a:ext uri="{FF2B5EF4-FFF2-40B4-BE49-F238E27FC236}">
                  <a16:creationId xmlns:a16="http://schemas.microsoft.com/office/drawing/2014/main" id="{B37EB999-0764-044C-D2DB-0A553D47C105}"/>
                </a:ext>
              </a:extLst>
            </p:cNvPr>
            <p:cNvGrpSpPr/>
            <p:nvPr/>
          </p:nvGrpSpPr>
          <p:grpSpPr>
            <a:xfrm>
              <a:off x="1835697" y="3194793"/>
              <a:ext cx="2808311" cy="632832"/>
              <a:chOff x="1835697" y="3194793"/>
              <a:chExt cx="2808311" cy="632832"/>
            </a:xfrm>
          </p:grpSpPr>
          <p:sp>
            <p:nvSpPr>
              <p:cNvPr id="11" name="Rechteck 10">
                <a:extLst>
                  <a:ext uri="{FF2B5EF4-FFF2-40B4-BE49-F238E27FC236}">
                    <a16:creationId xmlns:a16="http://schemas.microsoft.com/office/drawing/2014/main" id="{0ECE62A2-7ECA-9747-2421-A9D6C90C3C85}"/>
                  </a:ext>
                </a:extLst>
              </p:cNvPr>
              <p:cNvSpPr/>
              <p:nvPr/>
            </p:nvSpPr>
            <p:spPr>
              <a:xfrm>
                <a:off x="4499992" y="3194793"/>
                <a:ext cx="144016" cy="40894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de-DE" sz="2489" b="0" i="0" u="none" strike="noStrike" kern="0" cap="none" spc="0" normalizeH="0" baseline="0" noProof="0" dirty="0">
                  <a:ln>
                    <a:noFill/>
                  </a:ln>
                  <a:solidFill>
                    <a:srgbClr val="FFFFFF"/>
                  </a:solidFill>
                  <a:effectLst/>
                  <a:uLnTx/>
                  <a:uFillTx/>
                  <a:latin typeface="Arial"/>
                  <a:ea typeface="+mn-ea"/>
                  <a:cs typeface="+mn-cs"/>
                  <a:sym typeface="Arial"/>
                </a:endParaRPr>
              </a:p>
            </p:txBody>
          </p:sp>
          <p:sp>
            <p:nvSpPr>
              <p:cNvPr id="12" name="Rechteck 11">
                <a:extLst>
                  <a:ext uri="{FF2B5EF4-FFF2-40B4-BE49-F238E27FC236}">
                    <a16:creationId xmlns:a16="http://schemas.microsoft.com/office/drawing/2014/main" id="{B16CB8A4-9E9A-2CEF-2462-39F4AAE260E1}"/>
                  </a:ext>
                </a:extLst>
              </p:cNvPr>
              <p:cNvSpPr/>
              <p:nvPr/>
            </p:nvSpPr>
            <p:spPr>
              <a:xfrm rot="5400000">
                <a:off x="2348550" y="3148839"/>
                <a:ext cx="165933" cy="119164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de-DE" sz="2489" b="0" i="0" u="none" strike="noStrike" kern="0" cap="none" spc="0" normalizeH="0" baseline="0" noProof="0" dirty="0">
                  <a:ln>
                    <a:noFill/>
                  </a:ln>
                  <a:solidFill>
                    <a:srgbClr val="FFFFFF"/>
                  </a:solidFill>
                  <a:effectLst/>
                  <a:uLnTx/>
                  <a:uFillTx/>
                  <a:latin typeface="Arial"/>
                  <a:ea typeface="+mn-ea"/>
                  <a:cs typeface="+mn-cs"/>
                  <a:sym typeface="Arial"/>
                </a:endParaRPr>
              </a:p>
            </p:txBody>
          </p:sp>
        </p:grpSp>
      </p:grpSp>
      <p:sp>
        <p:nvSpPr>
          <p:cNvPr id="21" name="Textfeld 20">
            <a:extLst>
              <a:ext uri="{FF2B5EF4-FFF2-40B4-BE49-F238E27FC236}">
                <a16:creationId xmlns:a16="http://schemas.microsoft.com/office/drawing/2014/main" id="{CA2004EA-EE2E-F7D7-2D4D-B61CD3372816}"/>
              </a:ext>
            </a:extLst>
          </p:cNvPr>
          <p:cNvSpPr txBox="1"/>
          <p:nvPr/>
        </p:nvSpPr>
        <p:spPr>
          <a:xfrm>
            <a:off x="431371" y="6550043"/>
            <a:ext cx="3738524" cy="31810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de-DE" sz="1467" b="0" i="0" u="none" strike="noStrike" kern="0" cap="none" spc="0" normalizeH="0" baseline="0" noProof="0" dirty="0">
                <a:ln>
                  <a:noFill/>
                </a:ln>
                <a:solidFill>
                  <a:srgbClr val="000000"/>
                </a:solidFill>
                <a:effectLst/>
                <a:uLnTx/>
                <a:uFillTx/>
                <a:latin typeface="Arial"/>
                <a:cs typeface="Arial"/>
                <a:sym typeface="Arial"/>
              </a:rPr>
              <a:t>Do-Youn Oh et al, ESMO 2022 </a:t>
            </a:r>
            <a:r>
              <a:rPr kumimoji="0" lang="de-DE" sz="1467" b="0" i="0" u="none" strike="noStrike" kern="0" cap="none" spc="0" normalizeH="0" baseline="0" noProof="0" dirty="0" err="1">
                <a:ln>
                  <a:noFill/>
                </a:ln>
                <a:solidFill>
                  <a:srgbClr val="000000"/>
                </a:solidFill>
                <a:effectLst/>
                <a:uLnTx/>
                <a:uFillTx/>
                <a:latin typeface="Arial"/>
                <a:cs typeface="Arial"/>
                <a:sym typeface="Arial"/>
              </a:rPr>
              <a:t>poster</a:t>
            </a:r>
            <a:r>
              <a:rPr kumimoji="0" lang="de-DE" sz="1467" b="0" i="0" u="none" strike="noStrike" kern="0" cap="none" spc="0" normalizeH="0" baseline="0" noProof="0" dirty="0">
                <a:ln>
                  <a:noFill/>
                </a:ln>
                <a:solidFill>
                  <a:srgbClr val="000000"/>
                </a:solidFill>
                <a:effectLst/>
                <a:uLnTx/>
                <a:uFillTx/>
                <a:latin typeface="Arial"/>
                <a:cs typeface="Arial"/>
                <a:sym typeface="Arial"/>
              </a:rPr>
              <a:t> 56P</a:t>
            </a:r>
          </a:p>
        </p:txBody>
      </p:sp>
      <p:sp>
        <p:nvSpPr>
          <p:cNvPr id="3" name="Textfeld 2">
            <a:extLst>
              <a:ext uri="{FF2B5EF4-FFF2-40B4-BE49-F238E27FC236}">
                <a16:creationId xmlns:a16="http://schemas.microsoft.com/office/drawing/2014/main" id="{D0948B46-EB52-2B69-9358-00A9AB206C12}"/>
              </a:ext>
            </a:extLst>
          </p:cNvPr>
          <p:cNvSpPr txBox="1"/>
          <p:nvPr/>
        </p:nvSpPr>
        <p:spPr>
          <a:xfrm>
            <a:off x="5807969" y="5424213"/>
            <a:ext cx="3148619" cy="37965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de-DE" sz="1867" b="0"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rPr>
              <a:t>SD: </a:t>
            </a:r>
            <a:r>
              <a:rPr kumimoji="0" lang="de-DE" sz="1867" b="0" i="0" u="none" strike="noStrike" kern="0" cap="none" spc="0" normalizeH="0" baseline="0" noProof="0" dirty="0" err="1">
                <a:ln>
                  <a:noFill/>
                </a:ln>
                <a:solidFill>
                  <a:srgbClr val="000000"/>
                </a:solidFill>
                <a:effectLst/>
                <a:uLnTx/>
                <a:uFillTx/>
                <a:latin typeface="Arial Narrow" panose="020B0604020202020204" pitchFamily="34" charset="0"/>
                <a:cs typeface="Arial Narrow" panose="020B0604020202020204" pitchFamily="34" charset="0"/>
                <a:sym typeface="Arial"/>
              </a:rPr>
              <a:t>early</a:t>
            </a:r>
            <a:r>
              <a:rPr kumimoji="0" lang="de-DE" sz="1867" b="0"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rPr>
              <a:t> &amp; </a:t>
            </a:r>
            <a:r>
              <a:rPr kumimoji="0" lang="de-DE" sz="1867" b="0" i="0" u="none" strike="noStrike" kern="0" cap="none" spc="0" normalizeH="0" baseline="0" noProof="0" dirty="0" err="1">
                <a:ln>
                  <a:noFill/>
                </a:ln>
                <a:solidFill>
                  <a:srgbClr val="000000"/>
                </a:solidFill>
                <a:effectLst/>
                <a:uLnTx/>
                <a:uFillTx/>
                <a:latin typeface="Arial Narrow" panose="020B0604020202020204" pitchFamily="34" charset="0"/>
                <a:cs typeface="Arial Narrow" panose="020B0604020202020204" pitchFamily="34" charset="0"/>
                <a:sym typeface="Arial"/>
              </a:rPr>
              <a:t>continuous</a:t>
            </a:r>
            <a:r>
              <a:rPr kumimoji="0" lang="de-DE" sz="1867" b="0"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rPr>
              <a:t> </a:t>
            </a:r>
            <a:r>
              <a:rPr kumimoji="0" lang="de-DE" sz="1867" b="0" i="0" u="none" strike="noStrike" kern="0" cap="none" spc="0" normalizeH="0" baseline="0" noProof="0" dirty="0" err="1">
                <a:ln>
                  <a:noFill/>
                </a:ln>
                <a:solidFill>
                  <a:srgbClr val="000000"/>
                </a:solidFill>
                <a:effectLst/>
                <a:uLnTx/>
                <a:uFillTx/>
                <a:latin typeface="Arial Narrow" panose="020B0604020202020204" pitchFamily="34" charset="0"/>
                <a:cs typeface="Arial Narrow" panose="020B0604020202020204" pitchFamily="34" charset="0"/>
                <a:sym typeface="Arial"/>
              </a:rPr>
              <a:t>separation</a:t>
            </a:r>
            <a:endParaRPr kumimoji="0" lang="de-DE" sz="1867" b="0"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endParaRPr>
          </a:p>
        </p:txBody>
      </p:sp>
      <p:sp>
        <p:nvSpPr>
          <p:cNvPr id="6" name="Textfeld 5">
            <a:extLst>
              <a:ext uri="{FF2B5EF4-FFF2-40B4-BE49-F238E27FC236}">
                <a16:creationId xmlns:a16="http://schemas.microsoft.com/office/drawing/2014/main" id="{E2584957-82A5-8D72-6D14-E703046C0433}"/>
              </a:ext>
            </a:extLst>
          </p:cNvPr>
          <p:cNvSpPr txBox="1"/>
          <p:nvPr/>
        </p:nvSpPr>
        <p:spPr>
          <a:xfrm>
            <a:off x="5807968" y="5006535"/>
            <a:ext cx="5033750" cy="37965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de-DE" sz="1867" b="0"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rPr>
              <a:t>Responders: </a:t>
            </a:r>
            <a:r>
              <a:rPr kumimoji="0" lang="de-DE" sz="1867" b="0" i="0" u="none" strike="noStrike" kern="0" cap="none" spc="0" normalizeH="0" baseline="0" noProof="0" dirty="0" err="1">
                <a:ln>
                  <a:noFill/>
                </a:ln>
                <a:solidFill>
                  <a:srgbClr val="000000"/>
                </a:solidFill>
                <a:effectLst/>
                <a:uLnTx/>
                <a:uFillTx/>
                <a:latin typeface="Arial Narrow" panose="020B0604020202020204" pitchFamily="34" charset="0"/>
                <a:cs typeface="Arial Narrow" panose="020B0604020202020204" pitchFamily="34" charset="0"/>
                <a:sym typeface="Arial"/>
              </a:rPr>
              <a:t>late</a:t>
            </a:r>
            <a:r>
              <a:rPr kumimoji="0" lang="de-DE" sz="1867" b="0"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rPr>
              <a:t> </a:t>
            </a:r>
            <a:r>
              <a:rPr kumimoji="0" lang="de-DE" sz="1867" b="0" i="0" u="none" strike="noStrike" kern="0" cap="none" spc="0" normalizeH="0" baseline="0" noProof="0" dirty="0" err="1">
                <a:ln>
                  <a:noFill/>
                </a:ln>
                <a:solidFill>
                  <a:srgbClr val="000000"/>
                </a:solidFill>
                <a:effectLst/>
                <a:uLnTx/>
                <a:uFillTx/>
                <a:latin typeface="Arial Narrow" panose="020B0604020202020204" pitchFamily="34" charset="0"/>
                <a:cs typeface="Arial Narrow" panose="020B0604020202020204" pitchFamily="34" charset="0"/>
                <a:sym typeface="Arial"/>
              </a:rPr>
              <a:t>separation</a:t>
            </a:r>
            <a:r>
              <a:rPr kumimoji="0" lang="de-DE" sz="1867" b="0"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rPr>
              <a:t>, but strong </a:t>
            </a:r>
            <a:r>
              <a:rPr kumimoji="0" lang="de-DE" sz="1867" b="0" i="0" u="none" strike="noStrike" kern="0" cap="none" spc="0" normalizeH="0" baseline="0" noProof="0" dirty="0" err="1">
                <a:ln>
                  <a:noFill/>
                </a:ln>
                <a:solidFill>
                  <a:srgbClr val="000000"/>
                </a:solidFill>
                <a:effectLst/>
                <a:uLnTx/>
                <a:uFillTx/>
                <a:latin typeface="Arial Narrow" panose="020B0604020202020204" pitchFamily="34" charset="0"/>
                <a:cs typeface="Arial Narrow" panose="020B0604020202020204" pitchFamily="34" charset="0"/>
                <a:sym typeface="Arial"/>
              </a:rPr>
              <a:t>long</a:t>
            </a:r>
            <a:r>
              <a:rPr kumimoji="0" lang="de-DE" sz="1867" b="0"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rPr>
              <a:t>-term </a:t>
            </a:r>
            <a:r>
              <a:rPr kumimoji="0" lang="de-DE" sz="1867" b="0" i="0" u="none" strike="noStrike" kern="0" cap="none" spc="0" normalizeH="0" baseline="0" noProof="0" dirty="0" err="1">
                <a:ln>
                  <a:noFill/>
                </a:ln>
                <a:solidFill>
                  <a:srgbClr val="000000"/>
                </a:solidFill>
                <a:effectLst/>
                <a:uLnTx/>
                <a:uFillTx/>
                <a:latin typeface="Arial Narrow" panose="020B0604020202020204" pitchFamily="34" charset="0"/>
                <a:cs typeface="Arial Narrow" panose="020B0604020202020204" pitchFamily="34" charset="0"/>
                <a:sym typeface="Arial"/>
              </a:rPr>
              <a:t>effect</a:t>
            </a:r>
            <a:endParaRPr kumimoji="0" lang="de-DE" sz="1867" b="0"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endParaRPr>
          </a:p>
        </p:txBody>
      </p:sp>
      <p:sp>
        <p:nvSpPr>
          <p:cNvPr id="8" name="Textfeld 7">
            <a:extLst>
              <a:ext uri="{FF2B5EF4-FFF2-40B4-BE49-F238E27FC236}">
                <a16:creationId xmlns:a16="http://schemas.microsoft.com/office/drawing/2014/main" id="{17D27570-BDAA-E07D-D7DD-065CCB19E25A}"/>
              </a:ext>
            </a:extLst>
          </p:cNvPr>
          <p:cNvSpPr txBox="1"/>
          <p:nvPr/>
        </p:nvSpPr>
        <p:spPr>
          <a:xfrm>
            <a:off x="5807968" y="5832521"/>
            <a:ext cx="1754006" cy="37965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de-DE" sz="1867" b="0"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rPr>
              <a:t>PD: </a:t>
            </a:r>
            <a:r>
              <a:rPr kumimoji="0" lang="de-DE" sz="1867" b="0" i="0" u="none" strike="noStrike" kern="0" cap="none" spc="0" normalizeH="0" baseline="0" noProof="0" dirty="0" err="1">
                <a:ln>
                  <a:noFill/>
                </a:ln>
                <a:solidFill>
                  <a:srgbClr val="000000"/>
                </a:solidFill>
                <a:effectLst/>
                <a:uLnTx/>
                <a:uFillTx/>
                <a:latin typeface="Arial Narrow" panose="020B0604020202020204" pitchFamily="34" charset="0"/>
                <a:cs typeface="Arial Narrow" panose="020B0604020202020204" pitchFamily="34" charset="0"/>
                <a:sym typeface="Arial"/>
              </a:rPr>
              <a:t>no</a:t>
            </a:r>
            <a:r>
              <a:rPr kumimoji="0" lang="de-DE" sz="1867" b="0"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rPr>
              <a:t> </a:t>
            </a:r>
            <a:r>
              <a:rPr kumimoji="0" lang="de-DE" sz="1867" b="0" i="0" u="none" strike="noStrike" kern="0" cap="none" spc="0" normalizeH="0" baseline="0" noProof="0" dirty="0" err="1">
                <a:ln>
                  <a:noFill/>
                </a:ln>
                <a:solidFill>
                  <a:srgbClr val="000000"/>
                </a:solidFill>
                <a:effectLst/>
                <a:uLnTx/>
                <a:uFillTx/>
                <a:latin typeface="Arial Narrow" panose="020B0604020202020204" pitchFamily="34" charset="0"/>
                <a:cs typeface="Arial Narrow" panose="020B0604020202020204" pitchFamily="34" charset="0"/>
                <a:sym typeface="Arial"/>
              </a:rPr>
              <a:t>separation</a:t>
            </a:r>
            <a:endParaRPr kumimoji="0" lang="de-DE" sz="1867" b="0"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endParaRPr>
          </a:p>
        </p:txBody>
      </p:sp>
      <p:sp>
        <p:nvSpPr>
          <p:cNvPr id="20" name="Textfeld 19">
            <a:extLst>
              <a:ext uri="{FF2B5EF4-FFF2-40B4-BE49-F238E27FC236}">
                <a16:creationId xmlns:a16="http://schemas.microsoft.com/office/drawing/2014/main" id="{1B641711-9233-9EAD-CD41-339AF53A098A}"/>
              </a:ext>
            </a:extLst>
          </p:cNvPr>
          <p:cNvSpPr txBox="1"/>
          <p:nvPr/>
        </p:nvSpPr>
        <p:spPr>
          <a:xfrm>
            <a:off x="5806232" y="6204311"/>
            <a:ext cx="4564070" cy="6669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de-DE" sz="1867" b="0" i="0" u="none" strike="noStrike" kern="0" cap="none" spc="0" normalizeH="0" baseline="0" noProof="0" dirty="0" err="1">
                <a:ln>
                  <a:noFill/>
                </a:ln>
                <a:solidFill>
                  <a:srgbClr val="000000"/>
                </a:solidFill>
                <a:effectLst/>
                <a:uLnTx/>
                <a:uFillTx/>
                <a:latin typeface="Arial Narrow" panose="020B0604020202020204" pitchFamily="34" charset="0"/>
                <a:cs typeface="Arial Narrow" panose="020B0604020202020204" pitchFamily="34" charset="0"/>
                <a:sym typeface="Arial"/>
              </a:rPr>
              <a:t>Speculation</a:t>
            </a:r>
            <a:r>
              <a:rPr kumimoji="0" lang="de-DE" sz="1867" b="0"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rPr>
              <a:t>: „initial 6 </a:t>
            </a:r>
            <a:r>
              <a:rPr kumimoji="0" lang="de-DE" sz="1867" b="0" i="0" u="none" strike="noStrike" kern="0" cap="none" spc="0" normalizeH="0" baseline="0" noProof="0" dirty="0" err="1">
                <a:ln>
                  <a:noFill/>
                </a:ln>
                <a:solidFill>
                  <a:srgbClr val="000000"/>
                </a:solidFill>
                <a:effectLst/>
                <a:uLnTx/>
                <a:uFillTx/>
                <a:latin typeface="Arial Narrow" panose="020B0604020202020204" pitchFamily="34" charset="0"/>
                <a:cs typeface="Arial Narrow" panose="020B0604020202020204" pitchFamily="34" charset="0"/>
                <a:sym typeface="Arial"/>
              </a:rPr>
              <a:t>mo</a:t>
            </a:r>
            <a:r>
              <a:rPr kumimoji="0" lang="de-DE" sz="1867" b="0"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rPr>
              <a:t>“ </a:t>
            </a:r>
            <a:r>
              <a:rPr kumimoji="0" lang="de-DE" sz="1867" b="0" i="0" u="none" strike="noStrike" kern="0" cap="none" spc="0" normalizeH="0" baseline="0" noProof="0" dirty="0" err="1">
                <a:ln>
                  <a:noFill/>
                </a:ln>
                <a:solidFill>
                  <a:srgbClr val="000000"/>
                </a:solidFill>
                <a:effectLst/>
                <a:uLnTx/>
                <a:uFillTx/>
                <a:latin typeface="Arial Narrow" panose="020B0604020202020204" pitchFamily="34" charset="0"/>
                <a:cs typeface="Arial Narrow" panose="020B0604020202020204" pitchFamily="34" charset="0"/>
                <a:sym typeface="Arial"/>
              </a:rPr>
              <a:t>of</a:t>
            </a:r>
            <a:r>
              <a:rPr kumimoji="0" lang="de-DE" sz="1867" b="0"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rPr>
              <a:t> </a:t>
            </a:r>
            <a:r>
              <a:rPr kumimoji="0" lang="de-DE" sz="1867" b="0" i="0" u="none" strike="noStrike" kern="0" cap="none" spc="0" normalizeH="0" baseline="0" noProof="0" dirty="0" err="1">
                <a:ln>
                  <a:noFill/>
                </a:ln>
                <a:solidFill>
                  <a:srgbClr val="000000"/>
                </a:solidFill>
                <a:effectLst/>
                <a:uLnTx/>
                <a:uFillTx/>
                <a:latin typeface="Arial Narrow" panose="020B0604020202020204" pitchFamily="34" charset="0"/>
                <a:cs typeface="Arial Narrow" panose="020B0604020202020204" pitchFamily="34" charset="0"/>
                <a:sym typeface="Arial"/>
              </a:rPr>
              <a:t>responses</a:t>
            </a:r>
            <a:r>
              <a:rPr kumimoji="0" lang="de-DE" sz="1867" b="0"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rPr>
              <a:t> </a:t>
            </a:r>
            <a:r>
              <a:rPr kumimoji="0" lang="de-DE" sz="1867" b="0" i="0" u="none" strike="noStrike" kern="0" cap="none" spc="0" normalizeH="0" baseline="0" noProof="0" dirty="0" err="1">
                <a:ln>
                  <a:noFill/>
                </a:ln>
                <a:solidFill>
                  <a:srgbClr val="000000"/>
                </a:solidFill>
                <a:effectLst/>
                <a:uLnTx/>
                <a:uFillTx/>
                <a:latin typeface="Arial Narrow" panose="020B0604020202020204" pitchFamily="34" charset="0"/>
                <a:cs typeface="Arial Narrow" panose="020B0604020202020204" pitchFamily="34" charset="0"/>
                <a:sym typeface="Arial"/>
              </a:rPr>
              <a:t>influenced</a:t>
            </a:r>
            <a:r>
              <a:rPr kumimoji="0" lang="de-DE" sz="1867" b="0"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rPr>
              <a:t> </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de-DE" sz="1867" b="0" i="0" u="none" strike="noStrike" kern="0" cap="none" spc="0" normalizeH="0" baseline="0" noProof="0" dirty="0" err="1">
                <a:ln>
                  <a:noFill/>
                </a:ln>
                <a:solidFill>
                  <a:srgbClr val="000000"/>
                </a:solidFill>
                <a:effectLst/>
                <a:uLnTx/>
                <a:uFillTx/>
                <a:latin typeface="Arial Narrow" panose="020B0604020202020204" pitchFamily="34" charset="0"/>
                <a:cs typeface="Arial Narrow" panose="020B0604020202020204" pitchFamily="34" charset="0"/>
                <a:sym typeface="Arial"/>
              </a:rPr>
              <a:t>by</a:t>
            </a:r>
            <a:r>
              <a:rPr kumimoji="0" lang="de-DE" sz="1867" b="0"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rPr>
              <a:t> „</a:t>
            </a:r>
            <a:r>
              <a:rPr kumimoji="0" lang="de-DE" sz="1867" b="0" i="0" u="none" strike="noStrike" kern="0" cap="none" spc="0" normalizeH="0" baseline="0" noProof="0" dirty="0" err="1">
                <a:ln>
                  <a:noFill/>
                </a:ln>
                <a:solidFill>
                  <a:srgbClr val="000000"/>
                </a:solidFill>
                <a:effectLst/>
                <a:uLnTx/>
                <a:uFillTx/>
                <a:latin typeface="Arial Narrow" panose="020B0604020202020204" pitchFamily="34" charset="0"/>
                <a:cs typeface="Arial Narrow" panose="020B0604020202020204" pitchFamily="34" charset="0"/>
                <a:sym typeface="Arial"/>
              </a:rPr>
              <a:t>lifting</a:t>
            </a:r>
            <a:r>
              <a:rPr kumimoji="0" lang="de-DE" sz="1867" b="0"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rPr>
              <a:t>“ </a:t>
            </a:r>
            <a:r>
              <a:rPr kumimoji="0" lang="de-DE" sz="1867" b="0" i="0" u="none" strike="noStrike" kern="0" cap="none" spc="0" normalizeH="0" baseline="0" noProof="0" dirty="0" err="1">
                <a:ln>
                  <a:noFill/>
                </a:ln>
                <a:solidFill>
                  <a:srgbClr val="000000"/>
                </a:solidFill>
                <a:effectLst/>
                <a:uLnTx/>
                <a:uFillTx/>
                <a:latin typeface="Arial Narrow" panose="020B0604020202020204" pitchFamily="34" charset="0"/>
                <a:cs typeface="Arial Narrow" panose="020B0604020202020204" pitchFamily="34" charset="0"/>
                <a:sym typeface="Arial"/>
              </a:rPr>
              <a:t>of</a:t>
            </a:r>
            <a:r>
              <a:rPr kumimoji="0" lang="de-DE" sz="1867" b="0"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rPr>
              <a:t> </a:t>
            </a:r>
            <a:r>
              <a:rPr kumimoji="0" lang="de-DE" sz="1867" b="0" i="0" u="none" strike="noStrike" kern="0" cap="none" spc="0" normalizeH="0" baseline="0" noProof="0" dirty="0" err="1">
                <a:ln>
                  <a:noFill/>
                </a:ln>
                <a:solidFill>
                  <a:srgbClr val="000000"/>
                </a:solidFill>
                <a:effectLst/>
                <a:uLnTx/>
                <a:uFillTx/>
                <a:latin typeface="Arial Narrow" panose="020B0604020202020204" pitchFamily="34" charset="0"/>
                <a:cs typeface="Arial Narrow" panose="020B0604020202020204" pitchFamily="34" charset="0"/>
                <a:sym typeface="Arial"/>
              </a:rPr>
              <a:t>selected</a:t>
            </a:r>
            <a:r>
              <a:rPr kumimoji="0" lang="de-DE" sz="1867" b="0"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rPr>
              <a:t> SD </a:t>
            </a:r>
            <a:r>
              <a:rPr kumimoji="0" lang="de-DE" sz="1867" b="0" i="0" u="none" strike="noStrike" kern="0" cap="none" spc="0" normalizeH="0" baseline="0" noProof="0" dirty="0" err="1">
                <a:ln>
                  <a:noFill/>
                </a:ln>
                <a:solidFill>
                  <a:srgbClr val="000000"/>
                </a:solidFill>
                <a:effectLst/>
                <a:uLnTx/>
                <a:uFillTx/>
                <a:latin typeface="Arial Narrow" panose="020B0604020202020204" pitchFamily="34" charset="0"/>
                <a:cs typeface="Arial Narrow" panose="020B0604020202020204" pitchFamily="34" charset="0"/>
                <a:sym typeface="Arial"/>
              </a:rPr>
              <a:t>pts</a:t>
            </a:r>
            <a:endParaRPr kumimoji="0" lang="de-DE" sz="1867" b="0"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endParaRPr>
          </a:p>
        </p:txBody>
      </p:sp>
    </p:spTree>
    <p:extLst>
      <p:ext uri="{BB962C8B-B14F-4D97-AF65-F5344CB8AC3E}">
        <p14:creationId xmlns:p14="http://schemas.microsoft.com/office/powerpoint/2010/main" val="9729552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6" grpId="0"/>
      <p:bldP spid="8" grpId="0"/>
      <p:bldP spid="20" grpId="0"/>
    </p:bld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37061" y="2571753"/>
            <a:ext cx="7317879" cy="322956"/>
          </a:xfrm>
        </p:spPr>
        <p:txBody>
          <a:bodyPr/>
          <a:lstStyle/>
          <a:p>
            <a:r>
              <a:rPr lang="en-US" sz="656" b="1" dirty="0">
                <a:latin typeface="Arial" charset="0"/>
                <a:ea typeface="+mn-ea"/>
                <a:cs typeface="+mn-cs"/>
              </a:rPr>
              <a:t>OS in subgroups by PD-L1 expression</a:t>
            </a:r>
          </a:p>
        </p:txBody>
      </p:sp>
      <p:pic>
        <p:nvPicPr>
          <p:cNvPr id="1026"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t="13227" b="12001"/>
          <a:stretch/>
        </p:blipFill>
        <p:spPr bwMode="auto">
          <a:xfrm>
            <a:off x="143339" y="1616440"/>
            <a:ext cx="11413764" cy="48005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itel 2">
            <a:extLst>
              <a:ext uri="{FF2B5EF4-FFF2-40B4-BE49-F238E27FC236}">
                <a16:creationId xmlns:a16="http://schemas.microsoft.com/office/drawing/2014/main" id="{9C325870-2730-0545-B093-19DB93E4386D}"/>
              </a:ext>
            </a:extLst>
          </p:cNvPr>
          <p:cNvSpPr txBox="1">
            <a:spLocks/>
          </p:cNvSpPr>
          <p:nvPr/>
        </p:nvSpPr>
        <p:spPr>
          <a:xfrm>
            <a:off x="316083" y="194400"/>
            <a:ext cx="11687535" cy="930344"/>
          </a:xfrm>
          <a:prstGeom prst="rect">
            <a:avLst/>
          </a:prstGeom>
        </p:spPr>
        <p:txBody>
          <a:bodyPr vert="horz" lIns="121917" tIns="60959" rIns="121917" bIns="60959" rtlCol="0" anchor="ctr">
            <a:normAutofit fontScale="97500"/>
          </a:bodyPr>
          <a:lstStyle>
            <a:lvl1pPr algn="ctr" defTabSz="914378" rtl="0" eaLnBrk="1" latinLnBrk="0" hangingPunct="1">
              <a:spcBef>
                <a:spcPct val="0"/>
              </a:spcBef>
              <a:buNone/>
              <a:defRPr sz="4400" kern="1200">
                <a:solidFill>
                  <a:schemeClr val="tx1"/>
                </a:solidFill>
                <a:latin typeface="+mj-lt"/>
                <a:ea typeface="+mj-ea"/>
                <a:cs typeface="+mj-cs"/>
              </a:defRPr>
            </a:lvl1pPr>
          </a:lstStyle>
          <a:p>
            <a:pPr marL="0" marR="0" lvl="0" indent="0" algn="l" defTabSz="1219170" rtl="0" eaLnBrk="1" fontAlgn="auto" latinLnBrk="0" hangingPunct="1">
              <a:lnSpc>
                <a:spcPct val="90000"/>
              </a:lnSpc>
              <a:spcBef>
                <a:spcPct val="0"/>
              </a:spcBef>
              <a:spcAft>
                <a:spcPts val="0"/>
              </a:spcAft>
              <a:buClr>
                <a:srgbClr val="000000"/>
              </a:buClr>
              <a:buSzTx/>
              <a:buFont typeface="Arial"/>
              <a:buNone/>
              <a:tabLst/>
              <a:defRPr/>
            </a:pPr>
            <a:r>
              <a:rPr kumimoji="0" lang="en-US" altLang="ko-KR" sz="3733" b="1" i="0" u="none" strike="noStrike" kern="1200" cap="none" spc="0" normalizeH="0" baseline="0" noProof="0" dirty="0">
                <a:ln>
                  <a:noFill/>
                </a:ln>
                <a:solidFill>
                  <a:srgbClr val="000000"/>
                </a:solidFill>
                <a:effectLst/>
                <a:uLnTx/>
                <a:uFillTx/>
                <a:latin typeface="Arial Narrow" panose="020B0604020202020204" pitchFamily="34" charset="0"/>
                <a:ea typeface="맑은 고딕" panose="020B0503020000020004" pitchFamily="34" charset="-127"/>
                <a:cs typeface="Arial Narrow" panose="020B0604020202020204" pitchFamily="34" charset="0"/>
                <a:sym typeface="Arial"/>
              </a:rPr>
              <a:t>IO + Chemo in BTC 1</a:t>
            </a:r>
            <a:r>
              <a:rPr kumimoji="0" lang="en-US" altLang="ko-KR" sz="3733" b="1" i="0" u="none" strike="noStrike" kern="1200" cap="none" spc="0" normalizeH="0" baseline="30000" noProof="0" dirty="0">
                <a:ln>
                  <a:noFill/>
                </a:ln>
                <a:solidFill>
                  <a:srgbClr val="000000"/>
                </a:solidFill>
                <a:effectLst/>
                <a:uLnTx/>
                <a:uFillTx/>
                <a:latin typeface="Arial Narrow" panose="020B0604020202020204" pitchFamily="34" charset="0"/>
                <a:ea typeface="맑은 고딕" panose="020B0503020000020004" pitchFamily="34" charset="-127"/>
                <a:cs typeface="Arial Narrow" panose="020B0604020202020204" pitchFamily="34" charset="0"/>
                <a:sym typeface="Arial"/>
              </a:rPr>
              <a:t>st</a:t>
            </a:r>
            <a:r>
              <a:rPr kumimoji="0" lang="en-US" altLang="ko-KR" sz="3733" b="1" i="0" u="none" strike="noStrike" kern="1200" cap="none" spc="0" normalizeH="0" baseline="0" noProof="0" dirty="0">
                <a:ln>
                  <a:noFill/>
                </a:ln>
                <a:solidFill>
                  <a:srgbClr val="000000"/>
                </a:solidFill>
                <a:effectLst/>
                <a:uLnTx/>
                <a:uFillTx/>
                <a:latin typeface="Arial Narrow" panose="020B0604020202020204" pitchFamily="34" charset="0"/>
                <a:ea typeface="맑은 고딕" panose="020B0503020000020004" pitchFamily="34" charset="-127"/>
                <a:cs typeface="Arial Narrow" panose="020B0604020202020204" pitchFamily="34" charset="0"/>
                <a:sym typeface="Arial"/>
              </a:rPr>
              <a:t> line: TOPAZ-1 Phase 3</a:t>
            </a:r>
          </a:p>
        </p:txBody>
      </p:sp>
      <p:sp>
        <p:nvSpPr>
          <p:cNvPr id="6" name="Textfeld 5">
            <a:extLst>
              <a:ext uri="{FF2B5EF4-FFF2-40B4-BE49-F238E27FC236}">
                <a16:creationId xmlns:a16="http://schemas.microsoft.com/office/drawing/2014/main" id="{4C91D3D2-075D-FF4A-B005-67CABBB218F7}"/>
              </a:ext>
            </a:extLst>
          </p:cNvPr>
          <p:cNvSpPr txBox="1"/>
          <p:nvPr/>
        </p:nvSpPr>
        <p:spPr>
          <a:xfrm>
            <a:off x="335361" y="991669"/>
            <a:ext cx="5298245" cy="50276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de-DE" sz="2667" b="1"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rPr>
              <a:t>OS in </a:t>
            </a:r>
            <a:r>
              <a:rPr kumimoji="0" lang="de-DE" sz="2667" b="1" i="0" u="none" strike="noStrike" kern="0" cap="none" spc="0" normalizeH="0" baseline="0" noProof="0" dirty="0" err="1">
                <a:ln>
                  <a:noFill/>
                </a:ln>
                <a:solidFill>
                  <a:srgbClr val="000000"/>
                </a:solidFill>
                <a:effectLst/>
                <a:uLnTx/>
                <a:uFillTx/>
                <a:latin typeface="Arial Narrow" panose="020B0604020202020204" pitchFamily="34" charset="0"/>
                <a:cs typeface="Arial Narrow" panose="020B0604020202020204" pitchFamily="34" charset="0"/>
                <a:sym typeface="Arial"/>
              </a:rPr>
              <a:t>subgroups</a:t>
            </a:r>
            <a:r>
              <a:rPr kumimoji="0" lang="de-DE" sz="2667" b="1"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rPr>
              <a:t> </a:t>
            </a:r>
            <a:r>
              <a:rPr kumimoji="0" lang="de-DE" sz="2667" b="1" i="0" u="none" strike="noStrike" kern="0" cap="none" spc="0" normalizeH="0" baseline="0" noProof="0" dirty="0" err="1">
                <a:ln>
                  <a:noFill/>
                </a:ln>
                <a:solidFill>
                  <a:srgbClr val="000000"/>
                </a:solidFill>
                <a:effectLst/>
                <a:uLnTx/>
                <a:uFillTx/>
                <a:latin typeface="Arial Narrow" panose="020B0604020202020204" pitchFamily="34" charset="0"/>
                <a:cs typeface="Arial Narrow" panose="020B0604020202020204" pitchFamily="34" charset="0"/>
                <a:sym typeface="Arial"/>
              </a:rPr>
              <a:t>by</a:t>
            </a:r>
            <a:r>
              <a:rPr kumimoji="0" lang="de-DE" sz="2667" b="1"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rPr>
              <a:t> PD-L1 </a:t>
            </a:r>
            <a:r>
              <a:rPr kumimoji="0" lang="de-DE" sz="2667" b="1" i="0" u="none" strike="noStrike" kern="0" cap="none" spc="0" normalizeH="0" baseline="0" noProof="0" dirty="0" err="1">
                <a:ln>
                  <a:noFill/>
                </a:ln>
                <a:solidFill>
                  <a:srgbClr val="000000"/>
                </a:solidFill>
                <a:effectLst/>
                <a:uLnTx/>
                <a:uFillTx/>
                <a:latin typeface="Arial Narrow" panose="020B0604020202020204" pitchFamily="34" charset="0"/>
                <a:cs typeface="Arial Narrow" panose="020B0604020202020204" pitchFamily="34" charset="0"/>
                <a:sym typeface="Arial"/>
              </a:rPr>
              <a:t>expression</a:t>
            </a:r>
            <a:endParaRPr kumimoji="0" lang="de-DE" sz="2667" b="1"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endParaRPr>
          </a:p>
        </p:txBody>
      </p:sp>
    </p:spTree>
    <p:extLst>
      <p:ext uri="{BB962C8B-B14F-4D97-AF65-F5344CB8AC3E}">
        <p14:creationId xmlns:p14="http://schemas.microsoft.com/office/powerpoint/2010/main" val="939704011"/>
      </p:ext>
    </p:extLst>
  </p:cSld>
  <p:clrMapOvr>
    <a:masterClrMapping/>
  </p:clrMapOvr>
  <p:transition spd="med"/>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descr="A person wearing headphones&#10;&#10;Description automatically generated with medium confidence">
            <a:extLst>
              <a:ext uri="{FF2B5EF4-FFF2-40B4-BE49-F238E27FC236}">
                <a16:creationId xmlns:a16="http://schemas.microsoft.com/office/drawing/2014/main" id="{5D4819F1-3311-CAB7-05F2-16932B5B58D3}"/>
              </a:ext>
            </a:extLst>
          </p:cNvPr>
          <p:cNvPicPr>
            <a:picLocks noChangeAspect="1"/>
          </p:cNvPicPr>
          <p:nvPr/>
        </p:nvPicPr>
        <p:blipFill>
          <a:blip r:embed="rId3"/>
          <a:stretch>
            <a:fillRect/>
          </a:stretch>
        </p:blipFill>
        <p:spPr>
          <a:xfrm>
            <a:off x="308384" y="2710625"/>
            <a:ext cx="2552191" cy="1435608"/>
          </a:xfrm>
          <a:prstGeom prst="rect">
            <a:avLst/>
          </a:prstGeom>
          <a:effectLst>
            <a:outerShdw blurRad="50800" dist="38100" dir="2700000" algn="tl" rotWithShape="0">
              <a:prstClr val="black">
                <a:alpha val="40000"/>
              </a:prstClr>
            </a:outerShdw>
          </a:effectLst>
        </p:spPr>
      </p:pic>
      <p:sp>
        <p:nvSpPr>
          <p:cNvPr id="15" name="TextBox 14">
            <a:extLst>
              <a:ext uri="{FF2B5EF4-FFF2-40B4-BE49-F238E27FC236}">
                <a16:creationId xmlns:a16="http://schemas.microsoft.com/office/drawing/2014/main" id="{3BE4BF15-D439-0ABD-DD1D-B2F031EFE789}"/>
              </a:ext>
            </a:extLst>
          </p:cNvPr>
          <p:cNvSpPr txBox="1"/>
          <p:nvPr/>
        </p:nvSpPr>
        <p:spPr>
          <a:xfrm>
            <a:off x="2905280" y="2710625"/>
            <a:ext cx="2140522" cy="83099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Warren S Brenner, M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Lynn Cancer Institut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Boca Raton, Florida</a:t>
            </a:r>
          </a:p>
        </p:txBody>
      </p:sp>
      <p:pic>
        <p:nvPicPr>
          <p:cNvPr id="21" name="Picture 20" descr="A person wearing headphones&#10;&#10;Description automatically generated">
            <a:extLst>
              <a:ext uri="{FF2B5EF4-FFF2-40B4-BE49-F238E27FC236}">
                <a16:creationId xmlns:a16="http://schemas.microsoft.com/office/drawing/2014/main" id="{E4512A30-F18C-A3D5-777F-E98DD5B1DA58}"/>
              </a:ext>
            </a:extLst>
          </p:cNvPr>
          <p:cNvPicPr>
            <a:picLocks noChangeAspect="1"/>
          </p:cNvPicPr>
          <p:nvPr/>
        </p:nvPicPr>
        <p:blipFill>
          <a:blip r:embed="rId4"/>
          <a:stretch>
            <a:fillRect/>
          </a:stretch>
        </p:blipFill>
        <p:spPr>
          <a:xfrm>
            <a:off x="308384" y="4865114"/>
            <a:ext cx="2552193" cy="1435608"/>
          </a:xfrm>
          <a:prstGeom prst="rect">
            <a:avLst/>
          </a:prstGeom>
          <a:effectLst>
            <a:outerShdw blurRad="50800" dist="38100" dir="2700000" algn="tl" rotWithShape="0">
              <a:prstClr val="black">
                <a:alpha val="40000"/>
              </a:prstClr>
            </a:outerShdw>
          </a:effectLst>
        </p:spPr>
      </p:pic>
      <p:sp>
        <p:nvSpPr>
          <p:cNvPr id="22" name="TextBox 21">
            <a:extLst>
              <a:ext uri="{FF2B5EF4-FFF2-40B4-BE49-F238E27FC236}">
                <a16:creationId xmlns:a16="http://schemas.microsoft.com/office/drawing/2014/main" id="{19B983D4-9D23-5C34-5737-4796733328C8}"/>
              </a:ext>
            </a:extLst>
          </p:cNvPr>
          <p:cNvSpPr txBox="1"/>
          <p:nvPr/>
        </p:nvSpPr>
        <p:spPr>
          <a:xfrm>
            <a:off x="2905280" y="4865114"/>
            <a:ext cx="3470651" cy="10772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Farshid</a:t>
            </a: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a:t>
            </a:r>
            <a:r>
              <a:rPr kumimoji="0" lang="en-US" sz="1600" b="1"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Dayyani</a:t>
            </a: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MD, Ph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Stern Center for Cancer Clinical Trials and Research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Orange, California</a:t>
            </a:r>
          </a:p>
        </p:txBody>
      </p:sp>
      <p:pic>
        <p:nvPicPr>
          <p:cNvPr id="9" name="Picture 8" descr="A person wearing glasses and headphones&#10;&#10;Description automatically generated with medium confidence">
            <a:extLst>
              <a:ext uri="{FF2B5EF4-FFF2-40B4-BE49-F238E27FC236}">
                <a16:creationId xmlns:a16="http://schemas.microsoft.com/office/drawing/2014/main" id="{73255956-DD4C-7515-8AE8-02CF1E848441}"/>
              </a:ext>
            </a:extLst>
          </p:cNvPr>
          <p:cNvPicPr>
            <a:picLocks noChangeAspect="1"/>
          </p:cNvPicPr>
          <p:nvPr/>
        </p:nvPicPr>
        <p:blipFill>
          <a:blip r:embed="rId5"/>
          <a:stretch>
            <a:fillRect/>
          </a:stretch>
        </p:blipFill>
        <p:spPr>
          <a:xfrm>
            <a:off x="308384" y="557278"/>
            <a:ext cx="2551176" cy="1435037"/>
          </a:xfrm>
          <a:prstGeom prst="rect">
            <a:avLst/>
          </a:prstGeom>
          <a:effectLst>
            <a:outerShdw blurRad="50800" dist="38100" dir="2700000" algn="tl" rotWithShape="0">
              <a:prstClr val="black">
                <a:alpha val="40000"/>
              </a:prstClr>
            </a:outerShdw>
          </a:effectLst>
        </p:spPr>
      </p:pic>
      <p:sp>
        <p:nvSpPr>
          <p:cNvPr id="10" name="TextBox 9">
            <a:extLst>
              <a:ext uri="{FF2B5EF4-FFF2-40B4-BE49-F238E27FC236}">
                <a16:creationId xmlns:a16="http://schemas.microsoft.com/office/drawing/2014/main" id="{A957FDFD-0317-9901-2F1F-DDF02C49EF3A}"/>
              </a:ext>
            </a:extLst>
          </p:cNvPr>
          <p:cNvSpPr txBox="1"/>
          <p:nvPr/>
        </p:nvSpPr>
        <p:spPr>
          <a:xfrm>
            <a:off x="2905280" y="557278"/>
            <a:ext cx="2328779" cy="83099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Susmitha</a:t>
            </a: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a:t>
            </a:r>
            <a:r>
              <a:rPr kumimoji="0" lang="en-US" sz="1600" b="1"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Apuri</a:t>
            </a: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M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Florida Cancer Specialist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Lutz, Florida</a:t>
            </a:r>
          </a:p>
        </p:txBody>
      </p:sp>
      <p:sp>
        <p:nvSpPr>
          <p:cNvPr id="12" name="TextBox 11">
            <a:extLst>
              <a:ext uri="{FF2B5EF4-FFF2-40B4-BE49-F238E27FC236}">
                <a16:creationId xmlns:a16="http://schemas.microsoft.com/office/drawing/2014/main" id="{078A8D38-4CD2-8679-48E2-2344C40ED2BC}"/>
              </a:ext>
            </a:extLst>
          </p:cNvPr>
          <p:cNvSpPr txBox="1"/>
          <p:nvPr/>
        </p:nvSpPr>
        <p:spPr>
          <a:xfrm>
            <a:off x="8741673" y="2710625"/>
            <a:ext cx="2876809"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Jeremy Lorber, M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Cedars-Sinai Medical Center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Beverly Hills, California</a:t>
            </a:r>
          </a:p>
        </p:txBody>
      </p:sp>
      <p:pic>
        <p:nvPicPr>
          <p:cNvPr id="13" name="Picture 12" descr="A person wearing headphones&#10;&#10;Description automatically generated with medium confidence">
            <a:extLst>
              <a:ext uri="{FF2B5EF4-FFF2-40B4-BE49-F238E27FC236}">
                <a16:creationId xmlns:a16="http://schemas.microsoft.com/office/drawing/2014/main" id="{BC2505A7-3E8D-7C2E-7B3B-80DDF1C63A10}"/>
              </a:ext>
            </a:extLst>
          </p:cNvPr>
          <p:cNvPicPr>
            <a:picLocks noChangeAspect="1"/>
          </p:cNvPicPr>
          <p:nvPr/>
        </p:nvPicPr>
        <p:blipFill>
          <a:blip r:embed="rId6"/>
          <a:stretch>
            <a:fillRect/>
          </a:stretch>
        </p:blipFill>
        <p:spPr>
          <a:xfrm>
            <a:off x="6143761" y="2710625"/>
            <a:ext cx="2552192" cy="1435608"/>
          </a:xfrm>
          <a:prstGeom prst="rect">
            <a:avLst/>
          </a:prstGeom>
          <a:effectLst>
            <a:outerShdw blurRad="50800" dist="38100" dir="2700000" algn="tl" rotWithShape="0">
              <a:prstClr val="black">
                <a:alpha val="40000"/>
              </a:prstClr>
            </a:outerShdw>
          </a:effectLst>
        </p:spPr>
      </p:pic>
      <p:sp>
        <p:nvSpPr>
          <p:cNvPr id="17" name="TextBox 16">
            <a:extLst>
              <a:ext uri="{FF2B5EF4-FFF2-40B4-BE49-F238E27FC236}">
                <a16:creationId xmlns:a16="http://schemas.microsoft.com/office/drawing/2014/main" id="{C9989B6E-348B-86D5-5FC2-06926A69FC2E}"/>
              </a:ext>
            </a:extLst>
          </p:cNvPr>
          <p:cNvSpPr txBox="1"/>
          <p:nvPr/>
        </p:nvSpPr>
        <p:spPr>
          <a:xfrm>
            <a:off x="8741673" y="557278"/>
            <a:ext cx="3141943"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Times New Roman" panose="02020603050405020304" pitchFamily="18" charset="0"/>
                <a:cs typeface="Calibri" panose="020F0502020204030204" pitchFamily="34" charset="0"/>
              </a:rPr>
              <a:t>Lionel A </a:t>
            </a:r>
            <a:r>
              <a:rPr kumimoji="0" lang="en-US" sz="1600" b="1" i="0" u="none" strike="noStrike" kern="1200" cap="none" spc="0" normalizeH="0" baseline="0" noProof="0" dirty="0" err="1">
                <a:ln>
                  <a:noFill/>
                </a:ln>
                <a:solidFill>
                  <a:srgbClr val="000000"/>
                </a:solidFill>
                <a:effectLst/>
                <a:uLnTx/>
                <a:uFillTx/>
                <a:latin typeface="Calibri" panose="020F0502020204030204" pitchFamily="34" charset="0"/>
                <a:ea typeface="Times New Roman" panose="02020603050405020304" pitchFamily="18" charset="0"/>
                <a:cs typeface="Calibri" panose="020F0502020204030204" pitchFamily="34" charset="0"/>
              </a:rPr>
              <a:t>Kankeu</a:t>
            </a: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600" b="1" i="0" u="none" strike="noStrike" kern="1200" cap="none" spc="0" normalizeH="0" baseline="0" noProof="0" dirty="0" err="1">
                <a:ln>
                  <a:noFill/>
                </a:ln>
                <a:solidFill>
                  <a:srgbClr val="000000"/>
                </a:solidFill>
                <a:effectLst/>
                <a:uLnTx/>
                <a:uFillTx/>
                <a:latin typeface="Calibri" panose="020F0502020204030204" pitchFamily="34" charset="0"/>
                <a:ea typeface="Times New Roman" panose="02020603050405020304" pitchFamily="18" charset="0"/>
                <a:cs typeface="Calibri" panose="020F0502020204030204" pitchFamily="34" charset="0"/>
              </a:rPr>
              <a:t>Fonkoua</a:t>
            </a: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Times New Roman" panose="02020603050405020304" pitchFamily="18" charset="0"/>
                <a:cs typeface="Calibri" panose="020F0502020204030204" pitchFamily="34" charset="0"/>
              </a:rPr>
              <a:t>, M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1D1C1D"/>
                </a:solidFill>
                <a:effectLst/>
                <a:uLnTx/>
                <a:uFillTx/>
                <a:latin typeface="Calibri" panose="020F0502020204030204" pitchFamily="34" charset="0"/>
                <a:ea typeface="+mn-ea"/>
                <a:cs typeface="Calibri" panose="020F0502020204030204" pitchFamily="34" charset="0"/>
              </a:rPr>
              <a:t>Mayo Clinic</a:t>
            </a:r>
            <a:b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br>
            <a:r>
              <a:rPr kumimoji="0" lang="en-US" sz="1600" b="0" i="0" u="none" strike="noStrike" kern="1200" cap="none" spc="0" normalizeH="0" baseline="0" noProof="0" dirty="0">
                <a:ln>
                  <a:noFill/>
                </a:ln>
                <a:solidFill>
                  <a:srgbClr val="1D1C1D"/>
                </a:solidFill>
                <a:effectLst/>
                <a:uLnTx/>
                <a:uFillTx/>
                <a:latin typeface="Calibri" panose="020F0502020204030204" pitchFamily="34" charset="0"/>
                <a:ea typeface="+mn-ea"/>
                <a:cs typeface="Calibri" panose="020F0502020204030204" pitchFamily="34" charset="0"/>
              </a:rPr>
              <a:t>Rochester, Minnesota</a:t>
            </a:r>
            <a:endPar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Times New Roman" panose="02020603050405020304" pitchFamily="18" charset="0"/>
              <a:cs typeface="Calibri" panose="020F0502020204030204" pitchFamily="34" charset="0"/>
            </a:endParaRPr>
          </a:p>
        </p:txBody>
      </p:sp>
      <p:pic>
        <p:nvPicPr>
          <p:cNvPr id="34" name="Picture 33" descr="A person wearing headphones&#10;&#10;Description automatically generated with medium confidence">
            <a:extLst>
              <a:ext uri="{FF2B5EF4-FFF2-40B4-BE49-F238E27FC236}">
                <a16:creationId xmlns:a16="http://schemas.microsoft.com/office/drawing/2014/main" id="{0F4C8D33-957D-8C41-D6D6-009B83BE7496}"/>
              </a:ext>
            </a:extLst>
          </p:cNvPr>
          <p:cNvPicPr>
            <a:picLocks noChangeAspect="1"/>
          </p:cNvPicPr>
          <p:nvPr/>
        </p:nvPicPr>
        <p:blipFill>
          <a:blip r:embed="rId7"/>
          <a:stretch>
            <a:fillRect/>
          </a:stretch>
        </p:blipFill>
        <p:spPr>
          <a:xfrm>
            <a:off x="6143761" y="557278"/>
            <a:ext cx="2552192" cy="1435608"/>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9841444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2FD760E-443D-936A-6379-DB019D16D883}"/>
              </a:ext>
            </a:extLst>
          </p:cNvPr>
          <p:cNvSpPr>
            <a:spLocks noGrp="1"/>
          </p:cNvSpPr>
          <p:nvPr>
            <p:ph type="title"/>
          </p:nvPr>
        </p:nvSpPr>
        <p:spPr>
          <a:xfrm>
            <a:off x="266712" y="152813"/>
            <a:ext cx="10972800" cy="1143000"/>
          </a:xfrm>
        </p:spPr>
        <p:txBody>
          <a:bodyPr>
            <a:normAutofit/>
          </a:bodyPr>
          <a:lstStyle/>
          <a:p>
            <a:r>
              <a:rPr lang="de-DE" sz="3733" b="1" dirty="0">
                <a:solidFill>
                  <a:schemeClr val="tx1"/>
                </a:solidFill>
                <a:latin typeface="Arial Narrow" panose="020B0604020202020204" pitchFamily="34" charset="0"/>
                <a:cs typeface="Arial Narrow" panose="020B0604020202020204" pitchFamily="34" charset="0"/>
              </a:rPr>
              <a:t>IMMUCHEC: an </a:t>
            </a:r>
            <a:r>
              <a:rPr lang="de-DE" sz="3733" b="1" dirty="0" err="1">
                <a:solidFill>
                  <a:schemeClr val="tx1"/>
                </a:solidFill>
                <a:latin typeface="Arial Narrow" panose="020B0604020202020204" pitchFamily="34" charset="0"/>
                <a:cs typeface="Arial Narrow" panose="020B0604020202020204" pitchFamily="34" charset="0"/>
              </a:rPr>
              <a:t>exploratory</a:t>
            </a:r>
            <a:r>
              <a:rPr lang="de-DE" sz="3733" b="1" dirty="0">
                <a:solidFill>
                  <a:schemeClr val="tx1"/>
                </a:solidFill>
                <a:latin typeface="Arial Narrow" panose="020B0604020202020204" pitchFamily="34" charset="0"/>
                <a:cs typeface="Arial Narrow" panose="020B0604020202020204" pitchFamily="34" charset="0"/>
              </a:rPr>
              <a:t> IO </a:t>
            </a:r>
            <a:r>
              <a:rPr lang="de-DE" sz="3733" b="1" dirty="0" err="1">
                <a:solidFill>
                  <a:schemeClr val="tx1"/>
                </a:solidFill>
                <a:latin typeface="Arial Narrow" panose="020B0604020202020204" pitchFamily="34" charset="0"/>
                <a:cs typeface="Arial Narrow" panose="020B0604020202020204" pitchFamily="34" charset="0"/>
              </a:rPr>
              <a:t>trial</a:t>
            </a:r>
            <a:r>
              <a:rPr lang="de-DE" sz="3733" b="1" dirty="0">
                <a:solidFill>
                  <a:schemeClr val="tx1"/>
                </a:solidFill>
                <a:latin typeface="Arial Narrow" panose="020B0604020202020204" pitchFamily="34" charset="0"/>
                <a:cs typeface="Arial Narrow" panose="020B0604020202020204" pitchFamily="34" charset="0"/>
              </a:rPr>
              <a:t> in BTC</a:t>
            </a:r>
          </a:p>
        </p:txBody>
      </p:sp>
      <p:pic>
        <p:nvPicPr>
          <p:cNvPr id="4" name="Inhaltsplatzhalter 3">
            <a:extLst>
              <a:ext uri="{FF2B5EF4-FFF2-40B4-BE49-F238E27FC236}">
                <a16:creationId xmlns:a16="http://schemas.microsoft.com/office/drawing/2014/main" id="{27B53EF9-188E-5B5B-2543-8C792A282F33}"/>
              </a:ext>
            </a:extLst>
          </p:cNvPr>
          <p:cNvPicPr>
            <a:picLocks noGrp="1" noChangeAspect="1"/>
          </p:cNvPicPr>
          <p:nvPr>
            <p:ph idx="1"/>
          </p:nvPr>
        </p:nvPicPr>
        <p:blipFill rotWithShape="1">
          <a:blip r:embed="rId2"/>
          <a:srcRect t="11214"/>
          <a:stretch/>
        </p:blipFill>
        <p:spPr>
          <a:xfrm>
            <a:off x="352270" y="1443139"/>
            <a:ext cx="10703236" cy="5262048"/>
          </a:xfrm>
          <a:prstGeom prst="rect">
            <a:avLst/>
          </a:prstGeom>
        </p:spPr>
      </p:pic>
      <p:sp>
        <p:nvSpPr>
          <p:cNvPr id="5" name="Textfeld 4">
            <a:extLst>
              <a:ext uri="{FF2B5EF4-FFF2-40B4-BE49-F238E27FC236}">
                <a16:creationId xmlns:a16="http://schemas.microsoft.com/office/drawing/2014/main" id="{B0D47EF0-8B3C-399E-7F93-DADC9291D52D}"/>
              </a:ext>
            </a:extLst>
          </p:cNvPr>
          <p:cNvSpPr txBox="1"/>
          <p:nvPr/>
        </p:nvSpPr>
        <p:spPr>
          <a:xfrm>
            <a:off x="266713" y="762333"/>
            <a:ext cx="8254183" cy="50276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de-DE" sz="2667" b="0" i="0" u="none" strike="noStrike" kern="0" cap="none" spc="0" normalizeH="0" baseline="0" noProof="0" dirty="0" err="1">
                <a:ln>
                  <a:noFill/>
                </a:ln>
                <a:solidFill>
                  <a:srgbClr val="000000"/>
                </a:solidFill>
                <a:effectLst/>
                <a:uLnTx/>
                <a:uFillTx/>
                <a:latin typeface="Arial Narrow" panose="020B0604020202020204" pitchFamily="34" charset="0"/>
                <a:cs typeface="Arial Narrow" panose="020B0604020202020204" pitchFamily="34" charset="0"/>
                <a:sym typeface="Arial"/>
              </a:rPr>
              <a:t>Aim</a:t>
            </a:r>
            <a:r>
              <a:rPr kumimoji="0" lang="de-DE" sz="2667" b="0"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rPr>
              <a:t>: </a:t>
            </a:r>
            <a:r>
              <a:rPr kumimoji="0" lang="de-DE" sz="2667" b="0" i="0" u="none" strike="noStrike" kern="0" cap="none" spc="0" normalizeH="0" baseline="0" noProof="0" dirty="0" err="1">
                <a:ln>
                  <a:noFill/>
                </a:ln>
                <a:solidFill>
                  <a:srgbClr val="000000"/>
                </a:solidFill>
                <a:effectLst/>
                <a:uLnTx/>
                <a:uFillTx/>
                <a:latin typeface="Arial Narrow" panose="020B0604020202020204" pitchFamily="34" charset="0"/>
                <a:cs typeface="Arial Narrow" panose="020B0604020202020204" pitchFamily="34" charset="0"/>
                <a:sym typeface="Arial"/>
              </a:rPr>
              <a:t>identify</a:t>
            </a:r>
            <a:r>
              <a:rPr kumimoji="0" lang="de-DE" sz="2667" b="0"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rPr>
              <a:t> </a:t>
            </a:r>
            <a:r>
              <a:rPr kumimoji="0" lang="de-DE" sz="2667" b="0" i="0" u="none" strike="noStrike" kern="0" cap="none" spc="0" normalizeH="0" baseline="0" noProof="0" dirty="0" err="1">
                <a:ln>
                  <a:noFill/>
                </a:ln>
                <a:solidFill>
                  <a:srgbClr val="000000"/>
                </a:solidFill>
                <a:effectLst/>
                <a:uLnTx/>
                <a:uFillTx/>
                <a:latin typeface="Arial Narrow" panose="020B0604020202020204" pitchFamily="34" charset="0"/>
                <a:cs typeface="Arial Narrow" panose="020B0604020202020204" pitchFamily="34" charset="0"/>
                <a:sym typeface="Arial"/>
              </a:rPr>
              <a:t>early</a:t>
            </a:r>
            <a:r>
              <a:rPr kumimoji="0" lang="de-DE" sz="2667" b="0"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rPr>
              <a:t> „</a:t>
            </a:r>
            <a:r>
              <a:rPr kumimoji="0" lang="de-DE" sz="2667" b="0" i="0" u="none" strike="noStrike" kern="0" cap="none" spc="0" normalizeH="0" baseline="0" noProof="0" dirty="0" err="1">
                <a:ln>
                  <a:noFill/>
                </a:ln>
                <a:solidFill>
                  <a:srgbClr val="000000"/>
                </a:solidFill>
                <a:effectLst/>
                <a:uLnTx/>
                <a:uFillTx/>
                <a:latin typeface="Arial Narrow" panose="020B0604020202020204" pitchFamily="34" charset="0"/>
                <a:cs typeface="Arial Narrow" panose="020B0604020202020204" pitchFamily="34" charset="0"/>
                <a:sym typeface="Arial"/>
              </a:rPr>
              <a:t>signal</a:t>
            </a:r>
            <a:r>
              <a:rPr kumimoji="0" lang="de-DE" sz="2667" b="0"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rPr>
              <a:t> </a:t>
            </a:r>
            <a:r>
              <a:rPr kumimoji="0" lang="de-DE" sz="2667" b="0" i="0" u="none" strike="noStrike" kern="0" cap="none" spc="0" normalizeH="0" baseline="0" noProof="0" dirty="0" err="1">
                <a:ln>
                  <a:noFill/>
                </a:ln>
                <a:solidFill>
                  <a:srgbClr val="000000"/>
                </a:solidFill>
                <a:effectLst/>
                <a:uLnTx/>
                <a:uFillTx/>
                <a:latin typeface="Arial Narrow" panose="020B0604020202020204" pitchFamily="34" charset="0"/>
                <a:cs typeface="Arial Narrow" panose="020B0604020202020204" pitchFamily="34" charset="0"/>
                <a:sym typeface="Arial"/>
              </a:rPr>
              <a:t>of</a:t>
            </a:r>
            <a:r>
              <a:rPr kumimoji="0" lang="de-DE" sz="2667" b="0"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rPr>
              <a:t> </a:t>
            </a:r>
            <a:r>
              <a:rPr kumimoji="0" lang="de-DE" sz="2667" b="0" i="0" u="none" strike="noStrike" kern="0" cap="none" spc="0" normalizeH="0" baseline="0" noProof="0" dirty="0" err="1">
                <a:ln>
                  <a:noFill/>
                </a:ln>
                <a:solidFill>
                  <a:srgbClr val="000000"/>
                </a:solidFill>
                <a:effectLst/>
                <a:uLnTx/>
                <a:uFillTx/>
                <a:latin typeface="Arial Narrow" panose="020B0604020202020204" pitchFamily="34" charset="0"/>
                <a:cs typeface="Arial Narrow" panose="020B0604020202020204" pitchFamily="34" charset="0"/>
                <a:sym typeface="Arial"/>
              </a:rPr>
              <a:t>activity</a:t>
            </a:r>
            <a:r>
              <a:rPr kumimoji="0" lang="de-DE" sz="2667" b="0"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rPr>
              <a:t>“ </a:t>
            </a:r>
            <a:r>
              <a:rPr kumimoji="0" lang="de-DE" sz="2667" b="0" i="0" u="none" strike="noStrike" kern="0" cap="none" spc="0" normalizeH="0" baseline="0" noProof="0" dirty="0" err="1">
                <a:ln>
                  <a:noFill/>
                </a:ln>
                <a:solidFill>
                  <a:srgbClr val="000000"/>
                </a:solidFill>
                <a:effectLst/>
                <a:uLnTx/>
                <a:uFillTx/>
                <a:latin typeface="Arial Narrow" panose="020B0604020202020204" pitchFamily="34" charset="0"/>
                <a:cs typeface="Arial Narrow" panose="020B0604020202020204" pitchFamily="34" charset="0"/>
                <a:sym typeface="Arial"/>
              </a:rPr>
              <a:t>for</a:t>
            </a:r>
            <a:r>
              <a:rPr kumimoji="0" lang="de-DE" sz="2667" b="0"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rPr>
              <a:t> different IO </a:t>
            </a:r>
            <a:r>
              <a:rPr kumimoji="0" lang="de-DE" sz="2667" b="0" i="0" u="none" strike="noStrike" kern="0" cap="none" spc="0" normalizeH="0" baseline="0" noProof="0" dirty="0" err="1">
                <a:ln>
                  <a:noFill/>
                </a:ln>
                <a:solidFill>
                  <a:srgbClr val="000000"/>
                </a:solidFill>
                <a:effectLst/>
                <a:uLnTx/>
                <a:uFillTx/>
                <a:latin typeface="Arial Narrow" panose="020B0604020202020204" pitchFamily="34" charset="0"/>
                <a:cs typeface="Arial Narrow" panose="020B0604020202020204" pitchFamily="34" charset="0"/>
                <a:sym typeface="Arial"/>
              </a:rPr>
              <a:t>combinations</a:t>
            </a:r>
            <a:endParaRPr kumimoji="0" lang="de-DE" sz="2667" b="0"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endParaRPr>
          </a:p>
        </p:txBody>
      </p:sp>
    </p:spTree>
    <p:extLst>
      <p:ext uri="{BB962C8B-B14F-4D97-AF65-F5344CB8AC3E}">
        <p14:creationId xmlns:p14="http://schemas.microsoft.com/office/powerpoint/2010/main" val="2415291642"/>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Inhaltsplatzhalter 4">
            <a:extLst>
              <a:ext uri="{FF2B5EF4-FFF2-40B4-BE49-F238E27FC236}">
                <a16:creationId xmlns:a16="http://schemas.microsoft.com/office/drawing/2014/main" id="{3FBF613A-911A-F65C-E580-7B14AB481E1E}"/>
              </a:ext>
            </a:extLst>
          </p:cNvPr>
          <p:cNvPicPr>
            <a:picLocks noChangeAspect="1"/>
          </p:cNvPicPr>
          <p:nvPr/>
        </p:nvPicPr>
        <p:blipFill>
          <a:blip r:embed="rId2"/>
          <a:stretch>
            <a:fillRect/>
          </a:stretch>
        </p:blipFill>
        <p:spPr>
          <a:xfrm>
            <a:off x="151002" y="2829003"/>
            <a:ext cx="6993377" cy="3114999"/>
          </a:xfrm>
          <a:prstGeom prst="rect">
            <a:avLst/>
          </a:prstGeom>
        </p:spPr>
      </p:pic>
      <p:pic>
        <p:nvPicPr>
          <p:cNvPr id="16" name="Grafik 15">
            <a:extLst>
              <a:ext uri="{FF2B5EF4-FFF2-40B4-BE49-F238E27FC236}">
                <a16:creationId xmlns:a16="http://schemas.microsoft.com/office/drawing/2014/main" id="{6BE9E64A-CAFD-3429-60B4-18376B0CC03F}"/>
              </a:ext>
            </a:extLst>
          </p:cNvPr>
          <p:cNvPicPr>
            <a:picLocks noChangeAspect="1"/>
          </p:cNvPicPr>
          <p:nvPr/>
        </p:nvPicPr>
        <p:blipFill rotWithShape="1">
          <a:blip r:embed="rId3"/>
          <a:srcRect b="63383"/>
          <a:stretch/>
        </p:blipFill>
        <p:spPr>
          <a:xfrm>
            <a:off x="41881" y="1422547"/>
            <a:ext cx="7211616" cy="1264667"/>
          </a:xfrm>
          <a:prstGeom prst="rect">
            <a:avLst/>
          </a:prstGeom>
        </p:spPr>
      </p:pic>
      <p:sp>
        <p:nvSpPr>
          <p:cNvPr id="17" name="Textfeld 16">
            <a:extLst>
              <a:ext uri="{FF2B5EF4-FFF2-40B4-BE49-F238E27FC236}">
                <a16:creationId xmlns:a16="http://schemas.microsoft.com/office/drawing/2014/main" id="{A00DB007-02EE-5C2B-80DA-9FEF46F5DC18}"/>
              </a:ext>
            </a:extLst>
          </p:cNvPr>
          <p:cNvSpPr txBox="1"/>
          <p:nvPr/>
        </p:nvSpPr>
        <p:spPr>
          <a:xfrm>
            <a:off x="7253498" y="1875790"/>
            <a:ext cx="4938503" cy="3923253"/>
          </a:xfrm>
          <a:prstGeom prst="rect">
            <a:avLst/>
          </a:prstGeom>
          <a:noFill/>
        </p:spPr>
        <p:txBody>
          <a:bodyPr wrap="square" rtlCol="0">
            <a:spAutoFit/>
          </a:bodyPr>
          <a:lstStyle/>
          <a:p>
            <a:pPr marL="457189" marR="0" lvl="0" indent="-457189" algn="l" defTabSz="914400" rtl="0" eaLnBrk="1" fontAlgn="auto" latinLnBrk="0" hangingPunct="1">
              <a:lnSpc>
                <a:spcPct val="100000"/>
              </a:lnSpc>
              <a:spcBef>
                <a:spcPts val="0"/>
              </a:spcBef>
              <a:spcAft>
                <a:spcPts val="0"/>
              </a:spcAft>
              <a:buClr>
                <a:srgbClr val="000000"/>
              </a:buClr>
              <a:buSzTx/>
              <a:buFont typeface="Arial"/>
              <a:buAutoNum type="arabicPeriod"/>
              <a:tabLst/>
              <a:defRPr/>
            </a:pPr>
            <a:r>
              <a:rPr kumimoji="0" lang="de-DE" sz="1867" b="0"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rPr>
              <a:t>Addition </a:t>
            </a:r>
            <a:r>
              <a:rPr kumimoji="0" lang="de-DE" sz="1867" b="0" i="0" u="none" strike="noStrike" kern="0" cap="none" spc="0" normalizeH="0" baseline="0" noProof="0" dirty="0" err="1">
                <a:ln>
                  <a:noFill/>
                </a:ln>
                <a:solidFill>
                  <a:srgbClr val="000000"/>
                </a:solidFill>
                <a:effectLst/>
                <a:uLnTx/>
                <a:uFillTx/>
                <a:latin typeface="Arial Narrow" panose="020B0604020202020204" pitchFamily="34" charset="0"/>
                <a:cs typeface="Arial Narrow" panose="020B0604020202020204" pitchFamily="34" charset="0"/>
                <a:sym typeface="Arial"/>
              </a:rPr>
              <a:t>of</a:t>
            </a:r>
            <a:r>
              <a:rPr kumimoji="0" lang="de-DE" sz="1867" b="0"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rPr>
              <a:t> IO </a:t>
            </a:r>
            <a:r>
              <a:rPr kumimoji="0" lang="de-DE" sz="1867" b="0" i="0" u="none" strike="noStrike" kern="0" cap="none" spc="0" normalizeH="0" baseline="0" noProof="0" dirty="0" err="1">
                <a:ln>
                  <a:noFill/>
                </a:ln>
                <a:solidFill>
                  <a:srgbClr val="000000"/>
                </a:solidFill>
                <a:effectLst/>
                <a:uLnTx/>
                <a:uFillTx/>
                <a:latin typeface="Arial Narrow" panose="020B0604020202020204" pitchFamily="34" charset="0"/>
                <a:cs typeface="Arial Narrow" panose="020B0604020202020204" pitchFamily="34" charset="0"/>
                <a:sym typeface="Arial"/>
              </a:rPr>
              <a:t>to</a:t>
            </a:r>
            <a:r>
              <a:rPr kumimoji="0" lang="de-DE" sz="1867" b="0"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rPr>
              <a:t> </a:t>
            </a:r>
            <a:r>
              <a:rPr kumimoji="0" lang="de-DE" sz="1867" b="0" i="0" u="none" strike="noStrike" kern="0" cap="none" spc="0" normalizeH="0" baseline="0" noProof="0" dirty="0" err="1">
                <a:ln>
                  <a:noFill/>
                </a:ln>
                <a:solidFill>
                  <a:srgbClr val="000000"/>
                </a:solidFill>
                <a:effectLst/>
                <a:uLnTx/>
                <a:uFillTx/>
                <a:latin typeface="Arial Narrow" panose="020B0604020202020204" pitchFamily="34" charset="0"/>
                <a:cs typeface="Arial Narrow" panose="020B0604020202020204" pitchFamily="34" charset="0"/>
                <a:sym typeface="Arial"/>
              </a:rPr>
              <a:t>chemo</a:t>
            </a:r>
            <a:r>
              <a:rPr kumimoji="0" lang="de-DE" sz="1867" b="0"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rPr>
              <a:t> </a:t>
            </a:r>
            <a:r>
              <a:rPr kumimoji="0" lang="de-DE" sz="1867" b="0" i="0" u="none" strike="noStrike" kern="0" cap="none" spc="0" normalizeH="0" baseline="0" noProof="0" dirty="0" err="1">
                <a:ln>
                  <a:noFill/>
                </a:ln>
                <a:solidFill>
                  <a:srgbClr val="000000"/>
                </a:solidFill>
                <a:effectLst/>
                <a:uLnTx/>
                <a:uFillTx/>
                <a:latin typeface="Arial Narrow" panose="020B0604020202020204" pitchFamily="34" charset="0"/>
                <a:cs typeface="Arial Narrow" panose="020B0604020202020204" pitchFamily="34" charset="0"/>
                <a:sym typeface="Arial"/>
              </a:rPr>
              <a:t>did</a:t>
            </a:r>
            <a:r>
              <a:rPr kumimoji="0" lang="de-DE" sz="1867" b="0"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rPr>
              <a:t> not </a:t>
            </a:r>
            <a:r>
              <a:rPr kumimoji="0" lang="de-DE" sz="1867" b="0" i="0" u="none" strike="noStrike" kern="0" cap="none" spc="0" normalizeH="0" baseline="0" noProof="0" dirty="0" err="1">
                <a:ln>
                  <a:noFill/>
                </a:ln>
                <a:solidFill>
                  <a:srgbClr val="000000"/>
                </a:solidFill>
                <a:effectLst/>
                <a:uLnTx/>
                <a:uFillTx/>
                <a:latin typeface="Arial Narrow" panose="020B0604020202020204" pitchFamily="34" charset="0"/>
                <a:cs typeface="Arial Narrow" panose="020B0604020202020204" pitchFamily="34" charset="0"/>
                <a:sym typeface="Arial"/>
              </a:rPr>
              <a:t>improve</a:t>
            </a:r>
            <a:r>
              <a:rPr kumimoji="0" lang="de-DE" sz="1867" b="0"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rPr>
              <a:t> ORR (negative </a:t>
            </a:r>
            <a:r>
              <a:rPr kumimoji="0" lang="de-DE" sz="1867" b="0" i="0" u="none" strike="noStrike" kern="0" cap="none" spc="0" normalizeH="0" baseline="0" noProof="0" dirty="0" err="1">
                <a:ln>
                  <a:noFill/>
                </a:ln>
                <a:solidFill>
                  <a:srgbClr val="000000"/>
                </a:solidFill>
                <a:effectLst/>
                <a:uLnTx/>
                <a:uFillTx/>
                <a:latin typeface="Arial Narrow" panose="020B0604020202020204" pitchFamily="34" charset="0"/>
                <a:cs typeface="Arial Narrow" panose="020B0604020202020204" pitchFamily="34" charset="0"/>
                <a:sym typeface="Arial"/>
              </a:rPr>
              <a:t>trial</a:t>
            </a:r>
            <a:r>
              <a:rPr kumimoji="0" lang="de-DE" sz="1867" b="0"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rPr>
              <a:t>)</a:t>
            </a:r>
          </a:p>
          <a:p>
            <a:pPr marL="1066759" marR="0" lvl="1" indent="-457189" algn="l" defTabSz="914400" rtl="0" eaLnBrk="1" fontAlgn="auto" latinLnBrk="0" hangingPunct="1">
              <a:lnSpc>
                <a:spcPct val="100000"/>
              </a:lnSpc>
              <a:spcBef>
                <a:spcPts val="0"/>
              </a:spcBef>
              <a:spcAft>
                <a:spcPts val="0"/>
              </a:spcAft>
              <a:buClr>
                <a:srgbClr val="000000"/>
              </a:buClr>
              <a:buSzTx/>
              <a:buFont typeface="Arial"/>
              <a:buAutoNum type="arabicPeriod"/>
              <a:tabLst/>
              <a:defRPr/>
            </a:pPr>
            <a:r>
              <a:rPr kumimoji="0" lang="de-DE" sz="1867" b="0" i="0" u="none" strike="noStrike" kern="0" cap="none" spc="0" normalizeH="0" baseline="0" noProof="0" dirty="0" err="1">
                <a:ln>
                  <a:noFill/>
                </a:ln>
                <a:solidFill>
                  <a:srgbClr val="000000"/>
                </a:solidFill>
                <a:effectLst/>
                <a:uLnTx/>
                <a:uFillTx/>
                <a:latin typeface="Arial Narrow" panose="020B0604020202020204" pitchFamily="34" charset="0"/>
                <a:cs typeface="Arial Narrow" panose="020B0604020202020204" pitchFamily="34" charset="0"/>
                <a:sym typeface="Arial"/>
              </a:rPr>
              <a:t>compared</a:t>
            </a:r>
            <a:r>
              <a:rPr kumimoji="0" lang="de-DE" sz="1867" b="0"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rPr>
              <a:t> </a:t>
            </a:r>
            <a:r>
              <a:rPr kumimoji="0" lang="de-DE" sz="1867" b="0" i="0" u="none" strike="noStrike" kern="0" cap="none" spc="0" normalizeH="0" baseline="0" noProof="0" dirty="0" err="1">
                <a:ln>
                  <a:noFill/>
                </a:ln>
                <a:solidFill>
                  <a:srgbClr val="000000"/>
                </a:solidFill>
                <a:effectLst/>
                <a:uLnTx/>
                <a:uFillTx/>
                <a:latin typeface="Arial Narrow" panose="020B0604020202020204" pitchFamily="34" charset="0"/>
                <a:cs typeface="Arial Narrow" panose="020B0604020202020204" pitchFamily="34" charset="0"/>
                <a:sym typeface="Arial"/>
              </a:rPr>
              <a:t>to</a:t>
            </a:r>
            <a:r>
              <a:rPr kumimoji="0" lang="de-DE" sz="1867" b="0"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rPr>
              <a:t> TOPAZ: </a:t>
            </a:r>
            <a:r>
              <a:rPr kumimoji="0" lang="de-DE" sz="1867" b="0" i="0" u="none" strike="noStrike" kern="0" cap="none" spc="0" normalizeH="0" baseline="0" noProof="0" dirty="0" err="1">
                <a:ln>
                  <a:noFill/>
                </a:ln>
                <a:solidFill>
                  <a:srgbClr val="000000"/>
                </a:solidFill>
                <a:effectLst/>
                <a:uLnTx/>
                <a:uFillTx/>
                <a:latin typeface="Arial Narrow" panose="020B0604020202020204" pitchFamily="34" charset="0"/>
                <a:cs typeface="Arial Narrow" panose="020B0604020202020204" pitchFamily="34" charset="0"/>
                <a:sym typeface="Arial"/>
              </a:rPr>
              <a:t>small</a:t>
            </a:r>
            <a:r>
              <a:rPr kumimoji="0" lang="de-DE" sz="1867" b="0"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rPr>
              <a:t> </a:t>
            </a:r>
            <a:r>
              <a:rPr kumimoji="0" lang="de-DE" sz="1867" b="0" i="0" u="none" strike="noStrike" kern="0" cap="none" spc="0" normalizeH="0" baseline="0" noProof="0" dirty="0" err="1">
                <a:ln>
                  <a:noFill/>
                </a:ln>
                <a:solidFill>
                  <a:srgbClr val="000000"/>
                </a:solidFill>
                <a:effectLst/>
                <a:uLnTx/>
                <a:uFillTx/>
                <a:latin typeface="Arial Narrow" panose="020B0604020202020204" pitchFamily="34" charset="0"/>
                <a:cs typeface="Arial Narrow" panose="020B0604020202020204" pitchFamily="34" charset="0"/>
                <a:sym typeface="Arial"/>
              </a:rPr>
              <a:t>cohort</a:t>
            </a:r>
            <a:r>
              <a:rPr kumimoji="0" lang="de-DE" sz="1867" b="0"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rPr>
              <a:t>?</a:t>
            </a:r>
          </a:p>
          <a:p>
            <a:pPr marL="1066759" marR="0" lvl="1" indent="-457189" algn="l" defTabSz="914400" rtl="0" eaLnBrk="1" fontAlgn="auto" latinLnBrk="0" hangingPunct="1">
              <a:lnSpc>
                <a:spcPct val="100000"/>
              </a:lnSpc>
              <a:spcBef>
                <a:spcPts val="0"/>
              </a:spcBef>
              <a:spcAft>
                <a:spcPts val="0"/>
              </a:spcAft>
              <a:buClr>
                <a:srgbClr val="000000"/>
              </a:buClr>
              <a:buSzTx/>
              <a:buFont typeface="Arial"/>
              <a:buAutoNum type="arabicPeriod"/>
              <a:tabLst/>
              <a:defRPr/>
            </a:pPr>
            <a:r>
              <a:rPr kumimoji="0" lang="de-DE" sz="1867" b="0" i="0" u="none" strike="noStrike" kern="0" cap="none" spc="0" normalizeH="0" baseline="0" noProof="0" dirty="0" err="1">
                <a:ln>
                  <a:noFill/>
                </a:ln>
                <a:solidFill>
                  <a:srgbClr val="000000"/>
                </a:solidFill>
                <a:effectLst/>
                <a:uLnTx/>
                <a:uFillTx/>
                <a:latin typeface="Arial Narrow" panose="020B0604020202020204" pitchFamily="34" charset="0"/>
                <a:cs typeface="Arial Narrow" panose="020B0604020202020204" pitchFamily="34" charset="0"/>
                <a:sym typeface="Arial"/>
              </a:rPr>
              <a:t>compared</a:t>
            </a:r>
            <a:r>
              <a:rPr kumimoji="0" lang="de-DE" sz="1867" b="0"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rPr>
              <a:t> </a:t>
            </a:r>
            <a:r>
              <a:rPr kumimoji="0" lang="de-DE" sz="1867" b="0" i="0" u="none" strike="noStrike" kern="0" cap="none" spc="0" normalizeH="0" baseline="0" noProof="0" dirty="0" err="1">
                <a:ln>
                  <a:noFill/>
                </a:ln>
                <a:solidFill>
                  <a:srgbClr val="000000"/>
                </a:solidFill>
                <a:effectLst/>
                <a:uLnTx/>
                <a:uFillTx/>
                <a:latin typeface="Arial Narrow" panose="020B0604020202020204" pitchFamily="34" charset="0"/>
                <a:cs typeface="Arial Narrow" panose="020B0604020202020204" pitchFamily="34" charset="0"/>
                <a:sym typeface="Arial"/>
              </a:rPr>
              <a:t>to</a:t>
            </a:r>
            <a:r>
              <a:rPr kumimoji="0" lang="de-DE" sz="1867" b="0"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rPr>
              <a:t> TOPAZ: non-Asian </a:t>
            </a:r>
            <a:r>
              <a:rPr kumimoji="0" lang="de-DE" sz="1867" b="0" i="0" u="none" strike="noStrike" kern="0" cap="none" spc="0" normalizeH="0" baseline="0" noProof="0" dirty="0" err="1">
                <a:ln>
                  <a:noFill/>
                </a:ln>
                <a:solidFill>
                  <a:srgbClr val="000000"/>
                </a:solidFill>
                <a:effectLst/>
                <a:uLnTx/>
                <a:uFillTx/>
                <a:latin typeface="Arial Narrow" panose="020B0604020202020204" pitchFamily="34" charset="0"/>
                <a:cs typeface="Arial Narrow" panose="020B0604020202020204" pitchFamily="34" charset="0"/>
                <a:sym typeface="Arial"/>
              </a:rPr>
              <a:t>cohort</a:t>
            </a:r>
            <a:endParaRPr kumimoji="0" lang="de-DE" sz="1867" b="0"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endParaRPr>
          </a:p>
          <a:p>
            <a:pPr marL="457189" marR="0" lvl="0" indent="-457189" algn="l" defTabSz="914400" rtl="0" eaLnBrk="1" fontAlgn="auto" latinLnBrk="0" hangingPunct="1">
              <a:lnSpc>
                <a:spcPct val="100000"/>
              </a:lnSpc>
              <a:spcBef>
                <a:spcPts val="0"/>
              </a:spcBef>
              <a:spcAft>
                <a:spcPts val="0"/>
              </a:spcAft>
              <a:buClr>
                <a:srgbClr val="000000"/>
              </a:buClr>
              <a:buSzTx/>
              <a:buFont typeface="Arial"/>
              <a:buAutoNum type="arabicPeriod"/>
              <a:tabLst/>
              <a:defRPr/>
            </a:pPr>
            <a:r>
              <a:rPr kumimoji="0" lang="de-DE" sz="1867" b="0" i="0" u="none" strike="noStrike" kern="0" cap="none" spc="0" normalizeH="0" baseline="0" noProof="0" dirty="0" err="1">
                <a:ln>
                  <a:noFill/>
                </a:ln>
                <a:solidFill>
                  <a:srgbClr val="00B0F0"/>
                </a:solidFill>
                <a:effectLst/>
                <a:uLnTx/>
                <a:uFillTx/>
                <a:latin typeface="Arial Narrow" panose="020B0604020202020204" pitchFamily="34" charset="0"/>
                <a:cs typeface="Arial Narrow" panose="020B0604020202020204" pitchFamily="34" charset="0"/>
                <a:sym typeface="Arial"/>
              </a:rPr>
              <a:t>mOS</a:t>
            </a:r>
            <a:r>
              <a:rPr kumimoji="0" lang="de-DE" sz="1867" b="0" i="0" u="none" strike="noStrike" kern="0" cap="none" spc="0" normalizeH="0" baseline="0" noProof="0" dirty="0">
                <a:ln>
                  <a:noFill/>
                </a:ln>
                <a:solidFill>
                  <a:srgbClr val="00B0F0"/>
                </a:solidFill>
                <a:effectLst/>
                <a:uLnTx/>
                <a:uFillTx/>
                <a:latin typeface="Arial Narrow" panose="020B0604020202020204" pitchFamily="34" charset="0"/>
                <a:cs typeface="Arial Narrow" panose="020B0604020202020204" pitchFamily="34" charset="0"/>
                <a:sym typeface="Arial"/>
              </a:rPr>
              <a:t> in </a:t>
            </a:r>
            <a:r>
              <a:rPr kumimoji="0" lang="de-DE" sz="1867" b="0" i="0" u="none" strike="noStrike" kern="0" cap="none" spc="0" normalizeH="0" baseline="0" noProof="0" dirty="0" err="1">
                <a:ln>
                  <a:noFill/>
                </a:ln>
                <a:solidFill>
                  <a:srgbClr val="00B0F0"/>
                </a:solidFill>
                <a:effectLst/>
                <a:uLnTx/>
                <a:uFillTx/>
                <a:latin typeface="Arial Narrow" panose="020B0604020202020204" pitchFamily="34" charset="0"/>
                <a:cs typeface="Arial Narrow" panose="020B0604020202020204" pitchFamily="34" charset="0"/>
                <a:sym typeface="Arial"/>
              </a:rPr>
              <a:t>control</a:t>
            </a:r>
            <a:r>
              <a:rPr kumimoji="0" lang="de-DE" sz="1867" b="0" i="0" u="none" strike="noStrike" kern="0" cap="none" spc="0" normalizeH="0" baseline="0" noProof="0" dirty="0">
                <a:ln>
                  <a:noFill/>
                </a:ln>
                <a:solidFill>
                  <a:srgbClr val="00B0F0"/>
                </a:solidFill>
                <a:effectLst/>
                <a:uLnTx/>
                <a:uFillTx/>
                <a:latin typeface="Arial Narrow" panose="020B0604020202020204" pitchFamily="34" charset="0"/>
                <a:cs typeface="Arial Narrow" panose="020B0604020202020204" pitchFamily="34" charset="0"/>
                <a:sym typeface="Arial"/>
              </a:rPr>
              <a:t> arm </a:t>
            </a:r>
            <a:r>
              <a:rPr kumimoji="0" lang="de-DE" sz="1867" b="0" i="0" u="none" strike="noStrike" kern="0" cap="none" spc="0" normalizeH="0" baseline="0" noProof="0" dirty="0" err="1">
                <a:ln>
                  <a:noFill/>
                </a:ln>
                <a:solidFill>
                  <a:srgbClr val="00B0F0"/>
                </a:solidFill>
                <a:effectLst/>
                <a:uLnTx/>
                <a:uFillTx/>
                <a:latin typeface="Arial Narrow" panose="020B0604020202020204" pitchFamily="34" charset="0"/>
                <a:cs typeface="Arial Narrow" panose="020B0604020202020204" pitchFamily="34" charset="0"/>
                <a:sym typeface="Arial"/>
              </a:rPr>
              <a:t>longer</a:t>
            </a:r>
            <a:r>
              <a:rPr kumimoji="0" lang="de-DE" sz="1867" b="0" i="0" u="none" strike="noStrike" kern="0" cap="none" spc="0" normalizeH="0" baseline="0" noProof="0" dirty="0">
                <a:ln>
                  <a:noFill/>
                </a:ln>
                <a:solidFill>
                  <a:srgbClr val="00B0F0"/>
                </a:solidFill>
                <a:effectLst/>
                <a:uLnTx/>
                <a:uFillTx/>
                <a:latin typeface="Arial Narrow" panose="020B0604020202020204" pitchFamily="34" charset="0"/>
                <a:cs typeface="Arial Narrow" panose="020B0604020202020204" pitchFamily="34" charset="0"/>
                <a:sym typeface="Arial"/>
              </a:rPr>
              <a:t> </a:t>
            </a:r>
            <a:r>
              <a:rPr kumimoji="0" lang="de-DE" sz="1867" b="0" i="0" u="none" strike="noStrike" kern="0" cap="none" spc="0" normalizeH="0" baseline="0" noProof="0" dirty="0" err="1">
                <a:ln>
                  <a:noFill/>
                </a:ln>
                <a:solidFill>
                  <a:srgbClr val="00B0F0"/>
                </a:solidFill>
                <a:effectLst/>
                <a:uLnTx/>
                <a:uFillTx/>
                <a:latin typeface="Arial Narrow" panose="020B0604020202020204" pitchFamily="34" charset="0"/>
                <a:cs typeface="Arial Narrow" panose="020B0604020202020204" pitchFamily="34" charset="0"/>
                <a:sym typeface="Arial"/>
              </a:rPr>
              <a:t>than</a:t>
            </a:r>
            <a:r>
              <a:rPr kumimoji="0" lang="de-DE" sz="1867" b="0" i="0" u="none" strike="noStrike" kern="0" cap="none" spc="0" normalizeH="0" baseline="0" noProof="0" dirty="0">
                <a:ln>
                  <a:noFill/>
                </a:ln>
                <a:solidFill>
                  <a:srgbClr val="00B0F0"/>
                </a:solidFill>
                <a:effectLst/>
                <a:uLnTx/>
                <a:uFillTx/>
                <a:latin typeface="Arial Narrow" panose="020B0604020202020204" pitchFamily="34" charset="0"/>
                <a:cs typeface="Arial Narrow" panose="020B0604020202020204" pitchFamily="34" charset="0"/>
                <a:sym typeface="Arial"/>
              </a:rPr>
              <a:t> in </a:t>
            </a:r>
            <a:r>
              <a:rPr kumimoji="0" lang="de-DE" sz="1867" b="0" i="0" u="none" strike="noStrike" kern="0" cap="none" spc="0" normalizeH="0" baseline="0" noProof="0" dirty="0" err="1">
                <a:ln>
                  <a:noFill/>
                </a:ln>
                <a:solidFill>
                  <a:srgbClr val="00B0F0"/>
                </a:solidFill>
                <a:effectLst/>
                <a:uLnTx/>
                <a:uFillTx/>
                <a:latin typeface="Arial Narrow" panose="020B0604020202020204" pitchFamily="34" charset="0"/>
                <a:cs typeface="Arial Narrow" panose="020B0604020202020204" pitchFamily="34" charset="0"/>
                <a:sym typeface="Arial"/>
              </a:rPr>
              <a:t>previous</a:t>
            </a:r>
            <a:r>
              <a:rPr kumimoji="0" lang="de-DE" sz="1867" b="0" i="0" u="none" strike="noStrike" kern="0" cap="none" spc="0" normalizeH="0" baseline="0" noProof="0" dirty="0">
                <a:ln>
                  <a:noFill/>
                </a:ln>
                <a:solidFill>
                  <a:srgbClr val="00B0F0"/>
                </a:solidFill>
                <a:effectLst/>
                <a:uLnTx/>
                <a:uFillTx/>
                <a:latin typeface="Arial Narrow" panose="020B0604020202020204" pitchFamily="34" charset="0"/>
                <a:cs typeface="Arial Narrow" panose="020B0604020202020204" pitchFamily="34" charset="0"/>
                <a:sym typeface="Arial"/>
              </a:rPr>
              <a:t> </a:t>
            </a:r>
            <a:r>
              <a:rPr kumimoji="0" lang="de-DE" sz="1867" b="0" i="0" u="none" strike="noStrike" kern="0" cap="none" spc="0" normalizeH="0" baseline="0" noProof="0" dirty="0" err="1">
                <a:ln>
                  <a:noFill/>
                </a:ln>
                <a:solidFill>
                  <a:srgbClr val="00B0F0"/>
                </a:solidFill>
                <a:effectLst/>
                <a:uLnTx/>
                <a:uFillTx/>
                <a:latin typeface="Arial Narrow" panose="020B0604020202020204" pitchFamily="34" charset="0"/>
                <a:cs typeface="Arial Narrow" panose="020B0604020202020204" pitchFamily="34" charset="0"/>
                <a:sym typeface="Arial"/>
              </a:rPr>
              <a:t>phase</a:t>
            </a:r>
            <a:r>
              <a:rPr kumimoji="0" lang="de-DE" sz="1867" b="0" i="0" u="none" strike="noStrike" kern="0" cap="none" spc="0" normalizeH="0" baseline="0" noProof="0" dirty="0">
                <a:ln>
                  <a:noFill/>
                </a:ln>
                <a:solidFill>
                  <a:srgbClr val="00B0F0"/>
                </a:solidFill>
                <a:effectLst/>
                <a:uLnTx/>
                <a:uFillTx/>
                <a:latin typeface="Arial Narrow" panose="020B0604020202020204" pitchFamily="34" charset="0"/>
                <a:cs typeface="Arial Narrow" panose="020B0604020202020204" pitchFamily="34" charset="0"/>
                <a:sym typeface="Arial"/>
              </a:rPr>
              <a:t> 2 and 3 </a:t>
            </a:r>
            <a:r>
              <a:rPr kumimoji="0" lang="de-DE" sz="1867" b="0" i="0" u="none" strike="noStrike" kern="0" cap="none" spc="0" normalizeH="0" baseline="0" noProof="0" dirty="0" err="1">
                <a:ln>
                  <a:noFill/>
                </a:ln>
                <a:solidFill>
                  <a:srgbClr val="00B0F0"/>
                </a:solidFill>
                <a:effectLst/>
                <a:uLnTx/>
                <a:uFillTx/>
                <a:latin typeface="Arial Narrow" panose="020B0604020202020204" pitchFamily="34" charset="0"/>
                <a:cs typeface="Arial Narrow" panose="020B0604020202020204" pitchFamily="34" charset="0"/>
                <a:sym typeface="Arial"/>
              </a:rPr>
              <a:t>trials</a:t>
            </a:r>
            <a:r>
              <a:rPr kumimoji="0" lang="de-DE" sz="1867" b="0" i="0" u="none" strike="noStrike" kern="0" cap="none" spc="0" normalizeH="0" baseline="0" noProof="0" dirty="0">
                <a:ln>
                  <a:noFill/>
                </a:ln>
                <a:solidFill>
                  <a:srgbClr val="00B0F0"/>
                </a:solidFill>
                <a:effectLst/>
                <a:uLnTx/>
                <a:uFillTx/>
                <a:latin typeface="Arial Narrow" panose="020B0604020202020204" pitchFamily="34" charset="0"/>
                <a:cs typeface="Arial Narrow" panose="020B0604020202020204" pitchFamily="34" charset="0"/>
                <a:sym typeface="Arial"/>
              </a:rPr>
              <a:t> </a:t>
            </a:r>
          </a:p>
          <a:p>
            <a:pPr marL="1066759" marR="0" lvl="1" indent="-457189" algn="l" defTabSz="914400" rtl="0" eaLnBrk="1" fontAlgn="auto" latinLnBrk="0" hangingPunct="1">
              <a:lnSpc>
                <a:spcPct val="100000"/>
              </a:lnSpc>
              <a:spcBef>
                <a:spcPts val="0"/>
              </a:spcBef>
              <a:spcAft>
                <a:spcPts val="0"/>
              </a:spcAft>
              <a:buClr>
                <a:srgbClr val="000000"/>
              </a:buClr>
              <a:buSzTx/>
              <a:buFont typeface="Arial"/>
              <a:buAutoNum type="arabicPeriod"/>
              <a:tabLst/>
              <a:defRPr/>
            </a:pPr>
            <a:r>
              <a:rPr kumimoji="0" lang="de-DE" sz="1867" b="0" i="0" u="none" strike="noStrike" kern="0" cap="none" spc="0" normalizeH="0" baseline="0" noProof="0" dirty="0" err="1">
                <a:ln>
                  <a:noFill/>
                </a:ln>
                <a:solidFill>
                  <a:srgbClr val="000000"/>
                </a:solidFill>
                <a:effectLst/>
                <a:uLnTx/>
                <a:uFillTx/>
                <a:latin typeface="Arial Narrow" panose="020B0604020202020204" pitchFamily="34" charset="0"/>
                <a:cs typeface="Arial Narrow" panose="020B0604020202020204" pitchFamily="34" charset="0"/>
                <a:sym typeface="Arial"/>
              </a:rPr>
              <a:t>small</a:t>
            </a:r>
            <a:r>
              <a:rPr kumimoji="0" lang="de-DE" sz="1867" b="0"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rPr>
              <a:t> </a:t>
            </a:r>
            <a:r>
              <a:rPr kumimoji="0" lang="de-DE" sz="1867" b="0" i="0" u="none" strike="noStrike" kern="0" cap="none" spc="0" normalizeH="0" baseline="0" noProof="0" dirty="0" err="1">
                <a:ln>
                  <a:noFill/>
                </a:ln>
                <a:solidFill>
                  <a:srgbClr val="000000"/>
                </a:solidFill>
                <a:effectLst/>
                <a:uLnTx/>
                <a:uFillTx/>
                <a:latin typeface="Arial Narrow" panose="020B0604020202020204" pitchFamily="34" charset="0"/>
                <a:cs typeface="Arial Narrow" panose="020B0604020202020204" pitchFamily="34" charset="0"/>
                <a:sym typeface="Arial"/>
              </a:rPr>
              <a:t>cohort</a:t>
            </a:r>
            <a:endParaRPr kumimoji="0" lang="de-DE" sz="1867" b="0"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endParaRPr>
          </a:p>
          <a:p>
            <a:pPr marL="1066759" marR="0" lvl="1" indent="-457189" algn="l" defTabSz="914400" rtl="0" eaLnBrk="1" fontAlgn="auto" latinLnBrk="0" hangingPunct="1">
              <a:lnSpc>
                <a:spcPct val="100000"/>
              </a:lnSpc>
              <a:spcBef>
                <a:spcPts val="0"/>
              </a:spcBef>
              <a:spcAft>
                <a:spcPts val="0"/>
              </a:spcAft>
              <a:buClr>
                <a:srgbClr val="000000"/>
              </a:buClr>
              <a:buSzTx/>
              <a:buFont typeface="Arial"/>
              <a:buAutoNum type="arabicPeriod"/>
              <a:tabLst/>
              <a:defRPr/>
            </a:pPr>
            <a:r>
              <a:rPr kumimoji="0" lang="de-DE" sz="1867" b="0" i="0" u="none" strike="noStrike" kern="0" cap="none" spc="0" normalizeH="0" baseline="0" noProof="0" dirty="0" err="1">
                <a:ln>
                  <a:noFill/>
                </a:ln>
                <a:solidFill>
                  <a:srgbClr val="000000"/>
                </a:solidFill>
                <a:effectLst/>
                <a:uLnTx/>
                <a:uFillTx/>
                <a:latin typeface="Arial Narrow" panose="020B0604020202020204" pitchFamily="34" charset="0"/>
                <a:cs typeface="Arial Narrow" panose="020B0604020202020204" pitchFamily="34" charset="0"/>
                <a:sym typeface="Arial"/>
              </a:rPr>
              <a:t>overall</a:t>
            </a:r>
            <a:r>
              <a:rPr kumimoji="0" lang="de-DE" sz="1867" b="0"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rPr>
              <a:t> </a:t>
            </a:r>
            <a:r>
              <a:rPr kumimoji="0" lang="de-DE" sz="1867" b="0" i="0" u="none" strike="noStrike" kern="0" cap="none" spc="0" normalizeH="0" baseline="0" noProof="0" dirty="0" err="1">
                <a:ln>
                  <a:noFill/>
                </a:ln>
                <a:solidFill>
                  <a:srgbClr val="000000"/>
                </a:solidFill>
                <a:effectLst/>
                <a:uLnTx/>
                <a:uFillTx/>
                <a:latin typeface="Arial Narrow" panose="020B0604020202020204" pitchFamily="34" charset="0"/>
                <a:cs typeface="Arial Narrow" panose="020B0604020202020204" pitchFamily="34" charset="0"/>
                <a:sym typeface="Arial"/>
              </a:rPr>
              <a:t>improved</a:t>
            </a:r>
            <a:r>
              <a:rPr kumimoji="0" lang="de-DE" sz="1867" b="0"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rPr>
              <a:t> </a:t>
            </a:r>
            <a:r>
              <a:rPr kumimoji="0" lang="de-DE" sz="1867" b="0" i="0" u="none" strike="noStrike" kern="0" cap="none" spc="0" normalizeH="0" baseline="0" noProof="0" dirty="0" err="1">
                <a:ln>
                  <a:noFill/>
                </a:ln>
                <a:solidFill>
                  <a:srgbClr val="000000"/>
                </a:solidFill>
                <a:effectLst/>
                <a:uLnTx/>
                <a:uFillTx/>
                <a:latin typeface="Arial Narrow" panose="020B0604020202020204" pitchFamily="34" charset="0"/>
                <a:cs typeface="Arial Narrow" panose="020B0604020202020204" pitchFamily="34" charset="0"/>
                <a:sym typeface="Arial"/>
              </a:rPr>
              <a:t>post</a:t>
            </a:r>
            <a:r>
              <a:rPr kumimoji="0" lang="de-DE" sz="1867" b="0"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rPr>
              <a:t> </a:t>
            </a:r>
            <a:r>
              <a:rPr kumimoji="0" lang="de-DE" sz="1867" b="0" i="0" u="none" strike="noStrike" kern="0" cap="none" spc="0" normalizeH="0" baseline="0" noProof="0" dirty="0" err="1">
                <a:ln>
                  <a:noFill/>
                </a:ln>
                <a:solidFill>
                  <a:srgbClr val="000000"/>
                </a:solidFill>
                <a:effectLst/>
                <a:uLnTx/>
                <a:uFillTx/>
                <a:latin typeface="Arial Narrow" panose="020B0604020202020204" pitchFamily="34" charset="0"/>
                <a:cs typeface="Arial Narrow" panose="020B0604020202020204" pitchFamily="34" charset="0"/>
                <a:sym typeface="Arial"/>
              </a:rPr>
              <a:t>progression</a:t>
            </a:r>
            <a:r>
              <a:rPr kumimoji="0" lang="de-DE" sz="1867" b="0"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rPr>
              <a:t> care in </a:t>
            </a:r>
            <a:r>
              <a:rPr kumimoji="0" lang="de-DE" sz="1867" b="0" i="0" u="none" strike="noStrike" kern="0" cap="none" spc="0" normalizeH="0" baseline="0" noProof="0" dirty="0" err="1">
                <a:ln>
                  <a:noFill/>
                </a:ln>
                <a:solidFill>
                  <a:srgbClr val="000000"/>
                </a:solidFill>
                <a:effectLst/>
                <a:uLnTx/>
                <a:uFillTx/>
                <a:latin typeface="Arial Narrow" panose="020B0604020202020204" pitchFamily="34" charset="0"/>
                <a:cs typeface="Arial Narrow" panose="020B0604020202020204" pitchFamily="34" charset="0"/>
                <a:sym typeface="Arial"/>
              </a:rPr>
              <a:t>participating</a:t>
            </a:r>
            <a:r>
              <a:rPr kumimoji="0" lang="de-DE" sz="1867" b="0"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rPr>
              <a:t> </a:t>
            </a:r>
            <a:r>
              <a:rPr kumimoji="0" lang="de-DE" sz="1867" b="0" i="0" u="none" strike="noStrike" kern="0" cap="none" spc="0" normalizeH="0" baseline="0" noProof="0" dirty="0" err="1">
                <a:ln>
                  <a:noFill/>
                </a:ln>
                <a:solidFill>
                  <a:srgbClr val="000000"/>
                </a:solidFill>
                <a:effectLst/>
                <a:uLnTx/>
                <a:uFillTx/>
                <a:latin typeface="Arial Narrow" panose="020B0604020202020204" pitchFamily="34" charset="0"/>
                <a:cs typeface="Arial Narrow" panose="020B0604020202020204" pitchFamily="34" charset="0"/>
                <a:sym typeface="Arial"/>
              </a:rPr>
              <a:t>institutions</a:t>
            </a:r>
            <a:r>
              <a:rPr kumimoji="0" lang="de-DE" sz="1867" b="0"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rPr>
              <a:t>?</a:t>
            </a:r>
          </a:p>
          <a:p>
            <a:pPr marL="457189" marR="0" lvl="0" indent="-457189" algn="l" defTabSz="914400" rtl="0" eaLnBrk="1" fontAlgn="auto" latinLnBrk="0" hangingPunct="1">
              <a:lnSpc>
                <a:spcPct val="100000"/>
              </a:lnSpc>
              <a:spcBef>
                <a:spcPts val="0"/>
              </a:spcBef>
              <a:spcAft>
                <a:spcPts val="0"/>
              </a:spcAft>
              <a:buClr>
                <a:srgbClr val="000000"/>
              </a:buClr>
              <a:buSzTx/>
              <a:buFont typeface="Arial"/>
              <a:buAutoNum type="arabicPeriod"/>
              <a:tabLst/>
              <a:defRPr/>
            </a:pPr>
            <a:r>
              <a:rPr kumimoji="0" lang="de-DE" sz="1867" b="0" i="0" u="none" strike="noStrike" kern="0" cap="none" spc="0" normalizeH="0" baseline="0" noProof="0" dirty="0" err="1">
                <a:ln>
                  <a:noFill/>
                </a:ln>
                <a:solidFill>
                  <a:srgbClr val="6E1E50"/>
                </a:solidFill>
                <a:effectLst/>
                <a:uLnTx/>
                <a:uFillTx/>
                <a:latin typeface="Arial Narrow" panose="020B0604020202020204" pitchFamily="34" charset="0"/>
                <a:cs typeface="Arial Narrow" panose="020B0604020202020204" pitchFamily="34" charset="0"/>
                <a:sym typeface="Arial"/>
              </a:rPr>
              <a:t>Omitting</a:t>
            </a:r>
            <a:r>
              <a:rPr kumimoji="0" lang="de-DE" sz="1867" b="0" i="0" u="none" strike="noStrike" kern="0" cap="none" spc="0" normalizeH="0" baseline="0" noProof="0" dirty="0">
                <a:ln>
                  <a:noFill/>
                </a:ln>
                <a:solidFill>
                  <a:srgbClr val="6E1E50"/>
                </a:solidFill>
                <a:effectLst/>
                <a:uLnTx/>
                <a:uFillTx/>
                <a:latin typeface="Arial Narrow" panose="020B0604020202020204" pitchFamily="34" charset="0"/>
                <a:cs typeface="Arial Narrow" panose="020B0604020202020204" pitchFamily="34" charset="0"/>
                <a:sym typeface="Arial"/>
              </a:rPr>
              <a:t> Platinum </a:t>
            </a:r>
            <a:r>
              <a:rPr kumimoji="0" lang="de-DE" sz="1867" b="0" i="0" u="none" strike="noStrike" kern="0" cap="none" spc="0" normalizeH="0" baseline="0" noProof="0" dirty="0" err="1">
                <a:ln>
                  <a:noFill/>
                </a:ln>
                <a:solidFill>
                  <a:srgbClr val="6E1E50"/>
                </a:solidFill>
                <a:effectLst/>
                <a:uLnTx/>
                <a:uFillTx/>
                <a:latin typeface="Arial Narrow" panose="020B0604020202020204" pitchFamily="34" charset="0"/>
                <a:cs typeface="Arial Narrow" panose="020B0604020202020204" pitchFamily="34" charset="0"/>
                <a:sym typeface="Arial"/>
              </a:rPr>
              <a:t>cannot</a:t>
            </a:r>
            <a:r>
              <a:rPr kumimoji="0" lang="de-DE" sz="1867" b="0" i="0" u="none" strike="noStrike" kern="0" cap="none" spc="0" normalizeH="0" baseline="0" noProof="0" dirty="0">
                <a:ln>
                  <a:noFill/>
                </a:ln>
                <a:solidFill>
                  <a:srgbClr val="6E1E50"/>
                </a:solidFill>
                <a:effectLst/>
                <a:uLnTx/>
                <a:uFillTx/>
                <a:latin typeface="Arial Narrow" panose="020B0604020202020204" pitchFamily="34" charset="0"/>
                <a:cs typeface="Arial Narrow" panose="020B0604020202020204" pitchFamily="34" charset="0"/>
                <a:sym typeface="Arial"/>
              </a:rPr>
              <a:t> </a:t>
            </a:r>
            <a:r>
              <a:rPr kumimoji="0" lang="de-DE" sz="1867" b="0" i="0" u="none" strike="noStrike" kern="0" cap="none" spc="0" normalizeH="0" baseline="0" noProof="0" dirty="0" err="1">
                <a:ln>
                  <a:noFill/>
                </a:ln>
                <a:solidFill>
                  <a:srgbClr val="6E1E50"/>
                </a:solidFill>
                <a:effectLst/>
                <a:uLnTx/>
                <a:uFillTx/>
                <a:latin typeface="Arial Narrow" panose="020B0604020202020204" pitchFamily="34" charset="0"/>
                <a:cs typeface="Arial Narrow" panose="020B0604020202020204" pitchFamily="34" charset="0"/>
                <a:sym typeface="Arial"/>
              </a:rPr>
              <a:t>be</a:t>
            </a:r>
            <a:r>
              <a:rPr kumimoji="0" lang="de-DE" sz="1867" b="0" i="0" u="none" strike="noStrike" kern="0" cap="none" spc="0" normalizeH="0" baseline="0" noProof="0" dirty="0">
                <a:ln>
                  <a:noFill/>
                </a:ln>
                <a:solidFill>
                  <a:srgbClr val="6E1E50"/>
                </a:solidFill>
                <a:effectLst/>
                <a:uLnTx/>
                <a:uFillTx/>
                <a:latin typeface="Arial Narrow" panose="020B0604020202020204" pitchFamily="34" charset="0"/>
                <a:cs typeface="Arial Narrow" panose="020B0604020202020204" pitchFamily="34" charset="0"/>
                <a:sym typeface="Arial"/>
              </a:rPr>
              <a:t> </a:t>
            </a:r>
            <a:r>
              <a:rPr kumimoji="0" lang="de-DE" sz="1867" b="0" i="0" u="none" strike="noStrike" kern="0" cap="none" spc="0" normalizeH="0" baseline="0" noProof="0" dirty="0" err="1">
                <a:ln>
                  <a:noFill/>
                </a:ln>
                <a:solidFill>
                  <a:srgbClr val="6E1E50"/>
                </a:solidFill>
                <a:effectLst/>
                <a:uLnTx/>
                <a:uFillTx/>
                <a:latin typeface="Arial Narrow" panose="020B0604020202020204" pitchFamily="34" charset="0"/>
                <a:cs typeface="Arial Narrow" panose="020B0604020202020204" pitchFamily="34" charset="0"/>
                <a:sym typeface="Arial"/>
              </a:rPr>
              <a:t>compensated</a:t>
            </a:r>
            <a:r>
              <a:rPr kumimoji="0" lang="de-DE" sz="1867" b="0" i="0" u="none" strike="noStrike" kern="0" cap="none" spc="0" normalizeH="0" baseline="0" noProof="0" dirty="0">
                <a:ln>
                  <a:noFill/>
                </a:ln>
                <a:solidFill>
                  <a:srgbClr val="6E1E50"/>
                </a:solidFill>
                <a:effectLst/>
                <a:uLnTx/>
                <a:uFillTx/>
                <a:latin typeface="Arial Narrow" panose="020B0604020202020204" pitchFamily="34" charset="0"/>
                <a:cs typeface="Arial Narrow" panose="020B0604020202020204" pitchFamily="34" charset="0"/>
                <a:sym typeface="Arial"/>
              </a:rPr>
              <a:t> </a:t>
            </a:r>
            <a:r>
              <a:rPr kumimoji="0" lang="de-DE" sz="1867" b="0" i="0" u="none" strike="noStrike" kern="0" cap="none" spc="0" normalizeH="0" baseline="0" noProof="0" dirty="0" err="1">
                <a:ln>
                  <a:noFill/>
                </a:ln>
                <a:solidFill>
                  <a:srgbClr val="6E1E50"/>
                </a:solidFill>
                <a:effectLst/>
                <a:uLnTx/>
                <a:uFillTx/>
                <a:latin typeface="Arial Narrow" panose="020B0604020202020204" pitchFamily="34" charset="0"/>
                <a:cs typeface="Arial Narrow" panose="020B0604020202020204" pitchFamily="34" charset="0"/>
                <a:sym typeface="Arial"/>
              </a:rPr>
              <a:t>for</a:t>
            </a:r>
            <a:r>
              <a:rPr kumimoji="0" lang="de-DE" sz="1867" b="0" i="0" u="none" strike="noStrike" kern="0" cap="none" spc="0" normalizeH="0" baseline="0" noProof="0" dirty="0">
                <a:ln>
                  <a:noFill/>
                </a:ln>
                <a:solidFill>
                  <a:srgbClr val="6E1E50"/>
                </a:solidFill>
                <a:effectLst/>
                <a:uLnTx/>
                <a:uFillTx/>
                <a:latin typeface="Arial Narrow" panose="020B0604020202020204" pitchFamily="34" charset="0"/>
                <a:cs typeface="Arial Narrow" panose="020B0604020202020204" pitchFamily="34" charset="0"/>
                <a:sym typeface="Arial"/>
              </a:rPr>
              <a:t> </a:t>
            </a:r>
            <a:r>
              <a:rPr kumimoji="0" lang="de-DE" sz="1867" b="0" i="0" u="none" strike="noStrike" kern="0" cap="none" spc="0" normalizeH="0" baseline="0" noProof="0" dirty="0" err="1">
                <a:ln>
                  <a:noFill/>
                </a:ln>
                <a:solidFill>
                  <a:srgbClr val="6E1E50"/>
                </a:solidFill>
                <a:effectLst/>
                <a:uLnTx/>
                <a:uFillTx/>
                <a:latin typeface="Arial Narrow" panose="020B0604020202020204" pitchFamily="34" charset="0"/>
                <a:cs typeface="Arial Narrow" panose="020B0604020202020204" pitchFamily="34" charset="0"/>
                <a:sym typeface="Arial"/>
              </a:rPr>
              <a:t>by</a:t>
            </a:r>
            <a:r>
              <a:rPr kumimoji="0" lang="de-DE" sz="1867" b="0" i="0" u="none" strike="noStrike" kern="0" cap="none" spc="0" normalizeH="0" baseline="0" noProof="0" dirty="0">
                <a:ln>
                  <a:noFill/>
                </a:ln>
                <a:solidFill>
                  <a:srgbClr val="6E1E50"/>
                </a:solidFill>
                <a:effectLst/>
                <a:uLnTx/>
                <a:uFillTx/>
                <a:latin typeface="Arial Narrow" panose="020B0604020202020204" pitchFamily="34" charset="0"/>
                <a:cs typeface="Arial Narrow" panose="020B0604020202020204" pitchFamily="34" charset="0"/>
                <a:sym typeface="Arial"/>
              </a:rPr>
              <a:t> IO</a:t>
            </a:r>
          </a:p>
          <a:p>
            <a:pPr marL="457189" marR="0" lvl="0" indent="-457189" algn="l" defTabSz="914400" rtl="0" eaLnBrk="1" fontAlgn="auto" latinLnBrk="0" hangingPunct="1">
              <a:lnSpc>
                <a:spcPct val="100000"/>
              </a:lnSpc>
              <a:spcBef>
                <a:spcPts val="0"/>
              </a:spcBef>
              <a:spcAft>
                <a:spcPts val="0"/>
              </a:spcAft>
              <a:buClr>
                <a:srgbClr val="000000"/>
              </a:buClr>
              <a:buSzTx/>
              <a:buFont typeface="Arial"/>
              <a:buAutoNum type="arabicPeriod"/>
              <a:tabLst/>
              <a:defRPr/>
            </a:pPr>
            <a:r>
              <a:rPr kumimoji="0" lang="de-DE" sz="2489" b="0" i="0" u="none" strike="noStrike" kern="0" cap="none" spc="0" normalizeH="0" baseline="0" noProof="0" dirty="0">
                <a:ln>
                  <a:noFill/>
                </a:ln>
                <a:solidFill>
                  <a:srgbClr val="00B050"/>
                </a:solidFill>
                <a:effectLst/>
                <a:uLnTx/>
                <a:uFillTx/>
                <a:latin typeface="Arial Narrow" panose="020B0604020202020204" pitchFamily="34" charset="0"/>
                <a:cs typeface="Arial Narrow" panose="020B0604020202020204" pitchFamily="34" charset="0"/>
                <a:sym typeface="Arial"/>
              </a:rPr>
              <a:t>T</a:t>
            </a:r>
            <a:r>
              <a:rPr kumimoji="0" lang="de-DE" sz="1867" b="0" i="0" u="none" strike="noStrike" kern="0" cap="none" spc="0" normalizeH="0" baseline="0" noProof="0" dirty="0">
                <a:ln>
                  <a:noFill/>
                </a:ln>
                <a:solidFill>
                  <a:srgbClr val="00B050"/>
                </a:solidFill>
                <a:effectLst/>
                <a:uLnTx/>
                <a:uFillTx/>
                <a:latin typeface="Arial Narrow" panose="020B0604020202020204" pitchFamily="34" charset="0"/>
                <a:cs typeface="Arial Narrow" panose="020B0604020202020204" pitchFamily="34" charset="0"/>
                <a:sym typeface="Arial"/>
              </a:rPr>
              <a:t>rend </a:t>
            </a:r>
            <a:r>
              <a:rPr kumimoji="0" lang="de-DE" sz="1867" b="0" i="0" u="none" strike="noStrike" kern="0" cap="none" spc="0" normalizeH="0" baseline="0" noProof="0" dirty="0" err="1">
                <a:ln>
                  <a:noFill/>
                </a:ln>
                <a:solidFill>
                  <a:srgbClr val="00B050"/>
                </a:solidFill>
                <a:effectLst/>
                <a:uLnTx/>
                <a:uFillTx/>
                <a:latin typeface="Arial Narrow" panose="020B0604020202020204" pitchFamily="34" charset="0"/>
                <a:cs typeface="Arial Narrow" panose="020B0604020202020204" pitchFamily="34" charset="0"/>
                <a:sym typeface="Arial"/>
              </a:rPr>
              <a:t>for</a:t>
            </a:r>
            <a:r>
              <a:rPr kumimoji="0" lang="de-DE" sz="1867" b="0" i="0" u="none" strike="noStrike" kern="0" cap="none" spc="0" normalizeH="0" baseline="0" noProof="0" dirty="0">
                <a:ln>
                  <a:noFill/>
                </a:ln>
                <a:solidFill>
                  <a:srgbClr val="00B050"/>
                </a:solidFill>
                <a:effectLst/>
                <a:uLnTx/>
                <a:uFillTx/>
                <a:latin typeface="Arial Narrow" panose="020B0604020202020204" pitchFamily="34" charset="0"/>
                <a:cs typeface="Arial Narrow" panose="020B0604020202020204" pitchFamily="34" charset="0"/>
                <a:sym typeface="Arial"/>
              </a:rPr>
              <a:t> </a:t>
            </a:r>
            <a:r>
              <a:rPr kumimoji="0" lang="de-DE" sz="1867" b="0" i="0" u="none" strike="noStrike" kern="0" cap="none" spc="0" normalizeH="0" baseline="0" noProof="0" dirty="0" err="1">
                <a:ln>
                  <a:noFill/>
                </a:ln>
                <a:solidFill>
                  <a:srgbClr val="00B050"/>
                </a:solidFill>
                <a:effectLst/>
                <a:uLnTx/>
                <a:uFillTx/>
                <a:latin typeface="Arial Narrow" panose="020B0604020202020204" pitchFamily="34" charset="0"/>
                <a:cs typeface="Arial Narrow" panose="020B0604020202020204" pitchFamily="34" charset="0"/>
                <a:sym typeface="Arial"/>
              </a:rPr>
              <a:t>improved</a:t>
            </a:r>
            <a:r>
              <a:rPr kumimoji="0" lang="de-DE" sz="1867" b="0" i="0" u="none" strike="noStrike" kern="0" cap="none" spc="0" normalizeH="0" baseline="0" noProof="0" dirty="0">
                <a:ln>
                  <a:noFill/>
                </a:ln>
                <a:solidFill>
                  <a:srgbClr val="00B050"/>
                </a:solidFill>
                <a:effectLst/>
                <a:uLnTx/>
                <a:uFillTx/>
                <a:latin typeface="Arial Narrow" panose="020B0604020202020204" pitchFamily="34" charset="0"/>
                <a:cs typeface="Arial Narrow" panose="020B0604020202020204" pitchFamily="34" charset="0"/>
                <a:sym typeface="Arial"/>
              </a:rPr>
              <a:t> OS in </a:t>
            </a:r>
            <a:r>
              <a:rPr kumimoji="0" lang="de-DE" sz="1867" b="0" i="0" u="none" strike="noStrike" kern="0" cap="none" spc="0" normalizeH="0" baseline="0" noProof="0" dirty="0" err="1">
                <a:ln>
                  <a:noFill/>
                </a:ln>
                <a:solidFill>
                  <a:srgbClr val="00B050"/>
                </a:solidFill>
                <a:effectLst/>
                <a:uLnTx/>
                <a:uFillTx/>
                <a:latin typeface="Arial Narrow" panose="020B0604020202020204" pitchFamily="34" charset="0"/>
                <a:cs typeface="Arial Narrow" panose="020B0604020202020204" pitchFamily="34" charset="0"/>
                <a:sym typeface="Arial"/>
              </a:rPr>
              <a:t>ArmD</a:t>
            </a:r>
            <a:r>
              <a:rPr kumimoji="0" lang="de-DE" sz="1867" b="0" i="0" u="none" strike="noStrike" kern="0" cap="none" spc="0" normalizeH="0" baseline="0" noProof="0" dirty="0">
                <a:ln>
                  <a:noFill/>
                </a:ln>
                <a:solidFill>
                  <a:srgbClr val="00B050"/>
                </a:solidFill>
                <a:effectLst/>
                <a:uLnTx/>
                <a:uFillTx/>
                <a:latin typeface="Arial Narrow" panose="020B0604020202020204" pitchFamily="34" charset="0"/>
                <a:cs typeface="Arial Narrow" panose="020B0604020202020204" pitchFamily="34" charset="0"/>
                <a:sym typeface="Arial"/>
              </a:rPr>
              <a:t> (</a:t>
            </a:r>
            <a:r>
              <a:rPr kumimoji="0" lang="de-DE" sz="1867" b="0" i="0" u="none" strike="noStrike" kern="0" cap="none" spc="0" normalizeH="0" baseline="0" noProof="0" dirty="0" err="1">
                <a:ln>
                  <a:noFill/>
                </a:ln>
                <a:solidFill>
                  <a:srgbClr val="00B050"/>
                </a:solidFill>
                <a:effectLst/>
                <a:uLnTx/>
                <a:uFillTx/>
                <a:latin typeface="Arial Narrow" panose="020B0604020202020204" pitchFamily="34" charset="0"/>
                <a:cs typeface="Arial Narrow" panose="020B0604020202020204" pitchFamily="34" charset="0"/>
                <a:sym typeface="Arial"/>
              </a:rPr>
              <a:t>Gem</a:t>
            </a:r>
            <a:r>
              <a:rPr kumimoji="0" lang="de-DE" sz="1867" b="0" i="0" u="none" strike="noStrike" kern="0" cap="none" spc="0" normalizeH="0" baseline="0" noProof="0" dirty="0">
                <a:ln>
                  <a:noFill/>
                </a:ln>
                <a:solidFill>
                  <a:srgbClr val="00B050"/>
                </a:solidFill>
                <a:effectLst/>
                <a:uLnTx/>
                <a:uFillTx/>
                <a:latin typeface="Arial Narrow" panose="020B0604020202020204" pitchFamily="34" charset="0"/>
                <a:cs typeface="Arial Narrow" panose="020B0604020202020204" pitchFamily="34" charset="0"/>
                <a:sym typeface="Arial"/>
              </a:rPr>
              <a:t>/Cis + </a:t>
            </a:r>
            <a:r>
              <a:rPr kumimoji="0" lang="de-DE" sz="1867" b="0" i="0" u="none" strike="noStrike" kern="0" cap="none" spc="0" normalizeH="0" baseline="0" noProof="0" dirty="0" err="1">
                <a:ln>
                  <a:noFill/>
                </a:ln>
                <a:solidFill>
                  <a:srgbClr val="00B050"/>
                </a:solidFill>
                <a:effectLst/>
                <a:uLnTx/>
                <a:uFillTx/>
                <a:latin typeface="Arial Narrow" panose="020B0604020202020204" pitchFamily="34" charset="0"/>
                <a:cs typeface="Arial Narrow" panose="020B0604020202020204" pitchFamily="34" charset="0"/>
                <a:sym typeface="Arial"/>
              </a:rPr>
              <a:t>Durva</a:t>
            </a:r>
            <a:r>
              <a:rPr kumimoji="0" lang="de-DE" sz="1867" b="0" i="0" u="none" strike="noStrike" kern="0" cap="none" spc="0" normalizeH="0" baseline="0" noProof="0" dirty="0">
                <a:ln>
                  <a:noFill/>
                </a:ln>
                <a:solidFill>
                  <a:srgbClr val="00B050"/>
                </a:solidFill>
                <a:effectLst/>
                <a:uLnTx/>
                <a:uFillTx/>
                <a:latin typeface="Arial Narrow" panose="020B0604020202020204" pitchFamily="34" charset="0"/>
                <a:cs typeface="Arial Narrow" panose="020B0604020202020204" pitchFamily="34" charset="0"/>
                <a:sym typeface="Arial"/>
              </a:rPr>
              <a:t> + </a:t>
            </a:r>
            <a:r>
              <a:rPr kumimoji="0" lang="de-DE" sz="1867" b="0" i="0" u="none" strike="noStrike" kern="0" cap="none" spc="0" normalizeH="0" baseline="0" noProof="0" dirty="0" err="1">
                <a:ln>
                  <a:noFill/>
                </a:ln>
                <a:solidFill>
                  <a:srgbClr val="00B050"/>
                </a:solidFill>
                <a:effectLst/>
                <a:uLnTx/>
                <a:uFillTx/>
                <a:latin typeface="Arial Narrow" panose="020B0604020202020204" pitchFamily="34" charset="0"/>
                <a:cs typeface="Arial Narrow" panose="020B0604020202020204" pitchFamily="34" charset="0"/>
                <a:sym typeface="Arial"/>
              </a:rPr>
              <a:t>single</a:t>
            </a:r>
            <a:r>
              <a:rPr kumimoji="0" lang="de-DE" sz="1867" b="0" i="0" u="none" strike="noStrike" kern="0" cap="none" spc="0" normalizeH="0" baseline="0" noProof="0" dirty="0">
                <a:ln>
                  <a:noFill/>
                </a:ln>
                <a:solidFill>
                  <a:srgbClr val="00B050"/>
                </a:solidFill>
                <a:effectLst/>
                <a:uLnTx/>
                <a:uFillTx/>
                <a:latin typeface="Arial Narrow" panose="020B0604020202020204" pitchFamily="34" charset="0"/>
                <a:cs typeface="Arial Narrow" panose="020B0604020202020204" pitchFamily="34" charset="0"/>
                <a:sym typeface="Arial"/>
              </a:rPr>
              <a:t> dose </a:t>
            </a:r>
            <a:r>
              <a:rPr kumimoji="0" lang="de-DE" sz="1867" b="0" i="0" u="none" strike="noStrike" kern="0" cap="none" spc="0" normalizeH="0" baseline="0" noProof="0" dirty="0" err="1">
                <a:ln>
                  <a:noFill/>
                </a:ln>
                <a:solidFill>
                  <a:srgbClr val="00B050"/>
                </a:solidFill>
                <a:effectLst/>
                <a:uLnTx/>
                <a:uFillTx/>
                <a:latin typeface="Arial Narrow" panose="020B0604020202020204" pitchFamily="34" charset="0"/>
                <a:cs typeface="Arial Narrow" panose="020B0604020202020204" pitchFamily="34" charset="0"/>
                <a:sym typeface="Arial"/>
              </a:rPr>
              <a:t>Tremelimumab</a:t>
            </a:r>
            <a:r>
              <a:rPr kumimoji="0" lang="de-DE" sz="1867" b="0" i="0" u="none" strike="noStrike" kern="0" cap="none" spc="0" normalizeH="0" baseline="0" noProof="0" dirty="0">
                <a:ln>
                  <a:noFill/>
                </a:ln>
                <a:solidFill>
                  <a:srgbClr val="00B050"/>
                </a:solidFill>
                <a:effectLst/>
                <a:uLnTx/>
                <a:uFillTx/>
                <a:latin typeface="Arial Narrow" panose="020B0604020202020204" pitchFamily="34" charset="0"/>
                <a:cs typeface="Arial Narrow" panose="020B0604020202020204" pitchFamily="34" charset="0"/>
                <a:sym typeface="Arial"/>
              </a:rPr>
              <a:t>)</a:t>
            </a:r>
          </a:p>
        </p:txBody>
      </p:sp>
      <p:sp>
        <p:nvSpPr>
          <p:cNvPr id="18" name="Oval 17">
            <a:extLst>
              <a:ext uri="{FF2B5EF4-FFF2-40B4-BE49-F238E27FC236}">
                <a16:creationId xmlns:a16="http://schemas.microsoft.com/office/drawing/2014/main" id="{41808DFA-1C8E-986E-4111-F434D15A0C36}"/>
              </a:ext>
            </a:extLst>
          </p:cNvPr>
          <p:cNvSpPr/>
          <p:nvPr/>
        </p:nvSpPr>
        <p:spPr>
          <a:xfrm>
            <a:off x="1758664" y="2281967"/>
            <a:ext cx="1118416" cy="492443"/>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de-DE" sz="2489"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20" name="Oval 19">
            <a:extLst>
              <a:ext uri="{FF2B5EF4-FFF2-40B4-BE49-F238E27FC236}">
                <a16:creationId xmlns:a16="http://schemas.microsoft.com/office/drawing/2014/main" id="{3BFED66C-C6FC-012F-47CA-C8BBCB95DA3C}"/>
              </a:ext>
            </a:extLst>
          </p:cNvPr>
          <p:cNvSpPr/>
          <p:nvPr/>
        </p:nvSpPr>
        <p:spPr>
          <a:xfrm>
            <a:off x="4289838" y="5449689"/>
            <a:ext cx="729317" cy="492443"/>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de-DE" sz="2489"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21" name="Oval 20">
            <a:extLst>
              <a:ext uri="{FF2B5EF4-FFF2-40B4-BE49-F238E27FC236}">
                <a16:creationId xmlns:a16="http://schemas.microsoft.com/office/drawing/2014/main" id="{D0914F3B-451A-8E83-1034-FC9C947998C0}"/>
              </a:ext>
            </a:extLst>
          </p:cNvPr>
          <p:cNvSpPr/>
          <p:nvPr/>
        </p:nvSpPr>
        <p:spPr>
          <a:xfrm>
            <a:off x="3283031" y="5475475"/>
            <a:ext cx="729317" cy="492443"/>
          </a:xfrm>
          <a:prstGeom prst="ellipse">
            <a:avLst/>
          </a:prstGeom>
          <a:no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de-DE" sz="2489"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22" name="Titel 1">
            <a:extLst>
              <a:ext uri="{FF2B5EF4-FFF2-40B4-BE49-F238E27FC236}">
                <a16:creationId xmlns:a16="http://schemas.microsoft.com/office/drawing/2014/main" id="{0C09BD45-A514-852A-B4B1-75026B24D2A3}"/>
              </a:ext>
            </a:extLst>
          </p:cNvPr>
          <p:cNvSpPr txBox="1">
            <a:spLocks/>
          </p:cNvSpPr>
          <p:nvPr/>
        </p:nvSpPr>
        <p:spPr>
          <a:xfrm>
            <a:off x="327568" y="137757"/>
            <a:ext cx="10972800" cy="1143000"/>
          </a:xfrm>
        </p:spPr>
        <p:txBody>
          <a:bodyPr>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de-DE" sz="3733" b="1"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rPr>
              <a:t>IMMUCHEC: an </a:t>
            </a:r>
            <a:r>
              <a:rPr kumimoji="0" lang="de-DE" sz="3733" b="1" i="0" u="none" strike="noStrike" kern="0" cap="none" spc="0" normalizeH="0" baseline="0" noProof="0" dirty="0" err="1">
                <a:ln>
                  <a:noFill/>
                </a:ln>
                <a:solidFill>
                  <a:srgbClr val="000000"/>
                </a:solidFill>
                <a:effectLst/>
                <a:uLnTx/>
                <a:uFillTx/>
                <a:latin typeface="Arial Narrow" panose="020B0604020202020204" pitchFamily="34" charset="0"/>
                <a:cs typeface="Arial Narrow" panose="020B0604020202020204" pitchFamily="34" charset="0"/>
                <a:sym typeface="Arial"/>
              </a:rPr>
              <a:t>exploratory</a:t>
            </a:r>
            <a:r>
              <a:rPr kumimoji="0" lang="de-DE" sz="3733" b="1"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rPr>
              <a:t> IO </a:t>
            </a:r>
            <a:r>
              <a:rPr kumimoji="0" lang="de-DE" sz="3733" b="1" i="0" u="none" strike="noStrike" kern="0" cap="none" spc="0" normalizeH="0" baseline="0" noProof="0" dirty="0" err="1">
                <a:ln>
                  <a:noFill/>
                </a:ln>
                <a:solidFill>
                  <a:srgbClr val="000000"/>
                </a:solidFill>
                <a:effectLst/>
                <a:uLnTx/>
                <a:uFillTx/>
                <a:latin typeface="Arial Narrow" panose="020B0604020202020204" pitchFamily="34" charset="0"/>
                <a:cs typeface="Arial Narrow" panose="020B0604020202020204" pitchFamily="34" charset="0"/>
                <a:sym typeface="Arial"/>
              </a:rPr>
              <a:t>trial</a:t>
            </a:r>
            <a:r>
              <a:rPr kumimoji="0" lang="de-DE" sz="3733" b="1"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rPr>
              <a:t> in BTC</a:t>
            </a:r>
          </a:p>
        </p:txBody>
      </p:sp>
      <p:sp>
        <p:nvSpPr>
          <p:cNvPr id="23" name="Oval 22">
            <a:extLst>
              <a:ext uri="{FF2B5EF4-FFF2-40B4-BE49-F238E27FC236}">
                <a16:creationId xmlns:a16="http://schemas.microsoft.com/office/drawing/2014/main" id="{71C717DE-B102-B079-9586-0704159FD28D}"/>
              </a:ext>
            </a:extLst>
          </p:cNvPr>
          <p:cNvSpPr/>
          <p:nvPr/>
        </p:nvSpPr>
        <p:spPr>
          <a:xfrm>
            <a:off x="1970065" y="5475475"/>
            <a:ext cx="1118416" cy="492443"/>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de-DE" sz="2489"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2" name="Textfeld 18">
            <a:extLst>
              <a:ext uri="{FF2B5EF4-FFF2-40B4-BE49-F238E27FC236}">
                <a16:creationId xmlns:a16="http://schemas.microsoft.com/office/drawing/2014/main" id="{45E7390B-0EC6-3D48-85B8-8F438F8074D0}"/>
              </a:ext>
            </a:extLst>
          </p:cNvPr>
          <p:cNvSpPr txBox="1"/>
          <p:nvPr/>
        </p:nvSpPr>
        <p:spPr>
          <a:xfrm>
            <a:off x="7280031" y="1391017"/>
            <a:ext cx="2424062" cy="47538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de-DE" sz="2489" b="0" i="0" u="none" strike="noStrike" kern="0" cap="none" spc="0" normalizeH="0" baseline="0" noProof="0" dirty="0" err="1">
                <a:ln>
                  <a:noFill/>
                </a:ln>
                <a:solidFill>
                  <a:srgbClr val="000000"/>
                </a:solidFill>
                <a:effectLst/>
                <a:uLnTx/>
                <a:uFillTx/>
                <a:latin typeface="Arial Narrow" panose="020B0604020202020204" pitchFamily="34" charset="0"/>
                <a:cs typeface="Arial Narrow" panose="020B0604020202020204" pitchFamily="34" charset="0"/>
                <a:sym typeface="Arial"/>
              </a:rPr>
              <a:t>What</a:t>
            </a:r>
            <a:r>
              <a:rPr kumimoji="0" lang="de-DE" sz="2489" b="0"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rPr>
              <a:t> </a:t>
            </a:r>
            <a:r>
              <a:rPr kumimoji="0" lang="de-DE" sz="2489" b="0" i="0" u="none" strike="noStrike" kern="0" cap="none" spc="0" normalizeH="0" baseline="0" noProof="0" dirty="0" err="1">
                <a:ln>
                  <a:noFill/>
                </a:ln>
                <a:solidFill>
                  <a:srgbClr val="000000"/>
                </a:solidFill>
                <a:effectLst/>
                <a:uLnTx/>
                <a:uFillTx/>
                <a:latin typeface="Arial Narrow" panose="020B0604020202020204" pitchFamily="34" charset="0"/>
                <a:cs typeface="Arial Narrow" panose="020B0604020202020204" pitchFamily="34" charset="0"/>
                <a:sym typeface="Arial"/>
              </a:rPr>
              <a:t>did</a:t>
            </a:r>
            <a:r>
              <a:rPr kumimoji="0" lang="de-DE" sz="2489" b="0"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rPr>
              <a:t> </a:t>
            </a:r>
            <a:r>
              <a:rPr kumimoji="0" lang="de-DE" sz="2489" b="0" i="0" u="none" strike="noStrike" kern="0" cap="none" spc="0" normalizeH="0" baseline="0" noProof="0" dirty="0" err="1">
                <a:ln>
                  <a:noFill/>
                </a:ln>
                <a:solidFill>
                  <a:srgbClr val="000000"/>
                </a:solidFill>
                <a:effectLst/>
                <a:uLnTx/>
                <a:uFillTx/>
                <a:latin typeface="Arial Narrow" panose="020B0604020202020204" pitchFamily="34" charset="0"/>
                <a:cs typeface="Arial Narrow" panose="020B0604020202020204" pitchFamily="34" charset="0"/>
                <a:sym typeface="Arial"/>
              </a:rPr>
              <a:t>we</a:t>
            </a:r>
            <a:r>
              <a:rPr kumimoji="0" lang="de-DE" sz="2489" b="0"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rPr>
              <a:t> </a:t>
            </a:r>
            <a:r>
              <a:rPr kumimoji="0" lang="de-DE" sz="2489" b="0" i="0" u="none" strike="noStrike" kern="0" cap="none" spc="0" normalizeH="0" baseline="0" noProof="0" dirty="0" err="1">
                <a:ln>
                  <a:noFill/>
                </a:ln>
                <a:solidFill>
                  <a:srgbClr val="000000"/>
                </a:solidFill>
                <a:effectLst/>
                <a:uLnTx/>
                <a:uFillTx/>
                <a:latin typeface="Arial Narrow" panose="020B0604020202020204" pitchFamily="34" charset="0"/>
                <a:cs typeface="Arial Narrow" panose="020B0604020202020204" pitchFamily="34" charset="0"/>
                <a:sym typeface="Arial"/>
              </a:rPr>
              <a:t>learn</a:t>
            </a:r>
            <a:r>
              <a:rPr kumimoji="0" lang="de-DE" sz="2489" b="0"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rPr>
              <a:t>?</a:t>
            </a:r>
          </a:p>
        </p:txBody>
      </p:sp>
    </p:spTree>
    <p:extLst>
      <p:ext uri="{BB962C8B-B14F-4D97-AF65-F5344CB8AC3E}">
        <p14:creationId xmlns:p14="http://schemas.microsoft.com/office/powerpoint/2010/main" val="22970189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3"/>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20" grpId="0" animBg="1"/>
      <p:bldP spid="21" grpId="0" animBg="1"/>
      <p:bldP spid="23" grpId="0" animBg="1"/>
    </p:bld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63721F6-D3D7-E940-825F-204B2327EB62}"/>
              </a:ext>
            </a:extLst>
          </p:cNvPr>
          <p:cNvSpPr>
            <a:spLocks noGrp="1"/>
          </p:cNvSpPr>
          <p:nvPr>
            <p:ph type="title"/>
          </p:nvPr>
        </p:nvSpPr>
        <p:spPr>
          <a:xfrm>
            <a:off x="411917" y="100875"/>
            <a:ext cx="10515600" cy="1325563"/>
          </a:xfrm>
        </p:spPr>
        <p:txBody>
          <a:bodyPr/>
          <a:lstStyle/>
          <a:p>
            <a:r>
              <a:rPr lang="de-DE" sz="3200" b="1" dirty="0">
                <a:solidFill>
                  <a:schemeClr val="tx1"/>
                </a:solidFill>
                <a:latin typeface="Arial Narrow" panose="020B0604020202020204" pitchFamily="34" charset="0"/>
                <a:cs typeface="Arial Narrow" panose="020B0604020202020204" pitchFamily="34" charset="0"/>
              </a:rPr>
              <a:t>Rationale ADVANCE:</a:t>
            </a:r>
            <a:br>
              <a:rPr lang="de-DE" sz="3200" b="1" dirty="0">
                <a:solidFill>
                  <a:schemeClr val="tx1"/>
                </a:solidFill>
                <a:latin typeface="Arial Narrow" panose="020B0604020202020204" pitchFamily="34" charset="0"/>
                <a:cs typeface="Arial Narrow" panose="020B0604020202020204" pitchFamily="34" charset="0"/>
              </a:rPr>
            </a:br>
            <a:endParaRPr lang="de-DE" sz="3200" b="1" dirty="0">
              <a:solidFill>
                <a:schemeClr val="tx1"/>
              </a:solidFill>
              <a:latin typeface="Arial Narrow" panose="020B0604020202020204" pitchFamily="34" charset="0"/>
              <a:cs typeface="Arial Narrow" panose="020B0604020202020204" pitchFamily="34" charset="0"/>
            </a:endParaRPr>
          </a:p>
        </p:txBody>
      </p:sp>
      <p:pic>
        <p:nvPicPr>
          <p:cNvPr id="6" name="Grafik 5">
            <a:extLst>
              <a:ext uri="{FF2B5EF4-FFF2-40B4-BE49-F238E27FC236}">
                <a16:creationId xmlns:a16="http://schemas.microsoft.com/office/drawing/2014/main" id="{99BC18F8-1782-A0D8-88B5-92CD49B22CC1}"/>
              </a:ext>
            </a:extLst>
          </p:cNvPr>
          <p:cNvPicPr>
            <a:picLocks noChangeAspect="1"/>
          </p:cNvPicPr>
          <p:nvPr/>
        </p:nvPicPr>
        <p:blipFill rotWithShape="1">
          <a:blip r:embed="rId3"/>
          <a:srcRect b="21035"/>
          <a:stretch/>
        </p:blipFill>
        <p:spPr>
          <a:xfrm>
            <a:off x="5836" y="1220681"/>
            <a:ext cx="7061787" cy="2533136"/>
          </a:xfrm>
          <a:prstGeom prst="rect">
            <a:avLst/>
          </a:prstGeom>
        </p:spPr>
      </p:pic>
      <p:sp>
        <p:nvSpPr>
          <p:cNvPr id="7" name="Textfeld 6">
            <a:extLst>
              <a:ext uri="{FF2B5EF4-FFF2-40B4-BE49-F238E27FC236}">
                <a16:creationId xmlns:a16="http://schemas.microsoft.com/office/drawing/2014/main" id="{45757CCA-4440-8F02-7BA6-6E3AD76512DB}"/>
              </a:ext>
            </a:extLst>
          </p:cNvPr>
          <p:cNvSpPr txBox="1"/>
          <p:nvPr/>
        </p:nvSpPr>
        <p:spPr>
          <a:xfrm>
            <a:off x="652850" y="3799712"/>
            <a:ext cx="2250937"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de-DE" sz="1400" b="0"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rPr>
              <a:t>Martin-Serrano et al, GUT 2022</a:t>
            </a:r>
          </a:p>
        </p:txBody>
      </p:sp>
      <p:sp>
        <p:nvSpPr>
          <p:cNvPr id="8" name="Rechteck 7">
            <a:extLst>
              <a:ext uri="{FF2B5EF4-FFF2-40B4-BE49-F238E27FC236}">
                <a16:creationId xmlns:a16="http://schemas.microsoft.com/office/drawing/2014/main" id="{B88F8C80-9803-8F5F-73B2-098A377044AC}"/>
              </a:ext>
            </a:extLst>
          </p:cNvPr>
          <p:cNvSpPr/>
          <p:nvPr/>
        </p:nvSpPr>
        <p:spPr>
          <a:xfrm>
            <a:off x="3020619" y="1564375"/>
            <a:ext cx="1903387" cy="2187895"/>
          </a:xfrm>
          <a:prstGeom prst="rect">
            <a:avLst/>
          </a:prstGeom>
          <a:noFill/>
          <a:ln w="571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de-DE" sz="1400" b="0" i="0" u="none" strike="noStrike" kern="0" cap="none" spc="0" normalizeH="0" baseline="0" noProof="0" dirty="0">
              <a:ln>
                <a:noFill/>
              </a:ln>
              <a:solidFill>
                <a:srgbClr val="FFFFFF"/>
              </a:solidFill>
              <a:effectLst/>
              <a:uLnTx/>
              <a:uFillTx/>
              <a:latin typeface="Arial Narrow" panose="020B0604020202020204" pitchFamily="34" charset="0"/>
              <a:ea typeface="+mn-ea"/>
              <a:cs typeface="Arial Narrow" panose="020B0604020202020204" pitchFamily="34" charset="0"/>
              <a:sym typeface="Arial"/>
            </a:endParaRPr>
          </a:p>
        </p:txBody>
      </p:sp>
      <p:sp>
        <p:nvSpPr>
          <p:cNvPr id="12" name="Textfeld 11">
            <a:extLst>
              <a:ext uri="{FF2B5EF4-FFF2-40B4-BE49-F238E27FC236}">
                <a16:creationId xmlns:a16="http://schemas.microsoft.com/office/drawing/2014/main" id="{E7827A5A-4B35-2B6A-33EF-D795FDE90E7E}"/>
              </a:ext>
            </a:extLst>
          </p:cNvPr>
          <p:cNvSpPr txBox="1"/>
          <p:nvPr/>
        </p:nvSpPr>
        <p:spPr>
          <a:xfrm>
            <a:off x="463758" y="4426260"/>
            <a:ext cx="2696572"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de-DE" sz="2400" b="1" i="0" u="none" strike="noStrike" kern="0" cap="none" spc="0" normalizeH="0" baseline="0" noProof="0" dirty="0" err="1">
                <a:ln>
                  <a:noFill/>
                </a:ln>
                <a:solidFill>
                  <a:srgbClr val="000000">
                    <a:lumMod val="50000"/>
                    <a:lumOff val="50000"/>
                  </a:srgbClr>
                </a:solidFill>
                <a:effectLst/>
                <a:uLnTx/>
                <a:uFillTx/>
                <a:latin typeface="Arial Narrow" panose="020B0604020202020204" pitchFamily="34" charset="0"/>
                <a:cs typeface="Arial Narrow" panose="020B0604020202020204" pitchFamily="34" charset="0"/>
                <a:sym typeface="Arial"/>
              </a:rPr>
              <a:t>Derazantinib</a:t>
            </a:r>
            <a:r>
              <a:rPr kumimoji="0" lang="de-DE" sz="2400" b="1" i="0" u="none" strike="noStrike" kern="0" cap="none" spc="0" normalizeH="0" baseline="0" noProof="0" dirty="0">
                <a:ln>
                  <a:noFill/>
                </a:ln>
                <a:solidFill>
                  <a:srgbClr val="000000">
                    <a:lumMod val="50000"/>
                    <a:lumOff val="50000"/>
                  </a:srgbClr>
                </a:solidFill>
                <a:effectLst/>
                <a:uLnTx/>
                <a:uFillTx/>
                <a:latin typeface="Arial Narrow" panose="020B0604020202020204" pitchFamily="34" charset="0"/>
                <a:cs typeface="Arial Narrow" panose="020B0604020202020204" pitchFamily="34" charset="0"/>
                <a:sym typeface="Arial"/>
              </a:rPr>
              <a:t> </a:t>
            </a:r>
            <a:r>
              <a:rPr kumimoji="0" lang="de-DE" sz="2400" b="1" i="0" u="none" strike="noStrike" kern="0" cap="none" spc="0" normalizeH="0" baseline="0" noProof="0" dirty="0" err="1">
                <a:ln>
                  <a:noFill/>
                </a:ln>
                <a:solidFill>
                  <a:srgbClr val="000000">
                    <a:lumMod val="50000"/>
                    <a:lumOff val="50000"/>
                  </a:srgbClr>
                </a:solidFill>
                <a:effectLst/>
                <a:uLnTx/>
                <a:uFillTx/>
                <a:latin typeface="Arial Narrow" panose="020B0604020202020204" pitchFamily="34" charset="0"/>
                <a:cs typeface="Arial Narrow" panose="020B0604020202020204" pitchFamily="34" charset="0"/>
                <a:sym typeface="Arial"/>
              </a:rPr>
              <a:t>targets</a:t>
            </a:r>
            <a:r>
              <a:rPr kumimoji="0" lang="de-DE" sz="2400" b="1" i="0" u="none" strike="noStrike" kern="0" cap="none" spc="0" normalizeH="0" baseline="0" noProof="0" dirty="0">
                <a:ln>
                  <a:noFill/>
                </a:ln>
                <a:solidFill>
                  <a:srgbClr val="000000">
                    <a:lumMod val="50000"/>
                    <a:lumOff val="50000"/>
                  </a:srgbClr>
                </a:solidFill>
                <a:effectLst/>
                <a:uLnTx/>
                <a:uFillTx/>
                <a:latin typeface="Arial Narrow" panose="020B0604020202020204" pitchFamily="34" charset="0"/>
                <a:cs typeface="Arial Narrow" panose="020B0604020202020204" pitchFamily="34" charset="0"/>
                <a:sym typeface="Arial"/>
              </a:rPr>
              <a:t>:</a:t>
            </a:r>
          </a:p>
        </p:txBody>
      </p:sp>
      <p:sp>
        <p:nvSpPr>
          <p:cNvPr id="13" name="Rechteck 12">
            <a:extLst>
              <a:ext uri="{FF2B5EF4-FFF2-40B4-BE49-F238E27FC236}">
                <a16:creationId xmlns:a16="http://schemas.microsoft.com/office/drawing/2014/main" id="{3B5A86BF-C54C-995D-3AD0-7443146637FA}"/>
              </a:ext>
            </a:extLst>
          </p:cNvPr>
          <p:cNvSpPr/>
          <p:nvPr/>
        </p:nvSpPr>
        <p:spPr>
          <a:xfrm>
            <a:off x="1371899" y="5775117"/>
            <a:ext cx="1282832" cy="527955"/>
          </a:xfrm>
          <a:prstGeom prst="rect">
            <a:avLst/>
          </a:prstGeom>
          <a:solidFill>
            <a:srgbClr val="0070C0"/>
          </a:solidFill>
          <a:effectLst>
            <a:softEdge rad="788537"/>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de-DE" sz="1400" b="0" i="0" u="none" strike="noStrike" kern="0" cap="none" spc="0" normalizeH="0" baseline="0" noProof="0" dirty="0">
              <a:ln>
                <a:noFill/>
              </a:ln>
              <a:solidFill>
                <a:srgbClr val="FFFFFF"/>
              </a:solidFill>
              <a:effectLst/>
              <a:uLnTx/>
              <a:uFillTx/>
              <a:latin typeface="Arial Narrow" panose="020B0604020202020204" pitchFamily="34" charset="0"/>
              <a:ea typeface="+mn-ea"/>
              <a:cs typeface="Arial Narrow" panose="020B0604020202020204" pitchFamily="34" charset="0"/>
              <a:sym typeface="Arial"/>
            </a:endParaRPr>
          </a:p>
        </p:txBody>
      </p:sp>
      <p:sp>
        <p:nvSpPr>
          <p:cNvPr id="14" name="Abgerundetes Rechteck 13">
            <a:extLst>
              <a:ext uri="{FF2B5EF4-FFF2-40B4-BE49-F238E27FC236}">
                <a16:creationId xmlns:a16="http://schemas.microsoft.com/office/drawing/2014/main" id="{0C769E87-8996-435A-E226-09928D013FB4}"/>
              </a:ext>
            </a:extLst>
          </p:cNvPr>
          <p:cNvSpPr/>
          <p:nvPr/>
        </p:nvSpPr>
        <p:spPr>
          <a:xfrm>
            <a:off x="493423" y="5070018"/>
            <a:ext cx="1108364" cy="567303"/>
          </a:xfrm>
          <a:prstGeom prst="roundRect">
            <a:avLst/>
          </a:prstGeom>
          <a:solidFill>
            <a:schemeClr val="accent5">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de-DE" sz="1400" b="0" i="0" u="none" strike="noStrike" kern="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sym typeface="Arial"/>
            </a:endParaRPr>
          </a:p>
        </p:txBody>
      </p:sp>
      <p:sp>
        <p:nvSpPr>
          <p:cNvPr id="15" name="Textfeld 14">
            <a:extLst>
              <a:ext uri="{FF2B5EF4-FFF2-40B4-BE49-F238E27FC236}">
                <a16:creationId xmlns:a16="http://schemas.microsoft.com/office/drawing/2014/main" id="{955318B1-F927-2243-48BA-B32F23F5B05D}"/>
              </a:ext>
            </a:extLst>
          </p:cNvPr>
          <p:cNvSpPr txBox="1"/>
          <p:nvPr/>
        </p:nvSpPr>
        <p:spPr>
          <a:xfrm>
            <a:off x="656535" y="5169004"/>
            <a:ext cx="665567"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de-DE" sz="1400" b="0" i="0" u="none" strike="noStrike" kern="0" cap="none" spc="0" normalizeH="0" baseline="0" noProof="0" dirty="0">
                <a:ln>
                  <a:noFill/>
                </a:ln>
                <a:solidFill>
                  <a:srgbClr val="FFFFFF"/>
                </a:solidFill>
                <a:effectLst/>
                <a:uLnTx/>
                <a:uFillTx/>
                <a:latin typeface="Arial Narrow" panose="020B0604020202020204" pitchFamily="34" charset="0"/>
                <a:cs typeface="Arial Narrow" panose="020B0604020202020204" pitchFamily="34" charset="0"/>
                <a:sym typeface="Arial"/>
              </a:rPr>
              <a:t>FGFR1</a:t>
            </a:r>
          </a:p>
        </p:txBody>
      </p:sp>
      <p:sp>
        <p:nvSpPr>
          <p:cNvPr id="16" name="Abgerundetes Rechteck 15">
            <a:extLst>
              <a:ext uri="{FF2B5EF4-FFF2-40B4-BE49-F238E27FC236}">
                <a16:creationId xmlns:a16="http://schemas.microsoft.com/office/drawing/2014/main" id="{5E76D120-39E1-7A52-3B5C-E4F16BD1C473}"/>
              </a:ext>
            </a:extLst>
          </p:cNvPr>
          <p:cNvSpPr/>
          <p:nvPr/>
        </p:nvSpPr>
        <p:spPr>
          <a:xfrm>
            <a:off x="1764899" y="5070018"/>
            <a:ext cx="1108364" cy="567303"/>
          </a:xfrm>
          <a:prstGeom prst="roundRect">
            <a:avLst/>
          </a:prstGeom>
          <a:solidFill>
            <a:schemeClr val="accent5">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de-DE" sz="1400" b="0" i="0" u="none" strike="noStrike" kern="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sym typeface="Arial"/>
            </a:endParaRPr>
          </a:p>
        </p:txBody>
      </p:sp>
      <p:sp>
        <p:nvSpPr>
          <p:cNvPr id="17" name="Textfeld 16">
            <a:extLst>
              <a:ext uri="{FF2B5EF4-FFF2-40B4-BE49-F238E27FC236}">
                <a16:creationId xmlns:a16="http://schemas.microsoft.com/office/drawing/2014/main" id="{DD06790A-A7D6-A7E5-919C-EBEF02F73E88}"/>
              </a:ext>
            </a:extLst>
          </p:cNvPr>
          <p:cNvSpPr txBox="1"/>
          <p:nvPr/>
        </p:nvSpPr>
        <p:spPr>
          <a:xfrm>
            <a:off x="1928013" y="5169004"/>
            <a:ext cx="665567"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de-DE" sz="1400" b="0" i="0" u="none" strike="noStrike" kern="0" cap="none" spc="0" normalizeH="0" baseline="0" noProof="0" dirty="0">
                <a:ln>
                  <a:noFill/>
                </a:ln>
                <a:solidFill>
                  <a:srgbClr val="FFFFFF"/>
                </a:solidFill>
                <a:effectLst/>
                <a:uLnTx/>
                <a:uFillTx/>
                <a:latin typeface="Arial Narrow" panose="020B0604020202020204" pitchFamily="34" charset="0"/>
                <a:cs typeface="Arial Narrow" panose="020B0604020202020204" pitchFamily="34" charset="0"/>
                <a:sym typeface="Arial"/>
              </a:rPr>
              <a:t>FGFR2</a:t>
            </a:r>
          </a:p>
        </p:txBody>
      </p:sp>
      <p:sp>
        <p:nvSpPr>
          <p:cNvPr id="18" name="Abgerundetes Rechteck 17">
            <a:extLst>
              <a:ext uri="{FF2B5EF4-FFF2-40B4-BE49-F238E27FC236}">
                <a16:creationId xmlns:a16="http://schemas.microsoft.com/office/drawing/2014/main" id="{6CF69397-9CB8-60FB-4F8A-FDFD4847165D}"/>
              </a:ext>
            </a:extLst>
          </p:cNvPr>
          <p:cNvSpPr/>
          <p:nvPr/>
        </p:nvSpPr>
        <p:spPr>
          <a:xfrm>
            <a:off x="3036377" y="5070018"/>
            <a:ext cx="1108364" cy="567303"/>
          </a:xfrm>
          <a:prstGeom prst="round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de-DE" sz="1400" b="0" i="0" u="none" strike="noStrike" kern="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sym typeface="Arial"/>
            </a:endParaRPr>
          </a:p>
        </p:txBody>
      </p:sp>
      <p:sp>
        <p:nvSpPr>
          <p:cNvPr id="19" name="Textfeld 18">
            <a:extLst>
              <a:ext uri="{FF2B5EF4-FFF2-40B4-BE49-F238E27FC236}">
                <a16:creationId xmlns:a16="http://schemas.microsoft.com/office/drawing/2014/main" id="{D5A4640D-7ACD-6BC6-1C12-F52D4BC3C8C4}"/>
              </a:ext>
            </a:extLst>
          </p:cNvPr>
          <p:cNvSpPr txBox="1"/>
          <p:nvPr/>
        </p:nvSpPr>
        <p:spPr>
          <a:xfrm>
            <a:off x="3199490" y="5169004"/>
            <a:ext cx="665567"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de-DE" sz="1400" b="0" i="0" u="none" strike="noStrike" kern="0" cap="none" spc="0" normalizeH="0" baseline="0" noProof="0" dirty="0">
                <a:ln>
                  <a:noFill/>
                </a:ln>
                <a:solidFill>
                  <a:srgbClr val="FFFFFF"/>
                </a:solidFill>
                <a:effectLst/>
                <a:uLnTx/>
                <a:uFillTx/>
                <a:latin typeface="Arial Narrow" panose="020B0604020202020204" pitchFamily="34" charset="0"/>
                <a:cs typeface="Arial Narrow" panose="020B0604020202020204" pitchFamily="34" charset="0"/>
                <a:sym typeface="Arial"/>
              </a:rPr>
              <a:t>FGFR3</a:t>
            </a:r>
          </a:p>
        </p:txBody>
      </p:sp>
      <p:sp>
        <p:nvSpPr>
          <p:cNvPr id="20" name="Abgerundetes Rechteck 19">
            <a:extLst>
              <a:ext uri="{FF2B5EF4-FFF2-40B4-BE49-F238E27FC236}">
                <a16:creationId xmlns:a16="http://schemas.microsoft.com/office/drawing/2014/main" id="{4AF4025E-704D-0210-AA81-D8D30507C594}"/>
              </a:ext>
            </a:extLst>
          </p:cNvPr>
          <p:cNvSpPr/>
          <p:nvPr/>
        </p:nvSpPr>
        <p:spPr>
          <a:xfrm>
            <a:off x="493423" y="5845901"/>
            <a:ext cx="1108364" cy="567303"/>
          </a:xfrm>
          <a:prstGeom prst="round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de-DE" sz="1400" b="0" i="0" u="none" strike="noStrike" kern="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sym typeface="Arial"/>
            </a:endParaRPr>
          </a:p>
        </p:txBody>
      </p:sp>
      <p:sp>
        <p:nvSpPr>
          <p:cNvPr id="21" name="Textfeld 20">
            <a:extLst>
              <a:ext uri="{FF2B5EF4-FFF2-40B4-BE49-F238E27FC236}">
                <a16:creationId xmlns:a16="http://schemas.microsoft.com/office/drawing/2014/main" id="{E1C3F30F-0440-20D7-3894-25FAFAC506A7}"/>
              </a:ext>
            </a:extLst>
          </p:cNvPr>
          <p:cNvSpPr txBox="1"/>
          <p:nvPr/>
        </p:nvSpPr>
        <p:spPr>
          <a:xfrm>
            <a:off x="628825" y="5946393"/>
            <a:ext cx="715260"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de-DE" sz="1400" b="0" i="0" u="none" strike="noStrike" kern="0" cap="none" spc="0" normalizeH="0" baseline="0" noProof="0" dirty="0">
                <a:ln>
                  <a:noFill/>
                </a:ln>
                <a:solidFill>
                  <a:srgbClr val="FFFFFF"/>
                </a:solidFill>
                <a:effectLst/>
                <a:uLnTx/>
                <a:uFillTx/>
                <a:latin typeface="Arial Narrow" panose="020B0604020202020204" pitchFamily="34" charset="0"/>
                <a:cs typeface="Arial Narrow" panose="020B0604020202020204" pitchFamily="34" charset="0"/>
                <a:sym typeface="Arial"/>
              </a:rPr>
              <a:t>CSF1-R</a:t>
            </a:r>
          </a:p>
        </p:txBody>
      </p:sp>
      <p:sp>
        <p:nvSpPr>
          <p:cNvPr id="22" name="Abgerundetes Rechteck 21">
            <a:extLst>
              <a:ext uri="{FF2B5EF4-FFF2-40B4-BE49-F238E27FC236}">
                <a16:creationId xmlns:a16="http://schemas.microsoft.com/office/drawing/2014/main" id="{DD138CEC-89AD-4320-0C94-FC05EAEFDEDA}"/>
              </a:ext>
            </a:extLst>
          </p:cNvPr>
          <p:cNvSpPr/>
          <p:nvPr/>
        </p:nvSpPr>
        <p:spPr>
          <a:xfrm>
            <a:off x="1775614" y="5832753"/>
            <a:ext cx="1108364" cy="567303"/>
          </a:xfrm>
          <a:prstGeom prst="roundRect">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de-DE" sz="1400" b="0" i="0" u="none" strike="noStrike" kern="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sym typeface="Arial"/>
            </a:endParaRPr>
          </a:p>
        </p:txBody>
      </p:sp>
      <p:sp>
        <p:nvSpPr>
          <p:cNvPr id="23" name="Textfeld 22">
            <a:extLst>
              <a:ext uri="{FF2B5EF4-FFF2-40B4-BE49-F238E27FC236}">
                <a16:creationId xmlns:a16="http://schemas.microsoft.com/office/drawing/2014/main" id="{B3E9C317-4897-5545-130F-5E535607F53E}"/>
              </a:ext>
            </a:extLst>
          </p:cNvPr>
          <p:cNvSpPr txBox="1"/>
          <p:nvPr/>
        </p:nvSpPr>
        <p:spPr>
          <a:xfrm>
            <a:off x="1855598" y="5933245"/>
            <a:ext cx="821059"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de-DE" sz="1400" b="0" i="0" u="none" strike="noStrike" kern="0" cap="none" spc="0" normalizeH="0" baseline="0" noProof="0" dirty="0">
                <a:ln>
                  <a:noFill/>
                </a:ln>
                <a:solidFill>
                  <a:srgbClr val="FFFFFF"/>
                </a:solidFill>
                <a:effectLst/>
                <a:uLnTx/>
                <a:uFillTx/>
                <a:latin typeface="Arial Narrow" panose="020B0604020202020204" pitchFamily="34" charset="0"/>
                <a:cs typeface="Arial Narrow" panose="020B0604020202020204" pitchFamily="34" charset="0"/>
                <a:sym typeface="Arial"/>
              </a:rPr>
              <a:t>VEGF-R2</a:t>
            </a:r>
          </a:p>
        </p:txBody>
      </p:sp>
      <p:pic>
        <p:nvPicPr>
          <p:cNvPr id="24" name="Grafik 23">
            <a:extLst>
              <a:ext uri="{FF2B5EF4-FFF2-40B4-BE49-F238E27FC236}">
                <a16:creationId xmlns:a16="http://schemas.microsoft.com/office/drawing/2014/main" id="{6CB534A7-3BDB-ED35-95DF-AB92AFD34C4A}"/>
              </a:ext>
            </a:extLst>
          </p:cNvPr>
          <p:cNvPicPr>
            <a:picLocks noChangeAspect="1"/>
          </p:cNvPicPr>
          <p:nvPr/>
        </p:nvPicPr>
        <p:blipFill rotWithShape="1">
          <a:blip r:embed="rId4"/>
          <a:srcRect l="51437" t="14734" b="9961"/>
          <a:stretch/>
        </p:blipFill>
        <p:spPr>
          <a:xfrm>
            <a:off x="7785845" y="1426438"/>
            <a:ext cx="3869127" cy="3387237"/>
          </a:xfrm>
          <a:prstGeom prst="rect">
            <a:avLst/>
          </a:prstGeom>
        </p:spPr>
      </p:pic>
      <p:sp>
        <p:nvSpPr>
          <p:cNvPr id="25" name="Textfeld 24">
            <a:extLst>
              <a:ext uri="{FF2B5EF4-FFF2-40B4-BE49-F238E27FC236}">
                <a16:creationId xmlns:a16="http://schemas.microsoft.com/office/drawing/2014/main" id="{10447EA8-8DCB-1EA8-A608-A068D959FAA5}"/>
              </a:ext>
            </a:extLst>
          </p:cNvPr>
          <p:cNvSpPr txBox="1"/>
          <p:nvPr/>
        </p:nvSpPr>
        <p:spPr>
          <a:xfrm>
            <a:off x="454772" y="715222"/>
            <a:ext cx="3825086"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de-DE" sz="2400" b="1" i="0" u="none" strike="noStrike" kern="0" cap="none" spc="0" normalizeH="0" baseline="0" noProof="0" dirty="0" err="1">
                <a:ln>
                  <a:noFill/>
                </a:ln>
                <a:solidFill>
                  <a:srgbClr val="000000"/>
                </a:solidFill>
                <a:effectLst/>
                <a:uLnTx/>
                <a:uFillTx/>
                <a:latin typeface="Arial Narrow" panose="020B0604020202020204" pitchFamily="34" charset="0"/>
                <a:cs typeface="Arial Narrow" panose="020B0604020202020204" pitchFamily="34" charset="0"/>
                <a:sym typeface="Arial"/>
              </a:rPr>
              <a:t>Molecular</a:t>
            </a:r>
            <a:r>
              <a:rPr kumimoji="0" lang="de-DE" sz="2400" b="1"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rPr>
              <a:t> </a:t>
            </a:r>
            <a:r>
              <a:rPr kumimoji="0" lang="de-DE" sz="2400" b="1" i="0" u="none" strike="noStrike" kern="0" cap="none" spc="0" normalizeH="0" baseline="0" noProof="0" dirty="0" err="1">
                <a:ln>
                  <a:noFill/>
                </a:ln>
                <a:solidFill>
                  <a:srgbClr val="000000"/>
                </a:solidFill>
                <a:effectLst/>
                <a:uLnTx/>
                <a:uFillTx/>
                <a:latin typeface="Arial Narrow" panose="020B0604020202020204" pitchFamily="34" charset="0"/>
                <a:cs typeface="Arial Narrow" panose="020B0604020202020204" pitchFamily="34" charset="0"/>
                <a:sym typeface="Arial"/>
              </a:rPr>
              <a:t>Subclasses</a:t>
            </a:r>
            <a:r>
              <a:rPr kumimoji="0" lang="de-DE" sz="2400" b="1"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rPr>
              <a:t> </a:t>
            </a:r>
            <a:r>
              <a:rPr kumimoji="0" lang="de-DE" sz="2400" b="1" i="0" u="none" strike="noStrike" kern="0" cap="none" spc="0" normalizeH="0" baseline="0" noProof="0" dirty="0" err="1">
                <a:ln>
                  <a:noFill/>
                </a:ln>
                <a:solidFill>
                  <a:srgbClr val="000000"/>
                </a:solidFill>
                <a:effectLst/>
                <a:uLnTx/>
                <a:uFillTx/>
                <a:latin typeface="Arial Narrow" panose="020B0604020202020204" pitchFamily="34" charset="0"/>
                <a:cs typeface="Arial Narrow" panose="020B0604020202020204" pitchFamily="34" charset="0"/>
                <a:sym typeface="Arial"/>
              </a:rPr>
              <a:t>of</a:t>
            </a:r>
            <a:r>
              <a:rPr kumimoji="0" lang="de-DE" sz="2400" b="1"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rPr>
              <a:t> </a:t>
            </a:r>
            <a:r>
              <a:rPr kumimoji="0" lang="de-DE" sz="2400" b="1" i="0" u="none" strike="noStrike" kern="0" cap="none" spc="0" normalizeH="0" baseline="0" noProof="0" dirty="0" err="1">
                <a:ln>
                  <a:noFill/>
                </a:ln>
                <a:solidFill>
                  <a:srgbClr val="000000"/>
                </a:solidFill>
                <a:effectLst/>
                <a:uLnTx/>
                <a:uFillTx/>
                <a:latin typeface="Arial Narrow" panose="020B0604020202020204" pitchFamily="34" charset="0"/>
                <a:cs typeface="Arial Narrow" panose="020B0604020202020204" pitchFamily="34" charset="0"/>
                <a:sym typeface="Arial"/>
              </a:rPr>
              <a:t>iCCA</a:t>
            </a:r>
            <a:endParaRPr kumimoji="0" lang="de-DE" sz="2400" b="1"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endParaRPr>
          </a:p>
        </p:txBody>
      </p:sp>
      <p:sp>
        <p:nvSpPr>
          <p:cNvPr id="26" name="Textfeld 25">
            <a:extLst>
              <a:ext uri="{FF2B5EF4-FFF2-40B4-BE49-F238E27FC236}">
                <a16:creationId xmlns:a16="http://schemas.microsoft.com/office/drawing/2014/main" id="{7551F658-7C57-BA88-BDE3-6AAA0608651B}"/>
              </a:ext>
            </a:extLst>
          </p:cNvPr>
          <p:cNvSpPr txBox="1"/>
          <p:nvPr/>
        </p:nvSpPr>
        <p:spPr>
          <a:xfrm>
            <a:off x="7348818" y="715222"/>
            <a:ext cx="3881191"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de-DE" sz="2400" b="1" i="0" u="none" strike="noStrike" kern="0" cap="none" spc="0" normalizeH="0" baseline="0" noProof="0" dirty="0" err="1">
                <a:ln>
                  <a:noFill/>
                </a:ln>
                <a:solidFill>
                  <a:srgbClr val="000000"/>
                </a:solidFill>
                <a:effectLst/>
                <a:uLnTx/>
                <a:uFillTx/>
                <a:latin typeface="Arial Narrow" panose="020B0604020202020204" pitchFamily="34" charset="0"/>
                <a:cs typeface="Arial Narrow" panose="020B0604020202020204" pitchFamily="34" charset="0"/>
                <a:sym typeface="Arial"/>
              </a:rPr>
              <a:t>Derazantinib</a:t>
            </a:r>
            <a:r>
              <a:rPr kumimoji="0" lang="de-DE" sz="2400" b="1"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rPr>
              <a:t> „</a:t>
            </a:r>
            <a:r>
              <a:rPr kumimoji="0" lang="de-DE" sz="2400" b="1" i="0" u="none" strike="noStrike" kern="0" cap="none" spc="0" normalizeH="0" baseline="0" noProof="0" dirty="0" err="1">
                <a:ln>
                  <a:noFill/>
                </a:ln>
                <a:solidFill>
                  <a:srgbClr val="000000"/>
                </a:solidFill>
                <a:effectLst/>
                <a:uLnTx/>
                <a:uFillTx/>
                <a:latin typeface="Arial Narrow" panose="020B0604020202020204" pitchFamily="34" charset="0"/>
                <a:cs typeface="Arial Narrow" panose="020B0604020202020204" pitchFamily="34" charset="0"/>
                <a:sym typeface="Arial"/>
              </a:rPr>
              <a:t>sensitizes</a:t>
            </a:r>
            <a:r>
              <a:rPr kumimoji="0" lang="de-DE" sz="2400" b="1"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rPr>
              <a:t>“ </a:t>
            </a:r>
            <a:r>
              <a:rPr kumimoji="0" lang="de-DE" sz="2400" b="1" i="0" u="none" strike="noStrike" kern="0" cap="none" spc="0" normalizeH="0" baseline="0" noProof="0" dirty="0" err="1">
                <a:ln>
                  <a:noFill/>
                </a:ln>
                <a:solidFill>
                  <a:srgbClr val="000000"/>
                </a:solidFill>
                <a:effectLst/>
                <a:uLnTx/>
                <a:uFillTx/>
                <a:latin typeface="Arial Narrow" panose="020B0604020202020204" pitchFamily="34" charset="0"/>
                <a:cs typeface="Arial Narrow" panose="020B0604020202020204" pitchFamily="34" charset="0"/>
                <a:sym typeface="Arial"/>
              </a:rPr>
              <a:t>to</a:t>
            </a:r>
            <a:r>
              <a:rPr kumimoji="0" lang="de-DE" sz="2400" b="1"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rPr>
              <a:t> IO</a:t>
            </a:r>
          </a:p>
        </p:txBody>
      </p:sp>
      <p:sp>
        <p:nvSpPr>
          <p:cNvPr id="27" name="Textfeld 26">
            <a:extLst>
              <a:ext uri="{FF2B5EF4-FFF2-40B4-BE49-F238E27FC236}">
                <a16:creationId xmlns:a16="http://schemas.microsoft.com/office/drawing/2014/main" id="{0AB176C5-76FE-5ACF-3412-A69242FEF4D1}"/>
              </a:ext>
            </a:extLst>
          </p:cNvPr>
          <p:cNvSpPr txBox="1"/>
          <p:nvPr/>
        </p:nvSpPr>
        <p:spPr>
          <a:xfrm>
            <a:off x="7642992" y="4980679"/>
            <a:ext cx="3219151" cy="954107"/>
          </a:xfrm>
          <a:prstGeom prst="rect">
            <a:avLst/>
          </a:prstGeom>
          <a:noFill/>
        </p:spPr>
        <p:txBody>
          <a:bodyPr wrap="none" rtlCol="0">
            <a:spAutoFit/>
          </a:bodyPr>
          <a:lstStyle/>
          <a:p>
            <a:pPr marL="285744" marR="0" lvl="0" indent="-285744"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de-DE" sz="1400" b="0" i="0" u="none" strike="noStrike" kern="0" cap="none" spc="0" normalizeH="0" baseline="0" noProof="0" dirty="0">
                <a:ln>
                  <a:noFill/>
                </a:ln>
                <a:solidFill>
                  <a:srgbClr val="000000">
                    <a:lumMod val="50000"/>
                    <a:lumOff val="50000"/>
                  </a:srgbClr>
                </a:solidFill>
                <a:effectLst/>
                <a:uLnTx/>
                <a:uFillTx/>
                <a:latin typeface="Arial Narrow" panose="020B0604020202020204" pitchFamily="34" charset="0"/>
                <a:cs typeface="Arial Narrow" panose="020B0604020202020204" pitchFamily="34" charset="0"/>
                <a:sym typeface="Arial"/>
              </a:rPr>
              <a:t>Reprogram suppressive M2 </a:t>
            </a:r>
            <a:r>
              <a:rPr kumimoji="0" lang="de-DE" sz="1400" b="0" i="0" u="none" strike="noStrike" kern="0" cap="none" spc="0" normalizeH="0" baseline="0" noProof="0" dirty="0" err="1">
                <a:ln>
                  <a:noFill/>
                </a:ln>
                <a:solidFill>
                  <a:srgbClr val="000000">
                    <a:lumMod val="50000"/>
                    <a:lumOff val="50000"/>
                  </a:srgbClr>
                </a:solidFill>
                <a:effectLst/>
                <a:uLnTx/>
                <a:uFillTx/>
                <a:latin typeface="Arial Narrow" panose="020B0604020202020204" pitchFamily="34" charset="0"/>
                <a:cs typeface="Arial Narrow" panose="020B0604020202020204" pitchFamily="34" charset="0"/>
                <a:sym typeface="Arial"/>
              </a:rPr>
              <a:t>macrophages</a:t>
            </a:r>
            <a:endParaRPr kumimoji="0" lang="de-DE" sz="1400" b="0" i="0" u="none" strike="noStrike" kern="0" cap="none" spc="0" normalizeH="0" baseline="0" noProof="0" dirty="0">
              <a:ln>
                <a:noFill/>
              </a:ln>
              <a:solidFill>
                <a:srgbClr val="000000">
                  <a:lumMod val="50000"/>
                  <a:lumOff val="50000"/>
                </a:srgbClr>
              </a:solidFill>
              <a:effectLst/>
              <a:uLnTx/>
              <a:uFillTx/>
              <a:latin typeface="Arial Narrow" panose="020B0604020202020204" pitchFamily="34" charset="0"/>
              <a:cs typeface="Arial Narrow" panose="020B0604020202020204" pitchFamily="34" charset="0"/>
              <a:sym typeface="Arial"/>
            </a:endParaRPr>
          </a:p>
          <a:p>
            <a:pPr marL="285744" marR="0" lvl="0" indent="-285744"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de-DE" sz="1400" b="0" i="0" u="none" strike="noStrike" kern="0" cap="none" spc="0" normalizeH="0" baseline="0" noProof="0" dirty="0">
                <a:ln>
                  <a:noFill/>
                </a:ln>
                <a:solidFill>
                  <a:srgbClr val="000000">
                    <a:lumMod val="50000"/>
                    <a:lumOff val="50000"/>
                  </a:srgbClr>
                </a:solidFill>
                <a:effectLst/>
                <a:uLnTx/>
                <a:uFillTx/>
                <a:latin typeface="Arial Narrow" panose="020B0604020202020204" pitchFamily="34" charset="0"/>
                <a:cs typeface="Arial Narrow" panose="020B0604020202020204" pitchFamily="34" charset="0"/>
                <a:sym typeface="Arial"/>
              </a:rPr>
              <a:t>Restore T-</a:t>
            </a:r>
            <a:r>
              <a:rPr kumimoji="0" lang="de-DE" sz="1400" b="0" i="0" u="none" strike="noStrike" kern="0" cap="none" spc="0" normalizeH="0" baseline="0" noProof="0" dirty="0" err="1">
                <a:ln>
                  <a:noFill/>
                </a:ln>
                <a:solidFill>
                  <a:srgbClr val="000000">
                    <a:lumMod val="50000"/>
                    <a:lumOff val="50000"/>
                  </a:srgbClr>
                </a:solidFill>
                <a:effectLst/>
                <a:uLnTx/>
                <a:uFillTx/>
                <a:latin typeface="Arial Narrow" panose="020B0604020202020204" pitchFamily="34" charset="0"/>
                <a:cs typeface="Arial Narrow" panose="020B0604020202020204" pitchFamily="34" charset="0"/>
                <a:sym typeface="Arial"/>
              </a:rPr>
              <a:t>cell</a:t>
            </a:r>
            <a:r>
              <a:rPr kumimoji="0" lang="de-DE" sz="1400" b="0" i="0" u="none" strike="noStrike" kern="0" cap="none" spc="0" normalizeH="0" baseline="0" noProof="0" dirty="0">
                <a:ln>
                  <a:noFill/>
                </a:ln>
                <a:solidFill>
                  <a:srgbClr val="000000">
                    <a:lumMod val="50000"/>
                    <a:lumOff val="50000"/>
                  </a:srgbClr>
                </a:solidFill>
                <a:effectLst/>
                <a:uLnTx/>
                <a:uFillTx/>
                <a:latin typeface="Arial Narrow" panose="020B0604020202020204" pitchFamily="34" charset="0"/>
                <a:cs typeface="Arial Narrow" panose="020B0604020202020204" pitchFamily="34" charset="0"/>
                <a:sym typeface="Arial"/>
              </a:rPr>
              <a:t> </a:t>
            </a:r>
            <a:r>
              <a:rPr kumimoji="0" lang="de-DE" sz="1400" b="0" i="0" u="none" strike="noStrike" kern="0" cap="none" spc="0" normalizeH="0" baseline="0" noProof="0" dirty="0" err="1">
                <a:ln>
                  <a:noFill/>
                </a:ln>
                <a:solidFill>
                  <a:srgbClr val="000000">
                    <a:lumMod val="50000"/>
                    <a:lumOff val="50000"/>
                  </a:srgbClr>
                </a:solidFill>
                <a:effectLst/>
                <a:uLnTx/>
                <a:uFillTx/>
                <a:latin typeface="Arial Narrow" panose="020B0604020202020204" pitchFamily="34" charset="0"/>
                <a:cs typeface="Arial Narrow" panose="020B0604020202020204" pitchFamily="34" charset="0"/>
                <a:sym typeface="Arial"/>
              </a:rPr>
              <a:t>activity</a:t>
            </a:r>
            <a:endParaRPr kumimoji="0" lang="de-DE" sz="1400" b="0" i="0" u="none" strike="noStrike" kern="0" cap="none" spc="0" normalizeH="0" baseline="0" noProof="0" dirty="0">
              <a:ln>
                <a:noFill/>
              </a:ln>
              <a:solidFill>
                <a:srgbClr val="000000">
                  <a:lumMod val="50000"/>
                  <a:lumOff val="50000"/>
                </a:srgbClr>
              </a:solidFill>
              <a:effectLst/>
              <a:uLnTx/>
              <a:uFillTx/>
              <a:latin typeface="Arial Narrow" panose="020B0604020202020204" pitchFamily="34" charset="0"/>
              <a:cs typeface="Arial Narrow" panose="020B0604020202020204" pitchFamily="34" charset="0"/>
              <a:sym typeface="Arial"/>
            </a:endParaRPr>
          </a:p>
          <a:p>
            <a:pPr marL="285744" marR="0" lvl="0" indent="-285744"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de-DE" sz="1400" b="0" i="0" u="none" strike="noStrike" kern="0" cap="none" spc="0" normalizeH="0" baseline="0" noProof="0" dirty="0" err="1">
                <a:ln>
                  <a:noFill/>
                </a:ln>
                <a:solidFill>
                  <a:srgbClr val="000000">
                    <a:lumMod val="50000"/>
                    <a:lumOff val="50000"/>
                  </a:srgbClr>
                </a:solidFill>
                <a:effectLst/>
                <a:uLnTx/>
                <a:uFillTx/>
                <a:latin typeface="Arial Narrow" panose="020B0604020202020204" pitchFamily="34" charset="0"/>
                <a:cs typeface="Arial Narrow" panose="020B0604020202020204" pitchFamily="34" charset="0"/>
                <a:sym typeface="Arial"/>
              </a:rPr>
              <a:t>Improve</a:t>
            </a:r>
            <a:r>
              <a:rPr kumimoji="0" lang="de-DE" sz="1400" b="0" i="0" u="none" strike="noStrike" kern="0" cap="none" spc="0" normalizeH="0" baseline="0" noProof="0" dirty="0">
                <a:ln>
                  <a:noFill/>
                </a:ln>
                <a:solidFill>
                  <a:srgbClr val="000000">
                    <a:lumMod val="50000"/>
                    <a:lumOff val="50000"/>
                  </a:srgbClr>
                </a:solidFill>
                <a:effectLst/>
                <a:uLnTx/>
                <a:uFillTx/>
                <a:latin typeface="Arial Narrow" panose="020B0604020202020204" pitchFamily="34" charset="0"/>
                <a:cs typeface="Arial Narrow" panose="020B0604020202020204" pitchFamily="34" charset="0"/>
                <a:sym typeface="Arial"/>
              </a:rPr>
              <a:t> </a:t>
            </a:r>
            <a:r>
              <a:rPr kumimoji="0" lang="de-DE" sz="1400" b="0" i="0" u="none" strike="noStrike" kern="0" cap="none" spc="0" normalizeH="0" baseline="0" noProof="0" dirty="0" err="1">
                <a:ln>
                  <a:noFill/>
                </a:ln>
                <a:solidFill>
                  <a:srgbClr val="000000">
                    <a:lumMod val="50000"/>
                    <a:lumOff val="50000"/>
                  </a:srgbClr>
                </a:solidFill>
                <a:effectLst/>
                <a:uLnTx/>
                <a:uFillTx/>
                <a:latin typeface="Arial Narrow" panose="020B0604020202020204" pitchFamily="34" charset="0"/>
                <a:cs typeface="Arial Narrow" panose="020B0604020202020204" pitchFamily="34" charset="0"/>
                <a:sym typeface="Arial"/>
              </a:rPr>
              <a:t>susceptibility</a:t>
            </a:r>
            <a:r>
              <a:rPr kumimoji="0" lang="de-DE" sz="1400" b="0" i="0" u="none" strike="noStrike" kern="0" cap="none" spc="0" normalizeH="0" baseline="0" noProof="0" dirty="0">
                <a:ln>
                  <a:noFill/>
                </a:ln>
                <a:solidFill>
                  <a:srgbClr val="000000">
                    <a:lumMod val="50000"/>
                    <a:lumOff val="50000"/>
                  </a:srgbClr>
                </a:solidFill>
                <a:effectLst/>
                <a:uLnTx/>
                <a:uFillTx/>
                <a:latin typeface="Arial Narrow" panose="020B0604020202020204" pitchFamily="34" charset="0"/>
                <a:cs typeface="Arial Narrow" panose="020B0604020202020204" pitchFamily="34" charset="0"/>
                <a:sym typeface="Arial"/>
              </a:rPr>
              <a:t> </a:t>
            </a:r>
            <a:r>
              <a:rPr kumimoji="0" lang="de-DE" sz="1400" b="0" i="0" u="none" strike="noStrike" kern="0" cap="none" spc="0" normalizeH="0" baseline="0" noProof="0" dirty="0" err="1">
                <a:ln>
                  <a:noFill/>
                </a:ln>
                <a:solidFill>
                  <a:srgbClr val="000000">
                    <a:lumMod val="50000"/>
                    <a:lumOff val="50000"/>
                  </a:srgbClr>
                </a:solidFill>
                <a:effectLst/>
                <a:uLnTx/>
                <a:uFillTx/>
                <a:latin typeface="Arial Narrow" panose="020B0604020202020204" pitchFamily="34" charset="0"/>
                <a:cs typeface="Arial Narrow" panose="020B0604020202020204" pitchFamily="34" charset="0"/>
                <a:sym typeface="Arial"/>
              </a:rPr>
              <a:t>to</a:t>
            </a:r>
            <a:r>
              <a:rPr kumimoji="0" lang="de-DE" sz="1400" b="0" i="0" u="none" strike="noStrike" kern="0" cap="none" spc="0" normalizeH="0" baseline="0" noProof="0" dirty="0">
                <a:ln>
                  <a:noFill/>
                </a:ln>
                <a:solidFill>
                  <a:srgbClr val="000000">
                    <a:lumMod val="50000"/>
                    <a:lumOff val="50000"/>
                  </a:srgbClr>
                </a:solidFill>
                <a:effectLst/>
                <a:uLnTx/>
                <a:uFillTx/>
                <a:latin typeface="Arial Narrow" panose="020B0604020202020204" pitchFamily="34" charset="0"/>
                <a:cs typeface="Arial Narrow" panose="020B0604020202020204" pitchFamily="34" charset="0"/>
                <a:sym typeface="Arial"/>
              </a:rPr>
              <a:t> IO</a:t>
            </a:r>
          </a:p>
          <a:p>
            <a:pPr marL="285744" marR="0" lvl="0" indent="-285744" algn="l" defTabSz="914400" rtl="0" eaLnBrk="1" fontAlgn="auto" latinLnBrk="0" hangingPunct="1">
              <a:lnSpc>
                <a:spcPct val="100000"/>
              </a:lnSpc>
              <a:spcBef>
                <a:spcPts val="0"/>
              </a:spcBef>
              <a:spcAft>
                <a:spcPts val="0"/>
              </a:spcAft>
              <a:buClr>
                <a:srgbClr val="000000"/>
              </a:buClr>
              <a:buSzTx/>
              <a:buFontTx/>
              <a:buChar char="-"/>
              <a:tabLst/>
              <a:defRPr/>
            </a:pPr>
            <a:endParaRPr kumimoji="0" lang="de-DE" sz="1400" b="0" i="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sym typeface="Arial"/>
            </a:endParaRPr>
          </a:p>
        </p:txBody>
      </p:sp>
      <p:sp>
        <p:nvSpPr>
          <p:cNvPr id="28" name="Textfeld 27">
            <a:extLst>
              <a:ext uri="{FF2B5EF4-FFF2-40B4-BE49-F238E27FC236}">
                <a16:creationId xmlns:a16="http://schemas.microsoft.com/office/drawing/2014/main" id="{0E87BA59-47C5-F1BC-56B3-B4B7008CFBBE}"/>
              </a:ext>
            </a:extLst>
          </p:cNvPr>
          <p:cNvSpPr txBox="1"/>
          <p:nvPr/>
        </p:nvSpPr>
        <p:spPr>
          <a:xfrm>
            <a:off x="4653769" y="4426260"/>
            <a:ext cx="1896673"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de-DE" sz="2400" b="1" i="0" u="none" strike="noStrike" kern="0" cap="none" spc="0" normalizeH="0" baseline="0" noProof="0" dirty="0" err="1">
                <a:ln>
                  <a:noFill/>
                </a:ln>
                <a:solidFill>
                  <a:srgbClr val="000000">
                    <a:lumMod val="50000"/>
                    <a:lumOff val="50000"/>
                  </a:srgbClr>
                </a:solidFill>
                <a:effectLst/>
                <a:uLnTx/>
                <a:uFillTx/>
                <a:latin typeface="Arial Narrow" panose="020B0604020202020204" pitchFamily="34" charset="0"/>
                <a:cs typeface="Arial Narrow" panose="020B0604020202020204" pitchFamily="34" charset="0"/>
                <a:sym typeface="Arial"/>
              </a:rPr>
              <a:t>Atezolizumab</a:t>
            </a:r>
            <a:r>
              <a:rPr kumimoji="0" lang="de-DE" sz="2400" b="1" i="0" u="none" strike="noStrike" kern="0" cap="none" spc="0" normalizeH="0" baseline="0" noProof="0" dirty="0">
                <a:ln>
                  <a:noFill/>
                </a:ln>
                <a:solidFill>
                  <a:srgbClr val="000000">
                    <a:lumMod val="50000"/>
                    <a:lumOff val="50000"/>
                  </a:srgbClr>
                </a:solidFill>
                <a:effectLst/>
                <a:uLnTx/>
                <a:uFillTx/>
                <a:latin typeface="Arial Narrow" panose="020B0604020202020204" pitchFamily="34" charset="0"/>
                <a:cs typeface="Arial Narrow" panose="020B0604020202020204" pitchFamily="34" charset="0"/>
                <a:sym typeface="Arial"/>
              </a:rPr>
              <a:t>:</a:t>
            </a:r>
          </a:p>
        </p:txBody>
      </p:sp>
      <p:sp>
        <p:nvSpPr>
          <p:cNvPr id="29" name="Abgerundetes Rechteck 28">
            <a:extLst>
              <a:ext uri="{FF2B5EF4-FFF2-40B4-BE49-F238E27FC236}">
                <a16:creationId xmlns:a16="http://schemas.microsoft.com/office/drawing/2014/main" id="{886CCD70-0940-885A-A196-3550FB78DBB4}"/>
              </a:ext>
            </a:extLst>
          </p:cNvPr>
          <p:cNvSpPr/>
          <p:nvPr/>
        </p:nvSpPr>
        <p:spPr>
          <a:xfrm>
            <a:off x="4704219" y="5070018"/>
            <a:ext cx="1108364" cy="567303"/>
          </a:xfrm>
          <a:prstGeom prst="round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de-DE" sz="1400" b="0" i="0" u="none" strike="noStrike" kern="0" cap="none" spc="0" normalizeH="0" baseline="0" noProof="0">
              <a:ln>
                <a:noFill/>
              </a:ln>
              <a:solidFill>
                <a:srgbClr val="FFFFFF"/>
              </a:solidFill>
              <a:effectLst/>
              <a:uLnTx/>
              <a:uFillTx/>
              <a:latin typeface="Arial Narrow" panose="020B0604020202020204" pitchFamily="34" charset="0"/>
              <a:ea typeface="+mn-ea"/>
              <a:cs typeface="Arial Narrow" panose="020B0604020202020204" pitchFamily="34" charset="0"/>
              <a:sym typeface="Arial"/>
            </a:endParaRPr>
          </a:p>
        </p:txBody>
      </p:sp>
      <p:sp>
        <p:nvSpPr>
          <p:cNvPr id="30" name="Textfeld 29">
            <a:extLst>
              <a:ext uri="{FF2B5EF4-FFF2-40B4-BE49-F238E27FC236}">
                <a16:creationId xmlns:a16="http://schemas.microsoft.com/office/drawing/2014/main" id="{49E4087E-C2AE-EE35-E6E7-CAFA6A3D3283}"/>
              </a:ext>
            </a:extLst>
          </p:cNvPr>
          <p:cNvSpPr txBox="1"/>
          <p:nvPr/>
        </p:nvSpPr>
        <p:spPr>
          <a:xfrm>
            <a:off x="4904124" y="5170510"/>
            <a:ext cx="601447"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de-DE" sz="1400" b="0" i="0" u="none" strike="noStrike" kern="0" cap="none" spc="0" normalizeH="0" baseline="0" noProof="0" dirty="0">
                <a:ln>
                  <a:noFill/>
                </a:ln>
                <a:solidFill>
                  <a:srgbClr val="FFFFFF"/>
                </a:solidFill>
                <a:effectLst/>
                <a:uLnTx/>
                <a:uFillTx/>
                <a:latin typeface="Arial Narrow" panose="020B0604020202020204" pitchFamily="34" charset="0"/>
                <a:cs typeface="Arial Narrow" panose="020B0604020202020204" pitchFamily="34" charset="0"/>
                <a:sym typeface="Arial"/>
              </a:rPr>
              <a:t>PD-L1</a:t>
            </a:r>
          </a:p>
        </p:txBody>
      </p:sp>
    </p:spTree>
    <p:extLst>
      <p:ext uri="{BB962C8B-B14F-4D97-AF65-F5344CB8AC3E}">
        <p14:creationId xmlns:p14="http://schemas.microsoft.com/office/powerpoint/2010/main" val="3375698812"/>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elle 16">
            <a:extLst>
              <a:ext uri="{FF2B5EF4-FFF2-40B4-BE49-F238E27FC236}">
                <a16:creationId xmlns:a16="http://schemas.microsoft.com/office/drawing/2014/main" id="{2BC717C9-C4D6-5F4F-BA3A-2EF9B1A3CBF0}"/>
              </a:ext>
            </a:extLst>
          </p:cNvPr>
          <p:cNvGraphicFramePr>
            <a:graphicFrameLocks noGrp="1"/>
          </p:cNvGraphicFramePr>
          <p:nvPr/>
        </p:nvGraphicFramePr>
        <p:xfrm>
          <a:off x="609601" y="1700808"/>
          <a:ext cx="10670975" cy="2865120"/>
        </p:xfrm>
        <a:graphic>
          <a:graphicData uri="http://schemas.openxmlformats.org/drawingml/2006/table">
            <a:tbl>
              <a:tblPr firstRow="1" bandRow="1">
                <a:tableStyleId>{1FECB4D8-DB02-4DC6-A0A2-4F2EBAE1DC90}</a:tableStyleId>
              </a:tblPr>
              <a:tblGrid>
                <a:gridCol w="2318048">
                  <a:extLst>
                    <a:ext uri="{9D8B030D-6E8A-4147-A177-3AD203B41FA5}">
                      <a16:colId xmlns:a16="http://schemas.microsoft.com/office/drawing/2014/main" val="2653948088"/>
                    </a:ext>
                  </a:extLst>
                </a:gridCol>
                <a:gridCol w="2208245">
                  <a:extLst>
                    <a:ext uri="{9D8B030D-6E8A-4147-A177-3AD203B41FA5}">
                      <a16:colId xmlns:a16="http://schemas.microsoft.com/office/drawing/2014/main" val="3779407454"/>
                    </a:ext>
                  </a:extLst>
                </a:gridCol>
                <a:gridCol w="2785300">
                  <a:extLst>
                    <a:ext uri="{9D8B030D-6E8A-4147-A177-3AD203B41FA5}">
                      <a16:colId xmlns:a16="http://schemas.microsoft.com/office/drawing/2014/main" val="1547361073"/>
                    </a:ext>
                  </a:extLst>
                </a:gridCol>
                <a:gridCol w="1679691">
                  <a:extLst>
                    <a:ext uri="{9D8B030D-6E8A-4147-A177-3AD203B41FA5}">
                      <a16:colId xmlns:a16="http://schemas.microsoft.com/office/drawing/2014/main" val="521198753"/>
                    </a:ext>
                  </a:extLst>
                </a:gridCol>
                <a:gridCol w="1679691">
                  <a:extLst>
                    <a:ext uri="{9D8B030D-6E8A-4147-A177-3AD203B41FA5}">
                      <a16:colId xmlns:a16="http://schemas.microsoft.com/office/drawing/2014/main" val="2511848148"/>
                    </a:ext>
                  </a:extLst>
                </a:gridCol>
              </a:tblGrid>
              <a:tr h="880703">
                <a:tc>
                  <a:txBody>
                    <a:bodyPr/>
                    <a:lstStyle/>
                    <a:p>
                      <a:endParaRPr lang="de-DE" sz="2500" dirty="0">
                        <a:solidFill>
                          <a:schemeClr val="tx1"/>
                        </a:solidFill>
                        <a:latin typeface="Arial" panose="020B0604020202020204" pitchFamily="34" charset="0"/>
                        <a:cs typeface="Arial" panose="020B0604020202020204" pitchFamily="34" charset="0"/>
                      </a:endParaRPr>
                    </a:p>
                  </a:txBody>
                  <a:tcPr marL="121920" marR="121920" marT="60960" marB="60960"/>
                </a:tc>
                <a:tc>
                  <a:txBody>
                    <a:bodyPr/>
                    <a:lstStyle/>
                    <a:p>
                      <a:r>
                        <a:rPr lang="de-DE" sz="2500" dirty="0">
                          <a:solidFill>
                            <a:schemeClr val="bg1"/>
                          </a:solidFill>
                        </a:rPr>
                        <a:t>Arm A</a:t>
                      </a:r>
                      <a:endParaRPr lang="de-DE" sz="2500" dirty="0">
                        <a:solidFill>
                          <a:schemeClr val="bg1"/>
                        </a:solidFill>
                        <a:latin typeface="Arial" panose="020B0604020202020204" pitchFamily="34" charset="0"/>
                        <a:cs typeface="Arial" panose="020B0604020202020204" pitchFamily="34" charset="0"/>
                      </a:endParaRPr>
                    </a:p>
                  </a:txBody>
                  <a:tcPr marL="121920" marR="121920" marT="60960" marB="60960"/>
                </a:tc>
                <a:tc>
                  <a:txBody>
                    <a:bodyPr/>
                    <a:lstStyle/>
                    <a:p>
                      <a:r>
                        <a:rPr lang="de-DE" sz="2500" dirty="0">
                          <a:solidFill>
                            <a:schemeClr val="bg1"/>
                          </a:solidFill>
                        </a:rPr>
                        <a:t>Arm B</a:t>
                      </a:r>
                      <a:endParaRPr lang="de-DE" sz="2500" dirty="0">
                        <a:solidFill>
                          <a:schemeClr val="bg1"/>
                        </a:solidFill>
                        <a:latin typeface="Arial" panose="020B0604020202020204" pitchFamily="34" charset="0"/>
                        <a:cs typeface="Arial" panose="020B0604020202020204" pitchFamily="34" charset="0"/>
                      </a:endParaRPr>
                    </a:p>
                  </a:txBody>
                  <a:tcPr marL="121920" marR="121920" marT="60960" marB="60960"/>
                </a:tc>
                <a:tc>
                  <a:txBody>
                    <a:bodyPr/>
                    <a:lstStyle/>
                    <a:p>
                      <a:r>
                        <a:rPr lang="de-DE" sz="2500" dirty="0">
                          <a:solidFill>
                            <a:schemeClr val="bg1"/>
                          </a:solidFill>
                        </a:rPr>
                        <a:t>Primary EP</a:t>
                      </a:r>
                      <a:endParaRPr lang="de-DE" sz="2500" dirty="0">
                        <a:solidFill>
                          <a:schemeClr val="bg1"/>
                        </a:solidFill>
                        <a:latin typeface="Arial" panose="020B0604020202020204" pitchFamily="34" charset="0"/>
                        <a:cs typeface="Arial" panose="020B0604020202020204" pitchFamily="34" charset="0"/>
                      </a:endParaRPr>
                    </a:p>
                  </a:txBody>
                  <a:tcPr marL="121920" marR="121920" marT="60960" marB="60960"/>
                </a:tc>
                <a:tc>
                  <a:txBody>
                    <a:bodyPr/>
                    <a:lstStyle/>
                    <a:p>
                      <a:r>
                        <a:rPr lang="de-DE" sz="2500" dirty="0">
                          <a:solidFill>
                            <a:schemeClr val="bg1"/>
                          </a:solidFill>
                        </a:rPr>
                        <a:t>Population</a:t>
                      </a:r>
                      <a:endParaRPr lang="de-DE" sz="2500" dirty="0">
                        <a:solidFill>
                          <a:schemeClr val="bg1"/>
                        </a:solidFill>
                        <a:latin typeface="Arial" panose="020B0604020202020204" pitchFamily="34" charset="0"/>
                        <a:cs typeface="Arial" panose="020B0604020202020204" pitchFamily="34" charset="0"/>
                      </a:endParaRPr>
                    </a:p>
                  </a:txBody>
                  <a:tcPr marL="121920" marR="121920" marT="60960" marB="60960"/>
                </a:tc>
                <a:extLst>
                  <a:ext uri="{0D108BD9-81ED-4DB2-BD59-A6C34878D82A}">
                    <a16:rowId xmlns:a16="http://schemas.microsoft.com/office/drawing/2014/main" val="3598057187"/>
                  </a:ext>
                </a:extLst>
              </a:tr>
              <a:tr h="975360">
                <a:tc>
                  <a:txBody>
                    <a:bodyPr/>
                    <a:lstStyle/>
                    <a:p>
                      <a:r>
                        <a:rPr lang="de-DE" sz="1900" dirty="0">
                          <a:solidFill>
                            <a:schemeClr val="tx1"/>
                          </a:solidFill>
                        </a:rPr>
                        <a:t>KEYNOTE-966 *</a:t>
                      </a:r>
                    </a:p>
                    <a:p>
                      <a:r>
                        <a:rPr lang="de-DE" sz="1900" dirty="0">
                          <a:solidFill>
                            <a:schemeClr val="tx1"/>
                          </a:solidFill>
                        </a:rPr>
                        <a:t>Phase 3</a:t>
                      </a:r>
                    </a:p>
                    <a:p>
                      <a:pPr marL="0" marR="0" indent="0" algn="l" defTabSz="914378" rtl="0" eaLnBrk="1" fontAlgn="auto" latinLnBrk="0" hangingPunct="1">
                        <a:lnSpc>
                          <a:spcPct val="100000"/>
                        </a:lnSpc>
                        <a:spcBef>
                          <a:spcPts val="0"/>
                        </a:spcBef>
                        <a:spcAft>
                          <a:spcPts val="0"/>
                        </a:spcAft>
                        <a:buClrTx/>
                        <a:buSzTx/>
                        <a:buFontTx/>
                        <a:buNone/>
                        <a:tabLst/>
                        <a:defRPr/>
                      </a:pPr>
                      <a:r>
                        <a:rPr lang="en-US" altLang="en-US" sz="1900" dirty="0">
                          <a:solidFill>
                            <a:schemeClr val="tx1"/>
                          </a:solidFill>
                        </a:rPr>
                        <a:t>NCT04003636</a:t>
                      </a:r>
                      <a:endParaRPr lang="de-DE" sz="1900" dirty="0">
                        <a:solidFill>
                          <a:schemeClr val="tx1"/>
                        </a:solidFill>
                        <a:latin typeface="Arial" panose="020B0604020202020204" pitchFamily="34" charset="0"/>
                        <a:cs typeface="Arial" panose="020B0604020202020204" pitchFamily="34" charset="0"/>
                      </a:endParaRPr>
                    </a:p>
                  </a:txBody>
                  <a:tcPr marL="121920" marR="121920" marT="60960" marB="60960"/>
                </a:tc>
                <a:tc>
                  <a:txBody>
                    <a:bodyPr/>
                    <a:lstStyle/>
                    <a:p>
                      <a:r>
                        <a:rPr lang="de-DE" sz="1900" dirty="0" err="1">
                          <a:solidFill>
                            <a:schemeClr val="tx1"/>
                          </a:solidFill>
                        </a:rPr>
                        <a:t>Gem</a:t>
                      </a:r>
                      <a:r>
                        <a:rPr lang="de-DE" sz="1900" dirty="0">
                          <a:solidFill>
                            <a:schemeClr val="tx1"/>
                          </a:solidFill>
                        </a:rPr>
                        <a:t>/Cis</a:t>
                      </a:r>
                      <a:endParaRPr lang="de-DE" sz="1900" dirty="0">
                        <a:solidFill>
                          <a:schemeClr val="tx1"/>
                        </a:solidFill>
                        <a:latin typeface="Arial" panose="020B0604020202020204" pitchFamily="34" charset="0"/>
                        <a:cs typeface="Arial" panose="020B0604020202020204" pitchFamily="34" charset="0"/>
                      </a:endParaRPr>
                    </a:p>
                  </a:txBody>
                  <a:tcPr marL="121920" marR="121920" marT="60960" marB="60960"/>
                </a:tc>
                <a:tc>
                  <a:txBody>
                    <a:bodyPr/>
                    <a:lstStyle/>
                    <a:p>
                      <a:r>
                        <a:rPr lang="de-DE" sz="1900" dirty="0" err="1">
                          <a:solidFill>
                            <a:schemeClr val="tx1"/>
                          </a:solidFill>
                        </a:rPr>
                        <a:t>Gem</a:t>
                      </a:r>
                      <a:r>
                        <a:rPr lang="de-DE" sz="1900" dirty="0">
                          <a:solidFill>
                            <a:schemeClr val="tx1"/>
                          </a:solidFill>
                        </a:rPr>
                        <a:t>/Cis/</a:t>
                      </a:r>
                      <a:r>
                        <a:rPr lang="de-DE" sz="1900" b="1" dirty="0" err="1">
                          <a:solidFill>
                            <a:schemeClr val="tx1"/>
                          </a:solidFill>
                        </a:rPr>
                        <a:t>Pembro</a:t>
                      </a:r>
                      <a:endParaRPr lang="de-DE" sz="1900" b="1" dirty="0">
                        <a:solidFill>
                          <a:schemeClr val="tx1"/>
                        </a:solidFill>
                        <a:latin typeface="Arial" panose="020B0604020202020204" pitchFamily="34" charset="0"/>
                        <a:cs typeface="Arial" panose="020B0604020202020204" pitchFamily="34" charset="0"/>
                      </a:endParaRPr>
                    </a:p>
                  </a:txBody>
                  <a:tcPr marL="121920" marR="121920" marT="60960" marB="60960"/>
                </a:tc>
                <a:tc>
                  <a:txBody>
                    <a:bodyPr/>
                    <a:lstStyle/>
                    <a:p>
                      <a:r>
                        <a:rPr lang="de-DE" sz="1900" dirty="0">
                          <a:solidFill>
                            <a:schemeClr val="tx1"/>
                          </a:solidFill>
                        </a:rPr>
                        <a:t>OS</a:t>
                      </a:r>
                      <a:endParaRPr lang="de-DE" sz="1900" dirty="0">
                        <a:solidFill>
                          <a:schemeClr val="tx1"/>
                        </a:solidFill>
                        <a:latin typeface="Arial" panose="020B0604020202020204" pitchFamily="34" charset="0"/>
                        <a:cs typeface="Arial" panose="020B0604020202020204" pitchFamily="34" charset="0"/>
                      </a:endParaRPr>
                    </a:p>
                  </a:txBody>
                  <a:tcPr marL="121920" marR="121920" marT="60960" marB="60960"/>
                </a:tc>
                <a:tc>
                  <a:txBody>
                    <a:bodyPr/>
                    <a:lstStyle/>
                    <a:p>
                      <a:r>
                        <a:rPr lang="de-DE" sz="1900" dirty="0">
                          <a:solidFill>
                            <a:schemeClr val="tx1"/>
                          </a:solidFill>
                        </a:rPr>
                        <a:t>1st </a:t>
                      </a:r>
                      <a:r>
                        <a:rPr lang="de-DE" sz="1900" dirty="0" err="1">
                          <a:solidFill>
                            <a:schemeClr val="tx1"/>
                          </a:solidFill>
                        </a:rPr>
                        <a:t>line</a:t>
                      </a:r>
                      <a:endParaRPr lang="de-DE" sz="1900" dirty="0">
                        <a:solidFill>
                          <a:schemeClr val="tx1"/>
                        </a:solidFill>
                      </a:endParaRPr>
                    </a:p>
                    <a:p>
                      <a:r>
                        <a:rPr lang="de-DE" sz="1900" dirty="0">
                          <a:solidFill>
                            <a:schemeClr val="tx1"/>
                          </a:solidFill>
                        </a:rPr>
                        <a:t>N = 1048</a:t>
                      </a:r>
                      <a:endParaRPr lang="de-DE" sz="1900" dirty="0">
                        <a:solidFill>
                          <a:schemeClr val="tx1"/>
                        </a:solidFill>
                        <a:latin typeface="Arial" panose="020B0604020202020204" pitchFamily="34" charset="0"/>
                        <a:cs typeface="Arial" panose="020B0604020202020204" pitchFamily="34" charset="0"/>
                      </a:endParaRPr>
                    </a:p>
                  </a:txBody>
                  <a:tcPr marL="121920" marR="121920" marT="60960" marB="60960"/>
                </a:tc>
                <a:extLst>
                  <a:ext uri="{0D108BD9-81ED-4DB2-BD59-A6C34878D82A}">
                    <a16:rowId xmlns:a16="http://schemas.microsoft.com/office/drawing/2014/main" val="3838532887"/>
                  </a:ext>
                </a:extLst>
              </a:tr>
              <a:tr h="975360">
                <a:tc>
                  <a:txBody>
                    <a:bodyPr/>
                    <a:lstStyle/>
                    <a:p>
                      <a:r>
                        <a:rPr lang="de-DE" sz="1900" dirty="0">
                          <a:solidFill>
                            <a:schemeClr val="tx1"/>
                          </a:solidFill>
                        </a:rPr>
                        <a:t>IMbrave151</a:t>
                      </a:r>
                    </a:p>
                    <a:p>
                      <a:r>
                        <a:rPr lang="de-DE" sz="1900" dirty="0">
                          <a:solidFill>
                            <a:schemeClr val="tx1"/>
                          </a:solidFill>
                        </a:rPr>
                        <a:t>Phase 2 *</a:t>
                      </a:r>
                    </a:p>
                    <a:p>
                      <a:r>
                        <a:rPr lang="de-DE" sz="1900" dirty="0">
                          <a:solidFill>
                            <a:schemeClr val="tx1"/>
                          </a:solidFill>
                        </a:rPr>
                        <a:t>NCT04677504</a:t>
                      </a:r>
                      <a:endParaRPr lang="de-DE" sz="1900" dirty="0">
                        <a:solidFill>
                          <a:schemeClr val="tx1"/>
                        </a:solidFill>
                        <a:latin typeface="Arial" panose="020B0604020202020204" pitchFamily="34" charset="0"/>
                        <a:cs typeface="Arial" panose="020B0604020202020204" pitchFamily="34" charset="0"/>
                      </a:endParaRPr>
                    </a:p>
                  </a:txBody>
                  <a:tcPr marL="121920" marR="121920" marT="60960" marB="60960"/>
                </a:tc>
                <a:tc>
                  <a:txBody>
                    <a:bodyPr/>
                    <a:lstStyle/>
                    <a:p>
                      <a:r>
                        <a:rPr lang="de-DE" sz="1900" dirty="0" err="1">
                          <a:solidFill>
                            <a:schemeClr val="tx1"/>
                          </a:solidFill>
                        </a:rPr>
                        <a:t>Gem</a:t>
                      </a:r>
                      <a:r>
                        <a:rPr lang="de-DE" sz="1900" dirty="0">
                          <a:solidFill>
                            <a:schemeClr val="tx1"/>
                          </a:solidFill>
                        </a:rPr>
                        <a:t>/Cis/</a:t>
                      </a:r>
                      <a:r>
                        <a:rPr lang="de-DE" sz="1900" b="1" dirty="0" err="1">
                          <a:solidFill>
                            <a:schemeClr val="tx1"/>
                          </a:solidFill>
                        </a:rPr>
                        <a:t>Atezo</a:t>
                      </a:r>
                      <a:endParaRPr lang="de-DE" sz="1900" b="1" dirty="0">
                        <a:solidFill>
                          <a:schemeClr val="tx1"/>
                        </a:solidFill>
                        <a:latin typeface="Arial" panose="020B0604020202020204" pitchFamily="34" charset="0"/>
                        <a:cs typeface="Arial" panose="020B0604020202020204" pitchFamily="34" charset="0"/>
                      </a:endParaRPr>
                    </a:p>
                  </a:txBody>
                  <a:tcPr marL="121920" marR="121920" marT="60960" marB="60960"/>
                </a:tc>
                <a:tc>
                  <a:txBody>
                    <a:bodyPr/>
                    <a:lstStyle/>
                    <a:p>
                      <a:pPr marL="0" marR="0" lvl="0" indent="0" algn="l" defTabSz="914378" rtl="0" eaLnBrk="1" fontAlgn="auto" latinLnBrk="0" hangingPunct="1">
                        <a:lnSpc>
                          <a:spcPct val="100000"/>
                        </a:lnSpc>
                        <a:spcBef>
                          <a:spcPts val="0"/>
                        </a:spcBef>
                        <a:spcAft>
                          <a:spcPts val="0"/>
                        </a:spcAft>
                        <a:buClrTx/>
                        <a:buSzTx/>
                        <a:buFontTx/>
                        <a:buNone/>
                        <a:tabLst/>
                        <a:defRPr/>
                      </a:pPr>
                      <a:r>
                        <a:rPr lang="de-DE" sz="1900" dirty="0" err="1">
                          <a:solidFill>
                            <a:schemeClr val="tx1"/>
                          </a:solidFill>
                        </a:rPr>
                        <a:t>Gem</a:t>
                      </a:r>
                      <a:r>
                        <a:rPr lang="de-DE" sz="1900" dirty="0">
                          <a:solidFill>
                            <a:schemeClr val="tx1"/>
                          </a:solidFill>
                        </a:rPr>
                        <a:t>/Cis/</a:t>
                      </a:r>
                      <a:r>
                        <a:rPr lang="de-DE" sz="1900" b="1" dirty="0" err="1">
                          <a:solidFill>
                            <a:schemeClr val="tx1"/>
                          </a:solidFill>
                        </a:rPr>
                        <a:t>Atezo</a:t>
                      </a:r>
                      <a:r>
                        <a:rPr lang="de-DE" sz="1900" dirty="0">
                          <a:solidFill>
                            <a:schemeClr val="tx1"/>
                          </a:solidFill>
                        </a:rPr>
                        <a:t>/</a:t>
                      </a:r>
                      <a:r>
                        <a:rPr lang="de-DE" sz="1900" b="1" dirty="0">
                          <a:solidFill>
                            <a:schemeClr val="tx1"/>
                          </a:solidFill>
                        </a:rPr>
                        <a:t>Bev</a:t>
                      </a:r>
                    </a:p>
                    <a:p>
                      <a:endParaRPr lang="de-DE" sz="1900" dirty="0">
                        <a:solidFill>
                          <a:schemeClr val="tx1"/>
                        </a:solidFill>
                        <a:latin typeface="Arial" panose="020B0604020202020204" pitchFamily="34" charset="0"/>
                        <a:cs typeface="Arial" panose="020B0604020202020204" pitchFamily="34" charset="0"/>
                      </a:endParaRPr>
                    </a:p>
                  </a:txBody>
                  <a:tcPr marL="121920" marR="121920" marT="60960" marB="60960"/>
                </a:tc>
                <a:tc>
                  <a:txBody>
                    <a:bodyPr/>
                    <a:lstStyle/>
                    <a:p>
                      <a:r>
                        <a:rPr lang="de-DE" sz="1900" dirty="0">
                          <a:solidFill>
                            <a:schemeClr val="tx1"/>
                          </a:solidFill>
                        </a:rPr>
                        <a:t>PFS</a:t>
                      </a:r>
                      <a:endParaRPr lang="de-DE" sz="1900" dirty="0">
                        <a:solidFill>
                          <a:schemeClr val="tx1"/>
                        </a:solidFill>
                        <a:latin typeface="Arial" panose="020B0604020202020204" pitchFamily="34" charset="0"/>
                        <a:cs typeface="Arial" panose="020B0604020202020204" pitchFamily="34" charset="0"/>
                      </a:endParaRPr>
                    </a:p>
                  </a:txBody>
                  <a:tcPr marL="121920" marR="121920" marT="60960" marB="60960"/>
                </a:tc>
                <a:tc>
                  <a:txBody>
                    <a:bodyPr/>
                    <a:lstStyle/>
                    <a:p>
                      <a:r>
                        <a:rPr lang="de-DE" sz="1900" dirty="0">
                          <a:solidFill>
                            <a:schemeClr val="tx1"/>
                          </a:solidFill>
                        </a:rPr>
                        <a:t>1st </a:t>
                      </a:r>
                      <a:r>
                        <a:rPr lang="de-DE" sz="1900" dirty="0" err="1">
                          <a:solidFill>
                            <a:schemeClr val="tx1"/>
                          </a:solidFill>
                        </a:rPr>
                        <a:t>line</a:t>
                      </a:r>
                      <a:endParaRPr lang="de-DE" sz="1900" dirty="0">
                        <a:solidFill>
                          <a:schemeClr val="tx1"/>
                        </a:solidFill>
                      </a:endParaRPr>
                    </a:p>
                    <a:p>
                      <a:r>
                        <a:rPr lang="de-DE" sz="1900" dirty="0">
                          <a:solidFill>
                            <a:schemeClr val="tx1"/>
                          </a:solidFill>
                        </a:rPr>
                        <a:t>N = 150</a:t>
                      </a:r>
                      <a:endParaRPr lang="de-DE" sz="1900" dirty="0">
                        <a:solidFill>
                          <a:schemeClr val="tx1"/>
                        </a:solidFill>
                        <a:latin typeface="Arial" panose="020B0604020202020204" pitchFamily="34" charset="0"/>
                        <a:cs typeface="Arial" panose="020B0604020202020204" pitchFamily="34" charset="0"/>
                      </a:endParaRPr>
                    </a:p>
                  </a:txBody>
                  <a:tcPr marL="121920" marR="121920" marT="60960" marB="60960"/>
                </a:tc>
                <a:extLst>
                  <a:ext uri="{0D108BD9-81ED-4DB2-BD59-A6C34878D82A}">
                    <a16:rowId xmlns:a16="http://schemas.microsoft.com/office/drawing/2014/main" val="1952739350"/>
                  </a:ext>
                </a:extLst>
              </a:tr>
            </a:tbl>
          </a:graphicData>
        </a:graphic>
      </p:graphicFrame>
      <p:sp>
        <p:nvSpPr>
          <p:cNvPr id="7" name="Titel 2">
            <a:extLst>
              <a:ext uri="{FF2B5EF4-FFF2-40B4-BE49-F238E27FC236}">
                <a16:creationId xmlns:a16="http://schemas.microsoft.com/office/drawing/2014/main" id="{4B49D4BD-BAB7-7849-8541-9B446C6F1944}"/>
              </a:ext>
            </a:extLst>
          </p:cNvPr>
          <p:cNvSpPr txBox="1">
            <a:spLocks/>
          </p:cNvSpPr>
          <p:nvPr/>
        </p:nvSpPr>
        <p:spPr>
          <a:xfrm>
            <a:off x="414340" y="192417"/>
            <a:ext cx="10873317" cy="1102783"/>
          </a:xfrm>
          <a:prstGeom prst="rect">
            <a:avLst/>
          </a:prstGeom>
        </p:spPr>
        <p:txBody>
          <a:bodyPr vert="horz" lIns="121917" tIns="60959" rIns="121917" bIns="60959" rtlCol="0" anchor="ctr">
            <a:normAutofit fontScale="97500"/>
          </a:bodyPr>
          <a:lstStyle>
            <a:lvl1pPr algn="ctr" defTabSz="914378" rtl="0" eaLnBrk="1" latinLnBrk="0" hangingPunct="1">
              <a:spcBef>
                <a:spcPct val="0"/>
              </a:spcBef>
              <a:buNone/>
              <a:defRPr sz="4400" kern="1200">
                <a:solidFill>
                  <a:schemeClr val="tx1"/>
                </a:solidFill>
                <a:latin typeface="+mj-lt"/>
                <a:ea typeface="+mj-ea"/>
                <a:cs typeface="+mj-cs"/>
              </a:defRPr>
            </a:lvl1pPr>
          </a:lstStyle>
          <a:p>
            <a:pPr marL="0" marR="0" lvl="0" indent="0" algn="l" defTabSz="1219170" rtl="0" eaLnBrk="1" fontAlgn="auto" latinLnBrk="0" hangingPunct="1">
              <a:lnSpc>
                <a:spcPct val="90000"/>
              </a:lnSpc>
              <a:spcBef>
                <a:spcPct val="0"/>
              </a:spcBef>
              <a:spcAft>
                <a:spcPts val="0"/>
              </a:spcAft>
              <a:buClr>
                <a:srgbClr val="000000"/>
              </a:buClr>
              <a:buSzTx/>
              <a:buFont typeface="Arial"/>
              <a:buNone/>
              <a:tabLst/>
              <a:defRPr/>
            </a:pPr>
            <a:r>
              <a:rPr kumimoji="0" lang="de-DE" sz="3733" b="1" i="0" u="none" strike="noStrike" kern="1200" cap="none" spc="0" normalizeH="0" baseline="0" noProof="0" dirty="0" err="1">
                <a:ln>
                  <a:noFill/>
                </a:ln>
                <a:solidFill>
                  <a:srgbClr val="000000"/>
                </a:solidFill>
                <a:effectLst/>
                <a:uLnTx/>
                <a:uFillTx/>
                <a:latin typeface="Arial Narrow" panose="020B0604020202020204" pitchFamily="34" charset="0"/>
                <a:ea typeface="+mj-ea"/>
                <a:cs typeface="Arial Narrow" panose="020B0604020202020204" pitchFamily="34" charset="0"/>
                <a:sym typeface="Arial"/>
              </a:rPr>
              <a:t>Ongoing</a:t>
            </a:r>
            <a:r>
              <a:rPr kumimoji="0" lang="de-DE" sz="3733" b="1" i="0" u="none" strike="noStrike" kern="1200" cap="none" spc="0" normalizeH="0" baseline="0" noProof="0" dirty="0">
                <a:ln>
                  <a:noFill/>
                </a:ln>
                <a:solidFill>
                  <a:srgbClr val="000000"/>
                </a:solidFill>
                <a:effectLst/>
                <a:uLnTx/>
                <a:uFillTx/>
                <a:latin typeface="Arial Narrow" panose="020B0604020202020204" pitchFamily="34" charset="0"/>
                <a:ea typeface="+mj-ea"/>
                <a:cs typeface="Arial Narrow" panose="020B0604020202020204" pitchFamily="34" charset="0"/>
                <a:sym typeface="Arial"/>
              </a:rPr>
              <a:t> Trials IO + Chemo 1st </a:t>
            </a:r>
            <a:r>
              <a:rPr kumimoji="0" lang="de-DE" sz="3733" b="1" i="0" u="none" strike="noStrike" kern="1200" cap="none" spc="0" normalizeH="0" baseline="0" noProof="0" dirty="0" err="1">
                <a:ln>
                  <a:noFill/>
                </a:ln>
                <a:solidFill>
                  <a:srgbClr val="000000"/>
                </a:solidFill>
                <a:effectLst/>
                <a:uLnTx/>
                <a:uFillTx/>
                <a:latin typeface="Arial Narrow" panose="020B0604020202020204" pitchFamily="34" charset="0"/>
                <a:ea typeface="+mj-ea"/>
                <a:cs typeface="Arial Narrow" panose="020B0604020202020204" pitchFamily="34" charset="0"/>
                <a:sym typeface="Arial"/>
              </a:rPr>
              <a:t>line</a:t>
            </a:r>
            <a:endParaRPr kumimoji="0" lang="en-US" altLang="ko-KR" sz="3733" b="1" i="0" u="none" strike="noStrike" kern="1200" cap="none" spc="0" normalizeH="0" baseline="0" noProof="0" dirty="0">
              <a:ln>
                <a:noFill/>
              </a:ln>
              <a:solidFill>
                <a:srgbClr val="000000"/>
              </a:solidFill>
              <a:effectLst/>
              <a:uLnTx/>
              <a:uFillTx/>
              <a:latin typeface="Arial Narrow" panose="020B0604020202020204" pitchFamily="34" charset="0"/>
              <a:ea typeface="맑은 고딕" panose="020B0503020000020004" pitchFamily="34" charset="-127"/>
              <a:cs typeface="Arial Narrow" panose="020B0604020202020204" pitchFamily="34" charset="0"/>
              <a:sym typeface="Arial"/>
            </a:endParaRPr>
          </a:p>
        </p:txBody>
      </p:sp>
      <p:sp>
        <p:nvSpPr>
          <p:cNvPr id="8" name="Textfeld 7">
            <a:extLst>
              <a:ext uri="{FF2B5EF4-FFF2-40B4-BE49-F238E27FC236}">
                <a16:creationId xmlns:a16="http://schemas.microsoft.com/office/drawing/2014/main" id="{124C7E26-55DA-6741-81D5-985B1A023DA4}"/>
              </a:ext>
            </a:extLst>
          </p:cNvPr>
          <p:cNvSpPr txBox="1"/>
          <p:nvPr/>
        </p:nvSpPr>
        <p:spPr>
          <a:xfrm>
            <a:off x="587693" y="4673512"/>
            <a:ext cx="4977645" cy="43088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de-DE" sz="2200" b="0" i="0" u="none" strike="noStrike" kern="0" cap="none" spc="0" normalizeH="0" baseline="0" noProof="0" dirty="0">
                <a:ln>
                  <a:noFill/>
                </a:ln>
                <a:solidFill>
                  <a:srgbClr val="000000"/>
                </a:solidFill>
                <a:effectLst/>
                <a:uLnTx/>
                <a:uFillTx/>
                <a:latin typeface="Arial"/>
                <a:cs typeface="Arial"/>
                <a:sym typeface="Arial"/>
              </a:rPr>
              <a:t>* RESULTS EXPECTED EARLY 2023</a:t>
            </a:r>
          </a:p>
        </p:txBody>
      </p:sp>
    </p:spTree>
    <p:extLst>
      <p:ext uri="{BB962C8B-B14F-4D97-AF65-F5344CB8AC3E}">
        <p14:creationId xmlns:p14="http://schemas.microsoft.com/office/powerpoint/2010/main" val="3977629136"/>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pPr marL="0" marR="0" lvl="0" indent="0" algn="l" defTabSz="914377" rtl="0" eaLnBrk="1" fontAlgn="auto" latinLnBrk="0" hangingPunct="1">
              <a:lnSpc>
                <a:spcPct val="100000"/>
              </a:lnSpc>
              <a:spcBef>
                <a:spcPts val="0"/>
              </a:spcBef>
              <a:spcAft>
                <a:spcPts val="0"/>
              </a:spcAft>
              <a:buClr>
                <a:srgbClr val="000000"/>
              </a:buClr>
              <a:buSzTx/>
              <a:buFont typeface="Arial"/>
              <a:buNone/>
              <a:tabLst/>
              <a:defRPr/>
            </a:pPr>
            <a:fld id="{C9B5AB8B-4A42-42F5-819B-0F59526BDD87}" type="slidenum">
              <a:rPr kumimoji="0" lang="en-US" sz="933" b="0" i="0" u="none" strike="noStrike" kern="0" cap="none" spc="0" normalizeH="0" baseline="0" noProof="0">
                <a:ln>
                  <a:noFill/>
                </a:ln>
                <a:solidFill>
                  <a:prstClr val="white"/>
                </a:solidFill>
                <a:effectLst/>
                <a:uLnTx/>
                <a:uFillTx/>
                <a:latin typeface="Arial" pitchFamily="34" charset="0"/>
                <a:cs typeface="Arial" pitchFamily="34" charset="0"/>
                <a:sym typeface="Arial"/>
              </a:rPr>
              <a:pPr marL="0" marR="0" lvl="0" indent="0" algn="l" defTabSz="914377" rtl="0" eaLnBrk="1" fontAlgn="auto" latinLnBrk="0" hangingPunct="1">
                <a:lnSpc>
                  <a:spcPct val="100000"/>
                </a:lnSpc>
                <a:spcBef>
                  <a:spcPts val="0"/>
                </a:spcBef>
                <a:spcAft>
                  <a:spcPts val="0"/>
                </a:spcAft>
                <a:buClr>
                  <a:srgbClr val="000000"/>
                </a:buClr>
                <a:buSzTx/>
                <a:buFont typeface="Arial"/>
                <a:buNone/>
                <a:tabLst/>
                <a:defRPr/>
              </a:pPr>
              <a:t>94</a:t>
            </a:fld>
            <a:endParaRPr kumimoji="0" lang="en-US" sz="933" b="0" i="0" u="none" strike="noStrike" kern="0" cap="none" spc="0" normalizeH="0" baseline="0" noProof="0">
              <a:ln>
                <a:noFill/>
              </a:ln>
              <a:solidFill>
                <a:prstClr val="white"/>
              </a:solidFill>
              <a:effectLst/>
              <a:uLnTx/>
              <a:uFillTx/>
              <a:latin typeface="Arial" pitchFamily="34" charset="0"/>
              <a:cs typeface="Arial" pitchFamily="34" charset="0"/>
              <a:sym typeface="Arial"/>
            </a:endParaRPr>
          </a:p>
        </p:txBody>
      </p:sp>
      <p:graphicFrame>
        <p:nvGraphicFramePr>
          <p:cNvPr id="7" name="Table 6"/>
          <p:cNvGraphicFramePr>
            <a:graphicFrameLocks noGrp="1"/>
          </p:cNvGraphicFramePr>
          <p:nvPr/>
        </p:nvGraphicFramePr>
        <p:xfrm>
          <a:off x="405211" y="1828516"/>
          <a:ext cx="11360268" cy="3383280"/>
        </p:xfrm>
        <a:graphic>
          <a:graphicData uri="http://schemas.openxmlformats.org/drawingml/2006/table">
            <a:tbl>
              <a:tblPr firstRow="1" bandRow="1">
                <a:tableStyleId>{1FECB4D8-DB02-4DC6-A0A2-4F2EBAE1DC90}</a:tableStyleId>
              </a:tblPr>
              <a:tblGrid>
                <a:gridCol w="1831756">
                  <a:extLst>
                    <a:ext uri="{9D8B030D-6E8A-4147-A177-3AD203B41FA5}">
                      <a16:colId xmlns:a16="http://schemas.microsoft.com/office/drawing/2014/main" val="763218061"/>
                    </a:ext>
                  </a:extLst>
                </a:gridCol>
                <a:gridCol w="3074504">
                  <a:extLst>
                    <a:ext uri="{9D8B030D-6E8A-4147-A177-3AD203B41FA5}">
                      <a16:colId xmlns:a16="http://schemas.microsoft.com/office/drawing/2014/main" val="954342728"/>
                    </a:ext>
                  </a:extLst>
                </a:gridCol>
                <a:gridCol w="3317436">
                  <a:extLst>
                    <a:ext uri="{9D8B030D-6E8A-4147-A177-3AD203B41FA5}">
                      <a16:colId xmlns:a16="http://schemas.microsoft.com/office/drawing/2014/main" val="3799510125"/>
                    </a:ext>
                  </a:extLst>
                </a:gridCol>
                <a:gridCol w="1281723">
                  <a:extLst>
                    <a:ext uri="{9D8B030D-6E8A-4147-A177-3AD203B41FA5}">
                      <a16:colId xmlns:a16="http://schemas.microsoft.com/office/drawing/2014/main" val="2864081995"/>
                    </a:ext>
                  </a:extLst>
                </a:gridCol>
                <a:gridCol w="1854849">
                  <a:extLst>
                    <a:ext uri="{9D8B030D-6E8A-4147-A177-3AD203B41FA5}">
                      <a16:colId xmlns:a16="http://schemas.microsoft.com/office/drawing/2014/main" val="2113118685"/>
                    </a:ext>
                  </a:extLst>
                </a:gridCol>
              </a:tblGrid>
              <a:tr h="568960">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1900" b="0" dirty="0">
                          <a:solidFill>
                            <a:schemeClr val="bg1"/>
                          </a:solidFill>
                        </a:rPr>
                        <a:t>Combination Targets</a:t>
                      </a:r>
                      <a:endParaRPr lang="en-US" sz="1900" b="0" i="0" dirty="0">
                        <a:solidFill>
                          <a:schemeClr val="bg1"/>
                        </a:solidFill>
                        <a:latin typeface="Arial Narrow" panose="020B0604020202020204" pitchFamily="34" charset="0"/>
                        <a:cs typeface="Arial Narrow" panose="020B0604020202020204" pitchFamily="34" charset="0"/>
                      </a:endParaRPr>
                    </a:p>
                  </a:txBody>
                  <a:tcPr marL="0" marR="0" marT="0" marB="0" anchor="ct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1900" b="0" dirty="0">
                          <a:solidFill>
                            <a:schemeClr val="bg1"/>
                          </a:solidFill>
                        </a:rPr>
                        <a:t>Agents</a:t>
                      </a:r>
                      <a:endParaRPr lang="en-US" sz="1900" b="0" i="0" dirty="0">
                        <a:solidFill>
                          <a:schemeClr val="bg1"/>
                        </a:solidFill>
                        <a:latin typeface="Arial Narrow" panose="020B0604020202020204" pitchFamily="34" charset="0"/>
                        <a:cs typeface="Arial Narrow" panose="020B0604020202020204" pitchFamily="34" charset="0"/>
                      </a:endParaRPr>
                    </a:p>
                  </a:txBody>
                  <a:tcPr marL="0" marR="0" marT="0" marB="0" anchor="ct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1900" b="0" dirty="0">
                          <a:solidFill>
                            <a:schemeClr val="bg1"/>
                          </a:solidFill>
                        </a:rPr>
                        <a:t>Trial Design: </a:t>
                      </a:r>
                    </a:p>
                    <a:p>
                      <a:pPr algn="ctr"/>
                      <a:r>
                        <a:rPr lang="en-US" sz="1900" b="0" dirty="0">
                          <a:solidFill>
                            <a:schemeClr val="bg1"/>
                          </a:solidFill>
                        </a:rPr>
                        <a:t>Phase</a:t>
                      </a:r>
                      <a:r>
                        <a:rPr lang="en-US" sz="1900" b="0" baseline="0" dirty="0">
                          <a:solidFill>
                            <a:schemeClr val="bg1"/>
                          </a:solidFill>
                        </a:rPr>
                        <a:t>, Population</a:t>
                      </a:r>
                      <a:endParaRPr lang="en-US" sz="1900" b="0" i="0" dirty="0">
                        <a:solidFill>
                          <a:schemeClr val="bg1"/>
                        </a:solidFill>
                        <a:latin typeface="Arial Narrow" panose="020B0604020202020204" pitchFamily="34" charset="0"/>
                        <a:cs typeface="Arial Narrow" panose="020B0604020202020204" pitchFamily="34" charset="0"/>
                      </a:endParaRPr>
                    </a:p>
                  </a:txBody>
                  <a:tcPr marL="0" marR="0" marT="0" marB="0" anchor="ct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1900" b="0" dirty="0">
                          <a:solidFill>
                            <a:schemeClr val="bg1"/>
                          </a:solidFill>
                        </a:rPr>
                        <a:t>Sample Size</a:t>
                      </a:r>
                      <a:endParaRPr lang="en-US" sz="1900" b="0" i="0" dirty="0">
                        <a:solidFill>
                          <a:schemeClr val="bg1"/>
                        </a:solidFill>
                        <a:latin typeface="Arial Narrow" panose="020B0604020202020204" pitchFamily="34" charset="0"/>
                        <a:cs typeface="Arial Narrow" panose="020B0604020202020204" pitchFamily="34" charset="0"/>
                      </a:endParaRPr>
                    </a:p>
                  </a:txBody>
                  <a:tcPr marL="0" marR="0" marT="0" marB="0" anchor="ct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1900" b="0" dirty="0">
                          <a:solidFill>
                            <a:schemeClr val="bg1"/>
                          </a:solidFill>
                        </a:rPr>
                        <a:t>NCT</a:t>
                      </a:r>
                      <a:endParaRPr lang="en-US" sz="1900" b="0" i="0" dirty="0">
                        <a:solidFill>
                          <a:schemeClr val="bg1"/>
                        </a:solidFill>
                        <a:latin typeface="Arial Narrow" panose="020B0604020202020204" pitchFamily="34" charset="0"/>
                        <a:cs typeface="Arial Narrow" panose="020B0604020202020204" pitchFamily="34" charset="0"/>
                      </a:endParaRPr>
                    </a:p>
                  </a:txBody>
                  <a:tcPr marL="0" marR="0" marT="0" marB="0" anchor="ctr"/>
                </a:tc>
                <a:extLst>
                  <a:ext uri="{0D108BD9-81ED-4DB2-BD59-A6C34878D82A}">
                    <a16:rowId xmlns:a16="http://schemas.microsoft.com/office/drawing/2014/main" val="2436711904"/>
                  </a:ext>
                </a:extLst>
              </a:tr>
              <a:tr h="568960">
                <a:tc rowSpan="4">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900" b="0" dirty="0">
                          <a:solidFill>
                            <a:schemeClr val="tx1"/>
                          </a:solidFill>
                        </a:rPr>
                        <a:t>ICI + LRT</a:t>
                      </a:r>
                      <a:endParaRPr lang="en-US" sz="1900" b="0" i="0" dirty="0">
                        <a:solidFill>
                          <a:schemeClr val="tx1"/>
                        </a:solidFill>
                        <a:latin typeface="Arial Narrow" panose="020B0604020202020204" pitchFamily="34" charset="0"/>
                        <a:cs typeface="Arial Narrow" panose="020B0604020202020204" pitchFamily="34" charset="0"/>
                      </a:endParaRPr>
                    </a:p>
                  </a:txBody>
                  <a:tcPr marL="0" marR="0" marT="0" marB="0" anchor="ct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900" b="0" dirty="0" err="1">
                          <a:solidFill>
                            <a:schemeClr val="tx1"/>
                          </a:solidFill>
                        </a:rPr>
                        <a:t>Durvalumab</a:t>
                      </a:r>
                      <a:r>
                        <a:rPr lang="en-US" sz="1900" b="0" dirty="0">
                          <a:solidFill>
                            <a:schemeClr val="tx1"/>
                          </a:solidFill>
                        </a:rPr>
                        <a:t> ± </a:t>
                      </a:r>
                      <a:r>
                        <a:rPr lang="en-US" sz="1900" b="0" dirty="0" err="1">
                          <a:solidFill>
                            <a:schemeClr val="tx1"/>
                          </a:solidFill>
                        </a:rPr>
                        <a:t>tremelimumab</a:t>
                      </a:r>
                      <a:r>
                        <a:rPr lang="en-US" sz="1900" b="0" dirty="0">
                          <a:solidFill>
                            <a:schemeClr val="tx1"/>
                          </a:solidFill>
                        </a:rPr>
                        <a:t> + ablation</a:t>
                      </a:r>
                      <a:endParaRPr lang="en-US" sz="1900" b="0" i="0" dirty="0">
                        <a:solidFill>
                          <a:schemeClr val="tx1"/>
                        </a:solidFill>
                        <a:latin typeface="Arial Narrow" panose="020B0604020202020204" pitchFamily="34" charset="0"/>
                        <a:cs typeface="Arial Narrow" panose="020B0604020202020204" pitchFamily="34" charset="0"/>
                      </a:endParaRPr>
                    </a:p>
                  </a:txBody>
                  <a:tcPr marL="0" marR="0" marT="0" marB="0" anchor="ct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900" b="0" dirty="0">
                          <a:solidFill>
                            <a:schemeClr val="tx1"/>
                          </a:solidFill>
                        </a:rPr>
                        <a:t>Phase 2, advanced HCC or BTC</a:t>
                      </a:r>
                      <a:endParaRPr lang="en-US" sz="1900" b="0" i="0" dirty="0">
                        <a:solidFill>
                          <a:schemeClr val="tx1"/>
                        </a:solidFill>
                        <a:latin typeface="Arial Narrow" panose="020B0604020202020204" pitchFamily="34" charset="0"/>
                        <a:cs typeface="Arial Narrow" panose="020B0604020202020204" pitchFamily="34" charset="0"/>
                      </a:endParaRPr>
                    </a:p>
                  </a:txBody>
                  <a:tcPr marL="0" marR="0" marT="0" marB="0" anchor="ct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900" b="0" dirty="0">
                          <a:solidFill>
                            <a:schemeClr val="tx1"/>
                          </a:solidFill>
                        </a:rPr>
                        <a:t>90</a:t>
                      </a:r>
                      <a:endParaRPr lang="en-US" sz="1900" b="0" i="0" dirty="0">
                        <a:solidFill>
                          <a:schemeClr val="tx1"/>
                        </a:solidFill>
                        <a:latin typeface="Arial Narrow" panose="020B0604020202020204" pitchFamily="34" charset="0"/>
                        <a:cs typeface="Arial Narrow" panose="020B0604020202020204" pitchFamily="34" charset="0"/>
                      </a:endParaRPr>
                    </a:p>
                  </a:txBody>
                  <a:tcPr marL="0" marR="0" marT="0" marB="0" anchor="ct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900" b="0" kern="1200" dirty="0">
                          <a:solidFill>
                            <a:schemeClr val="dk1"/>
                          </a:solidFill>
                          <a:effectLst/>
                        </a:rPr>
                        <a:t>NCT02821754</a:t>
                      </a:r>
                      <a:endParaRPr lang="en-US" sz="1900" b="0" i="0" dirty="0">
                        <a:solidFill>
                          <a:schemeClr val="tx1"/>
                        </a:solidFill>
                        <a:latin typeface="Arial Narrow" panose="020B0604020202020204" pitchFamily="34" charset="0"/>
                        <a:cs typeface="Arial Narrow" panose="020B0604020202020204" pitchFamily="34" charset="0"/>
                      </a:endParaRPr>
                    </a:p>
                  </a:txBody>
                  <a:tcPr marL="0" marR="0" marT="0" marB="0" anchor="ctr"/>
                </a:tc>
                <a:extLst>
                  <a:ext uri="{0D108BD9-81ED-4DB2-BD59-A6C34878D82A}">
                    <a16:rowId xmlns:a16="http://schemas.microsoft.com/office/drawing/2014/main" val="2782360189"/>
                  </a:ext>
                </a:extLst>
              </a:tr>
              <a:tr h="568960">
                <a:tc vMerge="1">
                  <a:txBody>
                    <a:bodyPr/>
                    <a:lstStyle/>
                    <a:p>
                      <a:pPr algn="ctr"/>
                      <a:endParaRPr lang="en-US" sz="1200" dirty="0">
                        <a:solidFill>
                          <a:schemeClr val="tx1"/>
                        </a:solidFill>
                        <a:latin typeface="+mn-lt"/>
                      </a:endParaRPr>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rgbClr val="193209"/>
                      </a:solidFill>
                      <a:prstDash val="solid"/>
                      <a:round/>
                      <a:headEnd type="none" w="med" len="med"/>
                      <a:tailEnd type="none" w="med" len="med"/>
                    </a:lnT>
                    <a:lnB w="12700" cap="flat" cmpd="sng" algn="ctr">
                      <a:solidFill>
                        <a:srgbClr val="193209"/>
                      </a:solidFill>
                      <a:prstDash val="solid"/>
                      <a:round/>
                      <a:headEnd type="none" w="med" len="med"/>
                      <a:tailEnd type="none" w="med" len="med"/>
                    </a:lnB>
                    <a:lnTlToBr w="12700" cmpd="sng">
                      <a:noFill/>
                      <a:prstDash val="solid"/>
                    </a:lnTlToBr>
                    <a:lnBlToTr w="12700" cmpd="sng">
                      <a:noFill/>
                      <a:prstDash val="solid"/>
                    </a:lnBlToTr>
                    <a:solidFill>
                      <a:srgbClr val="C1DBAB"/>
                    </a:solidFill>
                  </a:tcPr>
                </a:tc>
                <a:tc>
                  <a:txBody>
                    <a:bodyPr/>
                    <a:lstStyle/>
                    <a:p>
                      <a:pPr algn="ctr"/>
                      <a:r>
                        <a:rPr lang="en-US" sz="1900" b="0" dirty="0" err="1">
                          <a:solidFill>
                            <a:schemeClr val="tx1"/>
                          </a:solidFill>
                        </a:rPr>
                        <a:t>Durvalumab</a:t>
                      </a:r>
                      <a:r>
                        <a:rPr lang="en-US" sz="1900" b="0" dirty="0">
                          <a:solidFill>
                            <a:schemeClr val="tx1"/>
                          </a:solidFill>
                        </a:rPr>
                        <a:t> + </a:t>
                      </a:r>
                      <a:r>
                        <a:rPr lang="en-US" sz="1900" b="0" dirty="0" err="1">
                          <a:solidFill>
                            <a:schemeClr val="tx1"/>
                          </a:solidFill>
                        </a:rPr>
                        <a:t>tremelimumab</a:t>
                      </a:r>
                      <a:r>
                        <a:rPr lang="en-US" sz="1900" b="0" dirty="0">
                          <a:solidFill>
                            <a:schemeClr val="tx1"/>
                          </a:solidFill>
                        </a:rPr>
                        <a:t> + RT</a:t>
                      </a:r>
                      <a:endParaRPr lang="en-US" sz="1900" b="0" i="0" dirty="0">
                        <a:solidFill>
                          <a:schemeClr val="tx1"/>
                        </a:solidFill>
                        <a:latin typeface="Arial Narrow" panose="020B0604020202020204" pitchFamily="34" charset="0"/>
                        <a:cs typeface="Arial Narrow" panose="020B0604020202020204" pitchFamily="34" charset="0"/>
                      </a:endParaRPr>
                    </a:p>
                  </a:txBody>
                  <a:tcPr marL="0" marR="0" marT="0" marB="0" anchor="ctr"/>
                </a:tc>
                <a:tc>
                  <a:txBody>
                    <a:bodyPr/>
                    <a:lstStyle/>
                    <a:p>
                      <a:pPr algn="ctr"/>
                      <a:r>
                        <a:rPr lang="en-US" sz="1900" b="0" dirty="0">
                          <a:solidFill>
                            <a:schemeClr val="tx1"/>
                          </a:solidFill>
                        </a:rPr>
                        <a:t>Phase 2, advanced</a:t>
                      </a:r>
                      <a:r>
                        <a:rPr lang="en-US" sz="1900" b="0" baseline="0" dirty="0">
                          <a:solidFill>
                            <a:schemeClr val="tx1"/>
                          </a:solidFill>
                        </a:rPr>
                        <a:t> &gt;1L HCC or BTC</a:t>
                      </a:r>
                      <a:endParaRPr lang="en-US" sz="1900" b="0" i="0" dirty="0">
                        <a:solidFill>
                          <a:schemeClr val="tx1"/>
                        </a:solidFill>
                        <a:latin typeface="Arial Narrow" panose="020B0604020202020204" pitchFamily="34" charset="0"/>
                        <a:cs typeface="Arial Narrow" panose="020B0604020202020204" pitchFamily="34" charset="0"/>
                      </a:endParaRPr>
                    </a:p>
                  </a:txBody>
                  <a:tcPr marL="0" marR="0" marT="0" marB="0" anchor="ctr"/>
                </a:tc>
                <a:tc>
                  <a:txBody>
                    <a:bodyPr/>
                    <a:lstStyle/>
                    <a:p>
                      <a:pPr algn="ctr"/>
                      <a:r>
                        <a:rPr lang="en-US" sz="1900" b="0" dirty="0">
                          <a:solidFill>
                            <a:schemeClr val="tx1"/>
                          </a:solidFill>
                        </a:rPr>
                        <a:t>70</a:t>
                      </a:r>
                      <a:endParaRPr lang="en-US" sz="1900" b="0" i="0" dirty="0">
                        <a:solidFill>
                          <a:schemeClr val="tx1"/>
                        </a:solidFill>
                        <a:latin typeface="Arial Narrow" panose="020B0604020202020204" pitchFamily="34" charset="0"/>
                        <a:cs typeface="Arial Narrow" panose="020B0604020202020204" pitchFamily="34" charset="0"/>
                      </a:endParaRPr>
                    </a:p>
                  </a:txBody>
                  <a:tcPr marL="0" marR="0" marT="0" marB="0" anchor="ctr"/>
                </a:tc>
                <a:tc>
                  <a:txBody>
                    <a:bodyPr/>
                    <a:lstStyle/>
                    <a:p>
                      <a:pPr algn="ctr"/>
                      <a:r>
                        <a:rPr lang="en-US" sz="1900" b="0" kern="1200" dirty="0">
                          <a:solidFill>
                            <a:schemeClr val="tx1"/>
                          </a:solidFill>
                          <a:effectLst/>
                        </a:rPr>
                        <a:t>NCT03482102</a:t>
                      </a:r>
                      <a:endParaRPr lang="en-US" sz="1900" b="0" i="0" dirty="0">
                        <a:solidFill>
                          <a:schemeClr val="tx1"/>
                        </a:solidFill>
                        <a:latin typeface="Arial Narrow" panose="020B0604020202020204" pitchFamily="34" charset="0"/>
                        <a:cs typeface="Arial Narrow" panose="020B0604020202020204" pitchFamily="34" charset="0"/>
                      </a:endParaRPr>
                    </a:p>
                  </a:txBody>
                  <a:tcPr marL="0" marR="0" marT="0" marB="0" anchor="ctr"/>
                </a:tc>
                <a:extLst>
                  <a:ext uri="{0D108BD9-81ED-4DB2-BD59-A6C34878D82A}">
                    <a16:rowId xmlns:a16="http://schemas.microsoft.com/office/drawing/2014/main" val="1340551164"/>
                  </a:ext>
                </a:extLst>
              </a:tr>
              <a:tr h="568960">
                <a:tc vMerge="1">
                  <a:txBody>
                    <a:bodyPr/>
                    <a:lstStyle/>
                    <a:p>
                      <a:pPr algn="ctr"/>
                      <a:endParaRPr lang="en-US" sz="1400" b="0" dirty="0">
                        <a:solidFill>
                          <a:schemeClr val="tx1"/>
                        </a:solidFill>
                        <a:latin typeface="+mn-lt"/>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1DBAB"/>
                    </a:solidFill>
                  </a:tcPr>
                </a:tc>
                <a:tc>
                  <a:txBody>
                    <a:bodyPr/>
                    <a:lstStyle/>
                    <a:p>
                      <a:pPr algn="ctr"/>
                      <a:r>
                        <a:rPr lang="en-US" sz="1900" b="0" dirty="0" err="1">
                          <a:solidFill>
                            <a:schemeClr val="tx1"/>
                          </a:solidFill>
                        </a:rPr>
                        <a:t>Durvalumab</a:t>
                      </a:r>
                      <a:r>
                        <a:rPr lang="en-US" sz="1900" b="0" dirty="0">
                          <a:solidFill>
                            <a:schemeClr val="tx1"/>
                          </a:solidFill>
                        </a:rPr>
                        <a:t> ± </a:t>
                      </a:r>
                      <a:r>
                        <a:rPr lang="en-US" sz="1900" b="0" dirty="0" err="1">
                          <a:solidFill>
                            <a:schemeClr val="tx1"/>
                          </a:solidFill>
                        </a:rPr>
                        <a:t>tremelimumab</a:t>
                      </a:r>
                      <a:r>
                        <a:rPr lang="en-US" sz="1900" b="0" dirty="0">
                          <a:solidFill>
                            <a:schemeClr val="tx1"/>
                          </a:solidFill>
                        </a:rPr>
                        <a:t> + Y90 SIRT</a:t>
                      </a:r>
                      <a:endParaRPr lang="en-US" sz="1900" b="0" i="0" dirty="0">
                        <a:solidFill>
                          <a:schemeClr val="tx1"/>
                        </a:solidFill>
                        <a:latin typeface="Arial Narrow" panose="020B0604020202020204" pitchFamily="34" charset="0"/>
                        <a:cs typeface="Arial Narrow" panose="020B0604020202020204" pitchFamily="34" charset="0"/>
                      </a:endParaRPr>
                    </a:p>
                  </a:txBody>
                  <a:tcPr marL="0" marR="0" marT="0" marB="0" anchor="ctr"/>
                </a:tc>
                <a:tc>
                  <a:txBody>
                    <a:bodyPr/>
                    <a:lstStyle/>
                    <a:p>
                      <a:pPr algn="ctr"/>
                      <a:r>
                        <a:rPr lang="en-US" sz="1900" b="0" dirty="0">
                          <a:solidFill>
                            <a:schemeClr val="tx1"/>
                          </a:solidFill>
                        </a:rPr>
                        <a:t>Phase 2, locally-advanced ICC</a:t>
                      </a:r>
                      <a:endParaRPr lang="en-US" sz="1900" b="0" i="0" dirty="0">
                        <a:solidFill>
                          <a:schemeClr val="tx1"/>
                        </a:solidFill>
                        <a:latin typeface="Arial Narrow" panose="020B0604020202020204" pitchFamily="34" charset="0"/>
                        <a:cs typeface="Arial Narrow" panose="020B0604020202020204" pitchFamily="34" charset="0"/>
                      </a:endParaRPr>
                    </a:p>
                  </a:txBody>
                  <a:tcPr marL="0" marR="0" marT="0" marB="0" anchor="ctr"/>
                </a:tc>
                <a:tc>
                  <a:txBody>
                    <a:bodyPr/>
                    <a:lstStyle/>
                    <a:p>
                      <a:pPr algn="ctr"/>
                      <a:r>
                        <a:rPr lang="en-US" sz="1900" b="0" dirty="0">
                          <a:solidFill>
                            <a:schemeClr val="tx1"/>
                          </a:solidFill>
                        </a:rPr>
                        <a:t>50</a:t>
                      </a:r>
                      <a:endParaRPr lang="en-US" sz="1900" b="0" i="0" dirty="0">
                        <a:solidFill>
                          <a:schemeClr val="tx1"/>
                        </a:solidFill>
                        <a:latin typeface="Arial Narrow" panose="020B0604020202020204" pitchFamily="34" charset="0"/>
                        <a:cs typeface="Arial Narrow" panose="020B0604020202020204" pitchFamily="34" charset="0"/>
                      </a:endParaRPr>
                    </a:p>
                  </a:txBody>
                  <a:tcPr marL="0" marR="0" marT="0" marB="0" anchor="ctr"/>
                </a:tc>
                <a:tc>
                  <a:txBody>
                    <a:bodyPr/>
                    <a:lstStyle/>
                    <a:p>
                      <a:pPr algn="ctr"/>
                      <a:r>
                        <a:rPr lang="en-US" sz="1900" b="0" kern="1200" dirty="0">
                          <a:solidFill>
                            <a:schemeClr val="tx1"/>
                          </a:solidFill>
                          <a:effectLst/>
                        </a:rPr>
                        <a:t>NCT04238637</a:t>
                      </a:r>
                      <a:endParaRPr lang="en-US" sz="1900" b="0" i="0" dirty="0">
                        <a:solidFill>
                          <a:schemeClr val="tx1"/>
                        </a:solidFill>
                        <a:latin typeface="Arial Narrow" panose="020B0604020202020204" pitchFamily="34" charset="0"/>
                        <a:cs typeface="Arial Narrow" panose="020B0604020202020204" pitchFamily="34" charset="0"/>
                      </a:endParaRPr>
                    </a:p>
                  </a:txBody>
                  <a:tcPr marL="0" marR="0" marT="0" marB="0" anchor="ctr"/>
                </a:tc>
                <a:extLst>
                  <a:ext uri="{0D108BD9-81ED-4DB2-BD59-A6C34878D82A}">
                    <a16:rowId xmlns:a16="http://schemas.microsoft.com/office/drawing/2014/main" val="2750383670"/>
                  </a:ext>
                </a:extLst>
              </a:tr>
              <a:tr h="568960">
                <a:tc vMerge="1">
                  <a:txBody>
                    <a:bodyPr/>
                    <a:lstStyle/>
                    <a:p>
                      <a:pPr algn="ctr"/>
                      <a:endParaRPr lang="en-US" sz="1900" b="0" dirty="0">
                        <a:solidFill>
                          <a:schemeClr val="tx1"/>
                        </a:solidFill>
                        <a:latin typeface="+mn-lt"/>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1DBAB"/>
                    </a:solidFill>
                  </a:tcPr>
                </a:tc>
                <a:tc>
                  <a:txBody>
                    <a:bodyPr/>
                    <a:lstStyle/>
                    <a:p>
                      <a:pPr algn="ctr"/>
                      <a:r>
                        <a:rPr lang="en-US" sz="1900" b="0" dirty="0">
                          <a:solidFill>
                            <a:schemeClr val="tx1"/>
                          </a:solidFill>
                        </a:rPr>
                        <a:t>Nivolumab</a:t>
                      </a:r>
                      <a:r>
                        <a:rPr lang="en-US" sz="1900" b="0" baseline="0" dirty="0">
                          <a:solidFill>
                            <a:schemeClr val="tx1"/>
                          </a:solidFill>
                        </a:rPr>
                        <a:t> + RT ± ipilimumab</a:t>
                      </a:r>
                      <a:endParaRPr lang="en-US" sz="1900" b="0" i="0" dirty="0">
                        <a:solidFill>
                          <a:schemeClr val="tx1"/>
                        </a:solidFill>
                        <a:latin typeface="Arial Narrow" panose="020B0604020202020204" pitchFamily="34" charset="0"/>
                        <a:cs typeface="Arial Narrow" panose="020B0604020202020204" pitchFamily="34" charset="0"/>
                      </a:endParaRPr>
                    </a:p>
                  </a:txBody>
                  <a:tcPr marL="0" marR="0" marT="0" marB="0" anchor="ctr"/>
                </a:tc>
                <a:tc>
                  <a:txBody>
                    <a:bodyPr/>
                    <a:lstStyle/>
                    <a:p>
                      <a:pPr algn="ctr"/>
                      <a:r>
                        <a:rPr lang="en-US" sz="1900" b="0" dirty="0">
                          <a:solidFill>
                            <a:schemeClr val="tx1"/>
                          </a:solidFill>
                        </a:rPr>
                        <a:t>RP2, advanced BTC or pancreas cancer</a:t>
                      </a:r>
                      <a:endParaRPr lang="en-US" sz="1900" b="0" i="0" dirty="0">
                        <a:solidFill>
                          <a:schemeClr val="tx1"/>
                        </a:solidFill>
                        <a:latin typeface="Arial Narrow" panose="020B0604020202020204" pitchFamily="34" charset="0"/>
                        <a:cs typeface="Arial Narrow" panose="020B0604020202020204" pitchFamily="34" charset="0"/>
                      </a:endParaRPr>
                    </a:p>
                  </a:txBody>
                  <a:tcPr marL="0" marR="0" marT="0" marB="0" anchor="ctr"/>
                </a:tc>
                <a:tc>
                  <a:txBody>
                    <a:bodyPr/>
                    <a:lstStyle/>
                    <a:p>
                      <a:pPr algn="ctr"/>
                      <a:r>
                        <a:rPr lang="en-US" sz="1900" b="0" dirty="0">
                          <a:solidFill>
                            <a:schemeClr val="tx1"/>
                          </a:solidFill>
                        </a:rPr>
                        <a:t>160</a:t>
                      </a:r>
                      <a:endParaRPr lang="en-US" sz="1900" b="0" i="0" dirty="0">
                        <a:solidFill>
                          <a:schemeClr val="tx1"/>
                        </a:solidFill>
                        <a:latin typeface="Arial Narrow" panose="020B0604020202020204" pitchFamily="34" charset="0"/>
                        <a:cs typeface="Arial Narrow" panose="020B0604020202020204" pitchFamily="34" charset="0"/>
                      </a:endParaRPr>
                    </a:p>
                  </a:txBody>
                  <a:tcPr marL="0" marR="0" marT="0" marB="0" anchor="ctr"/>
                </a:tc>
                <a:tc>
                  <a:txBody>
                    <a:bodyPr/>
                    <a:lstStyle/>
                    <a:p>
                      <a:pPr algn="ctr"/>
                      <a:r>
                        <a:rPr lang="en-US" sz="1900" b="0" kern="1200" dirty="0">
                          <a:solidFill>
                            <a:schemeClr val="tx1"/>
                          </a:solidFill>
                          <a:effectLst/>
                        </a:rPr>
                        <a:t>NCT02866383</a:t>
                      </a:r>
                      <a:endParaRPr lang="en-US" sz="1900" b="0" i="0" dirty="0">
                        <a:solidFill>
                          <a:schemeClr val="tx1"/>
                        </a:solidFill>
                        <a:latin typeface="Arial Narrow" panose="020B0604020202020204" pitchFamily="34" charset="0"/>
                        <a:cs typeface="Arial Narrow" panose="020B0604020202020204" pitchFamily="34" charset="0"/>
                      </a:endParaRPr>
                    </a:p>
                  </a:txBody>
                  <a:tcPr marL="0" marR="0" marT="0" marB="0" anchor="ctr"/>
                </a:tc>
                <a:extLst>
                  <a:ext uri="{0D108BD9-81ED-4DB2-BD59-A6C34878D82A}">
                    <a16:rowId xmlns:a16="http://schemas.microsoft.com/office/drawing/2014/main" val="1323512202"/>
                  </a:ext>
                </a:extLst>
              </a:tr>
              <a:tr h="487680">
                <a:tc gridSpan="5">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a:r>
                        <a:rPr lang="en-US" sz="1600" b="0" kern="1200" dirty="0">
                          <a:solidFill>
                            <a:srgbClr val="000204"/>
                          </a:solidFill>
                        </a:rPr>
                        <a:t>Key: 1L=1</a:t>
                      </a:r>
                      <a:r>
                        <a:rPr lang="en-US" sz="1600" b="0" kern="1200" baseline="30000" dirty="0">
                          <a:solidFill>
                            <a:srgbClr val="000204"/>
                          </a:solidFill>
                        </a:rPr>
                        <a:t>st</a:t>
                      </a:r>
                      <a:r>
                        <a:rPr lang="en-US" sz="1600" b="0" kern="1200" baseline="0" dirty="0">
                          <a:solidFill>
                            <a:srgbClr val="000204"/>
                          </a:solidFill>
                        </a:rPr>
                        <a:t> line; 2L=2</a:t>
                      </a:r>
                      <a:r>
                        <a:rPr lang="en-US" sz="1600" b="0" kern="1200" baseline="30000" dirty="0">
                          <a:solidFill>
                            <a:srgbClr val="000204"/>
                          </a:solidFill>
                        </a:rPr>
                        <a:t>nd</a:t>
                      </a:r>
                      <a:r>
                        <a:rPr lang="en-US" sz="1600" b="0" kern="1200" baseline="0" dirty="0">
                          <a:solidFill>
                            <a:srgbClr val="000204"/>
                          </a:solidFill>
                        </a:rPr>
                        <a:t> line; RP2, RP3=randomized phase 2 or 3 trial; LRT=</a:t>
                      </a:r>
                      <a:r>
                        <a:rPr lang="en-US" sz="1600" b="0" kern="1200" baseline="0" dirty="0" err="1">
                          <a:solidFill>
                            <a:srgbClr val="000204"/>
                          </a:solidFill>
                        </a:rPr>
                        <a:t>locoregional</a:t>
                      </a:r>
                      <a:r>
                        <a:rPr lang="en-US" sz="1600" b="0" kern="1200" baseline="0" dirty="0">
                          <a:solidFill>
                            <a:srgbClr val="000204"/>
                          </a:solidFill>
                        </a:rPr>
                        <a:t> therapy; RT=radiation therapy; SIRT=selective internal radiation therapy</a:t>
                      </a:r>
                      <a:endParaRPr lang="en-US" sz="1600" b="0" kern="1200" dirty="0">
                        <a:solidFill>
                          <a:srgbClr val="000204"/>
                        </a:solidFill>
                        <a:latin typeface="+mj-lt"/>
                        <a:ea typeface="+mn-ea"/>
                        <a:cs typeface="Arial" panose="020B0604020202020204" pitchFamily="34" charset="0"/>
                      </a:endParaRPr>
                    </a:p>
                  </a:txBody>
                  <a:tcPr marL="0" marR="0" marT="0" marB="0" anchor="ctr"/>
                </a:tc>
                <a:tc hMerge="1">
                  <a:txBody>
                    <a:bodyPr/>
                    <a:lstStyle/>
                    <a:p>
                      <a:pPr algn="ctr"/>
                      <a:endParaRPr lang="en-US" sz="1400" dirty="0"/>
                    </a:p>
                  </a:txBody>
                  <a:tcPr anchor="ctr">
                    <a:solidFill>
                      <a:schemeClr val="bg2"/>
                    </a:solidFill>
                  </a:tcPr>
                </a:tc>
                <a:tc hMerge="1">
                  <a:txBody>
                    <a:bodyPr/>
                    <a:lstStyle/>
                    <a:p>
                      <a:pPr algn="ctr"/>
                      <a:endParaRPr lang="en-US" sz="1400" dirty="0"/>
                    </a:p>
                  </a:txBody>
                  <a:tcPr anchor="ctr">
                    <a:solidFill>
                      <a:schemeClr val="bg2"/>
                    </a:solidFill>
                  </a:tcPr>
                </a:tc>
                <a:tc hMerge="1">
                  <a:txBody>
                    <a:bodyPr/>
                    <a:lstStyle/>
                    <a:p>
                      <a:pPr algn="ctr"/>
                      <a:endParaRPr lang="en-US" sz="1400" dirty="0"/>
                    </a:p>
                  </a:txBody>
                  <a:tcPr anchor="ctr">
                    <a:solidFill>
                      <a:schemeClr val="bg2"/>
                    </a:solidFill>
                  </a:tcPr>
                </a:tc>
                <a:tc hMerge="1">
                  <a:txBody>
                    <a:bodyPr/>
                    <a:lstStyle/>
                    <a:p>
                      <a:pPr algn="ctr"/>
                      <a:endParaRPr lang="en-US" sz="1400" dirty="0"/>
                    </a:p>
                  </a:txBody>
                  <a:tcPr anchor="ctr">
                    <a:solidFill>
                      <a:schemeClr val="bg2"/>
                    </a:solidFill>
                  </a:tcPr>
                </a:tc>
                <a:extLst>
                  <a:ext uri="{0D108BD9-81ED-4DB2-BD59-A6C34878D82A}">
                    <a16:rowId xmlns:a16="http://schemas.microsoft.com/office/drawing/2014/main" val="3403787832"/>
                  </a:ext>
                </a:extLst>
              </a:tr>
            </a:tbl>
          </a:graphicData>
        </a:graphic>
      </p:graphicFrame>
      <p:sp>
        <p:nvSpPr>
          <p:cNvPr id="8" name="Title 1"/>
          <p:cNvSpPr txBox="1">
            <a:spLocks/>
          </p:cNvSpPr>
          <p:nvPr/>
        </p:nvSpPr>
        <p:spPr>
          <a:xfrm>
            <a:off x="405211" y="364526"/>
            <a:ext cx="11059675" cy="1011431"/>
          </a:xfrm>
          <a:prstGeom prst="rect">
            <a:avLst/>
          </a:prstGeom>
        </p:spPr>
        <p:txBody>
          <a:bodyPr vert="horz" wrap="square" lIns="91440" tIns="45720" rIns="91440" bIns="45720" rtlCol="0" anchor="t" anchorCtr="0">
            <a:spAutoFit/>
          </a:bodyPr>
          <a:lstStyle>
            <a:lvl1pPr algn="l" defTabSz="1219170" rtl="0" eaLnBrk="1" latinLnBrk="0" hangingPunct="1">
              <a:lnSpc>
                <a:spcPct val="85000"/>
              </a:lnSpc>
              <a:spcBef>
                <a:spcPct val="0"/>
              </a:spcBef>
              <a:buNone/>
              <a:defRPr lang="en-US" sz="3733" b="0" kern="1200" cap="none" spc="0" baseline="0" dirty="0" smtClean="0">
                <a:solidFill>
                  <a:schemeClr val="tx1"/>
                </a:solidFill>
                <a:latin typeface="+mn-lt"/>
                <a:ea typeface="+mj-ea"/>
                <a:cs typeface="Arial" pitchFamily="34" charset="0"/>
              </a:defRPr>
            </a:lvl1pPr>
          </a:lstStyle>
          <a:p>
            <a:pPr marL="0" marR="0" lvl="0" indent="0" algn="l" defTabSz="1219170" rtl="0" eaLnBrk="1" fontAlgn="auto" latinLnBrk="0" hangingPunct="1">
              <a:lnSpc>
                <a:spcPct val="80000"/>
              </a:lnSpc>
              <a:spcBef>
                <a:spcPct val="0"/>
              </a:spcBef>
              <a:spcAft>
                <a:spcPts val="0"/>
              </a:spcAft>
              <a:buClr>
                <a:srgbClr val="000000"/>
              </a:buClr>
              <a:buSzTx/>
              <a:buFont typeface="Arial"/>
              <a:buNone/>
              <a:tabLst/>
              <a:defRPr/>
            </a:pPr>
            <a:r>
              <a:rPr kumimoji="0" lang="en-US" sz="3733" b="1" i="0" u="none" strike="noStrike" kern="1200" cap="none" spc="0" normalizeH="0" baseline="0" noProof="0" dirty="0">
                <a:ln>
                  <a:noFill/>
                </a:ln>
                <a:solidFill>
                  <a:srgbClr val="000000"/>
                </a:solidFill>
                <a:effectLst/>
                <a:uLnTx/>
                <a:uFillTx/>
                <a:latin typeface="Arial Narrow" panose="020B0604020202020204" pitchFamily="34" charset="0"/>
                <a:ea typeface="+mj-ea"/>
                <a:cs typeface="Arial Narrow" panose="020B0604020202020204" pitchFamily="34" charset="0"/>
                <a:sym typeface="Arial"/>
              </a:rPr>
              <a:t>Ongoing IO + Locoregional Therapy (LRT) Combinations in Advanced BTC</a:t>
            </a:r>
          </a:p>
        </p:txBody>
      </p:sp>
    </p:spTree>
    <p:extLst>
      <p:ext uri="{BB962C8B-B14F-4D97-AF65-F5344CB8AC3E}">
        <p14:creationId xmlns:p14="http://schemas.microsoft.com/office/powerpoint/2010/main" val="3002464229"/>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6DCCC18-80EB-76CC-388A-34FB3AB05225}"/>
              </a:ext>
            </a:extLst>
          </p:cNvPr>
          <p:cNvSpPr>
            <a:spLocks noGrp="1"/>
          </p:cNvSpPr>
          <p:nvPr>
            <p:ph type="title"/>
          </p:nvPr>
        </p:nvSpPr>
        <p:spPr>
          <a:xfrm>
            <a:off x="399287" y="197475"/>
            <a:ext cx="10972800" cy="1143000"/>
          </a:xfrm>
        </p:spPr>
        <p:txBody>
          <a:bodyPr>
            <a:normAutofit/>
          </a:bodyPr>
          <a:lstStyle/>
          <a:p>
            <a:r>
              <a:rPr lang="de-DE" sz="4133" b="1" dirty="0">
                <a:solidFill>
                  <a:schemeClr val="tx1"/>
                </a:solidFill>
                <a:latin typeface="Arial Narrow" panose="020B0604020202020204" pitchFamily="34" charset="0"/>
                <a:cs typeface="Arial Narrow" panose="020B0604020202020204" pitchFamily="34" charset="0"/>
              </a:rPr>
              <a:t>TAKE HOME: </a:t>
            </a:r>
            <a:r>
              <a:rPr lang="de-DE" sz="4133" b="1" dirty="0" err="1">
                <a:solidFill>
                  <a:schemeClr val="tx1"/>
                </a:solidFill>
                <a:latin typeface="Arial Narrow" panose="020B0604020202020204" pitchFamily="34" charset="0"/>
                <a:cs typeface="Arial Narrow" panose="020B0604020202020204" pitchFamily="34" charset="0"/>
              </a:rPr>
              <a:t>Immunotherapy</a:t>
            </a:r>
            <a:r>
              <a:rPr lang="de-DE" sz="4133" b="1" dirty="0">
                <a:solidFill>
                  <a:schemeClr val="tx1"/>
                </a:solidFill>
                <a:latin typeface="Arial Narrow" panose="020B0604020202020204" pitchFamily="34" charset="0"/>
                <a:cs typeface="Arial Narrow" panose="020B0604020202020204" pitchFamily="34" charset="0"/>
              </a:rPr>
              <a:t> in BTC</a:t>
            </a:r>
          </a:p>
        </p:txBody>
      </p:sp>
      <p:sp>
        <p:nvSpPr>
          <p:cNvPr id="3" name="Inhaltsplatzhalter 2">
            <a:extLst>
              <a:ext uri="{FF2B5EF4-FFF2-40B4-BE49-F238E27FC236}">
                <a16:creationId xmlns:a16="http://schemas.microsoft.com/office/drawing/2014/main" id="{857F1F25-C04D-4EED-AA55-68F594F7A2EB}"/>
              </a:ext>
            </a:extLst>
          </p:cNvPr>
          <p:cNvSpPr>
            <a:spLocks noGrp="1"/>
          </p:cNvSpPr>
          <p:nvPr>
            <p:ph idx="1"/>
          </p:nvPr>
        </p:nvSpPr>
        <p:spPr>
          <a:xfrm>
            <a:off x="609600" y="1563063"/>
            <a:ext cx="10972800" cy="4525963"/>
          </a:xfrm>
        </p:spPr>
        <p:txBody>
          <a:bodyPr>
            <a:normAutofit lnSpcReduction="10000"/>
          </a:bodyPr>
          <a:lstStyle/>
          <a:p>
            <a:r>
              <a:rPr lang="de-DE" sz="2400" b="1" dirty="0">
                <a:solidFill>
                  <a:schemeClr val="tx1"/>
                </a:solidFill>
                <a:latin typeface="Arial Narrow" panose="020B0604020202020204" pitchFamily="34" charset="0"/>
                <a:cs typeface="Arial Narrow" panose="020B0604020202020204" pitchFamily="34" charset="0"/>
              </a:rPr>
              <a:t>TOPAZ-1: Positive Phase III </a:t>
            </a:r>
            <a:r>
              <a:rPr lang="de-DE" sz="2400" b="1" dirty="0" err="1">
                <a:solidFill>
                  <a:schemeClr val="tx1"/>
                </a:solidFill>
                <a:latin typeface="Arial Narrow" panose="020B0604020202020204" pitchFamily="34" charset="0"/>
                <a:cs typeface="Arial Narrow" panose="020B0604020202020204" pitchFamily="34" charset="0"/>
              </a:rPr>
              <a:t>data</a:t>
            </a:r>
            <a:r>
              <a:rPr lang="de-DE" sz="2400" b="1" dirty="0">
                <a:solidFill>
                  <a:schemeClr val="tx1"/>
                </a:solidFill>
                <a:latin typeface="Arial Narrow" panose="020B0604020202020204" pitchFamily="34" charset="0"/>
                <a:cs typeface="Arial Narrow" panose="020B0604020202020204" pitchFamily="34" charset="0"/>
              </a:rPr>
              <a:t> and FDA </a:t>
            </a:r>
            <a:r>
              <a:rPr lang="de-DE" sz="2400" b="1" dirty="0" err="1">
                <a:solidFill>
                  <a:schemeClr val="tx1"/>
                </a:solidFill>
                <a:latin typeface="Arial Narrow" panose="020B0604020202020204" pitchFamily="34" charset="0"/>
                <a:cs typeface="Arial Narrow" panose="020B0604020202020204" pitchFamily="34" charset="0"/>
              </a:rPr>
              <a:t>approval</a:t>
            </a:r>
            <a:r>
              <a:rPr lang="de-DE" sz="2400" b="1" dirty="0">
                <a:solidFill>
                  <a:schemeClr val="tx1"/>
                </a:solidFill>
                <a:latin typeface="Arial Narrow" panose="020B0604020202020204" pitchFamily="34" charset="0"/>
                <a:cs typeface="Arial Narrow" panose="020B0604020202020204" pitchFamily="34" charset="0"/>
              </a:rPr>
              <a:t> </a:t>
            </a:r>
            <a:r>
              <a:rPr lang="de-DE" sz="2400" b="1" dirty="0" err="1">
                <a:solidFill>
                  <a:schemeClr val="tx1"/>
                </a:solidFill>
                <a:latin typeface="Arial Narrow" panose="020B0604020202020204" pitchFamily="34" charset="0"/>
                <a:cs typeface="Arial Narrow" panose="020B0604020202020204" pitchFamily="34" charset="0"/>
              </a:rPr>
              <a:t>for</a:t>
            </a:r>
            <a:r>
              <a:rPr lang="de-DE" sz="2400" b="1" dirty="0">
                <a:solidFill>
                  <a:schemeClr val="tx1"/>
                </a:solidFill>
                <a:latin typeface="Arial Narrow" panose="020B0604020202020204" pitchFamily="34" charset="0"/>
                <a:cs typeface="Arial Narrow" panose="020B0604020202020204" pitchFamily="34" charset="0"/>
              </a:rPr>
              <a:t> </a:t>
            </a:r>
            <a:r>
              <a:rPr lang="de-DE" sz="2400" b="1" dirty="0" err="1">
                <a:solidFill>
                  <a:schemeClr val="tx1"/>
                </a:solidFill>
                <a:latin typeface="Arial Narrow" panose="020B0604020202020204" pitchFamily="34" charset="0"/>
                <a:cs typeface="Arial Narrow" panose="020B0604020202020204" pitchFamily="34" charset="0"/>
              </a:rPr>
              <a:t>Gem</a:t>
            </a:r>
            <a:r>
              <a:rPr lang="de-DE" sz="2400" b="1" dirty="0">
                <a:solidFill>
                  <a:schemeClr val="tx1"/>
                </a:solidFill>
                <a:latin typeface="Arial Narrow" panose="020B0604020202020204" pitchFamily="34" charset="0"/>
                <a:cs typeface="Arial Narrow" panose="020B0604020202020204" pitchFamily="34" charset="0"/>
              </a:rPr>
              <a:t>/Cis + </a:t>
            </a:r>
            <a:r>
              <a:rPr lang="de-DE" sz="2400" b="1" dirty="0" err="1">
                <a:solidFill>
                  <a:schemeClr val="tx1"/>
                </a:solidFill>
                <a:latin typeface="Arial Narrow" panose="020B0604020202020204" pitchFamily="34" charset="0"/>
                <a:cs typeface="Arial Narrow" panose="020B0604020202020204" pitchFamily="34" charset="0"/>
              </a:rPr>
              <a:t>Durvalumab</a:t>
            </a:r>
            <a:r>
              <a:rPr lang="de-DE" sz="2400" b="1" dirty="0">
                <a:solidFill>
                  <a:schemeClr val="tx1"/>
                </a:solidFill>
                <a:latin typeface="Arial Narrow" panose="020B0604020202020204" pitchFamily="34" charset="0"/>
                <a:cs typeface="Arial Narrow" panose="020B0604020202020204" pitchFamily="34" charset="0"/>
              </a:rPr>
              <a:t> (</a:t>
            </a:r>
            <a:r>
              <a:rPr lang="de-DE" sz="2400" b="1" dirty="0" err="1">
                <a:solidFill>
                  <a:schemeClr val="tx1"/>
                </a:solidFill>
                <a:latin typeface="Arial Narrow" panose="020B0604020202020204" pitchFamily="34" charset="0"/>
                <a:cs typeface="Arial Narrow" panose="020B0604020202020204" pitchFamily="34" charset="0"/>
              </a:rPr>
              <a:t>vs</a:t>
            </a:r>
            <a:r>
              <a:rPr lang="de-DE" sz="2400" b="1" dirty="0">
                <a:solidFill>
                  <a:schemeClr val="tx1"/>
                </a:solidFill>
                <a:latin typeface="Arial Narrow" panose="020B0604020202020204" pitchFamily="34" charset="0"/>
                <a:cs typeface="Arial Narrow" panose="020B0604020202020204" pitchFamily="34" charset="0"/>
              </a:rPr>
              <a:t> </a:t>
            </a:r>
            <a:r>
              <a:rPr lang="de-DE" sz="2400" b="1" dirty="0" err="1">
                <a:solidFill>
                  <a:schemeClr val="tx1"/>
                </a:solidFill>
                <a:latin typeface="Arial Narrow" panose="020B0604020202020204" pitchFamily="34" charset="0"/>
                <a:cs typeface="Arial Narrow" panose="020B0604020202020204" pitchFamily="34" charset="0"/>
              </a:rPr>
              <a:t>Gem</a:t>
            </a:r>
            <a:r>
              <a:rPr lang="de-DE" sz="2400" b="1" dirty="0">
                <a:solidFill>
                  <a:schemeClr val="tx1"/>
                </a:solidFill>
                <a:latin typeface="Arial Narrow" panose="020B0604020202020204" pitchFamily="34" charset="0"/>
                <a:cs typeface="Arial Narrow" panose="020B0604020202020204" pitchFamily="34" charset="0"/>
              </a:rPr>
              <a:t>/Cis)</a:t>
            </a:r>
          </a:p>
          <a:p>
            <a:pPr>
              <a:buFont typeface="Wingdings" pitchFamily="2" charset="2"/>
              <a:buChar char="à"/>
            </a:pPr>
            <a:r>
              <a:rPr lang="de-DE" sz="2400" dirty="0">
                <a:solidFill>
                  <a:schemeClr val="tx1"/>
                </a:solidFill>
                <a:latin typeface="Arial Narrow" panose="020B0604020202020204" pitchFamily="34" charset="0"/>
                <a:cs typeface="Arial Narrow" panose="020B0604020202020204" pitchFamily="34" charset="0"/>
                <a:sym typeface="Wingdings" pitchFamily="2" charset="2"/>
              </a:rPr>
              <a:t>FDA &amp; EMA </a:t>
            </a:r>
            <a:r>
              <a:rPr lang="de-DE" sz="2400" dirty="0" err="1">
                <a:solidFill>
                  <a:schemeClr val="tx1"/>
                </a:solidFill>
                <a:latin typeface="Arial Narrow" panose="020B0604020202020204" pitchFamily="34" charset="0"/>
                <a:cs typeface="Arial Narrow" panose="020B0604020202020204" pitchFamily="34" charset="0"/>
                <a:sym typeface="Wingdings" pitchFamily="2" charset="2"/>
              </a:rPr>
              <a:t>approved</a:t>
            </a:r>
            <a:endParaRPr lang="de-DE" sz="2400" dirty="0">
              <a:solidFill>
                <a:schemeClr val="tx1"/>
              </a:solidFill>
              <a:latin typeface="Arial Narrow" panose="020B0604020202020204" pitchFamily="34" charset="0"/>
              <a:cs typeface="Arial Narrow" panose="020B0604020202020204" pitchFamily="34" charset="0"/>
              <a:sym typeface="Wingdings" pitchFamily="2" charset="2"/>
            </a:endParaRPr>
          </a:p>
          <a:p>
            <a:pPr>
              <a:buFont typeface="Wingdings" pitchFamily="2" charset="2"/>
              <a:buChar char="à"/>
            </a:pPr>
            <a:r>
              <a:rPr lang="de-DE" sz="2400" dirty="0" err="1">
                <a:solidFill>
                  <a:schemeClr val="tx1"/>
                </a:solidFill>
                <a:latin typeface="Arial Narrow" panose="020B0604020202020204" pitchFamily="34" charset="0"/>
                <a:cs typeface="Arial Narrow" panose="020B0604020202020204" pitchFamily="34" charset="0"/>
                <a:sym typeface="Wingdings" pitchFamily="2" charset="2"/>
              </a:rPr>
              <a:t>subgroup</a:t>
            </a:r>
            <a:r>
              <a:rPr lang="de-DE" sz="2400" dirty="0">
                <a:solidFill>
                  <a:schemeClr val="tx1"/>
                </a:solidFill>
                <a:latin typeface="Arial Narrow" panose="020B0604020202020204" pitchFamily="34" charset="0"/>
                <a:cs typeface="Arial Narrow" panose="020B0604020202020204" pitchFamily="34" charset="0"/>
                <a:sym typeface="Wingdings" pitchFamily="2" charset="2"/>
              </a:rPr>
              <a:t> </a:t>
            </a:r>
            <a:r>
              <a:rPr lang="de-DE" sz="2400" dirty="0" err="1">
                <a:solidFill>
                  <a:schemeClr val="tx1"/>
                </a:solidFill>
                <a:latin typeface="Arial Narrow" panose="020B0604020202020204" pitchFamily="34" charset="0"/>
                <a:cs typeface="Arial Narrow" panose="020B0604020202020204" pitchFamily="34" charset="0"/>
                <a:sym typeface="Wingdings" pitchFamily="2" charset="2"/>
              </a:rPr>
              <a:t>analysis</a:t>
            </a:r>
            <a:r>
              <a:rPr lang="de-DE" sz="2400" dirty="0">
                <a:solidFill>
                  <a:schemeClr val="tx1"/>
                </a:solidFill>
                <a:latin typeface="Arial Narrow" panose="020B0604020202020204" pitchFamily="34" charset="0"/>
                <a:cs typeface="Arial Narrow" panose="020B0604020202020204" pitchFamily="34" charset="0"/>
                <a:sym typeface="Wingdings" pitchFamily="2" charset="2"/>
              </a:rPr>
              <a:t>: </a:t>
            </a:r>
          </a:p>
          <a:p>
            <a:pPr lvl="1">
              <a:buFont typeface="Wingdings" pitchFamily="2" charset="2"/>
              <a:buChar char="à"/>
            </a:pPr>
            <a:r>
              <a:rPr lang="de-DE" sz="2400" dirty="0">
                <a:solidFill>
                  <a:schemeClr val="tx1"/>
                </a:solidFill>
                <a:latin typeface="Arial Narrow" panose="020B0604020202020204" pitchFamily="34" charset="0"/>
                <a:cs typeface="Arial Narrow" panose="020B0604020202020204" pitchFamily="34" charset="0"/>
              </a:rPr>
              <a:t> </a:t>
            </a:r>
            <a:r>
              <a:rPr lang="de-DE" sz="2400" dirty="0" err="1">
                <a:solidFill>
                  <a:schemeClr val="tx1"/>
                </a:solidFill>
                <a:latin typeface="Arial Narrow" panose="020B0604020202020204" pitchFamily="34" charset="0"/>
                <a:cs typeface="Arial Narrow" panose="020B0604020202020204" pitchFamily="34" charset="0"/>
              </a:rPr>
              <a:t>no</a:t>
            </a:r>
            <a:r>
              <a:rPr lang="de-DE" sz="2400" dirty="0">
                <a:solidFill>
                  <a:schemeClr val="tx1"/>
                </a:solidFill>
                <a:latin typeface="Arial Narrow" panose="020B0604020202020204" pitchFamily="34" charset="0"/>
                <a:cs typeface="Arial Narrow" panose="020B0604020202020204" pitchFamily="34" charset="0"/>
              </a:rPr>
              <a:t> </a:t>
            </a:r>
            <a:r>
              <a:rPr lang="de-DE" sz="2400" dirty="0" err="1">
                <a:solidFill>
                  <a:schemeClr val="tx1"/>
                </a:solidFill>
                <a:latin typeface="Arial Narrow" panose="020B0604020202020204" pitchFamily="34" charset="0"/>
                <a:cs typeface="Arial Narrow" panose="020B0604020202020204" pitchFamily="34" charset="0"/>
              </a:rPr>
              <a:t>significant</a:t>
            </a:r>
            <a:r>
              <a:rPr lang="de-DE" sz="2400" dirty="0">
                <a:solidFill>
                  <a:schemeClr val="tx1"/>
                </a:solidFill>
                <a:latin typeface="Arial Narrow" panose="020B0604020202020204" pitchFamily="34" charset="0"/>
                <a:cs typeface="Arial Narrow" panose="020B0604020202020204" pitchFamily="34" charset="0"/>
              </a:rPr>
              <a:t> </a:t>
            </a:r>
            <a:r>
              <a:rPr lang="de-DE" sz="2400" dirty="0" err="1">
                <a:solidFill>
                  <a:schemeClr val="tx1"/>
                </a:solidFill>
                <a:latin typeface="Arial Narrow" panose="020B0604020202020204" pitchFamily="34" charset="0"/>
                <a:cs typeface="Arial Narrow" panose="020B0604020202020204" pitchFamily="34" charset="0"/>
              </a:rPr>
              <a:t>difference</a:t>
            </a:r>
            <a:r>
              <a:rPr lang="de-DE" sz="2400" dirty="0">
                <a:solidFill>
                  <a:schemeClr val="tx1"/>
                </a:solidFill>
                <a:latin typeface="Arial Narrow" panose="020B0604020202020204" pitchFamily="34" charset="0"/>
                <a:cs typeface="Arial Narrow" panose="020B0604020202020204" pitchFamily="34" charset="0"/>
              </a:rPr>
              <a:t> </a:t>
            </a:r>
            <a:r>
              <a:rPr lang="de-DE" sz="2400" dirty="0" err="1">
                <a:solidFill>
                  <a:schemeClr val="tx1"/>
                </a:solidFill>
                <a:latin typeface="Arial Narrow" panose="020B0604020202020204" pitchFamily="34" charset="0"/>
                <a:cs typeface="Arial Narrow" panose="020B0604020202020204" pitchFamily="34" charset="0"/>
              </a:rPr>
              <a:t>depending</a:t>
            </a:r>
            <a:r>
              <a:rPr lang="de-DE" sz="2400" dirty="0">
                <a:solidFill>
                  <a:schemeClr val="tx1"/>
                </a:solidFill>
                <a:latin typeface="Arial Narrow" panose="020B0604020202020204" pitchFamily="34" charset="0"/>
                <a:cs typeface="Arial Narrow" panose="020B0604020202020204" pitchFamily="34" charset="0"/>
              </a:rPr>
              <a:t> on </a:t>
            </a:r>
            <a:r>
              <a:rPr lang="de-DE" sz="2400" dirty="0" err="1">
                <a:solidFill>
                  <a:schemeClr val="tx1"/>
                </a:solidFill>
                <a:latin typeface="Arial Narrow" panose="020B0604020202020204" pitchFamily="34" charset="0"/>
                <a:cs typeface="Arial Narrow" panose="020B0604020202020204" pitchFamily="34" charset="0"/>
              </a:rPr>
              <a:t>region</a:t>
            </a:r>
            <a:r>
              <a:rPr lang="de-DE" sz="2400" dirty="0">
                <a:solidFill>
                  <a:schemeClr val="tx1"/>
                </a:solidFill>
                <a:latin typeface="Arial Narrow" panose="020B0604020202020204" pitchFamily="34" charset="0"/>
                <a:cs typeface="Arial Narrow" panose="020B0604020202020204" pitchFamily="34" charset="0"/>
              </a:rPr>
              <a:t>/</a:t>
            </a:r>
            <a:r>
              <a:rPr lang="de-DE" sz="2400" dirty="0" err="1">
                <a:solidFill>
                  <a:schemeClr val="tx1"/>
                </a:solidFill>
                <a:latin typeface="Arial Narrow" panose="020B0604020202020204" pitchFamily="34" charset="0"/>
                <a:cs typeface="Arial Narrow" panose="020B0604020202020204" pitchFamily="34" charset="0"/>
              </a:rPr>
              <a:t>ethnicity</a:t>
            </a:r>
            <a:r>
              <a:rPr lang="de-DE" sz="2400" dirty="0">
                <a:solidFill>
                  <a:schemeClr val="tx1"/>
                </a:solidFill>
                <a:latin typeface="Arial Narrow" panose="020B0604020202020204" pitchFamily="34" charset="0"/>
                <a:cs typeface="Arial Narrow" panose="020B0604020202020204" pitchFamily="34" charset="0"/>
              </a:rPr>
              <a:t> and </a:t>
            </a:r>
            <a:r>
              <a:rPr lang="de-DE" sz="2400" dirty="0" err="1">
                <a:solidFill>
                  <a:schemeClr val="tx1"/>
                </a:solidFill>
                <a:latin typeface="Arial Narrow" panose="020B0604020202020204" pitchFamily="34" charset="0"/>
                <a:cs typeface="Arial Narrow" panose="020B0604020202020204" pitchFamily="34" charset="0"/>
              </a:rPr>
              <a:t>tumor</a:t>
            </a:r>
            <a:r>
              <a:rPr lang="de-DE" sz="2400" dirty="0">
                <a:solidFill>
                  <a:schemeClr val="tx1"/>
                </a:solidFill>
                <a:latin typeface="Arial Narrow" panose="020B0604020202020204" pitchFamily="34" charset="0"/>
                <a:cs typeface="Arial Narrow" panose="020B0604020202020204" pitchFamily="34" charset="0"/>
              </a:rPr>
              <a:t> </a:t>
            </a:r>
            <a:r>
              <a:rPr lang="de-DE" sz="2400" dirty="0" err="1">
                <a:solidFill>
                  <a:schemeClr val="tx1"/>
                </a:solidFill>
                <a:latin typeface="Arial Narrow" panose="020B0604020202020204" pitchFamily="34" charset="0"/>
                <a:cs typeface="Arial Narrow" panose="020B0604020202020204" pitchFamily="34" charset="0"/>
              </a:rPr>
              <a:t>location</a:t>
            </a:r>
            <a:r>
              <a:rPr lang="de-DE" sz="2400" dirty="0">
                <a:solidFill>
                  <a:schemeClr val="tx1"/>
                </a:solidFill>
                <a:latin typeface="Arial Narrow" panose="020B0604020202020204" pitchFamily="34" charset="0"/>
                <a:cs typeface="Arial Narrow" panose="020B0604020202020204" pitchFamily="34" charset="0"/>
              </a:rPr>
              <a:t> (</a:t>
            </a:r>
            <a:r>
              <a:rPr lang="de-DE" sz="2400" dirty="0" err="1">
                <a:solidFill>
                  <a:schemeClr val="tx1"/>
                </a:solidFill>
                <a:latin typeface="Arial Narrow" panose="020B0604020202020204" pitchFamily="34" charset="0"/>
                <a:cs typeface="Arial Narrow" panose="020B0604020202020204" pitchFamily="34" charset="0"/>
              </a:rPr>
              <a:t>trends</a:t>
            </a:r>
            <a:r>
              <a:rPr lang="de-DE" sz="2400" dirty="0">
                <a:solidFill>
                  <a:schemeClr val="tx1"/>
                </a:solidFill>
                <a:latin typeface="Arial Narrow" panose="020B0604020202020204" pitchFamily="34" charset="0"/>
                <a:cs typeface="Arial Narrow" panose="020B0604020202020204" pitchFamily="34" charset="0"/>
              </a:rPr>
              <a:t>?)</a:t>
            </a:r>
          </a:p>
          <a:p>
            <a:pPr lvl="1">
              <a:buFont typeface="Wingdings" pitchFamily="2" charset="2"/>
              <a:buChar char="à"/>
            </a:pPr>
            <a:endParaRPr lang="de-DE" sz="2400" dirty="0">
              <a:solidFill>
                <a:schemeClr val="tx1"/>
              </a:solidFill>
              <a:latin typeface="Arial Narrow" panose="020B0604020202020204" pitchFamily="34" charset="0"/>
              <a:cs typeface="Arial Narrow" panose="020B0604020202020204" pitchFamily="34" charset="0"/>
            </a:endParaRPr>
          </a:p>
          <a:p>
            <a:r>
              <a:rPr lang="de-DE" sz="2400" b="1" dirty="0" err="1">
                <a:solidFill>
                  <a:schemeClr val="tx1"/>
                </a:solidFill>
                <a:latin typeface="Arial Narrow" panose="020B0604020202020204" pitchFamily="34" charset="0"/>
                <a:cs typeface="Arial Narrow" panose="020B0604020202020204" pitchFamily="34" charset="0"/>
              </a:rPr>
              <a:t>No</a:t>
            </a:r>
            <a:r>
              <a:rPr lang="de-DE" sz="2400" b="1" dirty="0">
                <a:solidFill>
                  <a:schemeClr val="tx1"/>
                </a:solidFill>
                <a:latin typeface="Arial Narrow" panose="020B0604020202020204" pitchFamily="34" charset="0"/>
                <a:cs typeface="Arial Narrow" panose="020B0604020202020204" pitchFamily="34" charset="0"/>
              </a:rPr>
              <a:t> </a:t>
            </a:r>
            <a:r>
              <a:rPr lang="de-DE" sz="2400" b="1" dirty="0" err="1">
                <a:solidFill>
                  <a:schemeClr val="tx1"/>
                </a:solidFill>
                <a:latin typeface="Arial Narrow" panose="020B0604020202020204" pitchFamily="34" charset="0"/>
                <a:cs typeface="Arial Narrow" panose="020B0604020202020204" pitchFamily="34" charset="0"/>
              </a:rPr>
              <a:t>established</a:t>
            </a:r>
            <a:r>
              <a:rPr lang="de-DE" sz="2400" b="1" dirty="0">
                <a:solidFill>
                  <a:schemeClr val="tx1"/>
                </a:solidFill>
                <a:latin typeface="Arial Narrow" panose="020B0604020202020204" pitchFamily="34" charset="0"/>
                <a:cs typeface="Arial Narrow" panose="020B0604020202020204" pitchFamily="34" charset="0"/>
              </a:rPr>
              <a:t> </a:t>
            </a:r>
            <a:r>
              <a:rPr lang="de-DE" sz="2400" b="1" dirty="0" err="1">
                <a:solidFill>
                  <a:schemeClr val="tx1"/>
                </a:solidFill>
                <a:latin typeface="Arial Narrow" panose="020B0604020202020204" pitchFamily="34" charset="0"/>
                <a:cs typeface="Arial Narrow" panose="020B0604020202020204" pitchFamily="34" charset="0"/>
              </a:rPr>
              <a:t>biomarker</a:t>
            </a:r>
            <a:r>
              <a:rPr lang="de-DE" sz="2400" b="1" dirty="0">
                <a:solidFill>
                  <a:schemeClr val="tx1"/>
                </a:solidFill>
                <a:latin typeface="Arial Narrow" panose="020B0604020202020204" pitchFamily="34" charset="0"/>
                <a:cs typeface="Arial Narrow" panose="020B0604020202020204" pitchFamily="34" charset="0"/>
              </a:rPr>
              <a:t> </a:t>
            </a:r>
            <a:r>
              <a:rPr lang="de-DE" sz="2400" b="1" dirty="0" err="1">
                <a:solidFill>
                  <a:schemeClr val="tx1"/>
                </a:solidFill>
                <a:latin typeface="Arial Narrow" panose="020B0604020202020204" pitchFamily="34" charset="0"/>
                <a:cs typeface="Arial Narrow" panose="020B0604020202020204" pitchFamily="34" charset="0"/>
              </a:rPr>
              <a:t>to</a:t>
            </a:r>
            <a:r>
              <a:rPr lang="de-DE" sz="2400" b="1" dirty="0">
                <a:solidFill>
                  <a:schemeClr val="tx1"/>
                </a:solidFill>
                <a:latin typeface="Arial Narrow" panose="020B0604020202020204" pitchFamily="34" charset="0"/>
                <a:cs typeface="Arial Narrow" panose="020B0604020202020204" pitchFamily="34" charset="0"/>
              </a:rPr>
              <a:t> </a:t>
            </a:r>
            <a:r>
              <a:rPr lang="de-DE" sz="2400" b="1" dirty="0" err="1">
                <a:solidFill>
                  <a:schemeClr val="tx1"/>
                </a:solidFill>
                <a:latin typeface="Arial Narrow" panose="020B0604020202020204" pitchFamily="34" charset="0"/>
                <a:cs typeface="Arial Narrow" panose="020B0604020202020204" pitchFamily="34" charset="0"/>
              </a:rPr>
              <a:t>select</a:t>
            </a:r>
            <a:r>
              <a:rPr lang="de-DE" sz="2400" b="1" dirty="0">
                <a:solidFill>
                  <a:schemeClr val="tx1"/>
                </a:solidFill>
                <a:latin typeface="Arial Narrow" panose="020B0604020202020204" pitchFamily="34" charset="0"/>
                <a:cs typeface="Arial Narrow" panose="020B0604020202020204" pitchFamily="34" charset="0"/>
              </a:rPr>
              <a:t> </a:t>
            </a:r>
            <a:r>
              <a:rPr lang="de-DE" sz="2400" b="1" dirty="0" err="1">
                <a:solidFill>
                  <a:schemeClr val="tx1"/>
                </a:solidFill>
                <a:latin typeface="Arial Narrow" panose="020B0604020202020204" pitchFamily="34" charset="0"/>
                <a:cs typeface="Arial Narrow" panose="020B0604020202020204" pitchFamily="34" charset="0"/>
              </a:rPr>
              <a:t>for</a:t>
            </a:r>
            <a:r>
              <a:rPr lang="de-DE" sz="2400" b="1" dirty="0">
                <a:solidFill>
                  <a:schemeClr val="tx1"/>
                </a:solidFill>
                <a:latin typeface="Arial Narrow" panose="020B0604020202020204" pitchFamily="34" charset="0"/>
                <a:cs typeface="Arial Narrow" panose="020B0604020202020204" pitchFamily="34" charset="0"/>
              </a:rPr>
              <a:t> </a:t>
            </a:r>
            <a:r>
              <a:rPr lang="de-DE" sz="2400" b="1" dirty="0" err="1">
                <a:solidFill>
                  <a:schemeClr val="tx1"/>
                </a:solidFill>
                <a:latin typeface="Arial Narrow" panose="020B0604020202020204" pitchFamily="34" charset="0"/>
                <a:cs typeface="Arial Narrow" panose="020B0604020202020204" pitchFamily="34" charset="0"/>
              </a:rPr>
              <a:t>patients</a:t>
            </a:r>
            <a:r>
              <a:rPr lang="de-DE" sz="2400" b="1" dirty="0">
                <a:solidFill>
                  <a:schemeClr val="tx1"/>
                </a:solidFill>
                <a:latin typeface="Arial Narrow" panose="020B0604020202020204" pitchFamily="34" charset="0"/>
                <a:cs typeface="Arial Narrow" panose="020B0604020202020204" pitchFamily="34" charset="0"/>
              </a:rPr>
              <a:t> </a:t>
            </a:r>
            <a:r>
              <a:rPr lang="de-DE" sz="2400" b="1" dirty="0" err="1">
                <a:solidFill>
                  <a:schemeClr val="tx1"/>
                </a:solidFill>
                <a:latin typeface="Arial Narrow" panose="020B0604020202020204" pitchFamily="34" charset="0"/>
                <a:cs typeface="Arial Narrow" panose="020B0604020202020204" pitchFamily="34" charset="0"/>
              </a:rPr>
              <a:t>who</a:t>
            </a:r>
            <a:r>
              <a:rPr lang="de-DE" sz="2400" b="1" dirty="0">
                <a:solidFill>
                  <a:schemeClr val="tx1"/>
                </a:solidFill>
                <a:latin typeface="Arial Narrow" panose="020B0604020202020204" pitchFamily="34" charset="0"/>
                <a:cs typeface="Arial Narrow" panose="020B0604020202020204" pitchFamily="34" charset="0"/>
              </a:rPr>
              <a:t> </a:t>
            </a:r>
            <a:r>
              <a:rPr lang="de-DE" sz="2400" b="1" dirty="0" err="1">
                <a:solidFill>
                  <a:schemeClr val="tx1"/>
                </a:solidFill>
                <a:latin typeface="Arial Narrow" panose="020B0604020202020204" pitchFamily="34" charset="0"/>
                <a:cs typeface="Arial Narrow" panose="020B0604020202020204" pitchFamily="34" charset="0"/>
              </a:rPr>
              <a:t>benefit</a:t>
            </a:r>
            <a:r>
              <a:rPr lang="de-DE" sz="2400" b="1" dirty="0">
                <a:solidFill>
                  <a:schemeClr val="tx1"/>
                </a:solidFill>
                <a:latin typeface="Arial Narrow" panose="020B0604020202020204" pitchFamily="34" charset="0"/>
                <a:cs typeface="Arial Narrow" panose="020B0604020202020204" pitchFamily="34" charset="0"/>
              </a:rPr>
              <a:t> </a:t>
            </a:r>
            <a:r>
              <a:rPr lang="de-DE" sz="2400" b="1" dirty="0" err="1">
                <a:solidFill>
                  <a:schemeClr val="tx1"/>
                </a:solidFill>
                <a:latin typeface="Arial Narrow" panose="020B0604020202020204" pitchFamily="34" charset="0"/>
                <a:cs typeface="Arial Narrow" panose="020B0604020202020204" pitchFamily="34" charset="0"/>
              </a:rPr>
              <a:t>from</a:t>
            </a:r>
            <a:r>
              <a:rPr lang="de-DE" sz="2400" b="1" dirty="0">
                <a:solidFill>
                  <a:schemeClr val="tx1"/>
                </a:solidFill>
                <a:latin typeface="Arial Narrow" panose="020B0604020202020204" pitchFamily="34" charset="0"/>
                <a:cs typeface="Arial Narrow" panose="020B0604020202020204" pitchFamily="34" charset="0"/>
              </a:rPr>
              <a:t> IO</a:t>
            </a:r>
          </a:p>
          <a:p>
            <a:r>
              <a:rPr lang="de-DE" sz="2400" dirty="0">
                <a:solidFill>
                  <a:schemeClr val="tx1"/>
                </a:solidFill>
                <a:latin typeface="Arial Narrow" panose="020B0604020202020204" pitchFamily="34" charset="0"/>
                <a:cs typeface="Arial Narrow" panose="020B0604020202020204" pitchFamily="34" charset="0"/>
                <a:sym typeface="Wingdings" pitchFamily="2" charset="2"/>
              </a:rPr>
              <a:t> personal </a:t>
            </a:r>
            <a:r>
              <a:rPr lang="de-DE" sz="2400" dirty="0" err="1">
                <a:solidFill>
                  <a:schemeClr val="tx1"/>
                </a:solidFill>
                <a:latin typeface="Arial Narrow" panose="020B0604020202020204" pitchFamily="34" charset="0"/>
                <a:cs typeface="Arial Narrow" panose="020B0604020202020204" pitchFamily="34" charset="0"/>
                <a:sym typeface="Wingdings" pitchFamily="2" charset="2"/>
              </a:rPr>
              <a:t>opinion</a:t>
            </a:r>
            <a:r>
              <a:rPr lang="de-DE" sz="2400" dirty="0">
                <a:solidFill>
                  <a:schemeClr val="tx1"/>
                </a:solidFill>
                <a:latin typeface="Arial Narrow" panose="020B0604020202020204" pitchFamily="34" charset="0"/>
                <a:cs typeface="Arial Narrow" panose="020B0604020202020204" pitchFamily="34" charset="0"/>
                <a:sym typeface="Wingdings" pitchFamily="2" charset="2"/>
              </a:rPr>
              <a:t>: </a:t>
            </a:r>
            <a:r>
              <a:rPr lang="de-DE" sz="2400" dirty="0" err="1">
                <a:solidFill>
                  <a:schemeClr val="tx1"/>
                </a:solidFill>
                <a:latin typeface="Arial Narrow" panose="020B0604020202020204" pitchFamily="34" charset="0"/>
                <a:cs typeface="Arial Narrow" panose="020B0604020202020204" pitchFamily="34" charset="0"/>
                <a:sym typeface="Wingdings" pitchFamily="2" charset="2"/>
              </a:rPr>
              <a:t>there</a:t>
            </a:r>
            <a:r>
              <a:rPr lang="de-DE" sz="2400" dirty="0">
                <a:solidFill>
                  <a:schemeClr val="tx1"/>
                </a:solidFill>
                <a:latin typeface="Arial Narrow" panose="020B0604020202020204" pitchFamily="34" charset="0"/>
                <a:cs typeface="Arial Narrow" panose="020B0604020202020204" pitchFamily="34" charset="0"/>
                <a:sym typeface="Wingdings" pitchFamily="2" charset="2"/>
              </a:rPr>
              <a:t> will not </a:t>
            </a:r>
            <a:r>
              <a:rPr lang="de-DE" sz="2400" dirty="0" err="1">
                <a:solidFill>
                  <a:schemeClr val="tx1"/>
                </a:solidFill>
                <a:latin typeface="Arial Narrow" panose="020B0604020202020204" pitchFamily="34" charset="0"/>
                <a:cs typeface="Arial Narrow" panose="020B0604020202020204" pitchFamily="34" charset="0"/>
                <a:sym typeface="Wingdings" pitchFamily="2" charset="2"/>
              </a:rPr>
              <a:t>be</a:t>
            </a:r>
            <a:r>
              <a:rPr lang="de-DE" sz="2400" dirty="0">
                <a:solidFill>
                  <a:schemeClr val="tx1"/>
                </a:solidFill>
                <a:latin typeface="Arial Narrow" panose="020B0604020202020204" pitchFamily="34" charset="0"/>
                <a:cs typeface="Arial Narrow" panose="020B0604020202020204" pitchFamily="34" charset="0"/>
                <a:sym typeface="Wingdings" pitchFamily="2" charset="2"/>
              </a:rPr>
              <a:t> a “</a:t>
            </a:r>
            <a:r>
              <a:rPr lang="de-DE" sz="2400" dirty="0" err="1">
                <a:solidFill>
                  <a:schemeClr val="tx1"/>
                </a:solidFill>
                <a:latin typeface="Arial Narrow" panose="020B0604020202020204" pitchFamily="34" charset="0"/>
                <a:cs typeface="Arial Narrow" panose="020B0604020202020204" pitchFamily="34" charset="0"/>
                <a:sym typeface="Wingdings" pitchFamily="2" charset="2"/>
              </a:rPr>
              <a:t>single</a:t>
            </a:r>
            <a:r>
              <a:rPr lang="de-DE" sz="2400" dirty="0">
                <a:solidFill>
                  <a:schemeClr val="tx1"/>
                </a:solidFill>
                <a:latin typeface="Arial Narrow" panose="020B0604020202020204" pitchFamily="34" charset="0"/>
                <a:cs typeface="Arial Narrow" panose="020B0604020202020204" pitchFamily="34" charset="0"/>
                <a:sym typeface="Wingdings" pitchFamily="2" charset="2"/>
              </a:rPr>
              <a:t>” </a:t>
            </a:r>
            <a:r>
              <a:rPr lang="de-DE" sz="2400" dirty="0" err="1">
                <a:solidFill>
                  <a:schemeClr val="tx1"/>
                </a:solidFill>
                <a:latin typeface="Arial Narrow" panose="020B0604020202020204" pitchFamily="34" charset="0"/>
                <a:cs typeface="Arial Narrow" panose="020B0604020202020204" pitchFamily="34" charset="0"/>
                <a:sym typeface="Wingdings" pitchFamily="2" charset="2"/>
              </a:rPr>
              <a:t>marker</a:t>
            </a:r>
            <a:endParaRPr lang="de-DE" sz="2400" dirty="0">
              <a:solidFill>
                <a:schemeClr val="tx1"/>
              </a:solidFill>
              <a:latin typeface="Arial Narrow" panose="020B0604020202020204" pitchFamily="34" charset="0"/>
              <a:cs typeface="Arial Narrow" panose="020B0604020202020204" pitchFamily="34" charset="0"/>
            </a:endParaRPr>
          </a:p>
          <a:p>
            <a:endParaRPr lang="de-DE" sz="2400" dirty="0">
              <a:solidFill>
                <a:schemeClr val="tx1"/>
              </a:solidFill>
              <a:latin typeface="Arial Narrow" panose="020B0604020202020204" pitchFamily="34" charset="0"/>
              <a:cs typeface="Arial Narrow" panose="020B0604020202020204" pitchFamily="34" charset="0"/>
            </a:endParaRPr>
          </a:p>
          <a:p>
            <a:r>
              <a:rPr lang="de-DE" sz="2400" b="1" dirty="0">
                <a:solidFill>
                  <a:schemeClr val="tx1"/>
                </a:solidFill>
                <a:latin typeface="Arial Narrow" panose="020B0604020202020204" pitchFamily="34" charset="0"/>
                <a:cs typeface="Arial Narrow" panose="020B0604020202020204" pitchFamily="34" charset="0"/>
              </a:rPr>
              <a:t>Data </a:t>
            </a:r>
            <a:r>
              <a:rPr lang="de-DE" sz="2400" b="1" dirty="0" err="1">
                <a:solidFill>
                  <a:schemeClr val="tx1"/>
                </a:solidFill>
                <a:latin typeface="Arial Narrow" panose="020B0604020202020204" pitchFamily="34" charset="0"/>
                <a:cs typeface="Arial Narrow" panose="020B0604020202020204" pitchFamily="34" charset="0"/>
              </a:rPr>
              <a:t>expected</a:t>
            </a:r>
            <a:r>
              <a:rPr lang="de-DE" sz="2400" b="1" dirty="0">
                <a:solidFill>
                  <a:schemeClr val="tx1"/>
                </a:solidFill>
                <a:latin typeface="Arial Narrow" panose="020B0604020202020204" pitchFamily="34" charset="0"/>
                <a:cs typeface="Arial Narrow" panose="020B0604020202020204" pitchFamily="34" charset="0"/>
              </a:rPr>
              <a:t> in </a:t>
            </a:r>
            <a:r>
              <a:rPr lang="de-DE" sz="2400" b="1" dirty="0" err="1">
                <a:solidFill>
                  <a:schemeClr val="tx1"/>
                </a:solidFill>
                <a:latin typeface="Arial Narrow" panose="020B0604020202020204" pitchFamily="34" charset="0"/>
                <a:cs typeface="Arial Narrow" panose="020B0604020202020204" pitchFamily="34" charset="0"/>
              </a:rPr>
              <a:t>the</a:t>
            </a:r>
            <a:r>
              <a:rPr lang="de-DE" sz="2400" b="1" dirty="0">
                <a:solidFill>
                  <a:schemeClr val="tx1"/>
                </a:solidFill>
                <a:latin typeface="Arial Narrow" panose="020B0604020202020204" pitchFamily="34" charset="0"/>
                <a:cs typeface="Arial Narrow" panose="020B0604020202020204" pitchFamily="34" charset="0"/>
              </a:rPr>
              <a:t> </a:t>
            </a:r>
            <a:r>
              <a:rPr lang="de-DE" sz="2400" b="1" dirty="0" err="1">
                <a:solidFill>
                  <a:schemeClr val="tx1"/>
                </a:solidFill>
                <a:latin typeface="Arial Narrow" panose="020B0604020202020204" pitchFamily="34" charset="0"/>
                <a:cs typeface="Arial Narrow" panose="020B0604020202020204" pitchFamily="34" charset="0"/>
              </a:rPr>
              <a:t>near</a:t>
            </a:r>
            <a:r>
              <a:rPr lang="de-DE" sz="2400" b="1" dirty="0">
                <a:solidFill>
                  <a:schemeClr val="tx1"/>
                </a:solidFill>
                <a:latin typeface="Arial Narrow" panose="020B0604020202020204" pitchFamily="34" charset="0"/>
                <a:cs typeface="Arial Narrow" panose="020B0604020202020204" pitchFamily="34" charset="0"/>
              </a:rPr>
              <a:t> </a:t>
            </a:r>
            <a:r>
              <a:rPr lang="de-DE" sz="2400" b="1" dirty="0" err="1">
                <a:solidFill>
                  <a:schemeClr val="tx1"/>
                </a:solidFill>
                <a:latin typeface="Arial Narrow" panose="020B0604020202020204" pitchFamily="34" charset="0"/>
                <a:cs typeface="Arial Narrow" panose="020B0604020202020204" pitchFamily="34" charset="0"/>
              </a:rPr>
              <a:t>future</a:t>
            </a:r>
            <a:r>
              <a:rPr lang="de-DE" sz="2400" b="1" dirty="0">
                <a:solidFill>
                  <a:schemeClr val="tx1"/>
                </a:solidFill>
                <a:latin typeface="Arial Narrow" panose="020B0604020202020204" pitchFamily="34" charset="0"/>
                <a:cs typeface="Arial Narrow" panose="020B0604020202020204" pitchFamily="34" charset="0"/>
              </a:rPr>
              <a:t>:</a:t>
            </a:r>
          </a:p>
          <a:p>
            <a:r>
              <a:rPr lang="de-DE" sz="2400" dirty="0">
                <a:solidFill>
                  <a:schemeClr val="tx1"/>
                </a:solidFill>
                <a:latin typeface="Arial Narrow" panose="020B0604020202020204" pitchFamily="34" charset="0"/>
                <a:cs typeface="Arial Narrow" panose="020B0604020202020204" pitchFamily="34" charset="0"/>
              </a:rPr>
              <a:t>KN-966 (</a:t>
            </a:r>
            <a:r>
              <a:rPr lang="de-DE" sz="2400" dirty="0" err="1">
                <a:solidFill>
                  <a:schemeClr val="tx1"/>
                </a:solidFill>
                <a:latin typeface="Arial Narrow" panose="020B0604020202020204" pitchFamily="34" charset="0"/>
                <a:cs typeface="Arial Narrow" panose="020B0604020202020204" pitchFamily="34" charset="0"/>
              </a:rPr>
              <a:t>Gem</a:t>
            </a:r>
            <a:r>
              <a:rPr lang="de-DE" sz="2400" dirty="0">
                <a:solidFill>
                  <a:schemeClr val="tx1"/>
                </a:solidFill>
                <a:latin typeface="Arial Narrow" panose="020B0604020202020204" pitchFamily="34" charset="0"/>
                <a:cs typeface="Arial Narrow" panose="020B0604020202020204" pitchFamily="34" charset="0"/>
              </a:rPr>
              <a:t>/Cis +- </a:t>
            </a:r>
            <a:r>
              <a:rPr lang="de-DE" sz="2400" dirty="0" err="1">
                <a:solidFill>
                  <a:schemeClr val="tx1"/>
                </a:solidFill>
                <a:latin typeface="Arial Narrow" panose="020B0604020202020204" pitchFamily="34" charset="0"/>
                <a:cs typeface="Arial Narrow" panose="020B0604020202020204" pitchFamily="34" charset="0"/>
              </a:rPr>
              <a:t>Pembro</a:t>
            </a:r>
            <a:r>
              <a:rPr lang="de-DE" sz="2400" dirty="0">
                <a:solidFill>
                  <a:schemeClr val="tx1"/>
                </a:solidFill>
                <a:latin typeface="Arial Narrow" panose="020B0604020202020204" pitchFamily="34" charset="0"/>
                <a:cs typeface="Arial Narrow" panose="020B0604020202020204" pitchFamily="34" charset="0"/>
              </a:rPr>
              <a:t>) </a:t>
            </a:r>
          </a:p>
          <a:p>
            <a:r>
              <a:rPr lang="de-DE" sz="2400" dirty="0" err="1">
                <a:solidFill>
                  <a:schemeClr val="tx1"/>
                </a:solidFill>
                <a:latin typeface="Arial Narrow" panose="020B0604020202020204" pitchFamily="34" charset="0"/>
                <a:cs typeface="Arial Narrow" panose="020B0604020202020204" pitchFamily="34" charset="0"/>
              </a:rPr>
              <a:t>Combination</a:t>
            </a:r>
            <a:r>
              <a:rPr lang="de-DE" sz="2400" dirty="0">
                <a:solidFill>
                  <a:schemeClr val="tx1"/>
                </a:solidFill>
                <a:latin typeface="Arial Narrow" panose="020B0604020202020204" pitchFamily="34" charset="0"/>
                <a:cs typeface="Arial Narrow" panose="020B0604020202020204" pitchFamily="34" charset="0"/>
              </a:rPr>
              <a:t> </a:t>
            </a:r>
            <a:r>
              <a:rPr lang="de-DE" sz="2400" dirty="0" err="1">
                <a:solidFill>
                  <a:schemeClr val="tx1"/>
                </a:solidFill>
                <a:latin typeface="Arial Narrow" panose="020B0604020202020204" pitchFamily="34" charset="0"/>
                <a:cs typeface="Arial Narrow" panose="020B0604020202020204" pitchFamily="34" charset="0"/>
              </a:rPr>
              <a:t>of</a:t>
            </a:r>
            <a:r>
              <a:rPr lang="de-DE" sz="2400" dirty="0">
                <a:solidFill>
                  <a:schemeClr val="tx1"/>
                </a:solidFill>
                <a:latin typeface="Arial Narrow" panose="020B0604020202020204" pitchFamily="34" charset="0"/>
                <a:cs typeface="Arial Narrow" panose="020B0604020202020204" pitchFamily="34" charset="0"/>
              </a:rPr>
              <a:t> IO+ </a:t>
            </a:r>
            <a:r>
              <a:rPr lang="de-DE" sz="2400" dirty="0" err="1">
                <a:solidFill>
                  <a:schemeClr val="tx1"/>
                </a:solidFill>
                <a:latin typeface="Arial Narrow" panose="020B0604020202020204" pitchFamily="34" charset="0"/>
                <a:cs typeface="Arial Narrow" panose="020B0604020202020204" pitchFamily="34" charset="0"/>
              </a:rPr>
              <a:t>locoregional</a:t>
            </a:r>
            <a:r>
              <a:rPr lang="de-DE" sz="2400" dirty="0">
                <a:solidFill>
                  <a:schemeClr val="tx1"/>
                </a:solidFill>
                <a:latin typeface="Arial Narrow" panose="020B0604020202020204" pitchFamily="34" charset="0"/>
                <a:cs typeface="Arial Narrow" panose="020B0604020202020204" pitchFamily="34" charset="0"/>
              </a:rPr>
              <a:t> </a:t>
            </a:r>
            <a:r>
              <a:rPr lang="de-DE" sz="2400" dirty="0" err="1">
                <a:solidFill>
                  <a:schemeClr val="tx1"/>
                </a:solidFill>
                <a:latin typeface="Arial Narrow" panose="020B0604020202020204" pitchFamily="34" charset="0"/>
                <a:cs typeface="Arial Narrow" panose="020B0604020202020204" pitchFamily="34" charset="0"/>
              </a:rPr>
              <a:t>therapies</a:t>
            </a:r>
            <a:endParaRPr lang="de-DE" sz="2400" dirty="0">
              <a:solidFill>
                <a:schemeClr val="tx1"/>
              </a:solidFill>
              <a:latin typeface="Arial Narrow" panose="020B0604020202020204" pitchFamily="34" charset="0"/>
              <a:cs typeface="Arial Narrow" panose="020B0604020202020204" pitchFamily="34" charset="0"/>
            </a:endParaRPr>
          </a:p>
          <a:p>
            <a:r>
              <a:rPr lang="de-DE" sz="2400" dirty="0" err="1">
                <a:solidFill>
                  <a:schemeClr val="tx1"/>
                </a:solidFill>
                <a:latin typeface="Arial Narrow" panose="020B0604020202020204" pitchFamily="34" charset="0"/>
                <a:cs typeface="Arial Narrow" panose="020B0604020202020204" pitchFamily="34" charset="0"/>
              </a:rPr>
              <a:t>Combination</a:t>
            </a:r>
            <a:r>
              <a:rPr lang="de-DE" sz="2400" dirty="0">
                <a:solidFill>
                  <a:schemeClr val="tx1"/>
                </a:solidFill>
                <a:latin typeface="Arial Narrow" panose="020B0604020202020204" pitchFamily="34" charset="0"/>
                <a:cs typeface="Arial Narrow" panose="020B0604020202020204" pitchFamily="34" charset="0"/>
              </a:rPr>
              <a:t> </a:t>
            </a:r>
            <a:r>
              <a:rPr lang="de-DE" sz="2400" dirty="0" err="1">
                <a:solidFill>
                  <a:schemeClr val="tx1"/>
                </a:solidFill>
                <a:latin typeface="Arial Narrow" panose="020B0604020202020204" pitchFamily="34" charset="0"/>
                <a:cs typeface="Arial Narrow" panose="020B0604020202020204" pitchFamily="34" charset="0"/>
              </a:rPr>
              <a:t>of</a:t>
            </a:r>
            <a:r>
              <a:rPr lang="de-DE" sz="2400" dirty="0">
                <a:solidFill>
                  <a:schemeClr val="tx1"/>
                </a:solidFill>
                <a:latin typeface="Arial Narrow" panose="020B0604020202020204" pitchFamily="34" charset="0"/>
                <a:cs typeface="Arial Narrow" panose="020B0604020202020204" pitchFamily="34" charset="0"/>
              </a:rPr>
              <a:t> IO+ </a:t>
            </a:r>
            <a:r>
              <a:rPr lang="de-DE" sz="2400" dirty="0" err="1">
                <a:solidFill>
                  <a:schemeClr val="tx1"/>
                </a:solidFill>
                <a:latin typeface="Arial Narrow" panose="020B0604020202020204" pitchFamily="34" charset="0"/>
                <a:cs typeface="Arial Narrow" panose="020B0604020202020204" pitchFamily="34" charset="0"/>
              </a:rPr>
              <a:t>targeted</a:t>
            </a:r>
            <a:r>
              <a:rPr lang="de-DE" sz="2400" dirty="0">
                <a:solidFill>
                  <a:schemeClr val="tx1"/>
                </a:solidFill>
                <a:latin typeface="Arial Narrow" panose="020B0604020202020204" pitchFamily="34" charset="0"/>
                <a:cs typeface="Arial Narrow" panose="020B0604020202020204" pitchFamily="34" charset="0"/>
              </a:rPr>
              <a:t> </a:t>
            </a:r>
            <a:r>
              <a:rPr lang="de-DE" sz="2400" dirty="0" err="1">
                <a:solidFill>
                  <a:schemeClr val="tx1"/>
                </a:solidFill>
                <a:latin typeface="Arial Narrow" panose="020B0604020202020204" pitchFamily="34" charset="0"/>
                <a:cs typeface="Arial Narrow" panose="020B0604020202020204" pitchFamily="34" charset="0"/>
              </a:rPr>
              <a:t>therapies</a:t>
            </a:r>
            <a:endParaRPr lang="de-DE" sz="2400" dirty="0">
              <a:solidFill>
                <a:schemeClr val="tx1"/>
              </a:solidFill>
              <a:latin typeface="Arial Narrow" panose="020B0604020202020204" pitchFamily="34" charset="0"/>
              <a:cs typeface="Arial Narrow" panose="020B0604020202020204" pitchFamily="34" charset="0"/>
            </a:endParaRPr>
          </a:p>
          <a:p>
            <a:endParaRPr lang="de-DE" sz="2400" dirty="0">
              <a:solidFill>
                <a:schemeClr val="tx1"/>
              </a:solidFill>
              <a:latin typeface="Arial Narrow" panose="020B0604020202020204" pitchFamily="34" charset="0"/>
              <a:cs typeface="Arial Narrow" panose="020B0604020202020204" pitchFamily="34" charset="0"/>
            </a:endParaRPr>
          </a:p>
        </p:txBody>
      </p:sp>
    </p:spTree>
    <p:extLst>
      <p:ext uri="{BB962C8B-B14F-4D97-AF65-F5344CB8AC3E}">
        <p14:creationId xmlns:p14="http://schemas.microsoft.com/office/powerpoint/2010/main" val="168276124"/>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46A9BE-9CB6-C7A2-56AC-F6ECE26D92C6}"/>
              </a:ext>
            </a:extLst>
          </p:cNvPr>
          <p:cNvSpPr>
            <a:spLocks noGrp="1"/>
          </p:cNvSpPr>
          <p:nvPr>
            <p:ph type="title"/>
          </p:nvPr>
        </p:nvSpPr>
        <p:spPr>
          <a:xfrm>
            <a:off x="1035575" y="1869897"/>
            <a:ext cx="10358967" cy="2130603"/>
          </a:xfrm>
        </p:spPr>
        <p:txBody>
          <a:bodyPr/>
          <a:lstStyle/>
          <a:p>
            <a:r>
              <a:rPr lang="en-US" sz="3600" dirty="0"/>
              <a:t>MODULE 4: </a:t>
            </a:r>
            <a:r>
              <a:rPr lang="en-US" sz="3600" dirty="0">
                <a:solidFill>
                  <a:srgbClr val="0432FF"/>
                </a:solidFill>
              </a:rPr>
              <a:t>Integration of Targeted Therapy into the Management of Advanced BTCs — Dr Goyal</a:t>
            </a:r>
          </a:p>
        </p:txBody>
      </p:sp>
    </p:spTree>
    <p:extLst>
      <p:ext uri="{BB962C8B-B14F-4D97-AF65-F5344CB8AC3E}">
        <p14:creationId xmlns:p14="http://schemas.microsoft.com/office/powerpoint/2010/main" val="127376975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6D99EA41-950A-FC4F-9049-A7DC9674DA45}"/>
              </a:ext>
            </a:extLst>
          </p:cNvPr>
          <p:cNvSpPr/>
          <p:nvPr/>
        </p:nvSpPr>
        <p:spPr bwMode="auto">
          <a:xfrm>
            <a:off x="3860100" y="578841"/>
            <a:ext cx="7795034" cy="1799713"/>
          </a:xfrm>
          <a:prstGeom prst="rect">
            <a:avLst/>
          </a:prstGeom>
          <a:solidFill>
            <a:srgbClr val="1599B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S PGothic" charset="0"/>
              <a:cs typeface="+mn-cs"/>
            </a:endParaRPr>
          </a:p>
        </p:txBody>
      </p:sp>
      <p:sp>
        <p:nvSpPr>
          <p:cNvPr id="14" name="Title 1">
            <a:extLst>
              <a:ext uri="{FF2B5EF4-FFF2-40B4-BE49-F238E27FC236}">
                <a16:creationId xmlns:a16="http://schemas.microsoft.com/office/drawing/2014/main" id="{95846D9E-D007-AA40-B7BA-36E748F96750}"/>
              </a:ext>
            </a:extLst>
          </p:cNvPr>
          <p:cNvSpPr>
            <a:spLocks noGrp="1"/>
          </p:cNvSpPr>
          <p:nvPr>
            <p:ph type="title"/>
          </p:nvPr>
        </p:nvSpPr>
        <p:spPr>
          <a:xfrm>
            <a:off x="3984133" y="1027786"/>
            <a:ext cx="7647253" cy="1095726"/>
          </a:xfrm>
        </p:spPr>
        <p:txBody>
          <a:bodyPr lIns="91440" tIns="91440" rIns="91440" bIns="182880"/>
          <a:lstStyle/>
          <a:p>
            <a:pPr algn="l"/>
            <a:r>
              <a:rPr lang="en-US" sz="2800" dirty="0">
                <a:solidFill>
                  <a:schemeClr val="bg1"/>
                </a:solidFill>
              </a:rPr>
              <a:t>77-year-old woman with intrahepatic cholangiocarcinoma considered unresectable — an FGFR2-KIAA1598 fusion </a:t>
            </a:r>
            <a:r>
              <a:rPr lang="en-US" sz="2800">
                <a:solidFill>
                  <a:schemeClr val="bg1"/>
                </a:solidFill>
              </a:rPr>
              <a:t>was detected </a:t>
            </a:r>
            <a:r>
              <a:rPr lang="en-US" sz="2800" dirty="0">
                <a:solidFill>
                  <a:schemeClr val="bg1"/>
                </a:solidFill>
              </a:rPr>
              <a:t>on NGS</a:t>
            </a:r>
            <a:endParaRPr lang="en-US" sz="2600" dirty="0">
              <a:solidFill>
                <a:schemeClr val="bg1"/>
              </a:solidFill>
              <a:latin typeface="Calibri" panose="020F0502020204030204" pitchFamily="34" charset="0"/>
              <a:cs typeface="Calibri" panose="020F0502020204030204" pitchFamily="34" charset="0"/>
            </a:endParaRPr>
          </a:p>
        </p:txBody>
      </p:sp>
      <p:sp>
        <p:nvSpPr>
          <p:cNvPr id="7" name="Rectangle 6">
            <a:extLst>
              <a:ext uri="{FF2B5EF4-FFF2-40B4-BE49-F238E27FC236}">
                <a16:creationId xmlns:a16="http://schemas.microsoft.com/office/drawing/2014/main" id="{C3C85040-99B6-270D-1813-0E9EFC13D4FF}"/>
              </a:ext>
            </a:extLst>
          </p:cNvPr>
          <p:cNvSpPr/>
          <p:nvPr/>
        </p:nvSpPr>
        <p:spPr bwMode="auto">
          <a:xfrm>
            <a:off x="3873956" y="3612800"/>
            <a:ext cx="7795034" cy="1799713"/>
          </a:xfrm>
          <a:prstGeom prst="rect">
            <a:avLst/>
          </a:prstGeom>
          <a:solidFill>
            <a:srgbClr val="1599B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S PGothic" charset="0"/>
              <a:cs typeface="+mn-cs"/>
            </a:endParaRPr>
          </a:p>
        </p:txBody>
      </p:sp>
      <p:sp>
        <p:nvSpPr>
          <p:cNvPr id="9" name="Title 1">
            <a:extLst>
              <a:ext uri="{FF2B5EF4-FFF2-40B4-BE49-F238E27FC236}">
                <a16:creationId xmlns:a16="http://schemas.microsoft.com/office/drawing/2014/main" id="{78621A71-974F-CBB6-0411-9258E996E147}"/>
              </a:ext>
            </a:extLst>
          </p:cNvPr>
          <p:cNvSpPr txBox="1">
            <a:spLocks/>
          </p:cNvSpPr>
          <p:nvPr/>
        </p:nvSpPr>
        <p:spPr bwMode="auto">
          <a:xfrm>
            <a:off x="4056045" y="4074918"/>
            <a:ext cx="7647253" cy="1095726"/>
          </a:xfrm>
          <a:prstGeom prst="rect">
            <a:avLst/>
          </a:prstGeom>
          <a:noFill/>
          <a:ln w="9525">
            <a:noFill/>
            <a:miter lim="800000"/>
            <a:headEnd/>
            <a:tailEnd/>
          </a:ln>
        </p:spPr>
        <p:txBody>
          <a:bodyPr vert="horz" wrap="square" lIns="91440" tIns="91440" rIns="91440" bIns="18288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l"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600" b="1" i="0" u="none" strike="noStrike" kern="0" cap="none" spc="0" normalizeH="0" baseline="0" noProof="0" dirty="0">
                <a:ln>
                  <a:noFill/>
                </a:ln>
                <a:solidFill>
                  <a:srgbClr val="FFFFFF"/>
                </a:solidFill>
                <a:effectLst/>
                <a:uLnTx/>
                <a:uFillTx/>
                <a:latin typeface="Calibri"/>
                <a:ea typeface="MS PGothic" pitchFamily="34" charset="-128"/>
                <a:cs typeface="Calibri"/>
              </a:rPr>
              <a:t>60-year-old man with metastatic cholangiocarcinoma with severe muscle pain on </a:t>
            </a:r>
            <a:r>
              <a:rPr kumimoji="0" lang="en-US" sz="2600" b="1" i="0" u="none" strike="noStrike" kern="0" cap="none" spc="0" normalizeH="0" baseline="0" noProof="0" dirty="0" err="1">
                <a:ln>
                  <a:noFill/>
                </a:ln>
                <a:solidFill>
                  <a:srgbClr val="FFFFFF"/>
                </a:solidFill>
                <a:effectLst/>
                <a:uLnTx/>
                <a:uFillTx/>
                <a:latin typeface="Calibri"/>
                <a:ea typeface="MS PGothic" pitchFamily="34" charset="-128"/>
                <a:cs typeface="Calibri"/>
              </a:rPr>
              <a:t>pemigatinib</a:t>
            </a:r>
            <a:r>
              <a:rPr kumimoji="0" lang="en-US" sz="2600" b="1" i="0" u="none" strike="noStrike" kern="0" cap="none" spc="0" normalizeH="0" baseline="0" noProof="0" dirty="0">
                <a:ln>
                  <a:noFill/>
                </a:ln>
                <a:solidFill>
                  <a:srgbClr val="FFFFFF"/>
                </a:solidFill>
                <a:effectLst/>
                <a:uLnTx/>
                <a:uFillTx/>
                <a:latin typeface="Calibri"/>
                <a:ea typeface="MS PGothic" pitchFamily="34" charset="-128"/>
                <a:cs typeface="Calibri"/>
              </a:rPr>
              <a:t>   </a:t>
            </a:r>
          </a:p>
        </p:txBody>
      </p:sp>
      <p:grpSp>
        <p:nvGrpSpPr>
          <p:cNvPr id="10" name="Group 9">
            <a:extLst>
              <a:ext uri="{FF2B5EF4-FFF2-40B4-BE49-F238E27FC236}">
                <a16:creationId xmlns:a16="http://schemas.microsoft.com/office/drawing/2014/main" id="{C44A41B5-6632-3C20-F421-A8E8C48B439A}"/>
              </a:ext>
            </a:extLst>
          </p:cNvPr>
          <p:cNvGrpSpPr/>
          <p:nvPr/>
        </p:nvGrpSpPr>
        <p:grpSpPr>
          <a:xfrm>
            <a:off x="218661" y="3329609"/>
            <a:ext cx="3462723" cy="2988856"/>
            <a:chOff x="218661" y="3329609"/>
            <a:chExt cx="3462723" cy="2988856"/>
          </a:xfrm>
        </p:grpSpPr>
        <p:sp>
          <p:nvSpPr>
            <p:cNvPr id="5" name="TextBox 4">
              <a:extLst>
                <a:ext uri="{FF2B5EF4-FFF2-40B4-BE49-F238E27FC236}">
                  <a16:creationId xmlns:a16="http://schemas.microsoft.com/office/drawing/2014/main" id="{FB9F9004-4DDC-E344-3174-A04D4F0F0B20}"/>
                </a:ext>
              </a:extLst>
            </p:cNvPr>
            <p:cNvSpPr txBox="1"/>
            <p:nvPr/>
          </p:nvSpPr>
          <p:spPr>
            <a:xfrm>
              <a:off x="536866" y="5395135"/>
              <a:ext cx="3144518" cy="92333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2060"/>
                  </a:solidFill>
                  <a:effectLst/>
                  <a:uLnTx/>
                  <a:uFillTx/>
                  <a:latin typeface="Calibri"/>
                  <a:ea typeface="+mn-ea"/>
                  <a:cs typeface="+mn-cs"/>
                </a:rPr>
                <a:t>Dr Joseph Martin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2060"/>
                  </a:solidFill>
                  <a:effectLst/>
                  <a:uLnTx/>
                  <a:uFillTx/>
                  <a:latin typeface="Calibri"/>
                  <a:ea typeface="+mn-ea"/>
                  <a:cs typeface="+mn-cs"/>
                </a:rPr>
                <a:t>(Tyler, Texa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2060"/>
                </a:solidFill>
                <a:effectLst/>
                <a:uLnTx/>
                <a:uFillTx/>
                <a:latin typeface="Calibri"/>
                <a:ea typeface="+mn-ea"/>
                <a:cs typeface="+mn-cs"/>
              </a:endParaRPr>
            </a:p>
          </p:txBody>
        </p:sp>
        <p:sp>
          <p:nvSpPr>
            <p:cNvPr id="6" name="TextBox 5">
              <a:extLst>
                <a:ext uri="{FF2B5EF4-FFF2-40B4-BE49-F238E27FC236}">
                  <a16:creationId xmlns:a16="http://schemas.microsoft.com/office/drawing/2014/main" id="{3FA0FF52-44CE-B0AF-1FF3-C2EFED822457}"/>
                </a:ext>
              </a:extLst>
            </p:cNvPr>
            <p:cNvSpPr txBox="1"/>
            <p:nvPr/>
          </p:nvSpPr>
          <p:spPr>
            <a:xfrm>
              <a:off x="218661" y="3329609"/>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p:txBody>
        </p:sp>
      </p:grpSp>
      <p:grpSp>
        <p:nvGrpSpPr>
          <p:cNvPr id="11" name="Group 10">
            <a:extLst>
              <a:ext uri="{FF2B5EF4-FFF2-40B4-BE49-F238E27FC236}">
                <a16:creationId xmlns:a16="http://schemas.microsoft.com/office/drawing/2014/main" id="{16309D43-4535-46F0-2E7F-80430B570E4D}"/>
              </a:ext>
            </a:extLst>
          </p:cNvPr>
          <p:cNvGrpSpPr/>
          <p:nvPr/>
        </p:nvGrpSpPr>
        <p:grpSpPr>
          <a:xfrm>
            <a:off x="216375" y="327992"/>
            <a:ext cx="3462067" cy="2743621"/>
            <a:chOff x="218661" y="3329609"/>
            <a:chExt cx="3462067" cy="2743621"/>
          </a:xfrm>
        </p:grpSpPr>
        <p:sp>
          <p:nvSpPr>
            <p:cNvPr id="12" name="TextBox 11">
              <a:extLst>
                <a:ext uri="{FF2B5EF4-FFF2-40B4-BE49-F238E27FC236}">
                  <a16:creationId xmlns:a16="http://schemas.microsoft.com/office/drawing/2014/main" id="{418E3E79-21D4-62C1-6526-D6A408783687}"/>
                </a:ext>
              </a:extLst>
            </p:cNvPr>
            <p:cNvSpPr txBox="1"/>
            <p:nvPr/>
          </p:nvSpPr>
          <p:spPr>
            <a:xfrm>
              <a:off x="536210" y="5426899"/>
              <a:ext cx="3144518" cy="64633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2060"/>
                  </a:solidFill>
                  <a:effectLst/>
                  <a:uLnTx/>
                  <a:uFillTx/>
                  <a:latin typeface="Calibri"/>
                  <a:ea typeface="+mn-ea"/>
                  <a:cs typeface="+mn-cs"/>
                </a:rPr>
                <a:t>Dr Lionel </a:t>
              </a:r>
              <a:r>
                <a:rPr kumimoji="0" lang="en-US" sz="1800" b="1" i="0" u="none" strike="noStrike" kern="1200" cap="none" spc="0" normalizeH="0" baseline="0" noProof="0" dirty="0" err="1">
                  <a:ln>
                    <a:noFill/>
                  </a:ln>
                  <a:solidFill>
                    <a:srgbClr val="002060"/>
                  </a:solidFill>
                  <a:effectLst/>
                  <a:uLnTx/>
                  <a:uFillTx/>
                  <a:latin typeface="Calibri"/>
                  <a:ea typeface="+mn-ea"/>
                  <a:cs typeface="+mn-cs"/>
                </a:rPr>
                <a:t>Kankeu</a:t>
              </a:r>
              <a:r>
                <a:rPr kumimoji="0" lang="en-US" sz="1800" b="1" i="0" u="none" strike="noStrike" kern="1200" cap="none" spc="0" normalizeH="0" baseline="0" noProof="0" dirty="0">
                  <a:ln>
                    <a:noFill/>
                  </a:ln>
                  <a:solidFill>
                    <a:srgbClr val="002060"/>
                  </a:solidFill>
                  <a:effectLst/>
                  <a:uLnTx/>
                  <a:uFillTx/>
                  <a:latin typeface="Calibri"/>
                  <a:ea typeface="+mn-ea"/>
                  <a:cs typeface="+mn-cs"/>
                </a:rPr>
                <a:t> </a:t>
              </a:r>
              <a:r>
                <a:rPr kumimoji="0" lang="en-US" sz="1800" b="1" i="0" u="none" strike="noStrike" kern="1200" cap="none" spc="0" normalizeH="0" baseline="0" noProof="0" dirty="0" err="1">
                  <a:ln>
                    <a:noFill/>
                  </a:ln>
                  <a:solidFill>
                    <a:srgbClr val="002060"/>
                  </a:solidFill>
                  <a:effectLst/>
                  <a:uLnTx/>
                  <a:uFillTx/>
                  <a:latin typeface="Calibri"/>
                  <a:ea typeface="+mn-ea"/>
                  <a:cs typeface="+mn-cs"/>
                </a:rPr>
                <a:t>Fonkoua</a:t>
              </a:r>
              <a:r>
                <a:rPr kumimoji="0" lang="en-US" sz="1800" b="1" i="0" u="none" strike="noStrike" kern="1200" cap="none" spc="0" normalizeH="0" baseline="0" noProof="0" dirty="0">
                  <a:ln>
                    <a:noFill/>
                  </a:ln>
                  <a:solidFill>
                    <a:srgbClr val="002060"/>
                  </a:solidFill>
                  <a:effectLst/>
                  <a:uLnTx/>
                  <a:uFillTx/>
                  <a:latin typeface="Calibri"/>
                  <a:ea typeface="+mn-ea"/>
                  <a:cs typeface="+mn-cs"/>
                </a:rPr>
                <a:t> (Rochester, Minnesota)</a:t>
              </a:r>
            </a:p>
          </p:txBody>
        </p:sp>
        <p:sp>
          <p:nvSpPr>
            <p:cNvPr id="16" name="TextBox 15">
              <a:extLst>
                <a:ext uri="{FF2B5EF4-FFF2-40B4-BE49-F238E27FC236}">
                  <a16:creationId xmlns:a16="http://schemas.microsoft.com/office/drawing/2014/main" id="{67B2FD31-55EF-8528-E1A2-7C8E9F125398}"/>
                </a:ext>
              </a:extLst>
            </p:cNvPr>
            <p:cNvSpPr txBox="1"/>
            <p:nvPr/>
          </p:nvSpPr>
          <p:spPr>
            <a:xfrm>
              <a:off x="218661" y="3329609"/>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p:txBody>
        </p:sp>
      </p:grpSp>
      <p:pic>
        <p:nvPicPr>
          <p:cNvPr id="17" name="Picture 16" descr="A person wearing headphones&#10;&#10;Description automatically generated with medium confidence">
            <a:extLst>
              <a:ext uri="{FF2B5EF4-FFF2-40B4-BE49-F238E27FC236}">
                <a16:creationId xmlns:a16="http://schemas.microsoft.com/office/drawing/2014/main" id="{ABBAF690-9E7B-6D45-4DC2-3C55A4B73472}"/>
              </a:ext>
            </a:extLst>
          </p:cNvPr>
          <p:cNvPicPr>
            <a:picLocks noChangeAspect="1"/>
          </p:cNvPicPr>
          <p:nvPr/>
        </p:nvPicPr>
        <p:blipFill>
          <a:blip r:embed="rId2"/>
          <a:stretch>
            <a:fillRect/>
          </a:stretch>
        </p:blipFill>
        <p:spPr>
          <a:xfrm>
            <a:off x="478952" y="578841"/>
            <a:ext cx="3202433" cy="1801368"/>
          </a:xfrm>
          <a:prstGeom prst="rect">
            <a:avLst/>
          </a:prstGeom>
          <a:effectLst>
            <a:outerShdw blurRad="50800" dist="38100" dir="2700000" algn="tl" rotWithShape="0">
              <a:prstClr val="black">
                <a:alpha val="40000"/>
              </a:prstClr>
            </a:outerShdw>
          </a:effectLst>
        </p:spPr>
      </p:pic>
      <p:pic>
        <p:nvPicPr>
          <p:cNvPr id="3" name="Picture 2" descr="A person wearing headphones&#10;&#10;Description automatically generated with medium confidence">
            <a:extLst>
              <a:ext uri="{FF2B5EF4-FFF2-40B4-BE49-F238E27FC236}">
                <a16:creationId xmlns:a16="http://schemas.microsoft.com/office/drawing/2014/main" id="{F9863652-0C1B-5915-8E8B-0890A75EF8BC}"/>
              </a:ext>
            </a:extLst>
          </p:cNvPr>
          <p:cNvPicPr>
            <a:picLocks noChangeAspect="1"/>
          </p:cNvPicPr>
          <p:nvPr/>
        </p:nvPicPr>
        <p:blipFill>
          <a:blip r:embed="rId3"/>
          <a:stretch>
            <a:fillRect/>
          </a:stretch>
        </p:blipFill>
        <p:spPr>
          <a:xfrm>
            <a:off x="478952" y="3573394"/>
            <a:ext cx="3199490" cy="1799713"/>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7607637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77CC42-B382-094E-87BE-7E42C0D145BA}"/>
              </a:ext>
            </a:extLst>
          </p:cNvPr>
          <p:cNvSpPr>
            <a:spLocks noGrp="1"/>
          </p:cNvSpPr>
          <p:nvPr>
            <p:ph type="title"/>
          </p:nvPr>
        </p:nvSpPr>
        <p:spPr>
          <a:xfrm>
            <a:off x="912286" y="0"/>
            <a:ext cx="10358967" cy="1143000"/>
          </a:xfrm>
        </p:spPr>
        <p:txBody>
          <a:bodyPr/>
          <a:lstStyle/>
          <a:p>
            <a:r>
              <a:rPr lang="en-US" dirty="0"/>
              <a:t>QUESTIONS FOR THE FACULTY </a:t>
            </a:r>
          </a:p>
        </p:txBody>
      </p:sp>
      <p:sp>
        <p:nvSpPr>
          <p:cNvPr id="3" name="Content Placeholder 2">
            <a:extLst>
              <a:ext uri="{FF2B5EF4-FFF2-40B4-BE49-F238E27FC236}">
                <a16:creationId xmlns:a16="http://schemas.microsoft.com/office/drawing/2014/main" id="{7EEFB5D1-2903-E84B-AAAB-8403A4D065E2}"/>
              </a:ext>
            </a:extLst>
          </p:cNvPr>
          <p:cNvSpPr>
            <a:spLocks noGrp="1"/>
          </p:cNvSpPr>
          <p:nvPr>
            <p:ph idx="1"/>
          </p:nvPr>
        </p:nvSpPr>
        <p:spPr>
          <a:xfrm>
            <a:off x="912286" y="3429000"/>
            <a:ext cx="10358967" cy="2786065"/>
          </a:xfrm>
        </p:spPr>
        <p:txBody>
          <a:bodyPr/>
          <a:lstStyle/>
          <a:p>
            <a:pPr marL="98425" indent="0">
              <a:buNone/>
            </a:pPr>
            <a:r>
              <a:rPr lang="en-US" sz="2200" i="1" dirty="0">
                <a:solidFill>
                  <a:schemeClr val="accent2"/>
                </a:solidFill>
              </a:rPr>
              <a:t>We had her evaluated by a surgeon, and she was taken for a left hepatectomy and now is under surveillance. Is there any role for using </a:t>
            </a:r>
            <a:r>
              <a:rPr lang="en-US" sz="2200" i="1" dirty="0" err="1">
                <a:solidFill>
                  <a:schemeClr val="accent2"/>
                </a:solidFill>
              </a:rPr>
              <a:t>cfDNA</a:t>
            </a:r>
            <a:r>
              <a:rPr lang="en-US" sz="2200" i="1" dirty="0">
                <a:solidFill>
                  <a:schemeClr val="accent2"/>
                </a:solidFill>
              </a:rPr>
              <a:t> as part of the surveillance strategy but also to pick up potential clonal mutations that may evolve?”</a:t>
            </a:r>
          </a:p>
        </p:txBody>
      </p:sp>
      <p:sp>
        <p:nvSpPr>
          <p:cNvPr id="4" name="Content Placeholder 2">
            <a:extLst>
              <a:ext uri="{FF2B5EF4-FFF2-40B4-BE49-F238E27FC236}">
                <a16:creationId xmlns:a16="http://schemas.microsoft.com/office/drawing/2014/main" id="{31DB941D-D5E9-D7BE-776C-374E7A37BA5B}"/>
              </a:ext>
            </a:extLst>
          </p:cNvPr>
          <p:cNvSpPr txBox="1">
            <a:spLocks/>
          </p:cNvSpPr>
          <p:nvPr/>
        </p:nvSpPr>
        <p:spPr bwMode="auto">
          <a:xfrm>
            <a:off x="3571556" y="1221832"/>
            <a:ext cx="7812172" cy="1828730"/>
          </a:xfrm>
          <a:prstGeom prst="rect">
            <a:avLst/>
          </a:prstGeom>
          <a:noFill/>
          <a:ln w="9525">
            <a:noFill/>
            <a:miter lim="800000"/>
            <a:headEnd/>
            <a:tailEnd/>
          </a:ln>
        </p:spPr>
        <p:txBody>
          <a:bodyPr vert="horz" wrap="square" lIns="137160" tIns="0" rIns="137160" bIns="0" numCol="1" anchor="t" anchorCtr="0" compatLnSpc="1">
            <a:prstTxWarp prst="textNoShape">
              <a:avLst/>
            </a:prstTxWarp>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l"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kumimoji="0" lang="en-US" sz="2200" b="1" i="1" u="none" strike="noStrike" kern="1200" cap="none" spc="0" normalizeH="0" baseline="0" noProof="0" dirty="0">
                <a:ln>
                  <a:noFill/>
                </a:ln>
                <a:solidFill>
                  <a:srgbClr val="3333CC"/>
                </a:solidFill>
                <a:effectLst/>
                <a:uLnTx/>
                <a:uFillTx/>
                <a:latin typeface="Calibri" charset="0"/>
                <a:ea typeface="MS PGothic" pitchFamily="34" charset="-128"/>
              </a:rPr>
              <a:t>“She wanted to preserve her quality of life and was very reluctant to try chemotherapy, so we started </a:t>
            </a:r>
            <a:r>
              <a:rPr kumimoji="0" lang="en-US" sz="2200" b="1" i="1" u="none" strike="noStrike" kern="1200" cap="none" spc="0" normalizeH="0" baseline="0" noProof="0" dirty="0" err="1">
                <a:ln>
                  <a:noFill/>
                </a:ln>
                <a:solidFill>
                  <a:srgbClr val="3333CC"/>
                </a:solidFill>
                <a:effectLst/>
                <a:uLnTx/>
                <a:uFillTx/>
                <a:latin typeface="Calibri" charset="0"/>
                <a:ea typeface="MS PGothic" pitchFamily="34" charset="-128"/>
              </a:rPr>
              <a:t>pemigatinib</a:t>
            </a:r>
            <a:r>
              <a:rPr kumimoji="0" lang="en-US" sz="2200" b="1" i="1" u="none" strike="noStrike" kern="1200" cap="none" spc="0" normalizeH="0" baseline="0" noProof="0" dirty="0">
                <a:ln>
                  <a:noFill/>
                </a:ln>
                <a:solidFill>
                  <a:srgbClr val="3333CC"/>
                </a:solidFill>
                <a:effectLst/>
                <a:uLnTx/>
                <a:uFillTx/>
                <a:latin typeface="Calibri" charset="0"/>
                <a:ea typeface="MS PGothic" pitchFamily="34" charset="-128"/>
              </a:rPr>
              <a:t>. She has mild hyperphosphatemia, which we managed with dietary changes. Otherwise, she tolerated it well. Her 6-month PET restaging demonstrated that the avidity had resolved, so very impressive response with just </a:t>
            </a:r>
            <a:r>
              <a:rPr kumimoji="0" lang="en-US" sz="2200" b="1" i="1" u="none" strike="noStrike" kern="1200" cap="none" spc="0" normalizeH="0" baseline="0" noProof="0" dirty="0" err="1">
                <a:ln>
                  <a:noFill/>
                </a:ln>
                <a:solidFill>
                  <a:srgbClr val="3333CC"/>
                </a:solidFill>
                <a:effectLst/>
                <a:uLnTx/>
                <a:uFillTx/>
                <a:latin typeface="Calibri" charset="0"/>
                <a:ea typeface="MS PGothic" pitchFamily="34" charset="-128"/>
              </a:rPr>
              <a:t>pemigatinib</a:t>
            </a:r>
            <a:r>
              <a:rPr kumimoji="0" lang="en-US" sz="2200" b="1" i="1" u="none" strike="noStrike" kern="1200" cap="none" spc="0" normalizeH="0" baseline="0" noProof="0" dirty="0">
                <a:ln>
                  <a:noFill/>
                </a:ln>
                <a:solidFill>
                  <a:srgbClr val="3333CC"/>
                </a:solidFill>
                <a:effectLst/>
                <a:uLnTx/>
                <a:uFillTx/>
                <a:latin typeface="Calibri" charset="0"/>
                <a:ea typeface="MS PGothic" pitchFamily="34" charset="-128"/>
              </a:rPr>
              <a:t>. </a:t>
            </a:r>
          </a:p>
        </p:txBody>
      </p:sp>
      <p:sp>
        <p:nvSpPr>
          <p:cNvPr id="9" name="TextBox 8">
            <a:extLst>
              <a:ext uri="{FF2B5EF4-FFF2-40B4-BE49-F238E27FC236}">
                <a16:creationId xmlns:a16="http://schemas.microsoft.com/office/drawing/2014/main" id="{C7B63D41-AF09-77DE-D866-A535957369BE}"/>
              </a:ext>
            </a:extLst>
          </p:cNvPr>
          <p:cNvSpPr txBox="1"/>
          <p:nvPr/>
        </p:nvSpPr>
        <p:spPr>
          <a:xfrm>
            <a:off x="808273" y="2808433"/>
            <a:ext cx="2885046"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Lionel A </a:t>
            </a:r>
            <a:r>
              <a:rPr kumimoji="0" lang="en-US" sz="1600" b="1"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Kankeu</a:t>
            </a: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a:t>
            </a:r>
            <a:r>
              <a:rPr kumimoji="0" lang="en-US" sz="1600" b="1"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Fonkoua</a:t>
            </a: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MD</a:t>
            </a:r>
          </a:p>
        </p:txBody>
      </p:sp>
      <p:pic>
        <p:nvPicPr>
          <p:cNvPr id="5" name="Picture 4" descr="A person wearing headphones&#10;&#10;Description automatically generated with medium confidence">
            <a:extLst>
              <a:ext uri="{FF2B5EF4-FFF2-40B4-BE49-F238E27FC236}">
                <a16:creationId xmlns:a16="http://schemas.microsoft.com/office/drawing/2014/main" id="{1CB2A411-9DFF-8C53-0FF6-F6491733B660}"/>
              </a:ext>
            </a:extLst>
          </p:cNvPr>
          <p:cNvPicPr>
            <a:picLocks noChangeAspect="1"/>
          </p:cNvPicPr>
          <p:nvPr/>
        </p:nvPicPr>
        <p:blipFill>
          <a:blip r:embed="rId2"/>
          <a:stretch>
            <a:fillRect/>
          </a:stretch>
        </p:blipFill>
        <p:spPr>
          <a:xfrm>
            <a:off x="912286" y="1214263"/>
            <a:ext cx="2660904" cy="1496759"/>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2875879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77CC42-B382-094E-87BE-7E42C0D145BA}"/>
              </a:ext>
            </a:extLst>
          </p:cNvPr>
          <p:cNvSpPr>
            <a:spLocks noGrp="1"/>
          </p:cNvSpPr>
          <p:nvPr>
            <p:ph type="title"/>
          </p:nvPr>
        </p:nvSpPr>
        <p:spPr>
          <a:xfrm>
            <a:off x="912286" y="0"/>
            <a:ext cx="10358967" cy="1143000"/>
          </a:xfrm>
        </p:spPr>
        <p:txBody>
          <a:bodyPr/>
          <a:lstStyle/>
          <a:p>
            <a:r>
              <a:rPr lang="en-US" dirty="0"/>
              <a:t>QUESTIONS FOR THE FACULTY </a:t>
            </a:r>
          </a:p>
        </p:txBody>
      </p:sp>
      <p:sp>
        <p:nvSpPr>
          <p:cNvPr id="3" name="Content Placeholder 2">
            <a:extLst>
              <a:ext uri="{FF2B5EF4-FFF2-40B4-BE49-F238E27FC236}">
                <a16:creationId xmlns:a16="http://schemas.microsoft.com/office/drawing/2014/main" id="{7EEFB5D1-2903-E84B-AAAB-8403A4D065E2}"/>
              </a:ext>
            </a:extLst>
          </p:cNvPr>
          <p:cNvSpPr>
            <a:spLocks noGrp="1"/>
          </p:cNvSpPr>
          <p:nvPr>
            <p:ph idx="1"/>
          </p:nvPr>
        </p:nvSpPr>
        <p:spPr>
          <a:xfrm>
            <a:off x="912286" y="3299381"/>
            <a:ext cx="10358967" cy="2915685"/>
          </a:xfrm>
        </p:spPr>
        <p:txBody>
          <a:bodyPr/>
          <a:lstStyle/>
          <a:p>
            <a:pPr marL="98425" indent="0">
              <a:buNone/>
            </a:pPr>
            <a:r>
              <a:rPr lang="en-US" sz="2200" i="1" dirty="0">
                <a:solidFill>
                  <a:schemeClr val="accent2"/>
                </a:solidFill>
              </a:rPr>
              <a:t>Have they seen muscle aches and muscle pain bad enough to cause a need for hydrocodone? What other side effects are seen? How do they deal with hyperphosphatemia?”</a:t>
            </a:r>
          </a:p>
        </p:txBody>
      </p:sp>
      <p:sp>
        <p:nvSpPr>
          <p:cNvPr id="4" name="Content Placeholder 2">
            <a:extLst>
              <a:ext uri="{FF2B5EF4-FFF2-40B4-BE49-F238E27FC236}">
                <a16:creationId xmlns:a16="http://schemas.microsoft.com/office/drawing/2014/main" id="{31DB941D-D5E9-D7BE-776C-374E7A37BA5B}"/>
              </a:ext>
            </a:extLst>
          </p:cNvPr>
          <p:cNvSpPr txBox="1">
            <a:spLocks/>
          </p:cNvSpPr>
          <p:nvPr/>
        </p:nvSpPr>
        <p:spPr bwMode="auto">
          <a:xfrm>
            <a:off x="3571555" y="1221832"/>
            <a:ext cx="8279925" cy="1828730"/>
          </a:xfrm>
          <a:prstGeom prst="rect">
            <a:avLst/>
          </a:prstGeom>
          <a:noFill/>
          <a:ln w="9525">
            <a:noFill/>
            <a:miter lim="800000"/>
            <a:headEnd/>
            <a:tailEnd/>
          </a:ln>
        </p:spPr>
        <p:txBody>
          <a:bodyPr vert="horz" wrap="square" lIns="137160" tIns="0" rIns="137160" bIns="0" numCol="1" anchor="t" anchorCtr="0" compatLnSpc="1">
            <a:prstTxWarp prst="textNoShape">
              <a:avLst/>
            </a:prstTxWarp>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l"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kumimoji="0" lang="en-US" sz="2200" b="1" i="1" u="none" strike="noStrike" kern="1200" cap="none" spc="0" normalizeH="0" baseline="0" noProof="0" dirty="0">
                <a:ln>
                  <a:noFill/>
                </a:ln>
                <a:solidFill>
                  <a:srgbClr val="3333CC"/>
                </a:solidFill>
                <a:effectLst/>
                <a:uLnTx/>
                <a:uFillTx/>
                <a:latin typeface="Calibri" charset="0"/>
                <a:ea typeface="MS PGothic" pitchFamily="34" charset="-128"/>
              </a:rPr>
              <a:t>“We were thinking of hospice for him, but the next-generation sequencing showed an FGFR fusion, so we started </a:t>
            </a:r>
            <a:r>
              <a:rPr kumimoji="0" lang="en-US" sz="2200" b="1" i="1" u="none" strike="noStrike" kern="1200" cap="none" spc="0" normalizeH="0" baseline="0" noProof="0" dirty="0" err="1">
                <a:ln>
                  <a:noFill/>
                </a:ln>
                <a:solidFill>
                  <a:srgbClr val="3333CC"/>
                </a:solidFill>
                <a:effectLst/>
                <a:uLnTx/>
                <a:uFillTx/>
                <a:latin typeface="Calibri" charset="0"/>
                <a:ea typeface="MS PGothic" pitchFamily="34" charset="-128"/>
              </a:rPr>
              <a:t>pemigatinib</a:t>
            </a:r>
            <a:r>
              <a:rPr kumimoji="0" lang="en-US" sz="2200" b="1" i="1" u="none" strike="noStrike" kern="1200" cap="none" spc="0" normalizeH="0" baseline="0" noProof="0" dirty="0">
                <a:ln>
                  <a:noFill/>
                </a:ln>
                <a:solidFill>
                  <a:srgbClr val="3333CC"/>
                </a:solidFill>
                <a:effectLst/>
                <a:uLnTx/>
                <a:uFillTx/>
                <a:latin typeface="Calibri" charset="0"/>
                <a:ea typeface="MS PGothic" pitchFamily="34" charset="-128"/>
              </a:rPr>
              <a:t>.</a:t>
            </a:r>
          </a:p>
          <a:p>
            <a:pPr marL="98425" marR="0" lvl="0" indent="0" algn="l"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kumimoji="0" lang="en-US" sz="2200" b="1" i="1" u="none" strike="noStrike" kern="1200" cap="none" spc="0" normalizeH="0" baseline="0" noProof="0" dirty="0">
                <a:ln>
                  <a:noFill/>
                </a:ln>
                <a:solidFill>
                  <a:srgbClr val="3333CC"/>
                </a:solidFill>
                <a:effectLst/>
                <a:uLnTx/>
                <a:uFillTx/>
                <a:latin typeface="Calibri" charset="0"/>
                <a:ea typeface="MS PGothic" pitchFamily="34" charset="-128"/>
              </a:rPr>
              <a:t>Immediately, his tumor markers started coming down, his liver pain got better and now he's doing great. However, he’s having a lot of bone and muscle pain, which is a listed side effect of that drug. </a:t>
            </a:r>
          </a:p>
        </p:txBody>
      </p:sp>
      <p:sp>
        <p:nvSpPr>
          <p:cNvPr id="9" name="TextBox 8">
            <a:extLst>
              <a:ext uri="{FF2B5EF4-FFF2-40B4-BE49-F238E27FC236}">
                <a16:creationId xmlns:a16="http://schemas.microsoft.com/office/drawing/2014/main" id="{C7B63D41-AF09-77DE-D866-A535957369BE}"/>
              </a:ext>
            </a:extLst>
          </p:cNvPr>
          <p:cNvSpPr txBox="1"/>
          <p:nvPr/>
        </p:nvSpPr>
        <p:spPr>
          <a:xfrm>
            <a:off x="912286" y="2808433"/>
            <a:ext cx="2660904"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Joseph Martins, MD</a:t>
            </a:r>
          </a:p>
        </p:txBody>
      </p:sp>
      <p:pic>
        <p:nvPicPr>
          <p:cNvPr id="6" name="Picture 5" descr="A person wearing headphones&#10;&#10;Description automatically generated with medium confidence">
            <a:extLst>
              <a:ext uri="{FF2B5EF4-FFF2-40B4-BE49-F238E27FC236}">
                <a16:creationId xmlns:a16="http://schemas.microsoft.com/office/drawing/2014/main" id="{54B18EEA-D825-A2A8-4C2C-6410938A2604}"/>
              </a:ext>
            </a:extLst>
          </p:cNvPr>
          <p:cNvPicPr>
            <a:picLocks noChangeAspect="1"/>
          </p:cNvPicPr>
          <p:nvPr/>
        </p:nvPicPr>
        <p:blipFill>
          <a:blip r:embed="rId2"/>
          <a:stretch>
            <a:fillRect/>
          </a:stretch>
        </p:blipFill>
        <p:spPr>
          <a:xfrm>
            <a:off x="910648" y="1232843"/>
            <a:ext cx="2660904" cy="1496759"/>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23315327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KPI_CFG_REPOLL" val="true"/>
  <p:tag name="KPI_CFG_RPCLEARS" val="true"/>
  <p:tag name="KPI_CFG_FB_TYPE" val="Tiny Counter"/>
  <p:tag name="KPI_CFG_FB_MONITOR" val="Slide Show Monitor"/>
  <p:tag name="KPI_CFG_FB_POSITION" val="Bottom Right"/>
  <p:tag name="KPI_CFG_INS_CLK" val="false"/>
  <p:tag name="KPI_CFG_UNITS" val="1"/>
  <p:tag name="KPI_CFG_SPEED" val="false"/>
  <p:tag name="KPI_SLIDE_COUNT" val="89"/>
  <p:tag name="KPI_VERSION" val="2.0.10292.1"/>
  <p:tag name="KPI_STORAGE" val="&lt;keypoint&quot;&quot;&lt;roster&quot;&quot;&lt;currentId&quot;200&quot;&gt;&lt;trIndex&quot;&quot;&lt;tr(@tid:1@pid:1)&quot;&quot;&lt;v&quot;1&quot;&gt;&gt;&lt;tr(@tid:1@pid:2)&quot;&quot;&lt;v&quot;2&quot;&gt;&gt;&lt;tr(@tid:1@pid:3)&quot;&quot;&lt;v&quot;3&quot;&gt;&gt;&lt;tr(@tid:1@pid:4)&quot;&quot;&lt;v&quot;4&quot;&gt;&gt;&lt;tr(@tid:1@pid:5)&quot;&quot;&lt;v&quot;5&quot;&gt;&gt;&lt;tr(@tid:1@pid:6)&quot;&quot;&lt;v&quot;6&quot;&gt;&gt;&lt;tr(@tid:1@pid:7)&quot;&quot;&lt;v&quot;7&quot;&gt;&gt;&lt;tr(@tid:1@pid:8)&quot;&quot;&lt;v&quot;8&quot;&gt;&gt;&lt;tr(@tid:1@pid:9)&quot;&quot;&lt;v&quot;9&quot;&gt;&gt;&lt;tr(@tid:1@pid:10)&quot;&quot;&lt;v&quot;10&quot;&gt;&gt;&lt;tr(@tid:1@pid:11)&quot;&quot;&lt;v&quot;11&quot;&gt;&gt;&lt;tr(@tid:1@pid:12)&quot;&quot;&lt;v&quot;12&quot;&gt;&gt;&lt;tr(@tid:1@pid:13)&quot;&quot;&lt;v&quot;13&quot;&gt;&gt;&lt;tr(@tid:1@pid:14)&quot;&quot;&lt;v&quot;14&quot;&gt;&gt;&lt;tr(@tid:1@pid:15)&quot;&quot;&lt;v&quot;15&quot;&gt;&gt;&lt;tr(@tid:1@pid:16)&quot;&quot;&lt;v&quot;16&quot;&gt;&gt;&lt;tr(@tid:1@pid:17)&quot;&quot;&lt;v&quot;17&quot;&gt;&gt;&lt;tr(@tid:1@pid:18)&quot;&quot;&lt;v&quot;18&quot;&gt;&gt;&lt;tr(@tid:1@pid:19)&quot;&quot;&lt;v&quot;19&quot;&gt;&gt;&lt;tr(@tid:1@pid:20)&quot;&quot;&lt;v&quot;20&quot;&gt;&gt;&lt;tr(@tid:1@pid:21)&quot;&quot;&lt;v&quot;21&quot;&gt;&gt;&lt;tr(@tid:1@pid:22)&quot;&quot;&lt;v&quot;22&quot;&gt;&gt;&lt;tr(@tid:1@pid:23)&quot;&quot;&lt;v&quot;23&quot;&gt;&gt;&lt;tr(@tid:1@pid:24)&quot;&quot;&lt;v&quot;24&quot;&gt;&gt;&lt;tr(@tid:1@pid:25)&quot;&quot;&lt;v&quot;25&quot;&gt;&gt;&lt;tr(@tid:1@pid:26)&quot;&quot;&lt;v&quot;26&quot;&gt;&gt;&lt;tr(@tid:1@pid:27)&quot;&quot;&lt;v&quot;27&quot;&gt;&gt;&lt;tr(@tid:1@pid:28)&quot;&quot;&lt;v&quot;28&quot;&gt;&gt;&lt;tr(@tid:1@pid:29)&quot;&quot;&lt;v&quot;29&quot;&gt;&gt;&lt;tr(@tid:1@pid:30)&quot;&quot;&lt;v&quot;30&quot;&gt;&gt;&lt;tr(@tid:1@pid:31)&quot;&quot;&lt;v&quot;31&quot;&gt;&gt;&lt;tr(@tid:1@pid:32)&quot;&quot;&lt;v&quot;32&quot;&gt;&gt;&lt;tr(@tid:1@pid:33)&quot;&quot;&lt;v&quot;33&quot;&gt;&gt;&lt;tr(@tid:1@pid:34)&quot;&quot;&lt;v&quot;34&quot;&gt;&gt;&lt;tr(@tid:1@pid:35)&quot;&quot;&lt;v&quot;35&quot;&gt;&gt;&lt;tr(@tid:1@pid:36)&quot;&quot;&lt;v&quot;36&quot;&gt;&gt;&lt;tr(@tid:1@pid:37)&quot;&quot;&lt;v&quot;37&quot;&gt;&gt;&lt;tr(@tid:1@pid:38)&quot;&quot;&lt;v&quot;38&quot;&gt;&gt;&lt;tr(@tid:1@pid:39)&quot;&quot;&lt;v&quot;39&quot;&gt;&gt;&lt;tr(@tid:1@pid:40)&quot;&quot;&lt;v&quot;40&quot;&gt;&gt;&lt;tr(@tid:1@pid:41)&quot;&quot;&lt;v&quot;41&quot;&gt;&gt;&lt;tr(@tid:1@pid:42)&quot;&quot;&lt;v&quot;42&quot;&gt;&gt;&lt;tr(@tid:1@pid:43)&quot;&quot;&lt;v&quot;43&quot;&gt;&gt;&lt;tr(@tid:1@pid:44)&quot;&quot;&lt;v&quot;44&quot;&gt;&gt;&lt;tr(@tid:1@pid:45)&quot;&quot;&lt;v&quot;45&quot;&gt;&gt;&lt;tr(@tid:1@pid:46)&quot;&quot;&lt;v&quot;46&quot;&gt;&gt;&lt;tr(@tid:1@pid:47)&quot;&quot;&lt;v&quot;47&quot;&gt;&gt;&lt;tr(@tid:1@pid:48)&quot;&quot;&lt;v&quot;48&quot;&gt;&gt;&lt;tr(@tid:1@pid:49)&quot;&quot;&lt;v&quot;49&quot;&gt;&gt;&lt;tr(@tid:1@pid:50)&quot;&quot;&lt;v&quot;50&quot;&gt;&gt;&lt;tr(@tid:1@pid:51)&quot;&quot;&lt;v&quot;51&quot;&gt;&gt;&lt;tr(@tid:1@pid:52)&quot;&quot;&lt;v&quot;52&quot;&gt;&gt;&lt;tr(@tid:1@pid:53)&quot;&quot;&lt;v&quot;53&quot;&gt;&gt;&lt;tr(@tid:1@pid:54)&quot;&quot;&lt;v&quot;54&quot;&gt;&gt;&lt;tr(@tid:1@pid:55)&quot;&quot;&lt;v&quot;55&quot;&gt;&gt;&lt;tr(@tid:1@pid:56)&quot;&quot;&lt;v&quot;56&quot;&gt;&gt;&lt;tr(@tid:1@pid:57)&quot;&quot;&lt;v&quot;57&quot;&gt;&gt;&lt;tr(@tid:1@pid:58)&quot;&quot;&lt;v&quot;58&quot;&gt;&gt;&lt;tr(@tid:1@pid:59)&quot;&quot;&lt;v&quot;59&quot;&gt;&gt;&lt;tr(@tid:1@pid:60)&quot;&quot;&lt;v&quot;60&quot;&gt;&gt;&lt;tr(@tid:1@pid:61)&quot;&quot;&lt;v&quot;61&quot;&gt;&gt;&lt;tr(@tid:1@pid:62)&quot;&quot;&lt;v&quot;62&quot;&gt;&gt;&lt;tr(@tid:1@pid:63)&quot;&quot;&lt;v&quot;63&quot;&gt;&gt;&lt;tr(@tid:1@pid:64)&quot;&quot;&lt;v&quot;64&quot;&gt;&gt;&lt;tr(@tid:1@pid:65)&quot;&quot;&lt;v&quot;65&quot;&gt;&gt;&lt;tr(@tid:1@pid:66)&quot;&quot;&lt;v&quot;66&quot;&gt;&gt;&lt;tr(@tid:1@pid:67)&quot;&quot;&lt;v&quot;67&quot;&gt;&gt;&lt;tr(@tid:1@pid:68)&quot;&quot;&lt;v&quot;68&quot;&gt;&gt;&lt;tr(@tid:1@pid:69)&quot;&quot;&lt;v&quot;69&quot;&gt;&gt;&lt;tr(@tid:1@pid:70)&quot;&quot;&lt;v&quot;70&quot;&gt;&gt;&lt;tr(@tid:1@pid:71)&quot;&quot;&lt;v&quot;71&quot;&gt;&gt;&lt;tr(@tid:1@pid:72)&quot;&quot;&lt;v&quot;72&quot;&gt;&gt;&lt;tr(@tid:1@pid:73)&quot;&quot;&lt;v&quot;73&quot;&gt;&gt;&lt;tr(@tid:1@pid:74)&quot;&quot;&lt;v&quot;74&quot;&gt;&gt;&lt;tr(@tid:1@pid:75)&quot;&quot;&lt;v&quot;75&quot;&gt;&gt;&lt;tr(@tid:1@pid:76)&quot;&quot;&lt;v&quot;76&quot;&gt;&gt;&lt;tr(@tid:1@pid:77)&quot;&quot;&lt;v&quot;77&quot;&gt;&gt;&lt;tr(@tid:1@pid:78)&quot;&quot;&lt;v&quot;78&quot;&gt;&gt;&lt;tr(@tid:1@pid:79)&quot;&quot;&lt;v&quot;79&quot;&gt;&gt;&lt;tr(@tid:1@pid:80)&quot;&quot;&lt;v&quot;80&quot;&gt;&gt;&lt;tr(@tid:1@pid:81)&quot;&quot;&lt;v&quot;81&quot;&gt;&gt;&lt;tr(@tid:1@pid:82)&quot;&quot;&lt;v&quot;82&quot;&gt;&gt;&lt;tr(@tid:1@pid:83)&quot;&quot;&lt;v&quot;83&quot;&gt;&gt;&lt;tr(@tid:1@pid:84)&quot;&quot;&lt;v&quot;84&quot;&gt;&gt;&lt;tr(@tid:1@pid:85)&quot;&quot;&lt;v&quot;85&quot;&gt;&gt;&lt;tr(@tid:1@pid:86)&quot;&quot;&lt;v&quot;86&quot;&gt;&gt;&lt;tr(@tid:1@pid:87)&quot;&quot;&lt;v&quot;87&quot;&gt;&gt;&lt;tr(@tid:1@pid:88)&quot;&quot;&lt;v&quot;88&quot;&gt;&gt;&lt;tr(@tid:1@pid:89)&quot;&quot;&lt;v&quot;89&quot;&gt;&gt;&lt;tr(@tid:1@pid:90)&quot;&quot;&lt;v&quot;90&quot;&gt;&gt;&lt;tr(@tid:1@pid:91)&quot;&quot;&lt;v&quot;91&quot;&gt;&gt;&lt;tr(@tid:1@pid:92)&quot;&quot;&lt;v&quot;92&quot;&gt;&gt;&lt;tr(@tid:1@pid:93)&quot;&quot;&lt;v&quot;93&quot;&gt;&gt;&lt;tr(@tid:1@pid:94)&quot;&quot;&lt;v&quot;94&quot;&gt;&gt;&lt;tr(@tid:1@pid:95)&quot;&quot;&lt;v&quot;95&quot;&gt;&gt;&lt;tr(@tid:1@pid:96)&quot;&quot;&lt;v&quot;96&quot;&gt;&gt;&lt;tr(@tid:1@pid:97)&quot;&quot;&lt;v&quot;97&quot;&gt;&gt;&lt;tr(@tid:1@pid:98)&quot;&quot;&lt;v&quot;98&quot;&gt;&gt;&lt;tr(@tid:1@pid:99)&quot;&quot;&lt;v&quot;99&quot;&gt;&gt;&lt;tr(@tid:1@pid:100)&quot;&quot;&lt;v&quot;100&quot;&gt;&gt;&lt;tr(@tid:2@pid:1)&quot;&quot;&lt;v&quot;101&quot;&gt;&gt;&lt;tr(@tid:2@pid:2)&quot;&quot;&lt;v&quot;102&quot;&gt;&gt;&lt;tr(@tid:2@pid:3)&quot;&quot;&lt;v&quot;103&quot;&gt;&gt;&lt;tr(@tid:2@pid:4)&quot;&quot;&lt;v&quot;104&quot;&gt;&gt;&lt;tr(@tid:2@pid:5)&quot;&quot;&lt;v&quot;105&quot;&gt;&gt;&lt;tr(@tid:2@pid:6)&quot;&quot;&lt;v&quot;106&quot;&gt;&gt;&lt;tr(@tid:2@pid:7)&quot;&quot;&lt;v&quot;107&quot;&gt;&gt;&lt;tr(@tid:2@pid:8)&quot;&quot;&lt;v&quot;108&quot;&gt;&gt;&lt;tr(@tid:2@pid:9)&quot;&quot;&lt;v&quot;109&quot;&gt;&gt;&lt;tr(@tid:2@pid:10)&quot;&quot;&lt;v&quot;110&quot;&gt;&gt;&lt;tr(@tid:2@pid:11)&quot;&quot;&lt;v&quot;111&quot;&gt;&gt;&lt;tr(@tid:2@pid:12)&quot;&quot;&lt;v&quot;112&quot;&gt;&gt;&lt;tr(@tid:2@pid:13)&quot;&quot;&lt;v&quot;113&quot;&gt;&gt;&lt;tr(@tid:2@pid:14)&quot;&quot;&lt;v&quot;114&quot;&gt;&gt;&lt;tr(@tid:2@pid:15)&quot;&quot;&lt;v&quot;115&quot;&gt;&gt;&lt;tr(@tid:2@pid:16)&quot;&quot;&lt;v&quot;116&quot;&gt;&gt;&lt;tr(@tid:2@pid:17)&quot;&quot;&lt;v&quot;117&quot;&gt;&gt;&lt;tr(@tid:2@pid:18)&quot;&quot;&lt;v&quot;118&quot;&gt;&gt;&lt;tr(@tid:2@pid:19)&quot;&quot;&lt;v&quot;119&quot;&gt;&gt;&lt;tr(@tid:2@pid:20)&quot;&quot;&lt;v&quot;120&quot;&gt;&gt;&lt;tr(@tid:2@pid:21)&quot;&quot;&lt;v&quot;121&quot;&gt;&gt;&lt;tr(@tid:2@pid:22)&quot;&quot;&lt;v&quot;122&quot;&gt;&gt;&lt;tr(@tid:2@pid:23)&quot;&quot;&lt;v&quot;123&quot;&gt;&gt;&lt;tr(@tid:2@pid:24)&quot;&quot;&lt;v&quot;124&quot;&gt;&gt;&lt;tr(@tid:2@pid:25)&quot;&quot;&lt;v&quot;125&quot;&gt;&gt;&lt;tr(@tid:2@pid:26)&quot;&quot;&lt;v&quot;126&quot;&gt;&gt;&lt;tr(@tid:2@pid:27)&quot;&quot;&lt;v&quot;127&quot;&gt;&gt;&lt;tr(@tid:2@pid:28)&quot;&quot;&lt;v&quot;128&quot;&gt;&gt;&lt;tr(@tid:2@pid:29)&quot;&quot;&lt;v&quot;129&quot;&gt;&gt;&lt;tr(@tid:2@pid:30)&quot;&quot;&lt;v&quot;130&quot;&gt;&gt;&lt;tr(@tid:2@pid:31)&quot;&quot;&lt;v&quot;131&quot;&gt;&gt;&lt;tr(@tid:2@pid:32)&quot;&quot;&lt;v&quot;132&quot;&gt;&gt;&lt;tr(@tid:2@pid:33)&quot;&quot;&lt;v&quot;133&quot;&gt;&gt;&lt;tr(@tid:2@pid:34)&quot;&quot;&lt;v&quot;134&quot;&gt;&gt;&lt;tr(@tid:2@pid:35)&quot;&quot;&lt;v&quot;135&quot;&gt;&gt;&lt;tr(@tid:2@pid:36)&quot;&quot;&lt;v&quot;136&quot;&gt;&gt;&lt;tr(@tid:2@pid:37)&quot;&quot;&lt;v&quot;137&quot;&gt;&gt;&lt;tr(@tid:2@pid:38)&quot;&quot;&lt;v&quot;138&quot;&gt;&gt;&lt;tr(@tid:2@pid:39)&quot;&quot;&lt;v&quot;139&quot;&gt;&gt;&lt;tr(@tid:2@pid:40)&quot;&quot;&lt;v&quot;140&quot;&gt;&gt;&lt;tr(@tid:2@pid:41)&quot;&quot;&lt;v&quot;141&quot;&gt;&gt;&lt;tr(@tid:2@pid:42)&quot;&quot;&lt;v&quot;142&quot;&gt;&gt;&lt;tr(@tid:2@pid:43)&quot;&quot;&lt;v&quot;143&quot;&gt;&gt;&lt;tr(@tid:2@pid:44)&quot;&quot;&lt;v&quot;144&quot;&gt;&gt;&lt;tr(@tid:2@pid:45)&quot;&quot;&lt;v&quot;145&quot;&gt;&gt;&lt;tr(@tid:2@pid:46)&quot;&quot;&lt;v&quot;146&quot;&gt;&gt;&lt;tr(@tid:2@pid:47)&quot;&quot;&lt;v&quot;147&quot;&gt;&gt;&lt;tr(@tid:2@pid:48)&quot;&quot;&lt;v&quot;148&quot;&gt;&gt;&lt;tr(@tid:2@pid:49)&quot;&quot;&lt;v&quot;149&quot;&gt;&gt;&lt;tr(@tid:2@pid:50)&quot;&quot;&lt;v&quot;150&quot;&gt;&gt;&lt;tr(@tid:2@pid:51)&quot;&quot;&lt;v&quot;151&quot;&gt;&gt;&lt;tr(@tid:2@pid:52)&quot;&quot;&lt;v&quot;152&quot;&gt;&gt;&lt;tr(@tid:2@pid:53)&quot;&quot;&lt;v&quot;153&quot;&gt;&gt;&lt;tr(@tid:2@pid:54)&quot;&quot;&lt;v&quot;154&quot;&gt;&gt;&lt;tr(@tid:2@pid:55)&quot;&quot;&lt;v&quot;155&quot;&gt;&gt;&lt;tr(@tid:2@pid:56)&quot;&quot;&lt;v&quot;156&quot;&gt;&gt;&lt;tr(@tid:2@pid:57)&quot;&quot;&lt;v&quot;157&quot;&gt;&gt;&lt;tr(@tid:2@pid:58)&quot;&quot;&lt;v&quot;158&quot;&gt;&gt;&lt;tr(@tid:2@pid:59)&quot;&quot;&lt;v&quot;159&quot;&gt;&gt;&lt;tr(@tid:2@pid:60)&quot;&quot;&lt;v&quot;160&quot;&gt;&gt;&lt;tr(@tid:2@pid:61)&quot;&quot;&lt;v&quot;161&quot;&gt;&gt;&lt;tr(@tid:2@pid:62)&quot;&quot;&lt;v&quot;162&quot;&gt;&gt;&lt;tr(@tid:2@pid:63)&quot;&quot;&lt;v&quot;163&quot;&gt;&gt;&lt;tr(@tid:2@pid:64)&quot;&quot;&lt;v&quot;164&quot;&gt;&gt;&lt;tr(@tid:2@pid:65)&quot;&quot;&lt;v&quot;165&quot;&gt;&gt;&lt;tr(@tid:2@pid:66)&quot;&quot;&lt;v&quot;166&quot;&gt;&gt;&lt;tr(@tid:2@pid:67)&quot;&quot;&lt;v&quot;167&quot;&gt;&gt;&lt;tr(@tid:2@pid:68)&quot;&quot;&lt;v&quot;168&quot;&gt;&gt;&lt;tr(@tid:2@pid:69)&quot;&quot;&lt;v&quot;169&quot;&gt;&gt;&lt;tr(@tid:2@pid:70)&quot;&quot;&lt;v&quot;170&quot;&gt;&gt;&lt;tr(@tid:2@pid:71)&quot;&quot;&lt;v&quot;171&quot;&gt;&gt;&lt;tr(@tid:2@pid:72)&quot;&quot;&lt;v&quot;172&quot;&gt;&gt;&lt;tr(@tid:2@pid:73)&quot;&quot;&lt;v&quot;173&quot;&gt;&gt;&lt;tr(@tid:2@pid:74)&quot;&quot;&lt;v&quot;174&quot;&gt;&gt;&lt;tr(@tid:2@pid:75)&quot;&quot;&lt;v&quot;175&quot;&gt;&gt;&lt;tr(@tid:2@pid:76)&quot;&quot;&lt;v&quot;176&quot;&gt;&gt;&lt;tr(@tid:2@pid:77)&quot;&quot;&lt;v&quot;177&quot;&gt;&gt;&lt;tr(@tid:2@pid:78)&quot;&quot;&lt;v&quot;178&quot;&gt;&gt;&lt;tr(@tid:2@pid:79)&quot;&quot;&lt;v&quot;179&quot;&gt;&gt;&lt;tr(@tid:2@pid:80)&quot;&quot;&lt;v&quot;180&quot;&gt;&gt;&lt;tr(@tid:2@pid:81)&quot;&quot;&lt;v&quot;181&quot;&gt;&gt;&lt;tr(@tid:2@pid:82)&quot;&quot;&lt;v&quot;182&quot;&gt;&gt;&lt;tr(@tid:2@pid:83)&quot;&quot;&lt;v&quot;183&quot;&gt;&gt;&lt;tr(@tid:2@pid:84)&quot;&quot;&lt;v&quot;184&quot;&gt;&gt;&lt;tr(@tid:2@pid:85)&quot;&quot;&lt;v&quot;185&quot;&gt;&gt;&lt;tr(@tid:2@pid:86)&quot;&quot;&lt;v&quot;186&quot;&gt;&gt;&lt;tr(@tid:2@pid:87)&quot;&quot;&lt;v&quot;187&quot;&gt;&gt;&lt;tr(@tid:2@pid:88)&quot;&quot;&lt;v&quot;188&quot;&gt;&gt;&lt;tr(@tid:2@pid:89)&quot;&quot;&lt;v&quot;189&quot;&gt;&gt;&lt;tr(@tid:2@pid:90)&quot;&quot;&lt;v&quot;190&quot;&gt;&gt;&lt;tr(@tid:2@pid:91)&quot;&quot;&lt;v&quot;191&quot;&gt;&gt;&lt;tr(@tid:2@pid:92)&quot;&quot;&lt;v&quot;192&quot;&gt;&gt;&lt;tr(@tid:2@pid:93)&quot;&quot;&lt;v&quot;193&quot;&gt;&gt;&lt;tr(@tid:2@pid:94)&quot;&quot;&lt;v&quot;194&quot;&gt;&gt;&lt;tr(@tid:2@pid:95)&quot;&quot;&lt;v&quot;195&quot;&gt;&gt;&lt;tr(@tid:2@pid:96)&quot;&quot;&lt;v&quot;196&quot;&gt;&gt;&lt;tr(@tid:2@pid:97)&quot;&quot;&lt;v&quot;197&quot;&gt;&gt;&lt;tr(@tid:2@pid:98)&quot;&quot;&lt;v&quot;198&quot;&gt;&gt;&lt;tr(@tid:2@pid:99)&quot;&quot;&lt;v&quot;199&quot;&gt;&gt;&lt;tr(@tid:2@pid:100)&quot;&quot;&lt;v&quot;200&quot;&gt;&gt;&gt;&lt;people&quot;&quot;&lt;p(@id:101)&quot;&quot;&lt;f(@i:0)&quot;Keypad&quot;&gt;&lt;f(@i:1)&quot;1&quot;&gt;&gt;&lt;p(@id:102)&quot;&quot;&lt;f(@i:0)&quot;Keypad&quot;&gt;&lt;f(@i:1)&quot;2&quot;&gt;&gt;&lt;p(@id:103)&quot;&quot;&lt;f(@i:0)&quot;Keypad&quot;&gt;&lt;f(@i:1)&quot;3&quot;&gt;&gt;&lt;p(@id:104)&quot;&quot;&lt;f(@i:0)&quot;Keypad&quot;&gt;&lt;f(@i:1)&quot;4&quot;&gt;&gt;&lt;p(@id:105)&quot;&quot;&lt;f(@i:0)&quot;Keypad&quot;&gt;&lt;f(@i:1)&quot;5&quot;&gt;&gt;&lt;p(@id:106)&quot;&quot;&lt;f(@i:0)&quot;Keypad&quot;&gt;&lt;f(@i:1)&quot;6&quot;&gt;&gt;&lt;p(@id:107)&quot;&quot;&lt;f(@i:0)&quot;Keypad&quot;&gt;&lt;f(@i:1)&quot;7&quot;&gt;&gt;&lt;p(@id:108)&quot;&quot;&lt;f(@i:0)&quot;Keypad&quot;&gt;&lt;f(@i:1)&quot;8&quot;&gt;&gt;&lt;p(@id:109)&quot;&quot;&lt;f(@i:0)&quot;Keypad&quot;&gt;&lt;f(@i:1)&quot;9&quot;&gt;&gt;&lt;p(@id:110)&quot;&quot;&lt;f(@i:0)&quot;Keypad&quot;&gt;&lt;f(@i:1)&quot;10&quot;&gt;&gt;&lt;p(@id:111)&quot;&quot;&lt;f(@i:0)&quot;Keypad&quot;&gt;&lt;f(@i:1)&quot;11&quot;&gt;&gt;&lt;p(@id:112)&quot;&quot;&lt;f(@i:0)&quot;Keypad&quot;&gt;&lt;f(@i:1)&quot;12&quot;&gt;&gt;&lt;p(@id:113)&quot;&quot;&lt;f(@i:0)&quot;Keypad&quot;&gt;&lt;f(@i:1)&quot;13&quot;&gt;&gt;&lt;p(@id:114)&quot;&quot;&lt;f(@i:0)&quot;Keypad&quot;&gt;&lt;f(@i:1)&quot;14&quot;&gt;&gt;&lt;p(@id:115)&quot;&quot;&lt;f(@i:0)&quot;Keypad&quot;&gt;&lt;f(@i:1)&quot;15&quot;&gt;&gt;&lt;p(@id:116)&quot;&quot;&lt;f(@i:0)&quot;Keypad&quot;&gt;&lt;f(@i:1)&quot;16&quot;&gt;&gt;&lt;p(@id:117)&quot;&quot;&lt;f(@i:0)&quot;Keypad&quot;&gt;&lt;f(@i:1)&quot;17&quot;&gt;&gt;&lt;p(@id:118)&quot;&quot;&lt;f(@i:0)&quot;Keypad&quot;&gt;&lt;f(@i:1)&quot;18&quot;&gt;&gt;&lt;p(@id:119)&quot;&quot;&lt;f(@i:0)&quot;Keypad&quot;&gt;&lt;f(@i:1)&quot;19&quot;&gt;&gt;&lt;p(@id:120)&quot;&quot;&lt;f(@i:0)&quot;Keypad&quot;&gt;&lt;f(@i:1)&quot;20&quot;&gt;&gt;&lt;p(@id:121)&quot;&quot;&lt;f(@i:0)&quot;Keypad&quot;&gt;&lt;f(@i:1)&quot;21&quot;&gt;&gt;&lt;p(@id:122)&quot;&quot;&lt;f(@i:0)&quot;Keypad&quot;&gt;&lt;f(@i:1)&quot;22&quot;&gt;&gt;&lt;p(@id:123)&quot;&quot;&lt;f(@i:0)&quot;Keypad&quot;&gt;&lt;f(@i:1)&quot;23&quot;&gt;&gt;&lt;p(@id:124)&quot;&quot;&lt;f(@i:0)&quot;Keypad&quot;&gt;&lt;f(@i:1)&quot;24&quot;&gt;&gt;&lt;p(@id:125)&quot;&quot;&lt;f(@i:0)&quot;Keypad&quot;&gt;&lt;f(@i:1)&quot;25&quot;&gt;&gt;&lt;p(@id:126)&quot;&quot;&lt;f(@i:0)&quot;Keypad&quot;&gt;&lt;f(@i:1)&quot;26&quot;&gt;&gt;&lt;p(@id:127)&quot;&quot;&lt;f(@i:0)&quot;Keypad&quot;&gt;&lt;f(@i:1)&quot;27&quot;&gt;&gt;&lt;p(@id:128)&quot;&quot;&lt;f(@i:0)&quot;Keypad&quot;&gt;&lt;f(@i:1)&quot;28&quot;&gt;&gt;&lt;p(@id:129)&quot;&quot;&lt;f(@i:0)&quot;Keypad&quot;&gt;&lt;f(@i:1)&quot;29&quot;&gt;&gt;&lt;p(@id:130)&quot;&quot;&lt;f(@i:0)&quot;Keypad&quot;&gt;&lt;f(@i:1)&quot;30&quot;&gt;&gt;&lt;p(@id:131)&quot;&quot;&lt;f(@i:0)&quot;Keypad&quot;&gt;&lt;f(@i:1)&quot;31&quot;&gt;&gt;&lt;p(@id:132)&quot;&quot;&lt;f(@i:0)&quot;Keypad&quot;&gt;&lt;f(@i:1)&quot;32&quot;&gt;&gt;&lt;p(@id:133)&quot;&quot;&lt;f(@i:0)&quot;Keypad&quot;&gt;&lt;f(@i:1)&quot;33&quot;&gt;&gt;&lt;p(@id:134)&quot;&quot;&lt;f(@i:0)&quot;Keypad&quot;&gt;&lt;f(@i:1)&quot;34&quot;&gt;&gt;&lt;p(@id:135)&quot;&quot;&lt;f(@i:0)&quot;Keypad&quot;&gt;&lt;f(@i:1)&quot;35&quot;&gt;&gt;&lt;p(@id:136)&quot;&quot;&lt;f(@i:0)&quot;Keypad&quot;&gt;&lt;f(@i:1)&quot;36&quot;&gt;&gt;&lt;p(@id:137)&quot;&quot;&lt;f(@i:0)&quot;Keypad&quot;&gt;&lt;f(@i:1)&quot;37&quot;&gt;&gt;&lt;p(@id:138)&quot;&quot;&lt;f(@i:0)&quot;Keypad&quot;&gt;&lt;f(@i:1)&quot;38&quot;&gt;&gt;&lt;p(@id:139)&quot;&quot;&lt;f(@i:0)&quot;Keypad&quot;&gt;&lt;f(@i:1)&quot;39&quot;&gt;&gt;&lt;p(@id:140)&quot;&quot;&lt;f(@i:0)&quot;Keypad&quot;&gt;&lt;f(@i:1)&quot;40&quot;&gt;&gt;&lt;p(@id:141)&quot;&quot;&lt;f(@i:0)&quot;Keypad&quot;&gt;&lt;f(@i:1)&quot;41&quot;&gt;&gt;&lt;p(@id:142)&quot;&quot;&lt;f(@i:0)&quot;Keypad&quot;&gt;&lt;f(@i:1)&quot;42&quot;&gt;&gt;&lt;p(@id:143)&quot;&quot;&lt;f(@i:0)&quot;Keypad&quot;&gt;&lt;f(@i:1)&quot;43&quot;&gt;&gt;&lt;p(@id:144)&quot;&quot;&lt;f(@i:0)&quot;Keypad&quot;&gt;&lt;f(@i:1)&quot;44&quot;&gt;&gt;&lt;p(@id:145)&quot;&quot;&lt;f(@i:0)&quot;Keypad&quot;&gt;&lt;f(@i:1)&quot;45&quot;&gt;&gt;&lt;p(@id:146)&quot;&quot;&lt;f(@i:0)&quot;Keypad&quot;&gt;&lt;f(@i:1)&quot;46&quot;&gt;&gt;&lt;p(@id:147)&quot;&quot;&lt;f(@i:0)&quot;Keypad&quot;&gt;&lt;f(@i:1)&quot;47&quot;&gt;&gt;&lt;p(@id:148)&quot;&quot;&lt;f(@i:0)&quot;Keypad&quot;&gt;&lt;f(@i:1)&quot;48&quot;&gt;&gt;&lt;p(@id:149)&quot;&quot;&lt;f(@i:0)&quot;Keypad&quot;&gt;&lt;f(@i:1)&quot;49&quot;&gt;&gt;&lt;p(@id:150)&quot;&quot;&lt;f(@i:0)&quot;Keypad&quot;&gt;&lt;f(@i:1)&quot;50&quot;&gt;&gt;&lt;p(@id:151)&quot;&quot;&lt;f(@i:0)&quot;Keypad&quot;&gt;&lt;f(@i:1)&quot;51&quot;&gt;&gt;&lt;p(@id:152)&quot;&quot;&lt;f(@i:0)&quot;Keypad&quot;&gt;&lt;f(@i:1)&quot;52&quot;&gt;&gt;&lt;p(@id:153)&quot;&quot;&lt;f(@i:0)&quot;Keypad&quot;&gt;&lt;f(@i:1)&quot;53&quot;&gt;&gt;&lt;p(@id:154)&quot;&quot;&lt;f(@i:0)&quot;Keypad&quot;&gt;&lt;f(@i:1)&quot;54&quot;&gt;&gt;&lt;p(@id:155)&quot;&quot;&lt;f(@i:0)&quot;Keypad&quot;&gt;&lt;f(@i:1)&quot;55&quot;&gt;&gt;&lt;p(@id:156)&quot;&quot;&lt;f(@i:0)&quot;Keypad&quot;&gt;&lt;f(@i:1)&quot;56&quot;&gt;&gt;&lt;p(@id:157)&quot;&quot;&lt;f(@i:0)&quot;Keypad&quot;&gt;&lt;f(@i:1)&quot;57&quot;&gt;&gt;&lt;p(@id:158)&quot;&quot;&lt;f(@i:0)&quot;Keypad&quot;&gt;&lt;f(@i:1)&quot;58&quot;&gt;&gt;&lt;p(@id:159)&quot;&quot;&lt;f(@i:0)&quot;Keypad&quot;&gt;&lt;f(@i:1)&quot;59&quot;&gt;&gt;&lt;p(@id:160)&quot;&quot;&lt;f(@i:0)&quot;Keypad&quot;&gt;&lt;f(@i:1)&quot;60&quot;&gt;&gt;&lt;p(@id:161)&quot;&quot;&lt;f(@i:0)&quot;Keypad&quot;&gt;&lt;f(@i:1)&quot;61&quot;&gt;&gt;&lt;p(@id:162)&quot;&quot;&lt;f(@i:0)&quot;Keypad&quot;&gt;&lt;f(@i:1)&quot;62&quot;&gt;&gt;&lt;p(@id:163)&quot;&quot;&lt;f(@i:0)&quot;Keypad&quot;&gt;&lt;f(@i:1)&quot;63&quot;&gt;&gt;&lt;p(@id:164)&quot;&quot;&lt;f(@i:0)&quot;Keypad&quot;&gt;&lt;f(@i:1)&quot;64&quot;&gt;&gt;&lt;p(@id:165)&quot;&quot;&lt;f(@i:0)&quot;Keypad&quot;&gt;&lt;f(@i:1)&quot;65&quot;&gt;&gt;&lt;p(@id:166)&quot;&quot;&lt;f(@i:0)&quot;Keypad&quot;&gt;&lt;f(@i:1)&quot;66&quot;&gt;&gt;&lt;p(@id:167)&quot;&quot;&lt;f(@i:0)&quot;Keypad&quot;&gt;&lt;f(@i:1)&quot;67&quot;&gt;&gt;&lt;p(@id:168)&quot;&quot;&lt;f(@i:0)&quot;Keypad&quot;&gt;&lt;f(@i:1)&quot;68&quot;&gt;&gt;&lt;p(@id:169)&quot;&quot;&lt;f(@i:0)&quot;Keypad&quot;&gt;&lt;f(@i:1)&quot;69&quot;&gt;&gt;&lt;p(@id:170)&quot;&quot;&lt;f(@i:0)&quot;Keypad&quot;&gt;&lt;f(@i:1)&quot;70&quot;&gt;&gt;&lt;p(@id:171)&quot;&quot;&lt;f(@i:0)&quot;Keypad&quot;&gt;&lt;f(@i:1)&quot;71&quot;&gt;&gt;&lt;p(@id:172)&quot;&quot;&lt;f(@i:0)&quot;Keypad&quot;&gt;&lt;f(@i:1)&quot;72&quot;&gt;&gt;&lt;p(@id:173)&quot;&quot;&lt;f(@i:0)&quot;Keypad&quot;&gt;&lt;f(@i:1)&quot;73&quot;&gt;&gt;&lt;p(@id:174)&quot;&quot;&lt;f(@i:0)&quot;Keypad&quot;&gt;&lt;f(@i:1)&quot;74&quot;&gt;&gt;&lt;p(@id:175)&quot;&quot;&lt;f(@i:0)&quot;Keypad&quot;&gt;&lt;f(@i:1)&quot;75&quot;&gt;&gt;&lt;p(@id:176)&quot;&quot;&lt;f(@i:0)&quot;Keypad&quot;&gt;&lt;f(@i:1)&quot;76&quot;&gt;&gt;&lt;p(@id:177)&quot;&quot;&lt;f(@i:0)&quot;Keypad&quot;&gt;&lt;f(@i:1)&quot;77&quot;&gt;&gt;&lt;p(@id:178)&quot;&quot;&lt;f(@i:0)&quot;Keypad&quot;&gt;&lt;f(@i:1)&quot;78&quot;&gt;&gt;&lt;p(@id:179)&quot;&quot;&lt;f(@i:0)&quot;Keypad&quot;&gt;&lt;f(@i:1)&quot;79&quot;&gt;&gt;&lt;p(@id:180)&quot;&quot;&lt;f(@i:0)&quot;Keypad&quot;&gt;&lt;f(@i:1)&quot;80&quot;&gt;&gt;&lt;p(@id:181)&quot;&quot;&lt;f(@i:0)&quot;Keypad&quot;&gt;&lt;f(@i:1)&quot;81&quot;&gt;&gt;&lt;p(@id:182)&quot;&quot;&lt;f(@i:0)&quot;Keypad&quot;&gt;&lt;f(@i:1)&quot;82&quot;&gt;&gt;&lt;p(@id:183)&quot;&quot;&lt;f(@i:0)&quot;Keypad&quot;&gt;&lt;f(@i:1)&quot;83&quot;&gt;&gt;&lt;p(@id:184)&quot;&quot;&lt;f(@i:0)&quot;Keypad&quot;&gt;&lt;f(@i:1)&quot;84&quot;&gt;&gt;&lt;p(@id:185)&quot;&quot;&lt;f(@i:0)&quot;Keypad&quot;&gt;&lt;f(@i:1)&quot;85&quot;&gt;&gt;&lt;p(@id:186)&quot;&quot;&lt;f(@i:0)&quot;Keypad&quot;&gt;&lt;f(@i:1)&quot;86&quot;&gt;&gt;&lt;p(@id:187)&quot;&quot;&lt;f(@i:0)&quot;Keypad&quot;&gt;&lt;f(@i:1)&quot;87&quot;&gt;&gt;&lt;p(@id:188)&quot;&quot;&lt;f(@i:0)&quot;Keypad&quot;&gt;&lt;f(@i:1)&quot;88&quot;&gt;&gt;&lt;p(@id:189)&quot;&quot;&lt;f(@i:0)&quot;Keypad&quot;&gt;&lt;f(@i:1)&quot;89&quot;&gt;&gt;&lt;p(@id:190)&quot;&quot;&lt;f(@i:0)&quot;Keypad&quot;&gt;&lt;f(@i:1)&quot;90&quot;&gt;&gt;&lt;p(@id:191)&quot;&quot;&lt;f(@i:0)&quot;Keypad&quot;&gt;&lt;f(@i:1)&quot;91&quot;&gt;&gt;&lt;p(@id:192)&quot;&quot;&lt;f(@i:0)&quot;Keypad&quot;&gt;&lt;f(@i:1)&quot;92&quot;&gt;&gt;&lt;p(@id:193)&quot;&quot;&lt;f(@i:0)&quot;Keypad&quot;&gt;&lt;f(@i:1)&quot;93&quot;&gt;&gt;&lt;p(@id:194)&quot;&quot;&lt;f(@i:0)&quot;Keypad&quot;&gt;&lt;f(@i:1)&quot;94&quot;&gt;&gt;&lt;p(@id:195)&quot;&quot;&lt;f(@i:0)&quot;Keypad&quot;&gt;&lt;f(@i:1)&quot;95&quot;&gt;&gt;&lt;p(@id:196)&quot;&quot;&lt;f(@i:0)&quot;Keypad&quot;&gt;&lt;f(@i:1)&quot;96&quot;&gt;&gt;&lt;p(@id:197)&quot;&quot;&lt;f(@i:0)&quot;Keypad&quot;&gt;&lt;f(@i:1)&quot;97&quot;&gt;&gt;&lt;p(@id:198)&quot;&quot;&lt;f(@i:0)&quot;Keypad&quot;&gt;&lt;f(@i:1)&quot;98&quot;&gt;&gt;&lt;p(@id:199)&quot;&quot;&lt;f(@i:0)&quot;Keypad&quot;&gt;&lt;f(@i:1)&quot;99&quot;&gt;&gt;&lt;p(@id:200)&quot;&quot;&lt;f(@i:0)&quot;Keypad&quot;&gt;&lt;f(@i:1)&quot;100&quot;&gt;&gt;&gt;&lt;fields&quot;&quot;&lt;fld(@i:0)&quot;&quot;&lt;n&quot;First Name&quot;&gt;&gt;&lt;fld(@i:1)&quot;&quot;&lt;n&quot;Last Name&quot;&gt;&gt;&lt;fld(@i:2)&quot;&quot;&lt;n&quot;Entry Disabled&quot;&gt;&gt;&lt;fld(@i:3)&quot;&quot;&lt;n&quot;Participant Group&quot;&gt;&gt;&lt;fld(@i:4)&quot;&quot;&lt;n&quot;Team&quot;&gt;&gt;&lt;fld(@i:5)&quot;&quot;&lt;n&quot;Voting Weight&quot;&gt;&gt;&gt;&gt;&lt;chart&quot;&quot;&lt;styles&quot;&quot;&gt;&gt;&lt;teams&quot;&quot;&gt;&lt;transceivers&quot;&quot;&lt;t(@id:2@tt:ReplyPlus@n:Transceiver 2)&quot;&quot;&lt;f(@id:c)&quot;3&quot;&gt;&lt;f(@id:comType)&quot;Usb&quot;&gt;&lt;f(@id:com)&quot;[Auto]&quot;&gt;&lt;f(@id:kIdType)&quot;Static&quot;&gt;&lt;f(@id:ac)&quot;false&quot;&gt;&lt;f(@id:bl)&quot;Normal&quot;&gt;&lt;f(@id:dm)&quot;false&quot;&gt;&lt;f(@id:dp)&quot;false&quot;&gt;&lt;f(@id:kMin)&quot;1&quot;&gt;&lt;f(@id:kMax)&quot;250&quot;&gt;&lt;f(@id:pl)&quot;EuMax&quot;&gt;&lt;f(@id:rs)&quot;false&quot;&gt;&lt;f(@id:rr)&quot;false&quot;&gt;&lt;f(@id:sr)&quot;true&quot;&gt;&lt;f(@id:ss)&quot;true&quot;&gt;&lt;f(@id:wa)&quot;Off&quot;&gt;&gt;&gt;&gt;"/>
</p:tagLst>
</file>

<file path=ppt/tags/tag10.xml><?xml version="1.0" encoding="utf-8"?>
<p:tagLst xmlns:a="http://schemas.openxmlformats.org/drawingml/2006/main" xmlns:r="http://schemas.openxmlformats.org/officeDocument/2006/relationships" xmlns:p="http://schemas.openxmlformats.org/presentationml/2006/main">
  <p:tag name="KPI_HAS_CHART" val="false"/>
</p:tagLst>
</file>

<file path=ppt/tags/tag11.xml><?xml version="1.0" encoding="utf-8"?>
<p:tagLst xmlns:a="http://schemas.openxmlformats.org/drawingml/2006/main" xmlns:r="http://schemas.openxmlformats.org/officeDocument/2006/relationships" xmlns:p="http://schemas.openxmlformats.org/presentationml/2006/main">
  <p:tag name="KPI_HAS_CHART" val="false"/>
</p:tagLst>
</file>

<file path=ppt/tags/tag12.xml><?xml version="1.0" encoding="utf-8"?>
<p:tagLst xmlns:a="http://schemas.openxmlformats.org/drawingml/2006/main" xmlns:r="http://schemas.openxmlformats.org/officeDocument/2006/relationships" xmlns:p="http://schemas.openxmlformats.org/presentationml/2006/main">
  <p:tag name="KPI_HAS_CHART" val="false"/>
</p:tagLst>
</file>

<file path=ppt/tags/tag13.xml><?xml version="1.0" encoding="utf-8"?>
<p:tagLst xmlns:a="http://schemas.openxmlformats.org/drawingml/2006/main" xmlns:r="http://schemas.openxmlformats.org/officeDocument/2006/relationships" xmlns:p="http://schemas.openxmlformats.org/presentationml/2006/main">
  <p:tag name="KPI_HAS_CHART" val="false"/>
</p:tagLst>
</file>

<file path=ppt/tags/tag14.xml><?xml version="1.0" encoding="utf-8"?>
<p:tagLst xmlns:a="http://schemas.openxmlformats.org/drawingml/2006/main" xmlns:r="http://schemas.openxmlformats.org/officeDocument/2006/relationships" xmlns:p="http://schemas.openxmlformats.org/presentationml/2006/main">
  <p:tag name="KPI_HAS_CHART" val="fals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KPI_HAS_CHART" val="false"/>
</p:tagLst>
</file>

<file path=ppt/theme/_rels/theme11.xml.rels><?xml version="1.0" encoding="UTF-8" standalone="yes"?>
<Relationships xmlns="http://schemas.openxmlformats.org/package/2006/relationships"><Relationship Id="rId1" Type="http://schemas.openxmlformats.org/officeDocument/2006/relationships/image" Target="../media/image8.jpeg"/></Relationships>
</file>

<file path=ppt/theme/theme1.xml><?xml version="1.0" encoding="utf-8"?>
<a:theme xmlns:a="http://schemas.openxmlformats.org/drawingml/2006/main" name="1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1_Office Theme">
  <a:themeElements>
    <a:clrScheme name="Custom 29">
      <a:dk1>
        <a:srgbClr val="000000"/>
      </a:dk1>
      <a:lt1>
        <a:srgbClr val="FFFFFF"/>
      </a:lt1>
      <a:dk2>
        <a:srgbClr val="6E1E50"/>
      </a:dk2>
      <a:lt2>
        <a:srgbClr val="EEECE1"/>
      </a:lt2>
      <a:accent1>
        <a:srgbClr val="1E325F"/>
      </a:accent1>
      <a:accent2>
        <a:srgbClr val="6E1E50"/>
      </a:accent2>
      <a:accent3>
        <a:srgbClr val="7D8232"/>
      </a:accent3>
      <a:accent4>
        <a:srgbClr val="32502D"/>
      </a:accent4>
      <a:accent5>
        <a:srgbClr val="8795A0"/>
      </a:accent5>
      <a:accent6>
        <a:srgbClr val="56639D"/>
      </a:accent6>
      <a:hlink>
        <a:srgbClr val="000000"/>
      </a:hlink>
      <a:folHlink>
        <a:srgbClr val="00000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lgn="l">
          <a:defRPr/>
        </a:defPPr>
      </a:lstStyle>
    </a:txDef>
  </a:objectDefaults>
  <a:extraClrSchemeLst/>
</a:theme>
</file>

<file path=ppt/theme/theme11.xml><?xml version="1.0" encoding="utf-8"?>
<a:theme xmlns:a="http://schemas.openxmlformats.org/drawingml/2006/main" name="2_Solstice">
  <a:themeElements>
    <a:clrScheme name="Taiho">
      <a:dk1>
        <a:srgbClr val="555456"/>
      </a:dk1>
      <a:lt1>
        <a:srgbClr val="FFFFFF"/>
      </a:lt1>
      <a:dk2>
        <a:srgbClr val="4F271C"/>
      </a:dk2>
      <a:lt2>
        <a:srgbClr val="E7DEC9"/>
      </a:lt2>
      <a:accent1>
        <a:srgbClr val="3891A7"/>
      </a:accent1>
      <a:accent2>
        <a:srgbClr val="FEB80A"/>
      </a:accent2>
      <a:accent3>
        <a:srgbClr val="C32D2E"/>
      </a:accent3>
      <a:accent4>
        <a:srgbClr val="9D985C"/>
      </a:accent4>
      <a:accent5>
        <a:srgbClr val="7F5E43"/>
      </a:accent5>
      <a:accent6>
        <a:srgbClr val="475A8D"/>
      </a:accent6>
      <a:hlink>
        <a:srgbClr val="9D985C"/>
      </a:hlink>
      <a:folHlink>
        <a:srgbClr val="AA8A14"/>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olstice">
      <a:fillStyleLst>
        <a:solidFill>
          <a:schemeClr val="phClr"/>
        </a:solidFill>
        <a:gradFill rotWithShape="1">
          <a:gsLst>
            <a:gs pos="0">
              <a:schemeClr val="phClr">
                <a:tint val="35000"/>
                <a:satMod val="253000"/>
              </a:schemeClr>
            </a:gs>
            <a:gs pos="50000">
              <a:schemeClr val="phClr">
                <a:tint val="42000"/>
                <a:satMod val="255000"/>
              </a:schemeClr>
            </a:gs>
            <a:gs pos="97000">
              <a:schemeClr val="phClr">
                <a:tint val="53000"/>
                <a:satMod val="260000"/>
              </a:schemeClr>
            </a:gs>
            <a:gs pos="100000">
              <a:schemeClr val="phClr">
                <a:tint val="56000"/>
                <a:satMod val="275000"/>
              </a:schemeClr>
            </a:gs>
          </a:gsLst>
          <a:path path="circle">
            <a:fillToRect l="50000" t="50000" r="50000" b="50000"/>
          </a:path>
        </a:gradFill>
        <a:gradFill rotWithShape="1">
          <a:gsLst>
            <a:gs pos="0">
              <a:schemeClr val="phClr">
                <a:tint val="92000"/>
                <a:satMod val="170000"/>
              </a:schemeClr>
            </a:gs>
            <a:gs pos="15000">
              <a:schemeClr val="phClr">
                <a:tint val="92000"/>
                <a:shade val="99000"/>
                <a:satMod val="170000"/>
              </a:schemeClr>
            </a:gs>
            <a:gs pos="62000">
              <a:schemeClr val="phClr">
                <a:tint val="96000"/>
                <a:shade val="80000"/>
                <a:satMod val="170000"/>
              </a:schemeClr>
            </a:gs>
            <a:gs pos="97000">
              <a:schemeClr val="phClr">
                <a:tint val="98000"/>
                <a:shade val="63000"/>
                <a:satMod val="170000"/>
              </a:schemeClr>
            </a:gs>
            <a:gs pos="100000">
              <a:schemeClr val="phClr">
                <a:shade val="62000"/>
                <a:satMod val="170000"/>
              </a:schemeClr>
            </a:gs>
          </a:gsLst>
          <a:path path="circle">
            <a:fillToRect l="50000" t="50000" r="50000" b="50000"/>
          </a:path>
        </a:gradFill>
      </a:fillStyleLst>
      <a:lnStyleLst>
        <a:ln w="9525" cap="flat" cmpd="sng" algn="ctr">
          <a:solidFill>
            <a:schemeClr val="phClr"/>
          </a:solidFill>
          <a:prstDash val="solid"/>
        </a:ln>
        <a:ln w="25400" cap="flat" cmpd="sng" algn="ctr">
          <a:solidFill>
            <a:schemeClr val="phClr"/>
          </a:solidFill>
          <a:prstDash val="solid"/>
        </a:ln>
        <a:ln w="25400" cap="flat" cmpd="sng" algn="ctr">
          <a:solidFill>
            <a:schemeClr val="phClr"/>
          </a:solidFill>
          <a:prstDash val="solid"/>
        </a:ln>
      </a:lnStyleLst>
      <a:effectStyleLst>
        <a:effectStyle>
          <a:effectLst>
            <a:outerShdw blurRad="63500" dist="25400" dir="5400000" rotWithShape="0">
              <a:srgbClr val="000000">
                <a:alpha val="43137"/>
              </a:srgbClr>
            </a:outerShdw>
          </a:effectLst>
        </a:effectStyle>
        <a:effectStyle>
          <a:effectLst>
            <a:outerShdw blurRad="63500" dist="25400" dir="5400000" rotWithShape="0">
              <a:srgbClr val="000000">
                <a:alpha val="43137"/>
              </a:srgbClr>
            </a:outerShdw>
          </a:effectLst>
          <a:scene3d>
            <a:camera prst="orthographicFront" fov="0">
              <a:rot lat="0" lon="0" rev="0"/>
            </a:camera>
            <a:lightRig rig="brightRoom" dir="tl">
              <a:rot lat="0" lon="0" rev="8700000"/>
            </a:lightRig>
          </a:scene3d>
          <a:sp3d contourW="12700">
            <a:bevelT w="0" h="0"/>
            <a:contourClr>
              <a:schemeClr val="phClr">
                <a:shade val="80000"/>
              </a:schemeClr>
            </a:contourClr>
          </a:sp3d>
        </a:effectStyle>
        <a:effectStyle>
          <a:effectLst>
            <a:outerShdw blurRad="63500" dist="25400" dir="5400000" rotWithShape="0">
              <a:srgbClr val="000000">
                <a:alpha val="43137"/>
              </a:srgbClr>
            </a:outerShdw>
          </a:effectLst>
          <a:scene3d>
            <a:camera prst="orthographicFront" fov="0">
              <a:rot lat="0" lon="0" rev="0"/>
            </a:camera>
            <a:lightRig rig="brightRoom" dir="tl">
              <a:rot lat="0" lon="0" rev="5400000"/>
            </a:lightRig>
          </a:scene3d>
          <a:sp3d contourW="12700">
            <a:bevelT w="25400" h="50800" prst="angle"/>
            <a:contourClr>
              <a:schemeClr val="phClr"/>
            </a:contourClr>
          </a:sp3d>
        </a:effectStyle>
      </a:effectStyleLst>
      <a:bgFillStyleLst>
        <a:solidFill>
          <a:schemeClr val="phClr"/>
        </a:solidFill>
        <a:gradFill rotWithShape="1">
          <a:gsLst>
            <a:gs pos="0">
              <a:schemeClr val="phClr">
                <a:tint val="60000"/>
                <a:satMod val="355000"/>
              </a:schemeClr>
            </a:gs>
            <a:gs pos="40000">
              <a:schemeClr val="phClr">
                <a:tint val="85000"/>
                <a:satMod val="320000"/>
              </a:schemeClr>
            </a:gs>
            <a:gs pos="100000">
              <a:schemeClr val="phClr">
                <a:shade val="55000"/>
                <a:satMod val="300000"/>
              </a:schemeClr>
            </a:gs>
          </a:gsLst>
          <a:path path="circle">
            <a:fillToRect l="-24500" t="-20000" r="124500" b="120000"/>
          </a:path>
        </a:gradFill>
        <a:blipFill>
          <a:blip xmlns:r="http://schemas.openxmlformats.org/officeDocument/2006/relationships" r:embed="rId1">
            <a:duotone>
              <a:schemeClr val="phClr">
                <a:shade val="9000"/>
                <a:satMod val="300000"/>
              </a:schemeClr>
              <a:schemeClr val="phClr">
                <a:tint val="90000"/>
                <a:satMod val="225000"/>
              </a:schemeClr>
            </a:duotone>
          </a:blip>
          <a:tile tx="0" ty="0" sx="90000" sy="90000" flip="xy" algn="tl"/>
        </a:blipFill>
      </a:bgFillStyleLst>
    </a:fmtScheme>
  </a:themeElements>
  <a:objectDefaults/>
  <a:extraClrSchemeLst/>
  <a:extLst>
    <a:ext uri="{05A4C25C-085E-4340-85A3-A5531E510DB2}">
      <thm15:themeFamily xmlns:thm15="http://schemas.microsoft.com/office/thememl/2012/main" name="Presentation1" id="{DD6AEC63-D782-41B9-B8EF-7BC73F9B8694}" vid="{A97B9FFE-4ACA-483B-8D46-C288700465D7}"/>
    </a:ext>
  </a:extLst>
</a:theme>
</file>

<file path=ppt/theme/theme12.xml><?xml version="1.0" encoding="utf-8"?>
<a:theme xmlns:a="http://schemas.openxmlformats.org/drawingml/2006/main" name="Internal Educational Materials">
  <a:themeElements>
    <a:clrScheme name="Custom 23">
      <a:dk1>
        <a:srgbClr val="212121"/>
      </a:dk1>
      <a:lt1>
        <a:srgbClr val="FFFFFF"/>
      </a:lt1>
      <a:dk2>
        <a:srgbClr val="000000"/>
      </a:dk2>
      <a:lt2>
        <a:srgbClr val="EDECDF"/>
      </a:lt2>
      <a:accent1>
        <a:srgbClr val="43921E"/>
      </a:accent1>
      <a:accent2>
        <a:srgbClr val="E29E2B"/>
      </a:accent2>
      <a:accent3>
        <a:srgbClr val="023496"/>
      </a:accent3>
      <a:accent4>
        <a:srgbClr val="710135"/>
      </a:accent4>
      <a:accent5>
        <a:srgbClr val="937164"/>
      </a:accent5>
      <a:accent6>
        <a:srgbClr val="C74F3A"/>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4.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5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Blank Presentation">
  <a:themeElements>
    <a:clrScheme name="Blank Presentatio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Blank Presentation">
      <a:majorFont>
        <a:latin typeface="Times New Roman"/>
        <a:ea typeface=""/>
        <a:cs typeface=""/>
      </a:majorFont>
      <a:minorFont>
        <a:latin typeface="Times New Roma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New Roman" pitchFamily="18"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New Roman" pitchFamily="18" charset="0"/>
          </a:defRPr>
        </a:defPPr>
      </a:lstStyle>
    </a:lnDef>
  </a:objectDefaults>
  <a:extraClrSchemeLst>
    <a:extraClrScheme>
      <a:clrScheme name="Blank Presentatio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Blank Presentatio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Blank Presentatio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Blank Presentatio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Atezo External No Logo White">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28575">
          <a:solidFill>
            <a:schemeClr val="tx1"/>
          </a:solidFill>
          <a:round/>
          <a:headEnd type="none" w="sm" len="sm"/>
          <a:tailEnd type="none" w="sm" len="sm"/>
        </a:ln>
        <a:effectLst/>
      </a:spPr>
      <a:bodyPr wrap="square" rtlCol="0" anchor="ctr">
        <a:spAutoFit/>
      </a:bodyPr>
      <a:lstStyle>
        <a:defPPr algn="ctr">
          <a:spcBef>
            <a:spcPct val="0"/>
          </a:spcBef>
          <a:spcAft>
            <a:spcPct val="0"/>
          </a:spcAft>
          <a:defRPr sz="1800" b="1" dirty="0" err="1" smtClean="0">
            <a:ea typeface="MS PGothic" pitchFamily="34" charset="-128"/>
            <a:cs typeface="ヒラギノ角ゴ Pro W3"/>
          </a:defRPr>
        </a:defPPr>
      </a:lst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auto">
        <a:noFill/>
        <a:ln w="9525">
          <a:noFill/>
          <a:miter lim="800000"/>
          <a:headEnd/>
          <a:tailEnd/>
        </a:ln>
        <a:effectLst/>
      </a:spPr>
      <a:bodyPr wrap="none" lIns="72000" tIns="72000" rIns="72000" bIns="72000" rtlCol="0" anchor="ctr">
        <a:spAutoFit/>
      </a:bodyPr>
      <a:lstStyle>
        <a:defPPr>
          <a:defRPr sz="1400" b="1" kern="0" dirty="0" smtClean="0"/>
        </a:defPPr>
      </a:lstStyle>
    </a:txDef>
  </a:objectDefaults>
  <a:extraClrSchemeLst/>
</a:theme>
</file>

<file path=ppt/theme/theme5.xml><?xml version="1.0" encoding="utf-8"?>
<a:theme xmlns:a="http://schemas.openxmlformats.org/drawingml/2006/main" name="1_Custom Design">
  <a:themeElements>
    <a:clrScheme name="Custom 1">
      <a:dk1>
        <a:srgbClr val="00447C"/>
      </a:dk1>
      <a:lt1>
        <a:srgbClr val="FFFFFF"/>
      </a:lt1>
      <a:dk2>
        <a:srgbClr val="0076A9"/>
      </a:dk2>
      <a:lt2>
        <a:srgbClr val="E7E6E6"/>
      </a:lt2>
      <a:accent1>
        <a:srgbClr val="39CADA"/>
      </a:accent1>
      <a:accent2>
        <a:srgbClr val="228822"/>
      </a:accent2>
      <a:accent3>
        <a:srgbClr val="00457C"/>
      </a:accent3>
      <a:accent4>
        <a:srgbClr val="39B0FF"/>
      </a:accent4>
      <a:accent5>
        <a:srgbClr val="228822"/>
      </a:accent5>
      <a:accent6>
        <a:srgbClr val="228822"/>
      </a:accent6>
      <a:hlink>
        <a:srgbClr val="F2CE47"/>
      </a:hlink>
      <a:folHlink>
        <a:srgbClr val="39B0FF"/>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8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2022_GSMP_Theme">
  <a:themeElements>
    <a:clrScheme name="2022_GSMP_Colors">
      <a:dk1>
        <a:srgbClr val="000000"/>
      </a:dk1>
      <a:lt1>
        <a:srgbClr val="FFFFFF"/>
      </a:lt1>
      <a:dk2>
        <a:srgbClr val="00857C"/>
      </a:dk2>
      <a:lt2>
        <a:srgbClr val="6ECEB2"/>
      </a:lt2>
      <a:accent1>
        <a:srgbClr val="5450E4"/>
      </a:accent1>
      <a:accent2>
        <a:srgbClr val="69B8F7"/>
      </a:accent2>
      <a:accent3>
        <a:srgbClr val="66840B"/>
      </a:accent3>
      <a:accent4>
        <a:srgbClr val="BFED33"/>
      </a:accent4>
      <a:accent5>
        <a:srgbClr val="600039"/>
      </a:accent5>
      <a:accent6>
        <a:srgbClr val="C09DAD"/>
      </a:accent6>
      <a:hlink>
        <a:srgbClr val="F58B39"/>
      </a:hlink>
      <a:folHlink>
        <a:srgbClr val="F8AC71"/>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6350" cap="flat" cmpd="sng" algn="ctr">
          <a:noFill/>
          <a:prstDash val="solid"/>
          <a:round/>
          <a:headEnd type="none" w="med" len="med"/>
          <a:tailEnd type="none" w="med" len="med"/>
        </a:ln>
        <a:effectLst/>
      </a:spPr>
      <a:bodyPr rtlCol="0" anchor="ctr"/>
      <a:lstStyle>
        <a:defPPr algn="ctr">
          <a:defRPr kern="600" spc="30" dirty="0" err="1" smtClean="0"/>
        </a:defPPr>
      </a:lstStyle>
      <a:style>
        <a:lnRef idx="1">
          <a:schemeClr val="accent1"/>
        </a:lnRef>
        <a:fillRef idx="3">
          <a:schemeClr val="accent1"/>
        </a:fillRef>
        <a:effectRef idx="2">
          <a:schemeClr val="accent1"/>
        </a:effectRef>
        <a:fontRef idx="minor">
          <a:schemeClr val="lt1"/>
        </a:fontRef>
      </a:style>
    </a:spDef>
    <a:lnDef>
      <a:spPr>
        <a:ln w="6350" cap="flat" cmpd="sng" algn="ctr">
          <a:solidFill>
            <a:schemeClr val="accent1"/>
          </a:solidFill>
          <a:prstDash val="solid"/>
          <a:round/>
          <a:headEnd type="none" w="med" len="med"/>
          <a:tailEnd type="none" w="med" len="med"/>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chor="t" anchorCtr="0">
        <a:spAutoFit/>
      </a:bodyPr>
      <a:lstStyle>
        <a:defPPr>
          <a:defRPr kern="600" spc="30" dirty="0" err="1" smtClean="0"/>
        </a:defPPr>
      </a:lstStyle>
    </a:txDef>
  </a:objectDefaults>
  <a:extraClrSchemeLst/>
  <a:extLst>
    <a:ext uri="{05A4C25C-085E-4340-85A3-A5531E510DB2}">
      <thm15:themeFamily xmlns:thm15="http://schemas.microsoft.com/office/thememl/2012/main" name="V2022A-GSMP_Slide_Template.potx" id="{95124A97-25C4-48FD-80B5-7F75C63D4350}" vid="{B2FF8735-D044-44CB-AEAD-A5198B443909}"/>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8862A45804C7345BFDE61DA2C172BE7" ma:contentTypeVersion="19" ma:contentTypeDescription="Create a new document." ma:contentTypeScope="" ma:versionID="83bf1051954f228ef3dccc82cfc58357">
  <xsd:schema xmlns:xsd="http://www.w3.org/2001/XMLSchema" xmlns:xs="http://www.w3.org/2001/XMLSchema" xmlns:p="http://schemas.microsoft.com/office/2006/metadata/properties" xmlns:ns1="96f1686b-f877-4eb8-89ab-3a67a5dc2612" xmlns:ns3="b4104d5b-b872-4636-a728-507be7308f43" targetNamespace="http://schemas.microsoft.com/office/2006/metadata/properties" ma:root="true" ma:fieldsID="b1f103e14bcb636125a88c7b57b71e20" ns1:_="" ns3:_="">
    <xsd:import namespace="96f1686b-f877-4eb8-89ab-3a67a5dc2612"/>
    <xsd:import namespace="b4104d5b-b872-4636-a728-507be7308f43"/>
    <xsd:element name="properties">
      <xsd:complexType>
        <xsd:sequence>
          <xsd:element name="documentManagement">
            <xsd:complexType>
              <xsd:all>
                <xsd:element ref="ns1:QID" minOccurs="0"/>
                <xsd:element ref="ns1:Status" minOccurs="0"/>
                <xsd:element ref="ns1:MediaServiceMetadata" minOccurs="0"/>
                <xsd:element ref="ns1:MediaServiceFastMetadata" minOccurs="0"/>
                <xsd:element ref="ns1:MediaServiceAutoTags" minOccurs="0"/>
                <xsd:element ref="ns1:MediaServiceOCR" minOccurs="0"/>
                <xsd:element ref="ns1:MediaServiceDateTaken" minOccurs="0"/>
                <xsd:element ref="ns1:MediaServiceLocation" minOccurs="0"/>
                <xsd:element ref="ns3:SharedWithUsers" minOccurs="0"/>
                <xsd:element ref="ns3:SharedWithDetails" minOccurs="0"/>
                <xsd:element ref="ns1:MediaServiceEventHashCode" minOccurs="0"/>
                <xsd:element ref="ns1:MediaServiceGenerationTime" minOccurs="0"/>
                <xsd:element ref="ns3:TaxKeywordTaxHTField" minOccurs="0"/>
                <xsd:element ref="ns3:TaxCatchAll" minOccurs="0"/>
                <xsd:element ref="ns1:MediaServiceAutoKeyPoints" minOccurs="0"/>
                <xsd:element ref="ns1:MediaServiceKeyPoints" minOccurs="0"/>
                <xsd:element ref="ns1:lcf76f155ced4ddcb4097134ff3c332f"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6f1686b-f877-4eb8-89ab-3a67a5dc2612" elementFormDefault="qualified">
    <xsd:import namespace="http://schemas.microsoft.com/office/2006/documentManagement/types"/>
    <xsd:import namespace="http://schemas.microsoft.com/office/infopath/2007/PartnerControls"/>
    <xsd:element name="QID" ma:index="0" nillable="true" ma:displayName="QID" ma:indexed="true" ma:internalName="QID">
      <xsd:simpleType>
        <xsd:restriction base="dms:Number"/>
      </xsd:simpleType>
    </xsd:element>
    <xsd:element name="Status" ma:index="3" nillable="true" ma:displayName="Status" ma:format="Dropdown" ma:internalName="Status">
      <xsd:simpleType>
        <xsd:restriction base="dms:Choice">
          <xsd:enumeration value="Not started"/>
          <xsd:enumeration value="Web Build"/>
          <xsd:enumeration value="In Progress"/>
          <xsd:enumeration value="Launched"/>
          <xsd:enumeration value="Complete"/>
          <xsd:enumeration value="Delayed"/>
        </xsd:restriction>
      </xsd:simpleType>
    </xsd:element>
    <xsd:element name="MediaServiceMetadata" ma:index="6" nillable="true" ma:displayName="MediaServiceMetadata" ma:hidden="true" ma:internalName="MediaServiceMetadata" ma:readOnly="true">
      <xsd:simpleType>
        <xsd:restriction base="dms:Note"/>
      </xsd:simpleType>
    </xsd:element>
    <xsd:element name="MediaServiceFastMetadata" ma:index="7" nillable="true" ma:displayName="MediaServiceFastMetadata" ma:hidden="true" ma:internalName="MediaServiceFastMetadata" ma:readOnly="true">
      <xsd:simpleType>
        <xsd:restriction base="dms:Note"/>
      </xsd:simpleType>
    </xsd:element>
    <xsd:element name="MediaServiceAutoTags" ma:index="8" nillable="true" ma:displayName="MediaServiceAutoTags" ma:internalName="MediaServiceAutoTags" ma:readOnly="true">
      <xsd:simpleType>
        <xsd:restriction base="dms:Text"/>
      </xsd:simpleType>
    </xsd:element>
    <xsd:element name="MediaServiceOCR" ma:index="9" nillable="true" ma:displayName="MediaServiceOCR" ma:internalName="MediaServiceOCR" ma:readOnly="true">
      <xsd:simpleType>
        <xsd:restriction base="dms:Note">
          <xsd:maxLength value="255"/>
        </xsd:restriction>
      </xsd:simpleType>
    </xsd:element>
    <xsd:element name="MediaServiceDateTaken" ma:index="10" nillable="true" ma:displayName="MediaServiceDateTaken" ma:hidden="true" ma:internalName="MediaServiceDateTaken" ma:readOnly="true">
      <xsd:simpleType>
        <xsd:restriction base="dms:Text"/>
      </xsd:simpleType>
    </xsd:element>
    <xsd:element name="MediaServiceLocation" ma:index="11" nillable="true" ma:displayName="MediaServiceLocation" ma:internalName="MediaServiceLocation"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AutoKeyPoints" ma:index="23" nillable="true" ma:displayName="MediaServiceAutoKeyPoints" ma:hidden="true" ma:internalName="MediaServiceAutoKeyPoints" ma:readOnly="true">
      <xsd:simpleType>
        <xsd:restriction base="dms:Note"/>
      </xsd:simpleType>
    </xsd:element>
    <xsd:element name="MediaServiceKeyPoints" ma:index="24" nillable="true" ma:displayName="KeyPoints" ma:internalName="MediaServiceKeyPoints" ma:readOnly="true">
      <xsd:simpleType>
        <xsd:restriction base="dms:Note">
          <xsd:maxLength value="255"/>
        </xsd:restriction>
      </xsd:simpleType>
    </xsd:element>
    <xsd:element name="lcf76f155ced4ddcb4097134ff3c332f" ma:index="26" nillable="true" ma:taxonomy="true" ma:internalName="lcf76f155ced4ddcb4097134ff3c332f" ma:taxonomyFieldName="MediaServiceImageTags" ma:displayName="Image Tags" ma:readOnly="false" ma:fieldId="{5cf76f15-5ced-4ddc-b409-7134ff3c332f}" ma:taxonomyMulti="true" ma:sspId="4c811d1f-5e4a-4ee3-9cfd-88a4fb073ce4"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b4104d5b-b872-4636-a728-507be7308f43"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KeywordTaxHTField" ma:index="21" nillable="true" ma:taxonomy="true" ma:internalName="TaxKeywordTaxHTField" ma:taxonomyFieldName="TaxKeyword" ma:displayName="Enterprise Keywords" ma:fieldId="{23f27201-bee3-471e-b2e7-b64fd8b7ca38}" ma:taxonomyMulti="true" ma:sspId="00000000-0000-0000-0000-000000000000" ma:termSetId="00000000-0000-0000-0000-000000000000" ma:anchorId="00000000-0000-0000-0000-000000000000" ma:open="true" ma:isKeyword="true">
      <xsd:complexType>
        <xsd:sequence>
          <xsd:element ref="pc:Terms" minOccurs="0" maxOccurs="1"/>
        </xsd:sequence>
      </xsd:complexType>
    </xsd:element>
    <xsd:element name="TaxCatchAll" ma:index="22" nillable="true" ma:displayName="Taxonomy Catch All Column" ma:hidden="true" ma:list="{d75259b8-d078-43ce-9531-d35c0553c861}" ma:internalName="TaxCatchAll" ma:showField="CatchAllData" ma:web="b4104d5b-b872-4636-a728-507be7308f4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6" ma:displayName="Content Type"/>
        <xsd:element ref="dc:title" minOccurs="0" maxOccurs="1" ma:index="2"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277AD94-C59A-436D-8E18-4F272E23F28A}"/>
</file>

<file path=customXml/itemProps2.xml><?xml version="1.0" encoding="utf-8"?>
<ds:datastoreItem xmlns:ds="http://schemas.openxmlformats.org/officeDocument/2006/customXml" ds:itemID="{7945B09A-4909-4F43-92C5-E63B357EEB32}"/>
</file>

<file path=docProps/app.xml><?xml version="1.0" encoding="utf-8"?>
<Properties xmlns="http://schemas.openxmlformats.org/officeDocument/2006/extended-properties" xmlns:vt="http://schemas.openxmlformats.org/officeDocument/2006/docPropsVTypes">
  <Template/>
  <TotalTime>63646</TotalTime>
  <Words>13668</Words>
  <Application>Microsoft Macintosh PowerPoint</Application>
  <PresentationFormat>Widescreen</PresentationFormat>
  <Paragraphs>2239</Paragraphs>
  <Slides>123</Slides>
  <Notes>38</Notes>
  <HiddenSlides>0</HiddenSlides>
  <MMClips>0</MMClips>
  <ScaleCrop>false</ScaleCrop>
  <HeadingPairs>
    <vt:vector size="8" baseType="variant">
      <vt:variant>
        <vt:lpstr>Fonts Used</vt:lpstr>
      </vt:variant>
      <vt:variant>
        <vt:i4>17</vt:i4>
      </vt:variant>
      <vt:variant>
        <vt:lpstr>Theme</vt:lpstr>
      </vt:variant>
      <vt:variant>
        <vt:i4>12</vt:i4>
      </vt:variant>
      <vt:variant>
        <vt:lpstr>Embedded OLE Servers</vt:lpstr>
      </vt:variant>
      <vt:variant>
        <vt:i4>2</vt:i4>
      </vt:variant>
      <vt:variant>
        <vt:lpstr>Slide Titles</vt:lpstr>
      </vt:variant>
      <vt:variant>
        <vt:i4>123</vt:i4>
      </vt:variant>
    </vt:vector>
  </HeadingPairs>
  <TitlesOfParts>
    <vt:vector size="154" baseType="lpstr">
      <vt:lpstr>Arial</vt:lpstr>
      <vt:lpstr>Arial Black</vt:lpstr>
      <vt:lpstr>Arial Narrow</vt:lpstr>
      <vt:lpstr>Calibri</vt:lpstr>
      <vt:lpstr>Calibri Light</vt:lpstr>
      <vt:lpstr>Courier New</vt:lpstr>
      <vt:lpstr>DIN OT</vt:lpstr>
      <vt:lpstr>DIN OT Medium</vt:lpstr>
      <vt:lpstr>Montserrat SemiBold</vt:lpstr>
      <vt:lpstr>News Gothic MT</vt:lpstr>
      <vt:lpstr>Noto Sans Symbols</vt:lpstr>
      <vt:lpstr>Source Sans Pro</vt:lpstr>
      <vt:lpstr>StarSymbol</vt:lpstr>
      <vt:lpstr>Symbol</vt:lpstr>
      <vt:lpstr>Times New Roman</vt:lpstr>
      <vt:lpstr>Wingdings</vt:lpstr>
      <vt:lpstr>Wingdings 2</vt:lpstr>
      <vt:lpstr>1_Default Design</vt:lpstr>
      <vt:lpstr>5_Office Theme</vt:lpstr>
      <vt:lpstr>Blank Presentation</vt:lpstr>
      <vt:lpstr>Atezo External No Logo White</vt:lpstr>
      <vt:lpstr>1_Custom Design</vt:lpstr>
      <vt:lpstr>2_Office Theme</vt:lpstr>
      <vt:lpstr>8_Office Theme</vt:lpstr>
      <vt:lpstr>2022_GSMP_Theme</vt:lpstr>
      <vt:lpstr>Office Theme</vt:lpstr>
      <vt:lpstr>1_Office Theme</vt:lpstr>
      <vt:lpstr>2_Solstice</vt:lpstr>
      <vt:lpstr>Internal Educational Materials</vt:lpstr>
      <vt:lpstr>think-cell Slide</vt:lpstr>
      <vt:lpstr>Prism 8</vt:lpstr>
      <vt:lpstr>Cases from the Community: Investigators  Discuss Available Research Guiding the Care  of Patients with Hepatobiliary Cancers</vt:lpstr>
      <vt:lpstr>Faculty</vt:lpstr>
      <vt:lpstr>Commercial Support</vt:lpstr>
      <vt:lpstr>Richard S Finn, MD — Disclosures Faculty</vt:lpstr>
      <vt:lpstr>Lipika Goyal, MD, MPhil — Disclosures Faculty</vt:lpstr>
      <vt:lpstr>Professor Arndt Vogel, MD — Disclosures Faculty</vt:lpstr>
      <vt:lpstr>Robin K Kelley, MD — Disclosures Moderator</vt:lpstr>
      <vt:lpstr>Agenda</vt:lpstr>
      <vt:lpstr>PowerPoint Presentation</vt:lpstr>
      <vt:lpstr>PowerPoint Presentation</vt:lpstr>
      <vt:lpstr>MODULE 1: First-Line Treatment for Advanced Hepatocellular Carcinoma (HCC) — Dr Finn</vt:lpstr>
      <vt:lpstr>Case Presentation: 70-year-old man with newly diagnosed metastatic HCC receives atezolizumab/bevacizumab </vt:lpstr>
      <vt:lpstr>QUESTIONS FOR THE FACULTY </vt:lpstr>
      <vt:lpstr>Case Presentation: 59-year-old woman with a history of hepatitis C and chronic kidney disease on dialysis with localized HCC s/p surgical resection — the patient developed metastatic disease 10 months later </vt:lpstr>
      <vt:lpstr>QUESTIONS FOR THE FACULTY </vt:lpstr>
      <vt:lpstr>PowerPoint Presentation</vt:lpstr>
      <vt:lpstr>Front-line</vt:lpstr>
      <vt:lpstr>BCLC management of HCC-2022: Where to use Systemic Therapy</vt:lpstr>
      <vt:lpstr>IMbrave150 Study Design</vt:lpstr>
      <vt:lpstr>Baseline patient characteristics (ITT)a</vt:lpstr>
      <vt:lpstr>IMbrave150 Trial Key Efficacy Data: Updated OS and PFS</vt:lpstr>
      <vt:lpstr>Updated response and duration of response</vt:lpstr>
      <vt:lpstr>TRAEs: ≥ 10% any grade in either arm</vt:lpstr>
      <vt:lpstr>HIMALAYA study design </vt:lpstr>
      <vt:lpstr>PowerPoint Presentation</vt:lpstr>
      <vt:lpstr>Primary objective: overall survival for T300+D vs sorafenib</vt:lpstr>
      <vt:lpstr>Secondary objective: overall survival for durvalumab vs sorafenib</vt:lpstr>
      <vt:lpstr>PowerPoint Presentation</vt:lpstr>
      <vt:lpstr>Tumor response </vt:lpstr>
      <vt:lpstr>PowerPoint Presentation</vt:lpstr>
      <vt:lpstr>PowerPoint Presentation</vt:lpstr>
      <vt:lpstr>PowerPoint Presentation</vt:lpstr>
      <vt:lpstr>RATIONALE-301: Study Design</vt:lpstr>
      <vt:lpstr>RATIONALE-301: Overall Survival</vt:lpstr>
      <vt:lpstr>RATIONALE-301: Overall Response Rate by IRC</vt:lpstr>
      <vt:lpstr>RATIONALE-301: Progression-Free Survival by IRC</vt:lpstr>
      <vt:lpstr>RATIONALE-301: Safety Summary</vt:lpstr>
      <vt:lpstr>Alternative First-Line TKI Options</vt:lpstr>
      <vt:lpstr>LEAP-002: Overall Survival, ITT, FA</vt:lpstr>
      <vt:lpstr>Conclusions:</vt:lpstr>
      <vt:lpstr>Atezolizumab Plus Bevacizumab is the First Treatment Combination to Reduce the Risk of Liver Cancer Returning in Early-Stage HCC Press Release: January 18, 2023</vt:lpstr>
      <vt:lpstr>MODULE 2: Selection and Sequencing of Therapies for Relapsed/Refractory HCC — Dr Kelley</vt:lpstr>
      <vt:lpstr>Case Presentation: 65-year-old man with metastatic HCC  and a past medical history of hepatitis C develops ILD on atezolizumab/bevacizumab </vt:lpstr>
      <vt:lpstr>QUESTIONS FOR THE FACULTY </vt:lpstr>
      <vt:lpstr>68-year-old man with post-transplant recurrence develops metastatic HCC and receives lenvatinib followed by cabozantinib followed by regorafenib   </vt:lpstr>
      <vt:lpstr>QUESTIONS FOR THE FACULTY </vt:lpstr>
      <vt:lpstr>QUESTIONS FOR THE FACULTY </vt:lpstr>
      <vt:lpstr>Selection and Sequencing of Therapies for Advanced HCC: Second-Line and Beyond</vt:lpstr>
      <vt:lpstr>Outline</vt:lpstr>
      <vt:lpstr>Increasing Uptake of Subsequent Lines of Therapy</vt:lpstr>
      <vt:lpstr>Updated BCLC Algorithm 2022</vt:lpstr>
      <vt:lpstr>Beyond 1st Line:  Currently Approved 2nd Line Therapies for HCC</vt:lpstr>
      <vt:lpstr>2nd Line Systemic Therapies With Level 1 Evidence</vt:lpstr>
      <vt:lpstr>Role for Multikinase Inhibitors After 1st Line ICI-Based Therapy</vt:lpstr>
      <vt:lpstr>Beyond 1st Line:  Currently Approved 2nd Line Therapies for HCC</vt:lpstr>
      <vt:lpstr>2nd Line ICI Therapies with Accelerated Approvals</vt:lpstr>
      <vt:lpstr>PowerPoint Presentation</vt:lpstr>
      <vt:lpstr>PowerPoint Presentation</vt:lpstr>
      <vt:lpstr>PowerPoint Presentation</vt:lpstr>
      <vt:lpstr>PowerPoint Presentation</vt:lpstr>
      <vt:lpstr>PowerPoint Presentation</vt:lpstr>
      <vt:lpstr>Role of Anti-PD-(L)1 and Anti-CTLA-4 Therapies After Prior ICI-based Combinations</vt:lpstr>
      <vt:lpstr>Selection and Sequencing of ≥ 2nd Line Treatments</vt:lpstr>
      <vt:lpstr>PowerPoint Presentation</vt:lpstr>
      <vt:lpstr>Current Summary of ≥ 2nd Line HCC Therapy</vt:lpstr>
      <vt:lpstr>PowerPoint Presentation</vt:lpstr>
      <vt:lpstr>New Agents and Strategies Under Investigation for Subsequent HCC Therapy</vt:lpstr>
      <vt:lpstr>MODULE 3: Current and Future Role of Immunotherapy in the Treatment of Advanced  Biliary Tract Cancers (BTCs) — Prof Vogel</vt:lpstr>
      <vt:lpstr>Case Presentation: 75-year-old woman with metastatic cholangiocarcinoma who received first-line gemcitabine/ cisplatin with durvalumab  </vt:lpstr>
      <vt:lpstr>QUESTIONS FOR THE FACULTY </vt:lpstr>
      <vt:lpstr>Case Presentation: 72-year-old man with localized cholangiocarcinoma deemed potentially resectable with  tumor response</vt:lpstr>
      <vt:lpstr>QUESTIONS FOR THE FACULTY </vt:lpstr>
      <vt:lpstr>PowerPoint Presentation</vt:lpstr>
      <vt:lpstr>Biliary Tract Cancers: a heterogeneous disease entity</vt:lpstr>
      <vt:lpstr>Diagnosis and Management of Biliary Tract Cancer </vt:lpstr>
      <vt:lpstr>BTC: low prevalence of established IO biomarkers </vt:lpstr>
      <vt:lpstr>Biliary Tract Cancers: 10-30% with “immunogenic” phenotype according to “multi-omic” classification </vt:lpstr>
      <vt:lpstr>Pembrolizumab in Advanced BTC with Proficient MMR/MSS:  KEYNOTE-158</vt:lpstr>
      <vt:lpstr>PowerPoint Presentation</vt:lpstr>
      <vt:lpstr>PowerPoint Presentation</vt:lpstr>
      <vt:lpstr>MediTreme Study: Best Objective Response</vt:lpstr>
      <vt:lpstr>IO-Phase-III studies in BTC: TOPAZ-1 &amp; KEYNOTE-966</vt:lpstr>
      <vt:lpstr>TOPAZ-1: Durvalumab + GemCis Improved OS vs. GemCis</vt:lpstr>
      <vt:lpstr>Secondary endpoint: PFS</vt:lpstr>
      <vt:lpstr>PowerPoint Presentation</vt:lpstr>
      <vt:lpstr>PowerPoint Presentation</vt:lpstr>
      <vt:lpstr>PowerPoint Presentation</vt:lpstr>
      <vt:lpstr>TOPAZ update @ ESMO 2022</vt:lpstr>
      <vt:lpstr>OS in subgroups by PD-L1 expression</vt:lpstr>
      <vt:lpstr>IMMUCHEC: an exploratory IO trial in BTC</vt:lpstr>
      <vt:lpstr>PowerPoint Presentation</vt:lpstr>
      <vt:lpstr>Rationale ADVANCE: </vt:lpstr>
      <vt:lpstr>PowerPoint Presentation</vt:lpstr>
      <vt:lpstr>PowerPoint Presentation</vt:lpstr>
      <vt:lpstr>TAKE HOME: Immunotherapy in BTC</vt:lpstr>
      <vt:lpstr>MODULE 4: Integration of Targeted Therapy into the Management of Advanced BTCs — Dr Goyal</vt:lpstr>
      <vt:lpstr>77-year-old woman with intrahepatic cholangiocarcinoma considered unresectable — an FGFR2-KIAA1598 fusion was detected on NGS</vt:lpstr>
      <vt:lpstr>QUESTIONS FOR THE FACULTY </vt:lpstr>
      <vt:lpstr>QUESTIONS FOR THE FACULTY </vt:lpstr>
      <vt:lpstr>53-year-old man with recurrent metastatic cholangiocarcinoma with a BRAF V600E mutation treated with dabrafenib/trametinib </vt:lpstr>
      <vt:lpstr>QUESTIONS FOR THE FACULTY </vt:lpstr>
      <vt:lpstr>QUESTIONS FOR THE FACULTY </vt:lpstr>
      <vt:lpstr> Integration of Targeted Therapy into the Management of Advanced BTCs </vt:lpstr>
      <vt:lpstr>Systemic Therapy for Cholangiocarcinoma</vt:lpstr>
      <vt:lpstr>Anatomic Classification of Biliary Tract Cancer</vt:lpstr>
      <vt:lpstr>Biliary Tract Cancer: Frequent Actionable Alterations</vt:lpstr>
      <vt:lpstr>Role for Liquid Biopsy in Biliary Tract Cancer?</vt:lpstr>
      <vt:lpstr>Evaluating Targeted Therapy in an  Uncommon Cancer: Approaches</vt:lpstr>
      <vt:lpstr>Selective FGFR Inhibitors for FGFR2 Fusions or Rearrangement Positive Cholangiocarcinoma1–4 </vt:lpstr>
      <vt:lpstr>FOENIX-CCA2 Study of Futibatinib for FGFR2-Rearranged Intrahepatic Cholangiocarcinoma</vt:lpstr>
      <vt:lpstr>RLY-4008, FGFR2-specific inhibitor,  in FGFR2-fusion or Rearrangement+ Cholangiocarcinoma</vt:lpstr>
      <vt:lpstr>PowerPoint Presentation</vt:lpstr>
      <vt:lpstr>RAGNAR Trial of Erdafitinib for Cholangiocarcinoma with Prespecified FGFR Alterations: Expansion Cohort Results  </vt:lpstr>
      <vt:lpstr>Ivosidenib in IDH-Mutant Cholangiocarcinoma</vt:lpstr>
      <vt:lpstr>Ivosidenib in IDH-Mutant Cholangiocarcinoma (Contd.)</vt:lpstr>
      <vt:lpstr>Evaluating Targeted Therapy in an  Uncommon Cancer: Approaches</vt:lpstr>
      <vt:lpstr>Dabrafenib/Trametinib: ROAR</vt:lpstr>
      <vt:lpstr>Dabrafenib/Trametinib: ROAR </vt:lpstr>
      <vt:lpstr>Targeting HER2 overexpression/amplification</vt:lpstr>
      <vt:lpstr>Targeting NTRK and RET Fusions</vt:lpstr>
      <vt:lpstr>Other Actionable Signatures in Cholangiocarcinoma1,2</vt:lpstr>
      <vt:lpstr>PowerPoint Presentation</vt:lpstr>
      <vt:lpstr>Conclusions</vt:lpstr>
    </vt:vector>
  </TitlesOfParts>
  <Manager/>
  <Company>Research To Practice</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ew Agents and Strategies in the Management of Acute Myeloid Leukemia</dc:title>
  <dc:subject/>
  <dc:creator>Dr Neil Love</dc:creator>
  <cp:keywords/>
  <dc:description>www.ResearchToPractice.com</dc:description>
  <cp:lastModifiedBy>Silvana Izquierdo</cp:lastModifiedBy>
  <cp:revision>7579</cp:revision>
  <cp:lastPrinted>2020-08-04T16:05:31Z</cp:lastPrinted>
  <dcterms:created xsi:type="dcterms:W3CDTF">2013-03-19T19:50:02Z</dcterms:created>
  <dcterms:modified xsi:type="dcterms:W3CDTF">2023-01-31T14:55:07Z</dcterms:modified>
  <cp:category/>
</cp:coreProperties>
</file>